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675" r:id="rId2"/>
  </p:sldMasterIdLst>
  <p:notesMasterIdLst>
    <p:notesMasterId r:id="rId30"/>
  </p:notesMasterIdLst>
  <p:sldIdLst>
    <p:sldId id="319" r:id="rId3"/>
    <p:sldId id="256" r:id="rId4"/>
    <p:sldId id="298" r:id="rId5"/>
    <p:sldId id="268" r:id="rId6"/>
    <p:sldId id="269" r:id="rId7"/>
    <p:sldId id="270" r:id="rId8"/>
    <p:sldId id="299" r:id="rId9"/>
    <p:sldId id="300" r:id="rId10"/>
    <p:sldId id="258" r:id="rId11"/>
    <p:sldId id="312" r:id="rId12"/>
    <p:sldId id="301" r:id="rId13"/>
    <p:sldId id="316" r:id="rId14"/>
    <p:sldId id="257" r:id="rId15"/>
    <p:sldId id="313" r:id="rId16"/>
    <p:sldId id="302" r:id="rId17"/>
    <p:sldId id="349" r:id="rId18"/>
    <p:sldId id="350" r:id="rId19"/>
    <p:sldId id="303" r:id="rId20"/>
    <p:sldId id="348" r:id="rId21"/>
    <p:sldId id="329" r:id="rId22"/>
    <p:sldId id="259" r:id="rId23"/>
    <p:sldId id="320" r:id="rId24"/>
    <p:sldId id="324" r:id="rId25"/>
    <p:sldId id="351" r:id="rId26"/>
    <p:sldId id="346" r:id="rId27"/>
    <p:sldId id="325" r:id="rId28"/>
    <p:sldId id="347" r:id="rId29"/>
  </p:sldIdLst>
  <p:sldSz cx="12192000" cy="6858000"/>
  <p:notesSz cx="6858000" cy="9144000"/>
  <p:embeddedFontLst>
    <p:embeddedFont>
      <p:font typeface="Calibri" panose="020F0502020204030204" pitchFamily="34" charset="0"/>
      <p:regular r:id="rId31"/>
      <p:bold r:id="rId32"/>
      <p:italic r:id="rId33"/>
      <p:boldItalic r:id="rId34"/>
    </p:embeddedFont>
    <p:embeddedFont>
      <p:font typeface="Calibri Light" panose="020F0302020204030204" pitchFamily="34" charset="0"/>
      <p:regular r:id="rId35"/>
      <p:italic r:id="rId36"/>
    </p:embeddedFont>
    <p:embeddedFont>
      <p:font typeface="Century Gothic" panose="020B0502020202020204" pitchFamily="34" charset="0"/>
      <p:regular r:id="rId37"/>
      <p:bold r:id="rId38"/>
      <p:italic r:id="rId39"/>
      <p:boldItalic r:id="rId40"/>
    </p:embeddedFont>
    <p:embeddedFont>
      <p:font typeface="Montserrat" panose="00000500000000000000" pitchFamily="2" charset="0"/>
      <p:regular r:id="rId41"/>
      <p:bold r:id="rId42"/>
      <p:italic r:id="rId43"/>
      <p:boldItalic r:id="rId44"/>
    </p:embeddedFont>
    <p:embeddedFont>
      <p:font typeface="Montserrat Black" panose="00000A00000000000000" pitchFamily="2" charset="0"/>
      <p:bold r:id="rId45"/>
      <p:boldItalic r:id="rId46"/>
    </p:embeddedFont>
    <p:embeddedFont>
      <p:font typeface="Segoe UI" panose="020B0502040204020203" pitchFamily="34" charset="0"/>
      <p:regular r:id="rId47"/>
      <p:bold r:id="rId48"/>
      <p:italic r:id="rId49"/>
      <p:boldItalic r:id="rId50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55" roundtripDataSignature="AMtx7mjC/H3EaKlIdTH3fpdSLsY8+mqv2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3549" autoAdjust="0"/>
  </p:normalViewPr>
  <p:slideViewPr>
    <p:cSldViewPr snapToGrid="0">
      <p:cViewPr varScale="1">
        <p:scale>
          <a:sx n="95" d="100"/>
          <a:sy n="95" d="100"/>
        </p:scale>
        <p:origin x="1158" y="84"/>
      </p:cViewPr>
      <p:guideLst>
        <p:guide orient="horz" pos="2160"/>
        <p:guide pos="384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font" Target="fonts/font9.fntdata"/><Relationship Id="rId21" Type="http://schemas.openxmlformats.org/officeDocument/2006/relationships/slide" Target="slides/slide19.xml"/><Relationship Id="rId34" Type="http://schemas.openxmlformats.org/officeDocument/2006/relationships/font" Target="fonts/font4.fntdata"/><Relationship Id="rId42" Type="http://schemas.openxmlformats.org/officeDocument/2006/relationships/font" Target="fonts/font12.fntdata"/><Relationship Id="rId47" Type="http://schemas.openxmlformats.org/officeDocument/2006/relationships/font" Target="fonts/font17.fntdata"/><Relationship Id="rId50" Type="http://schemas.openxmlformats.org/officeDocument/2006/relationships/font" Target="fonts/font20.fntdata"/><Relationship Id="rId55" Type="http://customschemas.google.com/relationships/presentationmetadata" Target="meta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font" Target="fonts/font3.fntdata"/><Relationship Id="rId38" Type="http://schemas.openxmlformats.org/officeDocument/2006/relationships/font" Target="fonts/font8.fntdata"/><Relationship Id="rId46" Type="http://schemas.openxmlformats.org/officeDocument/2006/relationships/font" Target="fonts/font16.fntdata"/><Relationship Id="rId59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font" Target="fonts/font10.fntdata"/><Relationship Id="rId45" Type="http://schemas.openxmlformats.org/officeDocument/2006/relationships/font" Target="fonts/font15.fntdata"/><Relationship Id="rId58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font" Target="fonts/font6.fntdata"/><Relationship Id="rId49" Type="http://schemas.openxmlformats.org/officeDocument/2006/relationships/font" Target="fonts/font19.fntdata"/><Relationship Id="rId57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1.fntdata"/><Relationship Id="rId44" Type="http://schemas.openxmlformats.org/officeDocument/2006/relationships/font" Target="fonts/font14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5.fntdata"/><Relationship Id="rId43" Type="http://schemas.openxmlformats.org/officeDocument/2006/relationships/font" Target="fonts/font13.fntdata"/><Relationship Id="rId48" Type="http://schemas.openxmlformats.org/officeDocument/2006/relationships/font" Target="fonts/font18.fntdata"/><Relationship Id="rId56" Type="http://schemas.openxmlformats.org/officeDocument/2006/relationships/presProps" Target="pres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r.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8" name="Google Shape;198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CD4244-BCB1-E640-8577-4BF0574A5205}" type="slidenum">
              <a:rPr lang="nl-BE" smtClean="0"/>
              <a:t>2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169036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CD4244-BCB1-E640-8577-4BF0574A5205}" type="slidenum">
              <a:rPr lang="nl-BE" smtClean="0"/>
              <a:t>2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042060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lang="nl-BE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738231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lang="nl-BE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908235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At the same time, co-founders experience dilemmas, such as overlapping roles and the division of equity and control, which exacerbate rather than mitigate liabilities of newness [14]. Thus, it</a:t>
            </a:r>
          </a:p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is essential that co-founders align not only in terms of skills and experience but also in their interpersonal dynamics to manage conflicts</a:t>
            </a:r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2</a:t>
            </a:fld>
            <a:endParaRPr lang="nl-BE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92871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3</a:t>
            </a:fld>
            <a:endParaRPr lang="nl-BE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525456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CD4244-BCB1-E640-8577-4BF0574A5205}" type="slidenum">
              <a:rPr lang="nl-BE" smtClean="0"/>
              <a:t>1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7690797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CD4244-BCB1-E640-8577-4BF0574A5205}" type="slidenum">
              <a:rPr lang="nl-BE" smtClean="0"/>
              <a:t>2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326516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CD4244-BCB1-E640-8577-4BF0574A5205}" type="slidenum">
              <a:rPr lang="nl-BE" smtClean="0"/>
              <a:t>2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596667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CD4244-BCB1-E640-8577-4BF0574A5205}" type="slidenum">
              <a:rPr lang="nl-BE" smtClean="0"/>
              <a:t>2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500204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 Red">
  <p:cSld name="5_Title Slide Re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3"/>
          <p:cNvSpPr txBox="1">
            <a:spLocks noGrp="1"/>
          </p:cNvSpPr>
          <p:nvPr>
            <p:ph type="ctrTitle"/>
          </p:nvPr>
        </p:nvSpPr>
        <p:spPr>
          <a:xfrm>
            <a:off x="838200" y="1122363"/>
            <a:ext cx="104394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CA9E1"/>
              </a:buClr>
              <a:buSzPts val="6000"/>
              <a:buFont typeface="Century Gothic"/>
              <a:buNone/>
              <a:defRPr sz="6000">
                <a:solidFill>
                  <a:srgbClr val="1CA9E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3"/>
          <p:cNvSpPr txBox="1">
            <a:spLocks noGrp="1"/>
          </p:cNvSpPr>
          <p:nvPr>
            <p:ph type="subTitle" idx="1"/>
          </p:nvPr>
        </p:nvSpPr>
        <p:spPr>
          <a:xfrm>
            <a:off x="838200" y="3602038"/>
            <a:ext cx="10439400" cy="91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  <p:sp>
        <p:nvSpPr>
          <p:cNvPr id="21" name="Google Shape;21;p3"/>
          <p:cNvSpPr txBox="1">
            <a:spLocks noGrp="1"/>
          </p:cNvSpPr>
          <p:nvPr>
            <p:ph type="body" idx="2"/>
          </p:nvPr>
        </p:nvSpPr>
        <p:spPr>
          <a:xfrm>
            <a:off x="838200" y="4672310"/>
            <a:ext cx="10439400" cy="264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25252"/>
              </a:buClr>
              <a:buSzPts val="1800"/>
              <a:buNone/>
              <a:defRPr sz="1800" i="1">
                <a:solidFill>
                  <a:srgbClr val="52525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2" name="Google Shape;22;p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349067" y="5636114"/>
            <a:ext cx="1478844" cy="53034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Google Shape;23;p3" descr="https://www.uhasselt.be/images/DCM/huisstijl/2017/logo/download/UHasselt-liggen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317971" y="5672666"/>
            <a:ext cx="2083334" cy="493793"/>
          </a:xfrm>
          <a:prstGeom prst="rect">
            <a:avLst/>
          </a:prstGeom>
          <a:noFill/>
          <a:ln>
            <a:noFill/>
          </a:ln>
        </p:spPr>
      </p:pic>
      <p:sp>
        <p:nvSpPr>
          <p:cNvPr id="24" name="Google Shape;24;p3"/>
          <p:cNvSpPr/>
          <p:nvPr/>
        </p:nvSpPr>
        <p:spPr>
          <a:xfrm>
            <a:off x="0" y="5087637"/>
            <a:ext cx="12192000" cy="1170121"/>
          </a:xfrm>
          <a:prstGeom prst="rect">
            <a:avLst/>
          </a:prstGeom>
          <a:solidFill>
            <a:srgbClr val="1CA9E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25" name="Google Shape;25;p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583156" y="5165034"/>
            <a:ext cx="4550278" cy="100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Google Shape;26;p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053434" y="3973189"/>
            <a:ext cx="1080000" cy="1080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16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" name="Google Shape;112;p1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/>
            </a:lvl1pPr>
            <a:lvl2pPr marL="914400" lvl="1" indent="-228600" algn="ctr"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2pPr>
            <a:lvl3pPr marL="1371600" lvl="2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/>
            </a:lvl3pPr>
            <a:lvl4pPr marL="1828800" lvl="3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" name="Google Shape;113;p16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16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p16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17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1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/>
            </a:lvl1pPr>
            <a:lvl2pPr marL="914400" lvl="1" indent="-228600" algn="l"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2pPr>
            <a:lvl3pPr marL="1371600" lvl="2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/>
            </a:lvl3pPr>
            <a:lvl4pPr marL="1828800" lvl="3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17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" name="Google Shape;120;p17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17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- Arrow">
  <p:cSld name="Title and content - Arrow"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8"/>
          <p:cNvSpPr/>
          <p:nvPr/>
        </p:nvSpPr>
        <p:spPr>
          <a:xfrm>
            <a:off x="1" y="0"/>
            <a:ext cx="12192000" cy="1825625"/>
          </a:xfrm>
          <a:prstGeom prst="rect">
            <a:avLst/>
          </a:prstGeom>
          <a:solidFill>
            <a:srgbClr val="1CA9E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24" name="Google Shape;124;p18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entury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" name="Google Shape;125;p1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/>
            </a:lvl1pPr>
            <a:lvl2pPr marL="914400" lvl="1" indent="-228600" algn="ctr"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2pPr>
            <a:lvl3pPr marL="1371600" lvl="2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/>
            </a:lvl3pPr>
            <a:lvl4pPr marL="1828800" lvl="3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" name="Google Shape;126;p18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18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18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oute">
  <p:cSld name="Qoute">
    <p:bg>
      <p:bgPr>
        <a:solidFill>
          <a:srgbClr val="1CA9E1"/>
        </a:solidFill>
        <a:effectLst/>
      </p:bgPr>
    </p:bg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19"/>
          <p:cNvSpPr txBox="1">
            <a:spLocks noGrp="1"/>
          </p:cNvSpPr>
          <p:nvPr>
            <p:ph type="title"/>
          </p:nvPr>
        </p:nvSpPr>
        <p:spPr>
          <a:xfrm>
            <a:off x="-40773" y="2513803"/>
            <a:ext cx="12191998" cy="161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entury Gothic"/>
              <a:buNone/>
              <a:defRPr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" name="Google Shape;131;p19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19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" name="Google Shape;133;p19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  <p:sp>
        <p:nvSpPr>
          <p:cNvPr id="134" name="Google Shape;134;p19"/>
          <p:cNvSpPr txBox="1">
            <a:spLocks noGrp="1"/>
          </p:cNvSpPr>
          <p:nvPr>
            <p:ph type="body" idx="1"/>
          </p:nvPr>
        </p:nvSpPr>
        <p:spPr>
          <a:xfrm>
            <a:off x="6014451" y="4351802"/>
            <a:ext cx="6136774" cy="601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F7F7F"/>
              </a:buClr>
              <a:buSzPts val="2800"/>
              <a:buNone/>
              <a:defRPr i="1">
                <a:solidFill>
                  <a:srgbClr val="7F7F7F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oute">
  <p:cSld name="2_Qoute">
    <p:bg>
      <p:bgPr>
        <a:solidFill>
          <a:srgbClr val="035071"/>
        </a:solidFill>
        <a:effectLst/>
      </p:bgPr>
    </p:bg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20"/>
          <p:cNvSpPr txBox="1">
            <a:spLocks noGrp="1"/>
          </p:cNvSpPr>
          <p:nvPr>
            <p:ph type="title"/>
          </p:nvPr>
        </p:nvSpPr>
        <p:spPr>
          <a:xfrm>
            <a:off x="-40773" y="2513803"/>
            <a:ext cx="12191998" cy="161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entury Gothic"/>
              <a:buNone/>
              <a:defRPr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20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p20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p20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  <p:sp>
        <p:nvSpPr>
          <p:cNvPr id="140" name="Google Shape;140;p20"/>
          <p:cNvSpPr txBox="1">
            <a:spLocks noGrp="1"/>
          </p:cNvSpPr>
          <p:nvPr>
            <p:ph type="body" idx="1"/>
          </p:nvPr>
        </p:nvSpPr>
        <p:spPr>
          <a:xfrm>
            <a:off x="6014451" y="4351802"/>
            <a:ext cx="6136774" cy="601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F7F7F"/>
              </a:buClr>
              <a:buSzPts val="2800"/>
              <a:buNone/>
              <a:defRPr i="1">
                <a:solidFill>
                  <a:srgbClr val="7F7F7F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8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21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" name="Google Shape;143;p2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21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21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" name="Google Shape;146;p21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21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22"/>
          <p:cNvSpPr txBox="1"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22"/>
          <p:cNvSpPr txBox="1"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1" name="Google Shape;151;p22"/>
          <p:cNvSpPr txBox="1">
            <a:spLocks noGrp="1"/>
          </p:cNvSpPr>
          <p:nvPr>
            <p:ph type="body" idx="2"/>
          </p:nvPr>
        </p:nvSpPr>
        <p:spPr>
          <a:xfrm>
            <a:off x="839789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22"/>
          <p:cNvSpPr txBox="1">
            <a:spLocks noGrp="1"/>
          </p:cNvSpPr>
          <p:nvPr>
            <p:ph type="body" idx="3"/>
          </p:nvPr>
        </p:nvSpPr>
        <p:spPr>
          <a:xfrm>
            <a:off x="6172202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3" name="Google Shape;153;p22"/>
          <p:cNvSpPr txBox="1">
            <a:spLocks noGrp="1"/>
          </p:cNvSpPr>
          <p:nvPr>
            <p:ph type="body" idx="4"/>
          </p:nvPr>
        </p:nvSpPr>
        <p:spPr>
          <a:xfrm>
            <a:off x="6172202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22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22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22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23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" name="Google Shape;159;p23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" name="Google Shape;160;p23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" name="Google Shape;161;p23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24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24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24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25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3200"/>
              <a:buFont typeface="Century Gothic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25"/>
          <p:cNvSpPr txBox="1">
            <a:spLocks noGrp="1"/>
          </p:cNvSpPr>
          <p:nvPr>
            <p:ph type="body" idx="1"/>
          </p:nvPr>
        </p:nvSpPr>
        <p:spPr>
          <a:xfrm>
            <a:off x="5183188" y="987429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69" name="Google Shape;169;p25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70" name="Google Shape;170;p25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25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" name="Google Shape;172;p25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Section Header">
  <p:cSld name="3_Section Header">
    <p:bg>
      <p:bgPr>
        <a:solidFill>
          <a:srgbClr val="1CA9E1"/>
        </a:soli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7"/>
          <p:cNvSpPr txBox="1"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Century Gothic"/>
              <a:buNone/>
              <a:defRPr sz="60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7"/>
          <p:cNvSpPr txBox="1"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8D8D8"/>
              </a:buClr>
              <a:buSzPts val="2400"/>
              <a:buNone/>
              <a:defRPr sz="2400">
                <a:solidFill>
                  <a:srgbClr val="D8D8D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9" name="Google Shape;59;p7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7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7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26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3200"/>
              <a:buFont typeface="Century Gothic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" name="Google Shape;175;p26"/>
          <p:cNvSpPr>
            <a:spLocks noGrp="1"/>
          </p:cNvSpPr>
          <p:nvPr>
            <p:ph type="pic" idx="2"/>
          </p:nvPr>
        </p:nvSpPr>
        <p:spPr>
          <a:xfrm>
            <a:off x="5183188" y="987429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176" name="Google Shape;176;p26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77" name="Google Shape;177;p26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26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" name="Google Shape;179;p26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27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" name="Google Shape;182;p27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27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27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" name="Google Shape;185;p27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p28"/>
          <p:cNvSpPr txBox="1">
            <a:spLocks noGrp="1"/>
          </p:cNvSpPr>
          <p:nvPr>
            <p:ph type="title"/>
          </p:nvPr>
        </p:nvSpPr>
        <p:spPr>
          <a:xfrm rot="5400000">
            <a:off x="7133433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" name="Google Shape;188;p28"/>
          <p:cNvSpPr txBox="1">
            <a:spLocks noGrp="1"/>
          </p:cNvSpPr>
          <p:nvPr>
            <p:ph type="body" idx="1"/>
          </p:nvPr>
        </p:nvSpPr>
        <p:spPr>
          <a:xfrm rot="5400000">
            <a:off x="1799433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28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" name="Google Shape;190;p28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" name="Google Shape;191;p28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04AED4-7AB6-4F40-BBFB-168E48F8F2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A2BE77-6E7B-472D-B88B-613ACA0739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71B9CF-5CCC-42D9-98B1-15DE5EAE6F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5/1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28B494-162F-4596-8F8C-A4E609B8E3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40BFB7-0A3A-49F0-8FFA-3895448F6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4160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72B732-C4A7-44FA-A1E0-1514CB6F3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7A9236-F435-4060-A289-F006DEDE80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F989CB-DECA-43ED-AE7F-F78C54A1F1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5/1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3BE90E-BCD8-4093-9201-E0B5947290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5EB452-EB7B-44EA-A654-B461DEFF8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674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D2F720-7901-41D9-8022-9B2E387FAD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9ABF27-5F9C-477A-99CB-92AB1B4240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46FE8C-1B81-4F44-B711-7CBE7E709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5/1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38A742-1D6E-4C44-AB15-CD5CEFCF9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24E148-3CB2-4B52-9354-F056C7D8C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1449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CD41B0-1073-4064-9172-1EA6165CC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28C948-6E4C-4BEC-8D0D-6A39B0A8DD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51CECC-66B8-44E8-8259-9A0D54C76A8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AAE186-9304-4B75-ABE5-1E5E8595D7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5/18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667BEC-2EAF-41F3-8DF8-B6F908700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AB5C46-CCA3-4591-88D9-3302EB953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5290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1EDA39-1EDA-46AA-A7AE-5D0F441D5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4FA0ED-998D-4F8F-AEF5-D74C78CD1C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FBC238-9288-40B6-82B0-4181F8D0A5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163B00-8F6B-4FC1-813C-2535AE910E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2BA3BC-B3DE-477D-9E99-469F7872765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98121A-8F24-4C7D-AA43-8AC6F97FF3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5/18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C9DFEAC-0D8B-443D-8A80-963088F45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CC8BE5-E75E-45F6-AFD8-2CC66965F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2141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442DA4-1FE5-441F-AAF5-BDFD381B7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B10B50-F55C-4C09-86EF-06B26AE529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5/18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295ED-6972-49F9-99EC-41C7F36097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3A0DDC-C0AD-4268-9054-AF65F1FAF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9678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EDCF9B6-7E96-4C89-9D7C-00379E46FD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5/18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C4B35B-0CCB-491D-97A3-ED2F8C0E2C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89E5E2-5B12-4D37-B192-83A3B920B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22083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center">
  <p:cSld name="Blue center">
    <p:bg>
      <p:bgPr>
        <a:solidFill>
          <a:srgbClr val="1CA9E1"/>
        </a:solidFill>
        <a:effectLst/>
      </p:bgPr>
    </p:bg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9"/>
          <p:cNvSpPr txBox="1">
            <a:spLocks noGrp="1"/>
          </p:cNvSpPr>
          <p:nvPr>
            <p:ph type="title"/>
          </p:nvPr>
        </p:nvSpPr>
        <p:spPr>
          <a:xfrm>
            <a:off x="2" y="1809753"/>
            <a:ext cx="12191998" cy="3019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entury Gothic"/>
              <a:buNone/>
              <a:defRPr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9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9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9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8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E280F7-8C91-4913-BE0D-50FBB1EFD4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D2D713-3074-40E2-9530-1DD5479E6C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7E6C83-B9AD-44FD-B807-537F707E67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5AADA7-24F0-42AD-A913-C072D959C2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5/18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C84790-FE9A-440E-8208-50B45E3196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8F29EA-B2B1-4CAB-B1C4-8E53348342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6312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A04AE-E3EA-4152-98CE-60A34945D7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FC40E0-25B8-4706-A9A3-C60DD84242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8AD7C9-7403-403A-AB66-2F197FCEF7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13D484-EBA4-47AF-A239-8D61917A99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5/18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86263A-0A14-4A12-9DCC-0BD1993889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64E56-6312-46E3-B641-0B25E1F13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7687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3BFA98-EAC6-4294-9564-D098815D4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1EA3C73-20CD-448E-B322-FC118FB80A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40C1C4-C1C4-48E9-8805-146FD09A9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5/1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AE1889-AEE7-4BC0-AC0A-833388B45D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0ACD2D-4242-4AE3-BA19-37BB30FBA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3304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1DFE1C8-A80B-4115-A55D-B80FF06E9C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0345D77-827E-4C72-88E6-3A7E064056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98FE4E-D999-4A97-ABB5-0DD908D72B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6ADB9-D7E3-4566-9005-872D1B33836B}" type="datetimeFigureOut">
              <a:rPr lang="en-US" smtClean="0"/>
              <a:t>5/1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A897D1-E332-4101-A277-5049CB58AC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C8C977-6241-47F7-8C66-8FDD0DDB6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7343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Section Header">
  <p:cSld name="2_Section Header">
    <p:bg>
      <p:bgPr>
        <a:solidFill>
          <a:srgbClr val="035071"/>
        </a:solidFill>
        <a:effectLst/>
      </p:bgPr>
    </p:bg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0"/>
          <p:cNvSpPr txBox="1"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Century Gothic"/>
              <a:buNone/>
              <a:defRPr sz="60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0"/>
          <p:cNvSpPr txBox="1"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8D8D8"/>
              </a:buClr>
              <a:buSzPts val="2400"/>
              <a:buNone/>
              <a:defRPr sz="2400">
                <a:solidFill>
                  <a:srgbClr val="D8D8D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75" name="Google Shape;75;p10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0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0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ue left">
  <p:cSld name="1_Blue left">
    <p:bg>
      <p:bgPr>
        <a:solidFill>
          <a:srgbClr val="035071"/>
        </a:solidFill>
        <a:effectLst/>
      </p:bgPr>
    </p:bg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1"/>
          <p:cNvSpPr txBox="1">
            <a:spLocks noGrp="1"/>
          </p:cNvSpPr>
          <p:nvPr>
            <p:ph type="title"/>
          </p:nvPr>
        </p:nvSpPr>
        <p:spPr>
          <a:xfrm>
            <a:off x="2" y="1809753"/>
            <a:ext cx="6997700" cy="3019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entury Gothic"/>
              <a:buNone/>
              <a:defRPr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1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11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11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ue center">
  <p:cSld name="1_Blue center">
    <p:bg>
      <p:bgPr>
        <a:solidFill>
          <a:srgbClr val="035071"/>
        </a:solidFill>
        <a:effectLst/>
      </p:bgPr>
    </p:bg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2"/>
          <p:cNvSpPr txBox="1">
            <a:spLocks noGrp="1"/>
          </p:cNvSpPr>
          <p:nvPr>
            <p:ph type="title"/>
          </p:nvPr>
        </p:nvSpPr>
        <p:spPr>
          <a:xfrm>
            <a:off x="2" y="1809753"/>
            <a:ext cx="12191998" cy="3019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entury Gothic"/>
              <a:buNone/>
              <a:defRPr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12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12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12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>
  <p:cSld name="Thank you slide">
    <p:bg>
      <p:bgPr>
        <a:solidFill>
          <a:schemeClr val="lt1"/>
        </a:solidFill>
        <a:effectLst/>
      </p:bgPr>
    </p:bg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13"/>
          <p:cNvSpPr txBox="1">
            <a:spLocks noGrp="1"/>
          </p:cNvSpPr>
          <p:nvPr>
            <p:ph type="title"/>
          </p:nvPr>
        </p:nvSpPr>
        <p:spPr>
          <a:xfrm>
            <a:off x="2" y="2427841"/>
            <a:ext cx="12191998" cy="2401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CA9E1"/>
              </a:buClr>
              <a:buSzPts val="4400"/>
              <a:buFont typeface="Century Gothic"/>
              <a:buNone/>
              <a:defRPr b="1">
                <a:solidFill>
                  <a:srgbClr val="1CA9E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13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13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" name="Google Shape;92;p13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  <p:sp>
        <p:nvSpPr>
          <p:cNvPr id="93" name="Google Shape;93;p13"/>
          <p:cNvSpPr/>
          <p:nvPr/>
        </p:nvSpPr>
        <p:spPr>
          <a:xfrm>
            <a:off x="2" y="623087"/>
            <a:ext cx="12192000" cy="1192482"/>
          </a:xfrm>
          <a:prstGeom prst="rect">
            <a:avLst/>
          </a:prstGeom>
          <a:solidFill>
            <a:srgbClr val="1CA9E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94" name="Google Shape;94;p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260058" y="679328"/>
            <a:ext cx="4875298" cy="108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" name="Google Shape;95;p1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055356" y="1831753"/>
            <a:ext cx="1080000" cy="1080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hank you slide">
  <p:cSld name="2_Thank you slide">
    <p:bg>
      <p:bgPr>
        <a:solidFill>
          <a:schemeClr val="lt1"/>
        </a:solidFill>
        <a:effectLst/>
      </p:bgPr>
    </p:bg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14"/>
          <p:cNvSpPr txBox="1">
            <a:spLocks noGrp="1"/>
          </p:cNvSpPr>
          <p:nvPr>
            <p:ph type="title"/>
          </p:nvPr>
        </p:nvSpPr>
        <p:spPr>
          <a:xfrm>
            <a:off x="2" y="2427841"/>
            <a:ext cx="12191998" cy="2401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CA9E1"/>
              </a:buClr>
              <a:buSzPts val="4400"/>
              <a:buFont typeface="Century Gothic"/>
              <a:buNone/>
              <a:defRPr b="1">
                <a:solidFill>
                  <a:srgbClr val="1CA9E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14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14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" name="Google Shape;100;p14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  <p:sp>
        <p:nvSpPr>
          <p:cNvPr id="101" name="Google Shape;101;p14"/>
          <p:cNvSpPr/>
          <p:nvPr/>
        </p:nvSpPr>
        <p:spPr>
          <a:xfrm>
            <a:off x="2" y="1076379"/>
            <a:ext cx="12192000" cy="739190"/>
          </a:xfrm>
          <a:prstGeom prst="rect">
            <a:avLst/>
          </a:prstGeom>
          <a:solidFill>
            <a:srgbClr val="1CA9E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102" name="Google Shape;102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810094" y="1192448"/>
            <a:ext cx="2083334" cy="49379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8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hank you slide">
  <p:cSld name="4_Thank you slide">
    <p:bg>
      <p:bgPr>
        <a:solidFill>
          <a:schemeClr val="lt1"/>
        </a:solidFill>
        <a:effectLst/>
      </p:bgPr>
    </p:bg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15"/>
          <p:cNvSpPr txBox="1">
            <a:spLocks noGrp="1"/>
          </p:cNvSpPr>
          <p:nvPr>
            <p:ph type="title"/>
          </p:nvPr>
        </p:nvSpPr>
        <p:spPr>
          <a:xfrm>
            <a:off x="2" y="2427841"/>
            <a:ext cx="12191998" cy="2401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CA9E1"/>
              </a:buClr>
              <a:buSzPts val="4400"/>
              <a:buFont typeface="Century Gothic"/>
              <a:buNone/>
              <a:defRPr b="1">
                <a:solidFill>
                  <a:srgbClr val="1CA9E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15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p15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15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  <p:sp>
        <p:nvSpPr>
          <p:cNvPr id="108" name="Google Shape;108;p15"/>
          <p:cNvSpPr/>
          <p:nvPr/>
        </p:nvSpPr>
        <p:spPr>
          <a:xfrm>
            <a:off x="2" y="784578"/>
            <a:ext cx="12192000" cy="1170121"/>
          </a:xfrm>
          <a:prstGeom prst="rect">
            <a:avLst/>
          </a:prstGeom>
          <a:solidFill>
            <a:srgbClr val="1CA9E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109" name="Google Shape;109;p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80928" y="860613"/>
            <a:ext cx="4094658" cy="104141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4400"/>
              <a:buFont typeface="Century Gothic"/>
              <a:buNone/>
              <a:defRPr sz="44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l-BE"/>
              <a:t>‹nr.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73" r:id="rId21"/>
    <p:sldLayoutId id="2147483674" r:id="rId2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D2D6A1B-4ACF-49FD-B1B1-CF5594620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F1F7E9-C31D-4844-AB35-42706F78BA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717206-324E-48A7-9E41-758BD89167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36ADB9-D7E3-4566-9005-872D1B33836B}" type="datetimeFigureOut">
              <a:rPr lang="en-US" smtClean="0"/>
              <a:t>5/1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A3F9F2-DEAC-4B0B-B190-24261FF95C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0C84A2-2BFD-41E6-9EF5-CDD06A505D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872331-292A-42A8-84BC-77CAA95997E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513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1.png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7.png"/><Relationship Id="rId11" Type="http://schemas.openxmlformats.org/officeDocument/2006/relationships/image" Target="../media/image42.sv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svg"/><Relationship Id="rId9" Type="http://schemas.openxmlformats.org/officeDocument/2006/relationships/image" Target="../media/image40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Relationship Id="rId6" Type="http://schemas.openxmlformats.org/officeDocument/2006/relationships/hyperlink" Target="https://pixabay.com/en/idea-cloud-think-concept-symbol-48100/" TargetMode="External"/><Relationship Id="rId5" Type="http://schemas.openxmlformats.org/officeDocument/2006/relationships/image" Target="../media/image45.png"/><Relationship Id="rId4" Type="http://schemas.openxmlformats.org/officeDocument/2006/relationships/image" Target="../media/image44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44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4.sv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1.sv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1.jp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.xml"/><Relationship Id="rId6" Type="http://schemas.openxmlformats.org/officeDocument/2006/relationships/image" Target="../media/image20.jpg"/><Relationship Id="rId5" Type="http://schemas.openxmlformats.org/officeDocument/2006/relationships/image" Target="../media/image19.jpg"/><Relationship Id="rId10" Type="http://schemas.openxmlformats.org/officeDocument/2006/relationships/image" Target="../media/image24.png"/><Relationship Id="rId4" Type="http://schemas.openxmlformats.org/officeDocument/2006/relationships/image" Target="../media/image18.jpg"/><Relationship Id="rId9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g"/><Relationship Id="rId13" Type="http://schemas.openxmlformats.org/officeDocument/2006/relationships/image" Target="../media/image26.png"/><Relationship Id="rId3" Type="http://schemas.openxmlformats.org/officeDocument/2006/relationships/tags" Target="../tags/tag3.xml"/><Relationship Id="rId7" Type="http://schemas.openxmlformats.org/officeDocument/2006/relationships/image" Target="../media/image19.jpg"/><Relationship Id="rId12" Type="http://schemas.openxmlformats.org/officeDocument/2006/relationships/image" Target="../media/image2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5.emf"/><Relationship Id="rId11" Type="http://schemas.openxmlformats.org/officeDocument/2006/relationships/image" Target="../media/image20.jp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8.jp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22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13" Type="http://schemas.openxmlformats.org/officeDocument/2006/relationships/image" Target="../media/image26.png"/><Relationship Id="rId3" Type="http://schemas.openxmlformats.org/officeDocument/2006/relationships/tags" Target="../tags/tag5.xml"/><Relationship Id="rId7" Type="http://schemas.openxmlformats.org/officeDocument/2006/relationships/image" Target="../media/image21.jpg"/><Relationship Id="rId12" Type="http://schemas.openxmlformats.org/officeDocument/2006/relationships/image" Target="../media/image2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5.emf"/><Relationship Id="rId11" Type="http://schemas.openxmlformats.org/officeDocument/2006/relationships/image" Target="../media/image18.jp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9.jp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20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13" Type="http://schemas.openxmlformats.org/officeDocument/2006/relationships/image" Target="../media/image23.png"/><Relationship Id="rId3" Type="http://schemas.openxmlformats.org/officeDocument/2006/relationships/tags" Target="../tags/tag7.xml"/><Relationship Id="rId7" Type="http://schemas.openxmlformats.org/officeDocument/2006/relationships/image" Target="../media/image22.jpg"/><Relationship Id="rId12" Type="http://schemas.openxmlformats.org/officeDocument/2006/relationships/image" Target="../media/image27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5.emf"/><Relationship Id="rId11" Type="http://schemas.openxmlformats.org/officeDocument/2006/relationships/image" Target="../media/image19.jp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1.jp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18.jpg"/><Relationship Id="rId1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13" Type="http://schemas.openxmlformats.org/officeDocument/2006/relationships/image" Target="../media/image23.png"/><Relationship Id="rId3" Type="http://schemas.openxmlformats.org/officeDocument/2006/relationships/tags" Target="../tags/tag9.xml"/><Relationship Id="rId7" Type="http://schemas.openxmlformats.org/officeDocument/2006/relationships/image" Target="../media/image20.jpg"/><Relationship Id="rId12" Type="http://schemas.openxmlformats.org/officeDocument/2006/relationships/image" Target="../media/image27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5.emf"/><Relationship Id="rId11" Type="http://schemas.openxmlformats.org/officeDocument/2006/relationships/image" Target="../media/image21.jp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2.jp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19.jpg"/><Relationship Id="rId1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2">
            <a:extLst>
              <a:ext uri="{FF2B5EF4-FFF2-40B4-BE49-F238E27FC236}">
                <a16:creationId xmlns:a16="http://schemas.microsoft.com/office/drawing/2014/main" id="{817756E3-4540-D2DE-5A00-1AF3D07C14AF}"/>
              </a:ext>
            </a:extLst>
          </p:cNvPr>
          <p:cNvGrpSpPr/>
          <p:nvPr/>
        </p:nvGrpSpPr>
        <p:grpSpPr>
          <a:xfrm>
            <a:off x="0" y="-1"/>
            <a:ext cx="12190886" cy="7329060"/>
            <a:chOff x="6087986" y="3398561"/>
            <a:chExt cx="2363963" cy="1478124"/>
          </a:xfrm>
        </p:grpSpPr>
        <p:sp>
          <p:nvSpPr>
            <p:cNvPr id="5" name="Vrije vorm 4">
              <a:extLst>
                <a:ext uri="{FF2B5EF4-FFF2-40B4-BE49-F238E27FC236}">
                  <a16:creationId xmlns:a16="http://schemas.microsoft.com/office/drawing/2014/main" id="{3793B783-4683-1768-97D1-C7EDA21E0136}"/>
                </a:ext>
              </a:extLst>
            </p:cNvPr>
            <p:cNvSpPr/>
            <p:nvPr/>
          </p:nvSpPr>
          <p:spPr>
            <a:xfrm flipV="1">
              <a:off x="6087986" y="3398561"/>
              <a:ext cx="2363963" cy="1383291"/>
            </a:xfrm>
            <a:custGeom>
              <a:avLst/>
              <a:gdLst>
                <a:gd name="connsiteX0" fmla="*/ -2267 w 2363963"/>
                <a:gd name="connsiteY0" fmla="*/ -307 h 1383291"/>
                <a:gd name="connsiteX1" fmla="*/ 2361696 w 2363963"/>
                <a:gd name="connsiteY1" fmla="*/ -307 h 1383291"/>
                <a:gd name="connsiteX2" fmla="*/ 2361696 w 2363963"/>
                <a:gd name="connsiteY2" fmla="*/ 1382984 h 1383291"/>
                <a:gd name="connsiteX3" fmla="*/ -2267 w 2363963"/>
                <a:gd name="connsiteY3" fmla="*/ 1382984 h 1383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3963" h="1383291">
                  <a:moveTo>
                    <a:pt x="-2267" y="-307"/>
                  </a:moveTo>
                  <a:lnTo>
                    <a:pt x="2361696" y="-307"/>
                  </a:lnTo>
                  <a:lnTo>
                    <a:pt x="2361696" y="1382984"/>
                  </a:lnTo>
                  <a:lnTo>
                    <a:pt x="-2267" y="1382984"/>
                  </a:lnTo>
                  <a:close/>
                </a:path>
              </a:pathLst>
            </a:custGeom>
            <a:solidFill>
              <a:srgbClr val="CCEEF3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" name="Vrije vorm 5">
              <a:extLst>
                <a:ext uri="{FF2B5EF4-FFF2-40B4-BE49-F238E27FC236}">
                  <a16:creationId xmlns:a16="http://schemas.microsoft.com/office/drawing/2014/main" id="{3D4E1032-64DE-B9F1-41CF-5D027E9BFBB4}"/>
                </a:ext>
              </a:extLst>
            </p:cNvPr>
            <p:cNvSpPr/>
            <p:nvPr/>
          </p:nvSpPr>
          <p:spPr>
            <a:xfrm flipV="1">
              <a:off x="6125690" y="3508086"/>
              <a:ext cx="2118755" cy="866812"/>
            </a:xfrm>
            <a:custGeom>
              <a:avLst/>
              <a:gdLst>
                <a:gd name="connsiteX0" fmla="*/ 2116547 w 2118755"/>
                <a:gd name="connsiteY0" fmla="*/ -440 h 866812"/>
                <a:gd name="connsiteX1" fmla="*/ 2112219 w 2118755"/>
                <a:gd name="connsiteY1" fmla="*/ -440 h 866812"/>
                <a:gd name="connsiteX2" fmla="*/ 2112333 w 2118755"/>
                <a:gd name="connsiteY2" fmla="*/ -390 h 866812"/>
                <a:gd name="connsiteX3" fmla="*/ 2116547 w 2118755"/>
                <a:gd name="connsiteY3" fmla="*/ -390 h 866812"/>
                <a:gd name="connsiteX4" fmla="*/ 2116547 w 2118755"/>
                <a:gd name="connsiteY4" fmla="*/ -440 h 866812"/>
                <a:gd name="connsiteX5" fmla="*/ 1904956 w 2118755"/>
                <a:gd name="connsiteY5" fmla="*/ -440 h 866812"/>
                <a:gd name="connsiteX6" fmla="*/ 1431509 w 2118755"/>
                <a:gd name="connsiteY6" fmla="*/ -440 h 866812"/>
                <a:gd name="connsiteX7" fmla="*/ 1431509 w 2118755"/>
                <a:gd name="connsiteY7" fmla="*/ 30235 h 866812"/>
                <a:gd name="connsiteX8" fmla="*/ 576367 w 2118755"/>
                <a:gd name="connsiteY8" fmla="*/ 30235 h 866812"/>
                <a:gd name="connsiteX9" fmla="*/ 576367 w 2118755"/>
                <a:gd name="connsiteY9" fmla="*/ -440 h 866812"/>
                <a:gd name="connsiteX10" fmla="*/ -2210 w 2118755"/>
                <a:gd name="connsiteY10" fmla="*/ -440 h 866812"/>
                <a:gd name="connsiteX11" fmla="*/ -2210 w 2118755"/>
                <a:gd name="connsiteY11" fmla="*/ 866373 h 866812"/>
                <a:gd name="connsiteX12" fmla="*/ 24327 w 2118755"/>
                <a:gd name="connsiteY12" fmla="*/ 826482 h 866812"/>
                <a:gd name="connsiteX13" fmla="*/ 77893 w 2118755"/>
                <a:gd name="connsiteY13" fmla="*/ 753394 h 866812"/>
                <a:gd name="connsiteX14" fmla="*/ 50406 w 2118755"/>
                <a:gd name="connsiteY14" fmla="*/ 670779 h 866812"/>
                <a:gd name="connsiteX15" fmla="*/ 50406 w 2118755"/>
                <a:gd name="connsiteY15" fmla="*/ 670744 h 866812"/>
                <a:gd name="connsiteX16" fmla="*/ 50406 w 2118755"/>
                <a:gd name="connsiteY16" fmla="*/ 670402 h 866812"/>
                <a:gd name="connsiteX17" fmla="*/ 50406 w 2118755"/>
                <a:gd name="connsiteY17" fmla="*/ 670337 h 866812"/>
                <a:gd name="connsiteX18" fmla="*/ 50406 w 2118755"/>
                <a:gd name="connsiteY18" fmla="*/ 669995 h 866812"/>
                <a:gd name="connsiteX19" fmla="*/ 50406 w 2118755"/>
                <a:gd name="connsiteY19" fmla="*/ 669995 h 866812"/>
                <a:gd name="connsiteX20" fmla="*/ 50406 w 2118755"/>
                <a:gd name="connsiteY20" fmla="*/ 669995 h 866812"/>
                <a:gd name="connsiteX21" fmla="*/ 56751 w 2118755"/>
                <a:gd name="connsiteY21" fmla="*/ 628159 h 866812"/>
                <a:gd name="connsiteX22" fmla="*/ 193086 w 2118755"/>
                <a:gd name="connsiteY22" fmla="*/ 520259 h 866812"/>
                <a:gd name="connsiteX23" fmla="*/ 264838 w 2118755"/>
                <a:gd name="connsiteY23" fmla="*/ 540024 h 866812"/>
                <a:gd name="connsiteX24" fmla="*/ 389917 w 2118755"/>
                <a:gd name="connsiteY24" fmla="*/ 438662 h 866812"/>
                <a:gd name="connsiteX25" fmla="*/ 389917 w 2118755"/>
                <a:gd name="connsiteY25" fmla="*/ 168777 h 866812"/>
                <a:gd name="connsiteX26" fmla="*/ 1614964 w 2118755"/>
                <a:gd name="connsiteY26" fmla="*/ 168777 h 866812"/>
                <a:gd name="connsiteX27" fmla="*/ 1614964 w 2118755"/>
                <a:gd name="connsiteY27" fmla="*/ 363097 h 866812"/>
                <a:gd name="connsiteX28" fmla="*/ 1673125 w 2118755"/>
                <a:gd name="connsiteY28" fmla="*/ 388944 h 866812"/>
                <a:gd name="connsiteX29" fmla="*/ 1732466 w 2118755"/>
                <a:gd name="connsiteY29" fmla="*/ 417910 h 866812"/>
                <a:gd name="connsiteX30" fmla="*/ 1732466 w 2118755"/>
                <a:gd name="connsiteY30" fmla="*/ -390 h 866812"/>
                <a:gd name="connsiteX31" fmla="*/ 1752822 w 2118755"/>
                <a:gd name="connsiteY31" fmla="*/ -390 h 866812"/>
                <a:gd name="connsiteX32" fmla="*/ 1904956 w 2118755"/>
                <a:gd name="connsiteY32" fmla="*/ -390 h 866812"/>
                <a:gd name="connsiteX33" fmla="*/ 1904956 w 2118755"/>
                <a:gd name="connsiteY33" fmla="*/ -440 h 866812"/>
                <a:gd name="connsiteX34" fmla="*/ 1040538 w 2118755"/>
                <a:gd name="connsiteY34" fmla="*/ 30235 h 866812"/>
                <a:gd name="connsiteX35" fmla="*/ 1040538 w 2118755"/>
                <a:gd name="connsiteY35" fmla="*/ 30235 h 866812"/>
                <a:gd name="connsiteX36" fmla="*/ 1431509 w 2118755"/>
                <a:gd name="connsiteY36" fmla="*/ 30235 h 866812"/>
                <a:gd name="connsiteX37" fmla="*/ 1378906 w 2118755"/>
                <a:gd name="connsiteY37" fmla="*/ 133318 h 866812"/>
                <a:gd name="connsiteX38" fmla="*/ 629744 w 2118755"/>
                <a:gd name="connsiteY38" fmla="*/ 133318 h 866812"/>
                <a:gd name="connsiteX39" fmla="*/ 576367 w 2118755"/>
                <a:gd name="connsiteY39" fmla="*/ 30235 h 866812"/>
                <a:gd name="connsiteX40" fmla="*/ 1040538 w 2118755"/>
                <a:gd name="connsiteY40" fmla="*/ 30235 h 866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118755" h="866812">
                  <a:moveTo>
                    <a:pt x="2116547" y="-440"/>
                  </a:moveTo>
                  <a:lnTo>
                    <a:pt x="2112219" y="-440"/>
                  </a:lnTo>
                  <a:lnTo>
                    <a:pt x="2112333" y="-390"/>
                  </a:lnTo>
                  <a:lnTo>
                    <a:pt x="2116547" y="-390"/>
                  </a:lnTo>
                  <a:lnTo>
                    <a:pt x="2116547" y="-440"/>
                  </a:lnTo>
                  <a:moveTo>
                    <a:pt x="1904956" y="-440"/>
                  </a:moveTo>
                  <a:lnTo>
                    <a:pt x="1431509" y="-440"/>
                  </a:lnTo>
                  <a:lnTo>
                    <a:pt x="1431509" y="30235"/>
                  </a:lnTo>
                  <a:lnTo>
                    <a:pt x="576367" y="30235"/>
                  </a:lnTo>
                  <a:lnTo>
                    <a:pt x="576367" y="-440"/>
                  </a:lnTo>
                  <a:lnTo>
                    <a:pt x="-2210" y="-440"/>
                  </a:lnTo>
                  <a:lnTo>
                    <a:pt x="-2210" y="866373"/>
                  </a:lnTo>
                  <a:cubicBezTo>
                    <a:pt x="6268" y="852909"/>
                    <a:pt x="15164" y="839629"/>
                    <a:pt x="24327" y="826482"/>
                  </a:cubicBezTo>
                  <a:cubicBezTo>
                    <a:pt x="41471" y="801906"/>
                    <a:pt x="59390" y="777538"/>
                    <a:pt x="77893" y="753394"/>
                  </a:cubicBezTo>
                  <a:cubicBezTo>
                    <a:pt x="60761" y="730280"/>
                    <a:pt x="50583" y="701715"/>
                    <a:pt x="50406" y="670779"/>
                  </a:cubicBezTo>
                  <a:cubicBezTo>
                    <a:pt x="50406" y="670769"/>
                    <a:pt x="50406" y="670754"/>
                    <a:pt x="50406" y="670744"/>
                  </a:cubicBezTo>
                  <a:cubicBezTo>
                    <a:pt x="50406" y="670630"/>
                    <a:pt x="50406" y="670501"/>
                    <a:pt x="50406" y="670402"/>
                  </a:cubicBezTo>
                  <a:cubicBezTo>
                    <a:pt x="50406" y="670371"/>
                    <a:pt x="50406" y="670363"/>
                    <a:pt x="50406" y="670337"/>
                  </a:cubicBezTo>
                  <a:cubicBezTo>
                    <a:pt x="50406" y="670223"/>
                    <a:pt x="50406" y="670109"/>
                    <a:pt x="50406" y="669995"/>
                  </a:cubicBezTo>
                  <a:lnTo>
                    <a:pt x="50406" y="669995"/>
                  </a:lnTo>
                  <a:lnTo>
                    <a:pt x="50406" y="669995"/>
                  </a:lnTo>
                  <a:cubicBezTo>
                    <a:pt x="50406" y="655415"/>
                    <a:pt x="52626" y="641366"/>
                    <a:pt x="56751" y="628159"/>
                  </a:cubicBezTo>
                  <a:cubicBezTo>
                    <a:pt x="71307" y="566296"/>
                    <a:pt x="126816" y="520259"/>
                    <a:pt x="193086" y="520259"/>
                  </a:cubicBezTo>
                  <a:cubicBezTo>
                    <a:pt x="219317" y="520259"/>
                    <a:pt x="243848" y="527473"/>
                    <a:pt x="264838" y="540024"/>
                  </a:cubicBezTo>
                  <a:cubicBezTo>
                    <a:pt x="303443" y="503967"/>
                    <a:pt x="345182" y="469906"/>
                    <a:pt x="389917" y="438662"/>
                  </a:cubicBezTo>
                  <a:lnTo>
                    <a:pt x="389917" y="168777"/>
                  </a:lnTo>
                  <a:lnTo>
                    <a:pt x="1614964" y="168777"/>
                  </a:lnTo>
                  <a:lnTo>
                    <a:pt x="1614964" y="363097"/>
                  </a:lnTo>
                  <a:cubicBezTo>
                    <a:pt x="1634584" y="371466"/>
                    <a:pt x="1653975" y="380093"/>
                    <a:pt x="1673125" y="388944"/>
                  </a:cubicBezTo>
                  <a:cubicBezTo>
                    <a:pt x="1693239" y="398225"/>
                    <a:pt x="1713024" y="407890"/>
                    <a:pt x="1732466" y="417910"/>
                  </a:cubicBezTo>
                  <a:lnTo>
                    <a:pt x="1732466" y="-390"/>
                  </a:lnTo>
                  <a:lnTo>
                    <a:pt x="1752822" y="-390"/>
                  </a:lnTo>
                  <a:lnTo>
                    <a:pt x="1904956" y="-390"/>
                  </a:lnTo>
                  <a:lnTo>
                    <a:pt x="1904956" y="-440"/>
                  </a:lnTo>
                  <a:moveTo>
                    <a:pt x="1040538" y="30235"/>
                  </a:moveTo>
                  <a:lnTo>
                    <a:pt x="1040538" y="30235"/>
                  </a:lnTo>
                  <a:lnTo>
                    <a:pt x="1431509" y="30235"/>
                  </a:lnTo>
                  <a:lnTo>
                    <a:pt x="1378906" y="133318"/>
                  </a:lnTo>
                  <a:lnTo>
                    <a:pt x="629744" y="133318"/>
                  </a:lnTo>
                  <a:lnTo>
                    <a:pt x="576367" y="30235"/>
                  </a:lnTo>
                  <a:lnTo>
                    <a:pt x="1040538" y="30235"/>
                  </a:lnTo>
                </a:path>
              </a:pathLst>
            </a:custGeom>
            <a:solidFill>
              <a:srgbClr val="A3DCE7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" name="Vrije vorm 7">
              <a:extLst>
                <a:ext uri="{FF2B5EF4-FFF2-40B4-BE49-F238E27FC236}">
                  <a16:creationId xmlns:a16="http://schemas.microsoft.com/office/drawing/2014/main" id="{3A92C814-D721-6027-3A6E-BC32F5E97BA3}"/>
                </a:ext>
              </a:extLst>
            </p:cNvPr>
            <p:cNvSpPr/>
            <p:nvPr/>
          </p:nvSpPr>
          <p:spPr>
            <a:xfrm flipV="1">
              <a:off x="6385428" y="3672322"/>
              <a:ext cx="75610" cy="162112"/>
            </a:xfrm>
            <a:custGeom>
              <a:avLst/>
              <a:gdLst>
                <a:gd name="connsiteX0" fmla="*/ 5621 w 75610"/>
                <a:gd name="connsiteY0" fmla="*/ -608 h 162112"/>
                <a:gd name="connsiteX1" fmla="*/ -1689 w 75610"/>
                <a:gd name="connsiteY1" fmla="*/ 6263 h 162112"/>
                <a:gd name="connsiteX2" fmla="*/ 71320 w 75610"/>
                <a:gd name="connsiteY2" fmla="*/ 129364 h 162112"/>
                <a:gd name="connsiteX3" fmla="*/ 71320 w 75610"/>
                <a:gd name="connsiteY3" fmla="*/ 129364 h 162112"/>
                <a:gd name="connsiteX4" fmla="*/ 71320 w 75610"/>
                <a:gd name="connsiteY4" fmla="*/ 129364 h 162112"/>
                <a:gd name="connsiteX5" fmla="*/ 71320 w 75610"/>
                <a:gd name="connsiteY5" fmla="*/ 129651 h 162112"/>
                <a:gd name="connsiteX6" fmla="*/ 71320 w 75610"/>
                <a:gd name="connsiteY6" fmla="*/ 129740 h 162112"/>
                <a:gd name="connsiteX7" fmla="*/ 71320 w 75610"/>
                <a:gd name="connsiteY7" fmla="*/ 130033 h 162112"/>
                <a:gd name="connsiteX8" fmla="*/ 71320 w 75610"/>
                <a:gd name="connsiteY8" fmla="*/ 130048 h 162112"/>
                <a:gd name="connsiteX9" fmla="*/ 71320 w 75610"/>
                <a:gd name="connsiteY9" fmla="*/ 130351 h 162112"/>
                <a:gd name="connsiteX10" fmla="*/ 71320 w 75610"/>
                <a:gd name="connsiteY10" fmla="*/ 130415 h 162112"/>
                <a:gd name="connsiteX11" fmla="*/ 71320 w 75610"/>
                <a:gd name="connsiteY11" fmla="*/ 130723 h 162112"/>
                <a:gd name="connsiteX12" fmla="*/ 71320 w 75610"/>
                <a:gd name="connsiteY12" fmla="*/ 130747 h 162112"/>
                <a:gd name="connsiteX13" fmla="*/ 71307 w 75610"/>
                <a:gd name="connsiteY13" fmla="*/ 131025 h 162112"/>
                <a:gd name="connsiteX14" fmla="*/ 71307 w 75610"/>
                <a:gd name="connsiteY14" fmla="*/ 131090 h 162112"/>
                <a:gd name="connsiteX15" fmla="*/ 71307 w 75610"/>
                <a:gd name="connsiteY15" fmla="*/ 131407 h 162112"/>
                <a:gd name="connsiteX16" fmla="*/ 71307 w 75610"/>
                <a:gd name="connsiteY16" fmla="*/ 131407 h 162112"/>
                <a:gd name="connsiteX17" fmla="*/ 71307 w 75610"/>
                <a:gd name="connsiteY17" fmla="*/ 131710 h 162112"/>
                <a:gd name="connsiteX18" fmla="*/ 71307 w 75610"/>
                <a:gd name="connsiteY18" fmla="*/ 131774 h 162112"/>
                <a:gd name="connsiteX19" fmla="*/ 71294 w 75610"/>
                <a:gd name="connsiteY19" fmla="*/ 132409 h 162112"/>
                <a:gd name="connsiteX20" fmla="*/ 71294 w 75610"/>
                <a:gd name="connsiteY20" fmla="*/ 132449 h 162112"/>
                <a:gd name="connsiteX21" fmla="*/ 71269 w 75610"/>
                <a:gd name="connsiteY21" fmla="*/ 133109 h 162112"/>
                <a:gd name="connsiteX22" fmla="*/ 71269 w 75610"/>
                <a:gd name="connsiteY22" fmla="*/ 133119 h 162112"/>
                <a:gd name="connsiteX23" fmla="*/ 67627 w 75610"/>
                <a:gd name="connsiteY23" fmla="*/ 161505 h 162112"/>
                <a:gd name="connsiteX24" fmla="*/ 73921 w 75610"/>
                <a:gd name="connsiteY24" fmla="*/ 119798 h 162112"/>
                <a:gd name="connsiteX25" fmla="*/ 5621 w 75610"/>
                <a:gd name="connsiteY25" fmla="*/ -608 h 162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5610" h="162112">
                  <a:moveTo>
                    <a:pt x="5621" y="-608"/>
                  </a:moveTo>
                  <a:cubicBezTo>
                    <a:pt x="3171" y="1675"/>
                    <a:pt x="735" y="3961"/>
                    <a:pt x="-1689" y="6263"/>
                  </a:cubicBezTo>
                  <a:cubicBezTo>
                    <a:pt x="41814" y="30045"/>
                    <a:pt x="71320" y="76251"/>
                    <a:pt x="71320" y="129364"/>
                  </a:cubicBezTo>
                  <a:lnTo>
                    <a:pt x="71320" y="129364"/>
                  </a:lnTo>
                  <a:lnTo>
                    <a:pt x="71320" y="129364"/>
                  </a:lnTo>
                  <a:cubicBezTo>
                    <a:pt x="71320" y="129453"/>
                    <a:pt x="71320" y="129552"/>
                    <a:pt x="71320" y="129651"/>
                  </a:cubicBezTo>
                  <a:cubicBezTo>
                    <a:pt x="71320" y="129681"/>
                    <a:pt x="71320" y="129706"/>
                    <a:pt x="71320" y="129740"/>
                  </a:cubicBezTo>
                  <a:cubicBezTo>
                    <a:pt x="71320" y="129830"/>
                    <a:pt x="71320" y="129934"/>
                    <a:pt x="71320" y="130033"/>
                  </a:cubicBezTo>
                  <a:cubicBezTo>
                    <a:pt x="71320" y="130048"/>
                    <a:pt x="71320" y="130048"/>
                    <a:pt x="71320" y="130048"/>
                  </a:cubicBezTo>
                  <a:cubicBezTo>
                    <a:pt x="71320" y="130147"/>
                    <a:pt x="71320" y="130252"/>
                    <a:pt x="71320" y="130351"/>
                  </a:cubicBezTo>
                  <a:cubicBezTo>
                    <a:pt x="71320" y="130366"/>
                    <a:pt x="71320" y="130390"/>
                    <a:pt x="71320" y="130415"/>
                  </a:cubicBezTo>
                  <a:cubicBezTo>
                    <a:pt x="71320" y="130520"/>
                    <a:pt x="71320" y="130619"/>
                    <a:pt x="71320" y="130723"/>
                  </a:cubicBezTo>
                  <a:cubicBezTo>
                    <a:pt x="71320" y="130723"/>
                    <a:pt x="71320" y="130733"/>
                    <a:pt x="71320" y="130747"/>
                  </a:cubicBezTo>
                  <a:cubicBezTo>
                    <a:pt x="71320" y="130837"/>
                    <a:pt x="71320" y="130936"/>
                    <a:pt x="71307" y="131025"/>
                  </a:cubicBezTo>
                  <a:cubicBezTo>
                    <a:pt x="71307" y="131050"/>
                    <a:pt x="71307" y="131075"/>
                    <a:pt x="71307" y="131090"/>
                  </a:cubicBezTo>
                  <a:cubicBezTo>
                    <a:pt x="71307" y="131204"/>
                    <a:pt x="71307" y="131303"/>
                    <a:pt x="71307" y="131407"/>
                  </a:cubicBezTo>
                  <a:lnTo>
                    <a:pt x="71307" y="131407"/>
                  </a:lnTo>
                  <a:cubicBezTo>
                    <a:pt x="71307" y="131522"/>
                    <a:pt x="71307" y="131611"/>
                    <a:pt x="71307" y="131710"/>
                  </a:cubicBezTo>
                  <a:cubicBezTo>
                    <a:pt x="71307" y="131735"/>
                    <a:pt x="71307" y="131749"/>
                    <a:pt x="71307" y="131774"/>
                  </a:cubicBezTo>
                  <a:cubicBezTo>
                    <a:pt x="71294" y="131993"/>
                    <a:pt x="71294" y="132191"/>
                    <a:pt x="71294" y="132409"/>
                  </a:cubicBezTo>
                  <a:cubicBezTo>
                    <a:pt x="71294" y="132425"/>
                    <a:pt x="71294" y="132435"/>
                    <a:pt x="71294" y="132449"/>
                  </a:cubicBezTo>
                  <a:cubicBezTo>
                    <a:pt x="71282" y="132662"/>
                    <a:pt x="71282" y="132881"/>
                    <a:pt x="71269" y="133109"/>
                  </a:cubicBezTo>
                  <a:cubicBezTo>
                    <a:pt x="71269" y="133109"/>
                    <a:pt x="71269" y="133109"/>
                    <a:pt x="71269" y="133119"/>
                  </a:cubicBezTo>
                  <a:cubicBezTo>
                    <a:pt x="71015" y="142861"/>
                    <a:pt x="69772" y="152362"/>
                    <a:pt x="67627" y="161505"/>
                  </a:cubicBezTo>
                  <a:cubicBezTo>
                    <a:pt x="71713" y="148334"/>
                    <a:pt x="73921" y="134314"/>
                    <a:pt x="73921" y="119798"/>
                  </a:cubicBezTo>
                  <a:cubicBezTo>
                    <a:pt x="73921" y="68617"/>
                    <a:pt x="46535" y="23864"/>
                    <a:pt x="5621" y="-608"/>
                  </a:cubicBezTo>
                </a:path>
              </a:pathLst>
            </a:custGeom>
            <a:solidFill>
              <a:srgbClr val="9BB69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" name="Vrije vorm 8">
              <a:extLst>
                <a:ext uri="{FF2B5EF4-FFF2-40B4-BE49-F238E27FC236}">
                  <a16:creationId xmlns:a16="http://schemas.microsoft.com/office/drawing/2014/main" id="{D818B67D-3E89-62FC-C9A9-5818C267311C}"/>
                </a:ext>
              </a:extLst>
            </p:cNvPr>
            <p:cNvSpPr/>
            <p:nvPr/>
          </p:nvSpPr>
          <p:spPr>
            <a:xfrm flipV="1">
              <a:off x="6184651" y="3746299"/>
              <a:ext cx="208087" cy="107900"/>
            </a:xfrm>
            <a:custGeom>
              <a:avLst/>
              <a:gdLst>
                <a:gd name="connsiteX0" fmla="*/ 134738 w 208087"/>
                <a:gd name="connsiteY0" fmla="*/ -566 h 107900"/>
                <a:gd name="connsiteX1" fmla="*/ -1597 w 208087"/>
                <a:gd name="connsiteY1" fmla="*/ 107334 h 107900"/>
                <a:gd name="connsiteX2" fmla="*/ 132123 w 208087"/>
                <a:gd name="connsiteY2" fmla="*/ 8985 h 107900"/>
                <a:gd name="connsiteX3" fmla="*/ 199180 w 208087"/>
                <a:gd name="connsiteY3" fmla="*/ 26070 h 107900"/>
                <a:gd name="connsiteX4" fmla="*/ 206490 w 208087"/>
                <a:gd name="connsiteY4" fmla="*/ 19199 h 107900"/>
                <a:gd name="connsiteX5" fmla="*/ 134738 w 208087"/>
                <a:gd name="connsiteY5" fmla="*/ -566 h 10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8087" h="107900">
                  <a:moveTo>
                    <a:pt x="134738" y="-566"/>
                  </a:moveTo>
                  <a:cubicBezTo>
                    <a:pt x="68467" y="-566"/>
                    <a:pt x="12959" y="45472"/>
                    <a:pt x="-1597" y="107334"/>
                  </a:cubicBezTo>
                  <a:cubicBezTo>
                    <a:pt x="16182" y="50349"/>
                    <a:pt x="69330" y="8985"/>
                    <a:pt x="132123" y="8985"/>
                  </a:cubicBezTo>
                  <a:cubicBezTo>
                    <a:pt x="156413" y="8985"/>
                    <a:pt x="179269" y="15186"/>
                    <a:pt x="199180" y="26070"/>
                  </a:cubicBezTo>
                  <a:cubicBezTo>
                    <a:pt x="201604" y="23767"/>
                    <a:pt x="204041" y="21482"/>
                    <a:pt x="206490" y="19199"/>
                  </a:cubicBezTo>
                  <a:cubicBezTo>
                    <a:pt x="185500" y="6648"/>
                    <a:pt x="160969" y="-566"/>
                    <a:pt x="134738" y="-566"/>
                  </a:cubicBezTo>
                </a:path>
              </a:pathLst>
            </a:custGeom>
            <a:solidFill>
              <a:srgbClr val="79A78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" name="Vrije vorm 9">
              <a:extLst>
                <a:ext uri="{FF2B5EF4-FFF2-40B4-BE49-F238E27FC236}">
                  <a16:creationId xmlns:a16="http://schemas.microsoft.com/office/drawing/2014/main" id="{270EC8DA-01B0-F8B2-0C28-87394C5BBDC3}"/>
                </a:ext>
              </a:extLst>
            </p:cNvPr>
            <p:cNvSpPr/>
            <p:nvPr/>
          </p:nvSpPr>
          <p:spPr>
            <a:xfrm flipV="1">
              <a:off x="6178305" y="3564297"/>
              <a:ext cx="280131" cy="280351"/>
            </a:xfrm>
            <a:custGeom>
              <a:avLst/>
              <a:gdLst>
                <a:gd name="connsiteX0" fmla="*/ 278514 w 280131"/>
                <a:gd name="connsiteY0" fmla="*/ 139535 h 280351"/>
                <a:gd name="connsiteX1" fmla="*/ 138448 w 280131"/>
                <a:gd name="connsiteY1" fmla="*/ -651 h 280351"/>
                <a:gd name="connsiteX2" fmla="*/ -1618 w 280131"/>
                <a:gd name="connsiteY2" fmla="*/ 139535 h 280351"/>
                <a:gd name="connsiteX3" fmla="*/ 138448 w 280131"/>
                <a:gd name="connsiteY3" fmla="*/ 279701 h 280351"/>
                <a:gd name="connsiteX4" fmla="*/ 278514 w 280131"/>
                <a:gd name="connsiteY4" fmla="*/ 139535 h 280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131" h="280351">
                  <a:moveTo>
                    <a:pt x="278514" y="139535"/>
                  </a:moveTo>
                  <a:cubicBezTo>
                    <a:pt x="278514" y="62115"/>
                    <a:pt x="215810" y="-651"/>
                    <a:pt x="138448" y="-651"/>
                  </a:cubicBezTo>
                  <a:cubicBezTo>
                    <a:pt x="61087" y="-651"/>
                    <a:pt x="-1618" y="62115"/>
                    <a:pt x="-1618" y="139535"/>
                  </a:cubicBezTo>
                  <a:cubicBezTo>
                    <a:pt x="-1618" y="216940"/>
                    <a:pt x="61087" y="279701"/>
                    <a:pt x="138448" y="279701"/>
                  </a:cubicBezTo>
                  <a:cubicBezTo>
                    <a:pt x="215810" y="279701"/>
                    <a:pt x="278514" y="216940"/>
                    <a:pt x="278514" y="139535"/>
                  </a:cubicBezTo>
                </a:path>
              </a:pathLst>
            </a:custGeom>
            <a:solidFill>
              <a:srgbClr val="EF3120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" name="Vrije vorm 10">
              <a:extLst>
                <a:ext uri="{FF2B5EF4-FFF2-40B4-BE49-F238E27FC236}">
                  <a16:creationId xmlns:a16="http://schemas.microsoft.com/office/drawing/2014/main" id="{D1B03727-AD79-F055-3818-4EC400DF9CF6}"/>
                </a:ext>
              </a:extLst>
            </p:cNvPr>
            <p:cNvSpPr/>
            <p:nvPr/>
          </p:nvSpPr>
          <p:spPr>
            <a:xfrm flipV="1">
              <a:off x="6184463" y="3567945"/>
              <a:ext cx="264176" cy="142808"/>
            </a:xfrm>
            <a:custGeom>
              <a:avLst/>
              <a:gdLst>
                <a:gd name="connsiteX0" fmla="*/ -845 w 264176"/>
                <a:gd name="connsiteY0" fmla="*/ -709 h 142808"/>
                <a:gd name="connsiteX1" fmla="*/ -1543 w 264176"/>
                <a:gd name="connsiteY1" fmla="*/ 16386 h 142808"/>
                <a:gd name="connsiteX2" fmla="*/ 690 w 264176"/>
                <a:gd name="connsiteY2" fmla="*/ 35958 h 142808"/>
                <a:gd name="connsiteX3" fmla="*/ 7937 w 264176"/>
                <a:gd name="connsiteY3" fmla="*/ 60510 h 142808"/>
                <a:gd name="connsiteX4" fmla="*/ 23000 w 264176"/>
                <a:gd name="connsiteY4" fmla="*/ 86847 h 142808"/>
                <a:gd name="connsiteX5" fmla="*/ 47074 w 264176"/>
                <a:gd name="connsiteY5" fmla="*/ 110495 h 142808"/>
                <a:gd name="connsiteX6" fmla="*/ 78141 w 264176"/>
                <a:gd name="connsiteY6" fmla="*/ 128528 h 142808"/>
                <a:gd name="connsiteX7" fmla="*/ 86644 w 264176"/>
                <a:gd name="connsiteY7" fmla="*/ 132120 h 142808"/>
                <a:gd name="connsiteX8" fmla="*/ 95375 w 264176"/>
                <a:gd name="connsiteY8" fmla="*/ 135245 h 142808"/>
                <a:gd name="connsiteX9" fmla="*/ 104322 w 264176"/>
                <a:gd name="connsiteY9" fmla="*/ 137875 h 142808"/>
                <a:gd name="connsiteX10" fmla="*/ 108852 w 264176"/>
                <a:gd name="connsiteY10" fmla="*/ 139021 h 142808"/>
                <a:gd name="connsiteX11" fmla="*/ 113459 w 264176"/>
                <a:gd name="connsiteY11" fmla="*/ 139919 h 142808"/>
                <a:gd name="connsiteX12" fmla="*/ 118078 w 264176"/>
                <a:gd name="connsiteY12" fmla="*/ 140757 h 142808"/>
                <a:gd name="connsiteX13" fmla="*/ 122723 w 264176"/>
                <a:gd name="connsiteY13" fmla="*/ 141317 h 142808"/>
                <a:gd name="connsiteX14" fmla="*/ 127380 w 264176"/>
                <a:gd name="connsiteY14" fmla="*/ 141798 h 142808"/>
                <a:gd name="connsiteX15" fmla="*/ 132051 w 264176"/>
                <a:gd name="connsiteY15" fmla="*/ 142017 h 142808"/>
                <a:gd name="connsiteX16" fmla="*/ 150655 w 264176"/>
                <a:gd name="connsiteY16" fmla="*/ 141253 h 142808"/>
                <a:gd name="connsiteX17" fmla="*/ 185503 w 264176"/>
                <a:gd name="connsiteY17" fmla="*/ 131474 h 142808"/>
                <a:gd name="connsiteX18" fmla="*/ 214451 w 264176"/>
                <a:gd name="connsiteY18" fmla="*/ 113908 h 142808"/>
                <a:gd name="connsiteX19" fmla="*/ 236101 w 264176"/>
                <a:gd name="connsiteY19" fmla="*/ 92690 h 142808"/>
                <a:gd name="connsiteX20" fmla="*/ 250555 w 264176"/>
                <a:gd name="connsiteY20" fmla="*/ 71568 h 142808"/>
                <a:gd name="connsiteX21" fmla="*/ 258639 w 264176"/>
                <a:gd name="connsiteY21" fmla="*/ 53598 h 142808"/>
                <a:gd name="connsiteX22" fmla="*/ 260720 w 264176"/>
                <a:gd name="connsiteY22" fmla="*/ 46629 h 142808"/>
                <a:gd name="connsiteX23" fmla="*/ 261901 w 264176"/>
                <a:gd name="connsiteY23" fmla="*/ 41345 h 142808"/>
                <a:gd name="connsiteX24" fmla="*/ 262561 w 264176"/>
                <a:gd name="connsiteY24" fmla="*/ 36935 h 142808"/>
                <a:gd name="connsiteX25" fmla="*/ 262218 w 264176"/>
                <a:gd name="connsiteY25" fmla="*/ 36870 h 142808"/>
                <a:gd name="connsiteX26" fmla="*/ 261266 w 264176"/>
                <a:gd name="connsiteY26" fmla="*/ 41216 h 142808"/>
                <a:gd name="connsiteX27" fmla="*/ 259819 w 264176"/>
                <a:gd name="connsiteY27" fmla="*/ 46345 h 142808"/>
                <a:gd name="connsiteX28" fmla="*/ 257357 w 264176"/>
                <a:gd name="connsiteY28" fmla="*/ 53127 h 142808"/>
                <a:gd name="connsiteX29" fmla="*/ 233842 w 264176"/>
                <a:gd name="connsiteY29" fmla="*/ 90746 h 142808"/>
                <a:gd name="connsiteX30" fmla="*/ 212280 w 264176"/>
                <a:gd name="connsiteY30" fmla="*/ 111115 h 142808"/>
                <a:gd name="connsiteX31" fmla="*/ 198968 w 264176"/>
                <a:gd name="connsiteY31" fmla="*/ 120348 h 142808"/>
                <a:gd name="connsiteX32" fmla="*/ 191696 w 264176"/>
                <a:gd name="connsiteY32" fmla="*/ 124476 h 142808"/>
                <a:gd name="connsiteX33" fmla="*/ 184069 w 264176"/>
                <a:gd name="connsiteY33" fmla="*/ 128250 h 142808"/>
                <a:gd name="connsiteX34" fmla="*/ 150249 w 264176"/>
                <a:gd name="connsiteY34" fmla="*/ 138256 h 142808"/>
                <a:gd name="connsiteX35" fmla="*/ 113776 w 264176"/>
                <a:gd name="connsiteY35" fmla="*/ 138078 h 142808"/>
                <a:gd name="connsiteX36" fmla="*/ 109195 w 264176"/>
                <a:gd name="connsiteY36" fmla="*/ 137329 h 142808"/>
                <a:gd name="connsiteX37" fmla="*/ 104677 w 264176"/>
                <a:gd name="connsiteY37" fmla="*/ 136351 h 142808"/>
                <a:gd name="connsiteX38" fmla="*/ 95794 w 264176"/>
                <a:gd name="connsiteY38" fmla="*/ 134014 h 142808"/>
                <a:gd name="connsiteX39" fmla="*/ 87075 w 264176"/>
                <a:gd name="connsiteY39" fmla="*/ 131019 h 142808"/>
                <a:gd name="connsiteX40" fmla="*/ 78573 w 264176"/>
                <a:gd name="connsiteY40" fmla="*/ 127576 h 142808"/>
                <a:gd name="connsiteX41" fmla="*/ 48204 w 264176"/>
                <a:gd name="connsiteY41" fmla="*/ 109046 h 142808"/>
                <a:gd name="connsiteX42" fmla="*/ 44917 w 264176"/>
                <a:gd name="connsiteY42" fmla="*/ 106254 h 142808"/>
                <a:gd name="connsiteX43" fmla="*/ 41706 w 264176"/>
                <a:gd name="connsiteY43" fmla="*/ 103430 h 142808"/>
                <a:gd name="connsiteX44" fmla="*/ 35755 w 264176"/>
                <a:gd name="connsiteY44" fmla="*/ 97512 h 142808"/>
                <a:gd name="connsiteX45" fmla="*/ 25399 w 264176"/>
                <a:gd name="connsiteY45" fmla="*/ 85046 h 142808"/>
                <a:gd name="connsiteX46" fmla="*/ 10627 w 264176"/>
                <a:gd name="connsiteY46" fmla="*/ 59378 h 142808"/>
                <a:gd name="connsiteX47" fmla="*/ 2886 w 264176"/>
                <a:gd name="connsiteY47" fmla="*/ 35516 h 142808"/>
                <a:gd name="connsiteX48" fmla="*/ -96 w 264176"/>
                <a:gd name="connsiteY48" fmla="*/ 16297 h 142808"/>
                <a:gd name="connsiteX49" fmla="*/ -629 w 264176"/>
                <a:gd name="connsiteY49" fmla="*/ 3766 h 142808"/>
                <a:gd name="connsiteX50" fmla="*/ -490 w 264176"/>
                <a:gd name="connsiteY50" fmla="*/ -694 h 142808"/>
                <a:gd name="connsiteX51" fmla="*/ -845 w 264176"/>
                <a:gd name="connsiteY51" fmla="*/ -709 h 142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64176" h="142808">
                  <a:moveTo>
                    <a:pt x="-845" y="-709"/>
                  </a:moveTo>
                  <a:cubicBezTo>
                    <a:pt x="-845" y="-709"/>
                    <a:pt x="-1899" y="5453"/>
                    <a:pt x="-1543" y="16386"/>
                  </a:cubicBezTo>
                  <a:cubicBezTo>
                    <a:pt x="-1353" y="21833"/>
                    <a:pt x="-718" y="28466"/>
                    <a:pt x="690" y="35958"/>
                  </a:cubicBezTo>
                  <a:cubicBezTo>
                    <a:pt x="2099" y="43464"/>
                    <a:pt x="4409" y="51782"/>
                    <a:pt x="7937" y="60510"/>
                  </a:cubicBezTo>
                  <a:cubicBezTo>
                    <a:pt x="11528" y="69231"/>
                    <a:pt x="16490" y="78249"/>
                    <a:pt x="23000" y="86847"/>
                  </a:cubicBezTo>
                  <a:cubicBezTo>
                    <a:pt x="29473" y="95469"/>
                    <a:pt x="37671" y="103510"/>
                    <a:pt x="47074" y="110495"/>
                  </a:cubicBezTo>
                  <a:cubicBezTo>
                    <a:pt x="56478" y="117465"/>
                    <a:pt x="67011" y="123474"/>
                    <a:pt x="78141" y="128528"/>
                  </a:cubicBezTo>
                  <a:cubicBezTo>
                    <a:pt x="80920" y="129774"/>
                    <a:pt x="83776" y="131107"/>
                    <a:pt x="86644" y="132120"/>
                  </a:cubicBezTo>
                  <a:cubicBezTo>
                    <a:pt x="89525" y="133202"/>
                    <a:pt x="92367" y="134383"/>
                    <a:pt x="95375" y="135245"/>
                  </a:cubicBezTo>
                  <a:cubicBezTo>
                    <a:pt x="98344" y="136187"/>
                    <a:pt x="101276" y="137215"/>
                    <a:pt x="104322" y="137875"/>
                  </a:cubicBezTo>
                  <a:lnTo>
                    <a:pt x="108852" y="139021"/>
                  </a:lnTo>
                  <a:cubicBezTo>
                    <a:pt x="110388" y="139412"/>
                    <a:pt x="111923" y="139616"/>
                    <a:pt x="113459" y="139919"/>
                  </a:cubicBezTo>
                  <a:lnTo>
                    <a:pt x="118078" y="140757"/>
                  </a:lnTo>
                  <a:lnTo>
                    <a:pt x="122723" y="141317"/>
                  </a:lnTo>
                  <a:cubicBezTo>
                    <a:pt x="124284" y="141481"/>
                    <a:pt x="125820" y="141709"/>
                    <a:pt x="127380" y="141798"/>
                  </a:cubicBezTo>
                  <a:lnTo>
                    <a:pt x="132051" y="142017"/>
                  </a:lnTo>
                  <a:cubicBezTo>
                    <a:pt x="138282" y="142280"/>
                    <a:pt x="144538" y="141888"/>
                    <a:pt x="150655" y="141253"/>
                  </a:cubicBezTo>
                  <a:cubicBezTo>
                    <a:pt x="162914" y="139680"/>
                    <a:pt x="174704" y="136198"/>
                    <a:pt x="185503" y="131474"/>
                  </a:cubicBezTo>
                  <a:cubicBezTo>
                    <a:pt x="196303" y="126763"/>
                    <a:pt x="206037" y="120655"/>
                    <a:pt x="214451" y="113908"/>
                  </a:cubicBezTo>
                  <a:cubicBezTo>
                    <a:pt x="222928" y="107216"/>
                    <a:pt x="230111" y="99929"/>
                    <a:pt x="236101" y="92690"/>
                  </a:cubicBezTo>
                  <a:cubicBezTo>
                    <a:pt x="242091" y="85447"/>
                    <a:pt x="246900" y="78274"/>
                    <a:pt x="250555" y="71568"/>
                  </a:cubicBezTo>
                  <a:cubicBezTo>
                    <a:pt x="254223" y="64890"/>
                    <a:pt x="256926" y="58793"/>
                    <a:pt x="258639" y="53598"/>
                  </a:cubicBezTo>
                  <a:cubicBezTo>
                    <a:pt x="259527" y="51019"/>
                    <a:pt x="260149" y="48672"/>
                    <a:pt x="260720" y="46629"/>
                  </a:cubicBezTo>
                  <a:cubicBezTo>
                    <a:pt x="261177" y="44545"/>
                    <a:pt x="261647" y="42788"/>
                    <a:pt x="261901" y="41345"/>
                  </a:cubicBezTo>
                  <a:cubicBezTo>
                    <a:pt x="262332" y="38473"/>
                    <a:pt x="262561" y="36935"/>
                    <a:pt x="262561" y="36935"/>
                  </a:cubicBezTo>
                  <a:lnTo>
                    <a:pt x="262218" y="36870"/>
                  </a:lnTo>
                  <a:cubicBezTo>
                    <a:pt x="262218" y="36870"/>
                    <a:pt x="261901" y="38398"/>
                    <a:pt x="261266" y="41216"/>
                  </a:cubicBezTo>
                  <a:cubicBezTo>
                    <a:pt x="260949" y="42626"/>
                    <a:pt x="260378" y="44317"/>
                    <a:pt x="259819" y="46345"/>
                  </a:cubicBezTo>
                  <a:cubicBezTo>
                    <a:pt x="259134" y="48354"/>
                    <a:pt x="258385" y="50613"/>
                    <a:pt x="257357" y="53127"/>
                  </a:cubicBezTo>
                  <a:cubicBezTo>
                    <a:pt x="253398" y="63139"/>
                    <a:pt x="245911" y="76815"/>
                    <a:pt x="233842" y="90746"/>
                  </a:cubicBezTo>
                  <a:cubicBezTo>
                    <a:pt x="227788" y="97681"/>
                    <a:pt x="220567" y="104627"/>
                    <a:pt x="212280" y="111115"/>
                  </a:cubicBezTo>
                  <a:cubicBezTo>
                    <a:pt x="208105" y="114370"/>
                    <a:pt x="203613" y="117366"/>
                    <a:pt x="198968" y="120348"/>
                  </a:cubicBezTo>
                  <a:cubicBezTo>
                    <a:pt x="196570" y="121707"/>
                    <a:pt x="194196" y="123156"/>
                    <a:pt x="191696" y="124476"/>
                  </a:cubicBezTo>
                  <a:cubicBezTo>
                    <a:pt x="189158" y="125696"/>
                    <a:pt x="186696" y="127159"/>
                    <a:pt x="184069" y="128250"/>
                  </a:cubicBezTo>
                  <a:cubicBezTo>
                    <a:pt x="173625" y="132988"/>
                    <a:pt x="162178" y="136530"/>
                    <a:pt x="150249" y="138256"/>
                  </a:cubicBezTo>
                  <a:cubicBezTo>
                    <a:pt x="138320" y="139943"/>
                    <a:pt x="125934" y="139869"/>
                    <a:pt x="113776" y="138078"/>
                  </a:cubicBezTo>
                  <a:cubicBezTo>
                    <a:pt x="112241" y="137824"/>
                    <a:pt x="110718" y="137671"/>
                    <a:pt x="109195" y="137329"/>
                  </a:cubicBezTo>
                  <a:lnTo>
                    <a:pt x="104677" y="136351"/>
                  </a:lnTo>
                  <a:cubicBezTo>
                    <a:pt x="101657" y="135781"/>
                    <a:pt x="98725" y="134854"/>
                    <a:pt x="95794" y="134014"/>
                  </a:cubicBezTo>
                  <a:cubicBezTo>
                    <a:pt x="92837" y="133241"/>
                    <a:pt x="89943" y="132070"/>
                    <a:pt x="87075" y="131019"/>
                  </a:cubicBezTo>
                  <a:cubicBezTo>
                    <a:pt x="84131" y="130027"/>
                    <a:pt x="81402" y="128772"/>
                    <a:pt x="78573" y="127576"/>
                  </a:cubicBezTo>
                  <a:cubicBezTo>
                    <a:pt x="67506" y="122610"/>
                    <a:pt x="57164" y="116335"/>
                    <a:pt x="48204" y="109046"/>
                  </a:cubicBezTo>
                  <a:lnTo>
                    <a:pt x="44917" y="106254"/>
                  </a:lnTo>
                  <a:lnTo>
                    <a:pt x="41706" y="103430"/>
                  </a:lnTo>
                  <a:cubicBezTo>
                    <a:pt x="39638" y="101501"/>
                    <a:pt x="37696" y="99482"/>
                    <a:pt x="35755" y="97512"/>
                  </a:cubicBezTo>
                  <a:cubicBezTo>
                    <a:pt x="32011" y="93425"/>
                    <a:pt x="28483" y="89337"/>
                    <a:pt x="25399" y="85046"/>
                  </a:cubicBezTo>
                  <a:cubicBezTo>
                    <a:pt x="19155" y="76573"/>
                    <a:pt x="14193" y="67862"/>
                    <a:pt x="10627" y="59378"/>
                  </a:cubicBezTo>
                  <a:cubicBezTo>
                    <a:pt x="6998" y="50930"/>
                    <a:pt x="4574" y="42788"/>
                    <a:pt x="2886" y="35516"/>
                  </a:cubicBezTo>
                  <a:cubicBezTo>
                    <a:pt x="1185" y="28183"/>
                    <a:pt x="424" y="21660"/>
                    <a:pt x="-96" y="16297"/>
                  </a:cubicBezTo>
                  <a:cubicBezTo>
                    <a:pt x="-604" y="10925"/>
                    <a:pt x="-668" y="6658"/>
                    <a:pt x="-629" y="3766"/>
                  </a:cubicBezTo>
                  <a:cubicBezTo>
                    <a:pt x="-629" y="854"/>
                    <a:pt x="-490" y="-694"/>
                    <a:pt x="-490" y="-694"/>
                  </a:cubicBezTo>
                  <a:lnTo>
                    <a:pt x="-845" y="-709"/>
                  </a:lnTo>
                </a:path>
              </a:pathLst>
            </a:custGeom>
            <a:solidFill>
              <a:srgbClr val="FFFFF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" name="Vrije vorm 11">
              <a:extLst>
                <a:ext uri="{FF2B5EF4-FFF2-40B4-BE49-F238E27FC236}">
                  <a16:creationId xmlns:a16="http://schemas.microsoft.com/office/drawing/2014/main" id="{FC2D595E-3662-D6FF-4693-855E6B184DD1}"/>
                </a:ext>
              </a:extLst>
            </p:cNvPr>
            <p:cNvSpPr/>
            <p:nvPr/>
          </p:nvSpPr>
          <p:spPr>
            <a:xfrm flipV="1">
              <a:off x="6458437" y="3704087"/>
              <a:ext cx="9517" cy="88"/>
            </a:xfrm>
            <a:custGeom>
              <a:avLst/>
              <a:gdLst>
                <a:gd name="connsiteX0" fmla="*/ -1713 w 9517"/>
                <a:gd name="connsiteY0" fmla="*/ -651 h 88"/>
                <a:gd name="connsiteX1" fmla="*/ -1713 w 9517"/>
                <a:gd name="connsiteY1" fmla="*/ -563 h 88"/>
                <a:gd name="connsiteX2" fmla="*/ -1713 w 9517"/>
                <a:gd name="connsiteY2" fmla="*/ -651 h 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7" h="88">
                  <a:moveTo>
                    <a:pt x="-1713" y="-651"/>
                  </a:moveTo>
                  <a:cubicBezTo>
                    <a:pt x="-1713" y="-621"/>
                    <a:pt x="-1713" y="-597"/>
                    <a:pt x="-1713" y="-563"/>
                  </a:cubicBezTo>
                  <a:cubicBezTo>
                    <a:pt x="-1713" y="-597"/>
                    <a:pt x="-1713" y="-621"/>
                    <a:pt x="-1713" y="-651"/>
                  </a:cubicBezTo>
                </a:path>
              </a:pathLst>
            </a:custGeom>
            <a:solidFill>
              <a:srgbClr val="675749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" name="Vrije vorm 12">
              <a:extLst>
                <a:ext uri="{FF2B5EF4-FFF2-40B4-BE49-F238E27FC236}">
                  <a16:creationId xmlns:a16="http://schemas.microsoft.com/office/drawing/2014/main" id="{EB190515-57DA-143B-0A49-53096695A607}"/>
                </a:ext>
              </a:extLst>
            </p:cNvPr>
            <p:cNvSpPr/>
            <p:nvPr/>
          </p:nvSpPr>
          <p:spPr>
            <a:xfrm flipV="1">
              <a:off x="6178305" y="3704056"/>
              <a:ext cx="9517" cy="64"/>
            </a:xfrm>
            <a:custGeom>
              <a:avLst/>
              <a:gdLst>
                <a:gd name="connsiteX0" fmla="*/ -1522 w 9517"/>
                <a:gd name="connsiteY0" fmla="*/ -652 h 64"/>
                <a:gd name="connsiteX1" fmla="*/ -1522 w 9517"/>
                <a:gd name="connsiteY1" fmla="*/ -587 h 64"/>
                <a:gd name="connsiteX2" fmla="*/ -1522 w 9517"/>
                <a:gd name="connsiteY2" fmla="*/ -652 h 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7" h="64">
                  <a:moveTo>
                    <a:pt x="-1522" y="-652"/>
                  </a:moveTo>
                  <a:cubicBezTo>
                    <a:pt x="-1522" y="-626"/>
                    <a:pt x="-1522" y="-617"/>
                    <a:pt x="-1522" y="-587"/>
                  </a:cubicBezTo>
                  <a:cubicBezTo>
                    <a:pt x="-1522" y="-617"/>
                    <a:pt x="-1522" y="-626"/>
                    <a:pt x="-1522" y="-652"/>
                  </a:cubicBezTo>
                </a:path>
              </a:pathLst>
            </a:custGeom>
            <a:solidFill>
              <a:srgbClr val="666C79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" name="Vrije vorm 13">
              <a:extLst>
                <a:ext uri="{FF2B5EF4-FFF2-40B4-BE49-F238E27FC236}">
                  <a16:creationId xmlns:a16="http://schemas.microsoft.com/office/drawing/2014/main" id="{D360329A-B802-C840-6A49-77ABA3FA376F}"/>
                </a:ext>
              </a:extLst>
            </p:cNvPr>
            <p:cNvSpPr/>
            <p:nvPr/>
          </p:nvSpPr>
          <p:spPr>
            <a:xfrm flipV="1">
              <a:off x="6458437" y="3703778"/>
              <a:ext cx="9517" cy="15"/>
            </a:xfrm>
            <a:custGeom>
              <a:avLst/>
              <a:gdLst>
                <a:gd name="connsiteX0" fmla="*/ -1713 w 9517"/>
                <a:gd name="connsiteY0" fmla="*/ -652 h 15"/>
                <a:gd name="connsiteX1" fmla="*/ -1713 w 9517"/>
                <a:gd name="connsiteY1" fmla="*/ -637 h 15"/>
                <a:gd name="connsiteX2" fmla="*/ -1713 w 9517"/>
                <a:gd name="connsiteY2" fmla="*/ -652 h 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7" h="15">
                  <a:moveTo>
                    <a:pt x="-1713" y="-652"/>
                  </a:moveTo>
                  <a:cubicBezTo>
                    <a:pt x="-1713" y="-637"/>
                    <a:pt x="-1713" y="-637"/>
                    <a:pt x="-1713" y="-637"/>
                  </a:cubicBezTo>
                  <a:cubicBezTo>
                    <a:pt x="-1713" y="-637"/>
                    <a:pt x="-1713" y="-637"/>
                    <a:pt x="-1713" y="-652"/>
                  </a:cubicBezTo>
                </a:path>
              </a:pathLst>
            </a:custGeom>
            <a:solidFill>
              <a:srgbClr val="675749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5" name="Vrije vorm 14">
              <a:extLst>
                <a:ext uri="{FF2B5EF4-FFF2-40B4-BE49-F238E27FC236}">
                  <a16:creationId xmlns:a16="http://schemas.microsoft.com/office/drawing/2014/main" id="{CBBDD972-063F-A585-071C-46815D26052F}"/>
                </a:ext>
              </a:extLst>
            </p:cNvPr>
            <p:cNvSpPr/>
            <p:nvPr/>
          </p:nvSpPr>
          <p:spPr>
            <a:xfrm flipV="1">
              <a:off x="6178305" y="3703679"/>
              <a:ext cx="9517" cy="35"/>
            </a:xfrm>
            <a:custGeom>
              <a:avLst/>
              <a:gdLst>
                <a:gd name="connsiteX0" fmla="*/ -1522 w 9517"/>
                <a:gd name="connsiteY0" fmla="*/ -652 h 35"/>
                <a:gd name="connsiteX1" fmla="*/ -1522 w 9517"/>
                <a:gd name="connsiteY1" fmla="*/ -616 h 35"/>
                <a:gd name="connsiteX2" fmla="*/ -1522 w 9517"/>
                <a:gd name="connsiteY2" fmla="*/ -652 h 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17" h="35">
                  <a:moveTo>
                    <a:pt x="-1522" y="-652"/>
                  </a:moveTo>
                  <a:cubicBezTo>
                    <a:pt x="-1522" y="-642"/>
                    <a:pt x="-1522" y="-626"/>
                    <a:pt x="-1522" y="-616"/>
                  </a:cubicBezTo>
                  <a:cubicBezTo>
                    <a:pt x="-1522" y="-626"/>
                    <a:pt x="-1522" y="-642"/>
                    <a:pt x="-1522" y="-652"/>
                  </a:cubicBezTo>
                </a:path>
              </a:pathLst>
            </a:custGeom>
            <a:solidFill>
              <a:srgbClr val="666C79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6" name="Vrije vorm 15">
              <a:extLst>
                <a:ext uri="{FF2B5EF4-FFF2-40B4-BE49-F238E27FC236}">
                  <a16:creationId xmlns:a16="http://schemas.microsoft.com/office/drawing/2014/main" id="{3F1B901A-0571-28EC-BAC3-137CF0361BBE}"/>
                </a:ext>
              </a:extLst>
            </p:cNvPr>
            <p:cNvSpPr/>
            <p:nvPr/>
          </p:nvSpPr>
          <p:spPr>
            <a:xfrm flipV="1">
              <a:off x="6458386" y="3700707"/>
              <a:ext cx="50" cy="2768"/>
            </a:xfrm>
            <a:custGeom>
              <a:avLst/>
              <a:gdLst>
                <a:gd name="connsiteX0" fmla="*/ -1663 w 50"/>
                <a:gd name="connsiteY0" fmla="*/ -653 h 2768"/>
                <a:gd name="connsiteX1" fmla="*/ -1663 w 50"/>
                <a:gd name="connsiteY1" fmla="*/ -589 h 2768"/>
                <a:gd name="connsiteX2" fmla="*/ -1663 w 50"/>
                <a:gd name="connsiteY2" fmla="*/ -653 h 2768"/>
                <a:gd name="connsiteX3" fmla="*/ -1663 w 50"/>
                <a:gd name="connsiteY3" fmla="*/ -281 h 2768"/>
                <a:gd name="connsiteX4" fmla="*/ -1663 w 50"/>
                <a:gd name="connsiteY4" fmla="*/ -257 h 2768"/>
                <a:gd name="connsiteX5" fmla="*/ -1663 w 50"/>
                <a:gd name="connsiteY5" fmla="*/ -281 h 2768"/>
                <a:gd name="connsiteX6" fmla="*/ -1675 w 50"/>
                <a:gd name="connsiteY6" fmla="*/ 21 h 2768"/>
                <a:gd name="connsiteX7" fmla="*/ -1675 w 50"/>
                <a:gd name="connsiteY7" fmla="*/ 86 h 2768"/>
                <a:gd name="connsiteX8" fmla="*/ -1675 w 50"/>
                <a:gd name="connsiteY8" fmla="*/ 21 h 2768"/>
                <a:gd name="connsiteX9" fmla="*/ -1675 w 50"/>
                <a:gd name="connsiteY9" fmla="*/ 403 h 2768"/>
                <a:gd name="connsiteX10" fmla="*/ -1675 w 50"/>
                <a:gd name="connsiteY10" fmla="*/ 403 h 2768"/>
                <a:gd name="connsiteX11" fmla="*/ -1675 w 50"/>
                <a:gd name="connsiteY11" fmla="*/ 403 h 2768"/>
                <a:gd name="connsiteX12" fmla="*/ -1675 w 50"/>
                <a:gd name="connsiteY12" fmla="*/ 706 h 2768"/>
                <a:gd name="connsiteX13" fmla="*/ -1675 w 50"/>
                <a:gd name="connsiteY13" fmla="*/ 770 h 2768"/>
                <a:gd name="connsiteX14" fmla="*/ -1675 w 50"/>
                <a:gd name="connsiteY14" fmla="*/ 706 h 2768"/>
                <a:gd name="connsiteX15" fmla="*/ -1688 w 50"/>
                <a:gd name="connsiteY15" fmla="*/ 1405 h 2768"/>
                <a:gd name="connsiteX16" fmla="*/ -1688 w 50"/>
                <a:gd name="connsiteY16" fmla="*/ 1445 h 2768"/>
                <a:gd name="connsiteX17" fmla="*/ -1688 w 50"/>
                <a:gd name="connsiteY17" fmla="*/ 1405 h 2768"/>
                <a:gd name="connsiteX18" fmla="*/ -1713 w 50"/>
                <a:gd name="connsiteY18" fmla="*/ 2105 h 2768"/>
                <a:gd name="connsiteX19" fmla="*/ -1713 w 50"/>
                <a:gd name="connsiteY19" fmla="*/ 2115 h 2768"/>
                <a:gd name="connsiteX20" fmla="*/ -1713 w 50"/>
                <a:gd name="connsiteY20" fmla="*/ 2105 h 2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0" h="2768">
                  <a:moveTo>
                    <a:pt x="-1663" y="-653"/>
                  </a:moveTo>
                  <a:cubicBezTo>
                    <a:pt x="-1663" y="-629"/>
                    <a:pt x="-1663" y="-614"/>
                    <a:pt x="-1663" y="-589"/>
                  </a:cubicBezTo>
                  <a:cubicBezTo>
                    <a:pt x="-1663" y="-614"/>
                    <a:pt x="-1663" y="-638"/>
                    <a:pt x="-1663" y="-653"/>
                  </a:cubicBezTo>
                  <a:moveTo>
                    <a:pt x="-1663" y="-281"/>
                  </a:moveTo>
                  <a:cubicBezTo>
                    <a:pt x="-1663" y="-271"/>
                    <a:pt x="-1663" y="-271"/>
                    <a:pt x="-1663" y="-257"/>
                  </a:cubicBezTo>
                  <a:cubicBezTo>
                    <a:pt x="-1663" y="-271"/>
                    <a:pt x="-1663" y="-281"/>
                    <a:pt x="-1663" y="-281"/>
                  </a:cubicBezTo>
                  <a:moveTo>
                    <a:pt x="-1675" y="21"/>
                  </a:moveTo>
                  <a:cubicBezTo>
                    <a:pt x="-1675" y="46"/>
                    <a:pt x="-1675" y="71"/>
                    <a:pt x="-1675" y="86"/>
                  </a:cubicBezTo>
                  <a:cubicBezTo>
                    <a:pt x="-1675" y="71"/>
                    <a:pt x="-1675" y="46"/>
                    <a:pt x="-1675" y="21"/>
                  </a:cubicBezTo>
                  <a:moveTo>
                    <a:pt x="-1675" y="403"/>
                  </a:moveTo>
                  <a:lnTo>
                    <a:pt x="-1675" y="403"/>
                  </a:lnTo>
                  <a:lnTo>
                    <a:pt x="-1675" y="403"/>
                  </a:lnTo>
                  <a:moveTo>
                    <a:pt x="-1675" y="706"/>
                  </a:moveTo>
                  <a:cubicBezTo>
                    <a:pt x="-1675" y="731"/>
                    <a:pt x="-1675" y="755"/>
                    <a:pt x="-1675" y="770"/>
                  </a:cubicBezTo>
                  <a:cubicBezTo>
                    <a:pt x="-1675" y="745"/>
                    <a:pt x="-1675" y="731"/>
                    <a:pt x="-1675" y="706"/>
                  </a:cubicBezTo>
                  <a:moveTo>
                    <a:pt x="-1688" y="1405"/>
                  </a:moveTo>
                  <a:cubicBezTo>
                    <a:pt x="-1688" y="1421"/>
                    <a:pt x="-1688" y="1431"/>
                    <a:pt x="-1688" y="1445"/>
                  </a:cubicBezTo>
                  <a:cubicBezTo>
                    <a:pt x="-1688" y="1431"/>
                    <a:pt x="-1688" y="1421"/>
                    <a:pt x="-1688" y="1405"/>
                  </a:cubicBezTo>
                  <a:moveTo>
                    <a:pt x="-1713" y="2105"/>
                  </a:moveTo>
                  <a:cubicBezTo>
                    <a:pt x="-1713" y="2105"/>
                    <a:pt x="-1713" y="2105"/>
                    <a:pt x="-1713" y="2115"/>
                  </a:cubicBezTo>
                  <a:cubicBezTo>
                    <a:pt x="-1713" y="2105"/>
                    <a:pt x="-1713" y="2105"/>
                    <a:pt x="-1713" y="2105"/>
                  </a:cubicBezTo>
                </a:path>
              </a:pathLst>
            </a:custGeom>
            <a:solidFill>
              <a:srgbClr val="675749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7" name="Vrije vorm 16">
              <a:extLst>
                <a:ext uri="{FF2B5EF4-FFF2-40B4-BE49-F238E27FC236}">
                  <a16:creationId xmlns:a16="http://schemas.microsoft.com/office/drawing/2014/main" id="{7D1ECBA8-5643-AC8D-52FA-516D454A675E}"/>
                </a:ext>
              </a:extLst>
            </p:cNvPr>
            <p:cNvSpPr/>
            <p:nvPr/>
          </p:nvSpPr>
          <p:spPr>
            <a:xfrm flipV="1">
              <a:off x="6178305" y="3576819"/>
              <a:ext cx="280131" cy="267829"/>
            </a:xfrm>
            <a:custGeom>
              <a:avLst/>
              <a:gdLst>
                <a:gd name="connsiteX0" fmla="*/ 138448 w 280131"/>
                <a:gd name="connsiteY0" fmla="*/ -646 h 267829"/>
                <a:gd name="connsiteX1" fmla="*/ -1618 w 280131"/>
                <a:gd name="connsiteY1" fmla="*/ 139540 h 267829"/>
                <a:gd name="connsiteX2" fmla="*/ -1618 w 280131"/>
                <a:gd name="connsiteY2" fmla="*/ 139882 h 267829"/>
                <a:gd name="connsiteX3" fmla="*/ -1618 w 280131"/>
                <a:gd name="connsiteY3" fmla="*/ 139947 h 267829"/>
                <a:gd name="connsiteX4" fmla="*/ -1618 w 280131"/>
                <a:gd name="connsiteY4" fmla="*/ 140288 h 267829"/>
                <a:gd name="connsiteX5" fmla="*/ -1618 w 280131"/>
                <a:gd name="connsiteY5" fmla="*/ 140324 h 267829"/>
                <a:gd name="connsiteX6" fmla="*/ 6466 w 280131"/>
                <a:gd name="connsiteY6" fmla="*/ 186490 h 267829"/>
                <a:gd name="connsiteX7" fmla="*/ 933 w 280131"/>
                <a:gd name="connsiteY7" fmla="*/ 137808 h 267829"/>
                <a:gd name="connsiteX8" fmla="*/ 10451 w 280131"/>
                <a:gd name="connsiteY8" fmla="*/ 108142 h 267829"/>
                <a:gd name="connsiteX9" fmla="*/ 12913 w 280131"/>
                <a:gd name="connsiteY9" fmla="*/ 115028 h 267829"/>
                <a:gd name="connsiteX10" fmla="*/ 37381 w 280131"/>
                <a:gd name="connsiteY10" fmla="*/ 218721 h 267829"/>
                <a:gd name="connsiteX11" fmla="*/ 139184 w 280131"/>
                <a:gd name="connsiteY11" fmla="*/ 267184 h 267829"/>
                <a:gd name="connsiteX12" fmla="*/ 142725 w 280131"/>
                <a:gd name="connsiteY12" fmla="*/ 267160 h 267829"/>
                <a:gd name="connsiteX13" fmla="*/ 265710 w 280131"/>
                <a:gd name="connsiteY13" fmla="*/ 161180 h 267829"/>
                <a:gd name="connsiteX14" fmla="*/ 261788 w 280131"/>
                <a:gd name="connsiteY14" fmla="*/ 104585 h 267829"/>
                <a:gd name="connsiteX15" fmla="*/ 262486 w 280131"/>
                <a:gd name="connsiteY15" fmla="*/ 95253 h 267829"/>
                <a:gd name="connsiteX16" fmla="*/ 268133 w 280131"/>
                <a:gd name="connsiteY16" fmla="*/ 105285 h 267829"/>
                <a:gd name="connsiteX17" fmla="*/ 274821 w 280131"/>
                <a:gd name="connsiteY17" fmla="*/ 144074 h 267829"/>
                <a:gd name="connsiteX18" fmla="*/ 254288 w 280131"/>
                <a:gd name="connsiteY18" fmla="*/ 218339 h 267829"/>
                <a:gd name="connsiteX19" fmla="*/ 278464 w 280131"/>
                <a:gd name="connsiteY19" fmla="*/ 143296 h 267829"/>
                <a:gd name="connsiteX20" fmla="*/ 278464 w 280131"/>
                <a:gd name="connsiteY20" fmla="*/ 143286 h 267829"/>
                <a:gd name="connsiteX21" fmla="*/ 278489 w 280131"/>
                <a:gd name="connsiteY21" fmla="*/ 142625 h 267829"/>
                <a:gd name="connsiteX22" fmla="*/ 278489 w 280131"/>
                <a:gd name="connsiteY22" fmla="*/ 142586 h 267829"/>
                <a:gd name="connsiteX23" fmla="*/ 278502 w 280131"/>
                <a:gd name="connsiteY23" fmla="*/ 141951 h 267829"/>
                <a:gd name="connsiteX24" fmla="*/ 278502 w 280131"/>
                <a:gd name="connsiteY24" fmla="*/ 141886 h 267829"/>
                <a:gd name="connsiteX25" fmla="*/ 278502 w 280131"/>
                <a:gd name="connsiteY25" fmla="*/ 141584 h 267829"/>
                <a:gd name="connsiteX26" fmla="*/ 278502 w 280131"/>
                <a:gd name="connsiteY26" fmla="*/ 141584 h 267829"/>
                <a:gd name="connsiteX27" fmla="*/ 278502 w 280131"/>
                <a:gd name="connsiteY27" fmla="*/ 141266 h 267829"/>
                <a:gd name="connsiteX28" fmla="*/ 278502 w 280131"/>
                <a:gd name="connsiteY28" fmla="*/ 141202 h 267829"/>
                <a:gd name="connsiteX29" fmla="*/ 278514 w 280131"/>
                <a:gd name="connsiteY29" fmla="*/ 140923 h 267829"/>
                <a:gd name="connsiteX30" fmla="*/ 278514 w 280131"/>
                <a:gd name="connsiteY30" fmla="*/ 140899 h 267829"/>
                <a:gd name="connsiteX31" fmla="*/ 278514 w 280131"/>
                <a:gd name="connsiteY31" fmla="*/ 140592 h 267829"/>
                <a:gd name="connsiteX32" fmla="*/ 278514 w 280131"/>
                <a:gd name="connsiteY32" fmla="*/ 140527 h 267829"/>
                <a:gd name="connsiteX33" fmla="*/ 278514 w 280131"/>
                <a:gd name="connsiteY33" fmla="*/ 140225 h 267829"/>
                <a:gd name="connsiteX34" fmla="*/ 278514 w 280131"/>
                <a:gd name="connsiteY34" fmla="*/ 140210 h 267829"/>
                <a:gd name="connsiteX35" fmla="*/ 278514 w 280131"/>
                <a:gd name="connsiteY35" fmla="*/ 139916 h 267829"/>
                <a:gd name="connsiteX36" fmla="*/ 278514 w 280131"/>
                <a:gd name="connsiteY36" fmla="*/ 139828 h 267829"/>
                <a:gd name="connsiteX37" fmla="*/ 278514 w 280131"/>
                <a:gd name="connsiteY37" fmla="*/ 139540 h 267829"/>
                <a:gd name="connsiteX38" fmla="*/ 138448 w 280131"/>
                <a:gd name="connsiteY38" fmla="*/ -646 h 267829"/>
                <a:gd name="connsiteX39" fmla="*/ 26898 w 280131"/>
                <a:gd name="connsiteY39" fmla="*/ 70271 h 267829"/>
                <a:gd name="connsiteX40" fmla="*/ 27812 w 280131"/>
                <a:gd name="connsiteY40" fmla="*/ 68331 h 267829"/>
                <a:gd name="connsiteX41" fmla="*/ 31010 w 280131"/>
                <a:gd name="connsiteY41" fmla="*/ 63073 h 267829"/>
                <a:gd name="connsiteX42" fmla="*/ 36492 w 280131"/>
                <a:gd name="connsiteY42" fmla="*/ 55185 h 267829"/>
                <a:gd name="connsiteX43" fmla="*/ 44487 w 280131"/>
                <a:gd name="connsiteY43" fmla="*/ 45585 h 267829"/>
                <a:gd name="connsiteX44" fmla="*/ 55109 w 280131"/>
                <a:gd name="connsiteY44" fmla="*/ 35297 h 267829"/>
                <a:gd name="connsiteX45" fmla="*/ 61277 w 280131"/>
                <a:gd name="connsiteY45" fmla="*/ 30152 h 267829"/>
                <a:gd name="connsiteX46" fmla="*/ 64703 w 280131"/>
                <a:gd name="connsiteY46" fmla="*/ 27636 h 267829"/>
                <a:gd name="connsiteX47" fmla="*/ 68244 w 280131"/>
                <a:gd name="connsiteY47" fmla="*/ 25241 h 267829"/>
                <a:gd name="connsiteX48" fmla="*/ 71785 w 280131"/>
                <a:gd name="connsiteY48" fmla="*/ 22839 h 267829"/>
                <a:gd name="connsiteX49" fmla="*/ 75668 w 280131"/>
                <a:gd name="connsiteY49" fmla="*/ 20666 h 267829"/>
                <a:gd name="connsiteX50" fmla="*/ 83663 w 280131"/>
                <a:gd name="connsiteY50" fmla="*/ 16554 h 267829"/>
                <a:gd name="connsiteX51" fmla="*/ 100795 w 280131"/>
                <a:gd name="connsiteY51" fmla="*/ 10149 h 267829"/>
                <a:gd name="connsiteX52" fmla="*/ 105136 w 280131"/>
                <a:gd name="connsiteY52" fmla="*/ 8893 h 267829"/>
                <a:gd name="connsiteX53" fmla="*/ 109704 w 280131"/>
                <a:gd name="connsiteY53" fmla="*/ 7982 h 267829"/>
                <a:gd name="connsiteX54" fmla="*/ 111988 w 280131"/>
                <a:gd name="connsiteY54" fmla="*/ 7519 h 267829"/>
                <a:gd name="connsiteX55" fmla="*/ 114159 w 280131"/>
                <a:gd name="connsiteY55" fmla="*/ 7178 h 267829"/>
                <a:gd name="connsiteX56" fmla="*/ 118727 w 280131"/>
                <a:gd name="connsiteY56" fmla="*/ 6493 h 267829"/>
                <a:gd name="connsiteX57" fmla="*/ 127636 w 280131"/>
                <a:gd name="connsiteY57" fmla="*/ 5694 h 267829"/>
                <a:gd name="connsiteX58" fmla="*/ 136431 w 280131"/>
                <a:gd name="connsiteY58" fmla="*/ 5580 h 267829"/>
                <a:gd name="connsiteX59" fmla="*/ 144883 w 280131"/>
                <a:gd name="connsiteY59" fmla="*/ 6036 h 267829"/>
                <a:gd name="connsiteX60" fmla="*/ 152878 w 280131"/>
                <a:gd name="connsiteY60" fmla="*/ 6949 h 267829"/>
                <a:gd name="connsiteX61" fmla="*/ 160416 w 280131"/>
                <a:gd name="connsiteY61" fmla="*/ 8323 h 267829"/>
                <a:gd name="connsiteX62" fmla="*/ 167269 w 280131"/>
                <a:gd name="connsiteY62" fmla="*/ 9806 h 267829"/>
                <a:gd name="connsiteX63" fmla="*/ 173665 w 280131"/>
                <a:gd name="connsiteY63" fmla="*/ 11524 h 267829"/>
                <a:gd name="connsiteX64" fmla="*/ 179261 w 280131"/>
                <a:gd name="connsiteY64" fmla="*/ 13348 h 267829"/>
                <a:gd name="connsiteX65" fmla="*/ 188284 w 280131"/>
                <a:gd name="connsiteY65" fmla="*/ 16668 h 267829"/>
                <a:gd name="connsiteX66" fmla="*/ 195937 w 280131"/>
                <a:gd name="connsiteY66" fmla="*/ 19867 h 267829"/>
                <a:gd name="connsiteX67" fmla="*/ 188056 w 280131"/>
                <a:gd name="connsiteY67" fmla="*/ 17239 h 267829"/>
                <a:gd name="connsiteX68" fmla="*/ 178919 w 280131"/>
                <a:gd name="connsiteY68" fmla="*/ 14608 h 267829"/>
                <a:gd name="connsiteX69" fmla="*/ 166926 w 280131"/>
                <a:gd name="connsiteY69" fmla="*/ 11751 h 267829"/>
                <a:gd name="connsiteX70" fmla="*/ 159959 w 280131"/>
                <a:gd name="connsiteY70" fmla="*/ 10610 h 267829"/>
                <a:gd name="connsiteX71" fmla="*/ 152535 w 280131"/>
                <a:gd name="connsiteY71" fmla="*/ 9465 h 267829"/>
                <a:gd name="connsiteX72" fmla="*/ 144654 w 280131"/>
                <a:gd name="connsiteY72" fmla="*/ 8893 h 267829"/>
                <a:gd name="connsiteX73" fmla="*/ 136316 w 280131"/>
                <a:gd name="connsiteY73" fmla="*/ 8552 h 267829"/>
                <a:gd name="connsiteX74" fmla="*/ 127864 w 280131"/>
                <a:gd name="connsiteY74" fmla="*/ 8893 h 267829"/>
                <a:gd name="connsiteX75" fmla="*/ 123524 w 280131"/>
                <a:gd name="connsiteY75" fmla="*/ 9236 h 267829"/>
                <a:gd name="connsiteX76" fmla="*/ 119070 w 280131"/>
                <a:gd name="connsiteY76" fmla="*/ 9692 h 267829"/>
                <a:gd name="connsiteX77" fmla="*/ 114730 w 280131"/>
                <a:gd name="connsiteY77" fmla="*/ 10377 h 267829"/>
                <a:gd name="connsiteX78" fmla="*/ 112560 w 280131"/>
                <a:gd name="connsiteY78" fmla="*/ 10725 h 267829"/>
                <a:gd name="connsiteX79" fmla="*/ 110389 w 280131"/>
                <a:gd name="connsiteY79" fmla="*/ 11295 h 267829"/>
                <a:gd name="connsiteX80" fmla="*/ 106049 w 280131"/>
                <a:gd name="connsiteY80" fmla="*/ 12208 h 267829"/>
                <a:gd name="connsiteX81" fmla="*/ 101709 w 280131"/>
                <a:gd name="connsiteY81" fmla="*/ 13463 h 267829"/>
                <a:gd name="connsiteX82" fmla="*/ 85034 w 280131"/>
                <a:gd name="connsiteY82" fmla="*/ 19526 h 267829"/>
                <a:gd name="connsiteX83" fmla="*/ 69843 w 280131"/>
                <a:gd name="connsiteY83" fmla="*/ 27750 h 267829"/>
                <a:gd name="connsiteX84" fmla="*/ 62990 w 280131"/>
                <a:gd name="connsiteY84" fmla="*/ 32439 h 267829"/>
                <a:gd name="connsiteX85" fmla="*/ 56708 w 280131"/>
                <a:gd name="connsiteY85" fmla="*/ 37241 h 267829"/>
                <a:gd name="connsiteX86" fmla="*/ 45858 w 280131"/>
                <a:gd name="connsiteY86" fmla="*/ 46954 h 267829"/>
                <a:gd name="connsiteX87" fmla="*/ 37520 w 280131"/>
                <a:gd name="connsiteY87" fmla="*/ 55984 h 267829"/>
                <a:gd name="connsiteX88" fmla="*/ 31581 w 280131"/>
                <a:gd name="connsiteY88" fmla="*/ 63414 h 267829"/>
                <a:gd name="connsiteX89" fmla="*/ 28040 w 280131"/>
                <a:gd name="connsiteY89" fmla="*/ 68445 h 267829"/>
                <a:gd name="connsiteX90" fmla="*/ 26898 w 280131"/>
                <a:gd name="connsiteY90" fmla="*/ 70271 h 267829"/>
                <a:gd name="connsiteX91" fmla="*/ 138448 w 280131"/>
                <a:gd name="connsiteY91" fmla="*/ 264318 h 267829"/>
                <a:gd name="connsiteX92" fmla="*/ 13751 w 280131"/>
                <a:gd name="connsiteY92" fmla="*/ 139540 h 267829"/>
                <a:gd name="connsiteX93" fmla="*/ 138448 w 280131"/>
                <a:gd name="connsiteY93" fmla="*/ 14738 h 267829"/>
                <a:gd name="connsiteX94" fmla="*/ 263146 w 280131"/>
                <a:gd name="connsiteY94" fmla="*/ 139540 h 267829"/>
                <a:gd name="connsiteX95" fmla="*/ 138448 w 280131"/>
                <a:gd name="connsiteY95" fmla="*/ 264318 h 267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280131" h="267829">
                  <a:moveTo>
                    <a:pt x="138448" y="-646"/>
                  </a:moveTo>
                  <a:cubicBezTo>
                    <a:pt x="61087" y="-646"/>
                    <a:pt x="-1618" y="62120"/>
                    <a:pt x="-1618" y="139540"/>
                  </a:cubicBezTo>
                  <a:cubicBezTo>
                    <a:pt x="-1618" y="139653"/>
                    <a:pt x="-1618" y="139768"/>
                    <a:pt x="-1618" y="139882"/>
                  </a:cubicBezTo>
                  <a:cubicBezTo>
                    <a:pt x="-1618" y="139908"/>
                    <a:pt x="-1618" y="139916"/>
                    <a:pt x="-1618" y="139947"/>
                  </a:cubicBezTo>
                  <a:cubicBezTo>
                    <a:pt x="-1618" y="140061"/>
                    <a:pt x="-1618" y="140175"/>
                    <a:pt x="-1618" y="140288"/>
                  </a:cubicBezTo>
                  <a:cubicBezTo>
                    <a:pt x="-1618" y="140299"/>
                    <a:pt x="-1618" y="140314"/>
                    <a:pt x="-1618" y="140324"/>
                  </a:cubicBezTo>
                  <a:cubicBezTo>
                    <a:pt x="-1529" y="156517"/>
                    <a:pt x="1314" y="172049"/>
                    <a:pt x="6466" y="186490"/>
                  </a:cubicBezTo>
                  <a:cubicBezTo>
                    <a:pt x="3002" y="172113"/>
                    <a:pt x="-209" y="153649"/>
                    <a:pt x="933" y="137808"/>
                  </a:cubicBezTo>
                  <a:cubicBezTo>
                    <a:pt x="2443" y="117161"/>
                    <a:pt x="7393" y="108142"/>
                    <a:pt x="10451" y="108142"/>
                  </a:cubicBezTo>
                  <a:cubicBezTo>
                    <a:pt x="12025" y="108142"/>
                    <a:pt x="13091" y="110558"/>
                    <a:pt x="12913" y="115028"/>
                  </a:cubicBezTo>
                  <a:cubicBezTo>
                    <a:pt x="12342" y="128145"/>
                    <a:pt x="3218" y="177144"/>
                    <a:pt x="37381" y="218721"/>
                  </a:cubicBezTo>
                  <a:cubicBezTo>
                    <a:pt x="70401" y="258920"/>
                    <a:pt x="105516" y="267184"/>
                    <a:pt x="139184" y="267184"/>
                  </a:cubicBezTo>
                  <a:cubicBezTo>
                    <a:pt x="140365" y="267184"/>
                    <a:pt x="141558" y="267175"/>
                    <a:pt x="142725" y="267160"/>
                  </a:cubicBezTo>
                  <a:cubicBezTo>
                    <a:pt x="177459" y="266599"/>
                    <a:pt x="253983" y="235588"/>
                    <a:pt x="265710" y="161180"/>
                  </a:cubicBezTo>
                  <a:cubicBezTo>
                    <a:pt x="267156" y="151957"/>
                    <a:pt x="270595" y="134778"/>
                    <a:pt x="261788" y="104585"/>
                  </a:cubicBezTo>
                  <a:cubicBezTo>
                    <a:pt x="260862" y="101400"/>
                    <a:pt x="260798" y="95253"/>
                    <a:pt x="262486" y="95253"/>
                  </a:cubicBezTo>
                  <a:cubicBezTo>
                    <a:pt x="263577" y="95253"/>
                    <a:pt x="265380" y="97793"/>
                    <a:pt x="268133" y="105285"/>
                  </a:cubicBezTo>
                  <a:cubicBezTo>
                    <a:pt x="272055" y="115991"/>
                    <a:pt x="275215" y="129594"/>
                    <a:pt x="274821" y="144074"/>
                  </a:cubicBezTo>
                  <a:cubicBezTo>
                    <a:pt x="274162" y="167018"/>
                    <a:pt x="271979" y="190806"/>
                    <a:pt x="254288" y="218339"/>
                  </a:cubicBezTo>
                  <a:cubicBezTo>
                    <a:pt x="268920" y="196829"/>
                    <a:pt x="277740" y="171072"/>
                    <a:pt x="278464" y="143296"/>
                  </a:cubicBezTo>
                  <a:cubicBezTo>
                    <a:pt x="278464" y="143286"/>
                    <a:pt x="278464" y="143286"/>
                    <a:pt x="278464" y="143286"/>
                  </a:cubicBezTo>
                  <a:cubicBezTo>
                    <a:pt x="278476" y="143057"/>
                    <a:pt x="278476" y="142839"/>
                    <a:pt x="278489" y="142625"/>
                  </a:cubicBezTo>
                  <a:cubicBezTo>
                    <a:pt x="278489" y="142611"/>
                    <a:pt x="278489" y="142601"/>
                    <a:pt x="278489" y="142586"/>
                  </a:cubicBezTo>
                  <a:cubicBezTo>
                    <a:pt x="278489" y="142368"/>
                    <a:pt x="278489" y="142169"/>
                    <a:pt x="278502" y="141951"/>
                  </a:cubicBezTo>
                  <a:cubicBezTo>
                    <a:pt x="278502" y="141936"/>
                    <a:pt x="278502" y="141912"/>
                    <a:pt x="278502" y="141886"/>
                  </a:cubicBezTo>
                  <a:cubicBezTo>
                    <a:pt x="278502" y="141787"/>
                    <a:pt x="278502" y="141683"/>
                    <a:pt x="278502" y="141584"/>
                  </a:cubicBezTo>
                  <a:lnTo>
                    <a:pt x="278502" y="141584"/>
                  </a:lnTo>
                  <a:cubicBezTo>
                    <a:pt x="278502" y="141480"/>
                    <a:pt x="278502" y="141381"/>
                    <a:pt x="278502" y="141266"/>
                  </a:cubicBezTo>
                  <a:cubicBezTo>
                    <a:pt x="278502" y="141251"/>
                    <a:pt x="278502" y="141227"/>
                    <a:pt x="278502" y="141202"/>
                  </a:cubicBezTo>
                  <a:cubicBezTo>
                    <a:pt x="278514" y="141113"/>
                    <a:pt x="278514" y="141014"/>
                    <a:pt x="278514" y="140923"/>
                  </a:cubicBezTo>
                  <a:cubicBezTo>
                    <a:pt x="278514" y="140910"/>
                    <a:pt x="278514" y="140910"/>
                    <a:pt x="278514" y="140899"/>
                  </a:cubicBezTo>
                  <a:cubicBezTo>
                    <a:pt x="278514" y="140795"/>
                    <a:pt x="278514" y="140696"/>
                    <a:pt x="278514" y="140592"/>
                  </a:cubicBezTo>
                  <a:cubicBezTo>
                    <a:pt x="278514" y="140567"/>
                    <a:pt x="278514" y="140551"/>
                    <a:pt x="278514" y="140527"/>
                  </a:cubicBezTo>
                  <a:cubicBezTo>
                    <a:pt x="278514" y="140428"/>
                    <a:pt x="278514" y="140324"/>
                    <a:pt x="278514" y="140225"/>
                  </a:cubicBezTo>
                  <a:cubicBezTo>
                    <a:pt x="278514" y="140225"/>
                    <a:pt x="278514" y="140225"/>
                    <a:pt x="278514" y="140210"/>
                  </a:cubicBezTo>
                  <a:cubicBezTo>
                    <a:pt x="278514" y="140111"/>
                    <a:pt x="278514" y="140007"/>
                    <a:pt x="278514" y="139916"/>
                  </a:cubicBezTo>
                  <a:cubicBezTo>
                    <a:pt x="278514" y="139882"/>
                    <a:pt x="278514" y="139858"/>
                    <a:pt x="278514" y="139828"/>
                  </a:cubicBezTo>
                  <a:cubicBezTo>
                    <a:pt x="278514" y="139728"/>
                    <a:pt x="278514" y="139629"/>
                    <a:pt x="278514" y="139540"/>
                  </a:cubicBezTo>
                  <a:cubicBezTo>
                    <a:pt x="278514" y="62120"/>
                    <a:pt x="215810" y="-646"/>
                    <a:pt x="138448" y="-646"/>
                  </a:cubicBezTo>
                  <a:moveTo>
                    <a:pt x="26898" y="70271"/>
                  </a:moveTo>
                  <a:cubicBezTo>
                    <a:pt x="26898" y="70271"/>
                    <a:pt x="27127" y="69587"/>
                    <a:pt x="27812" y="68331"/>
                  </a:cubicBezTo>
                  <a:cubicBezTo>
                    <a:pt x="28497" y="67071"/>
                    <a:pt x="29525" y="65246"/>
                    <a:pt x="31010" y="63073"/>
                  </a:cubicBezTo>
                  <a:cubicBezTo>
                    <a:pt x="32495" y="60785"/>
                    <a:pt x="34322" y="58157"/>
                    <a:pt x="36492" y="55185"/>
                  </a:cubicBezTo>
                  <a:cubicBezTo>
                    <a:pt x="38776" y="52213"/>
                    <a:pt x="41403" y="49013"/>
                    <a:pt x="44487" y="45585"/>
                  </a:cubicBezTo>
                  <a:cubicBezTo>
                    <a:pt x="47571" y="42271"/>
                    <a:pt x="50997" y="38724"/>
                    <a:pt x="55109" y="35297"/>
                  </a:cubicBezTo>
                  <a:cubicBezTo>
                    <a:pt x="57051" y="33585"/>
                    <a:pt x="59107" y="31868"/>
                    <a:pt x="61277" y="30152"/>
                  </a:cubicBezTo>
                  <a:lnTo>
                    <a:pt x="64703" y="27636"/>
                  </a:lnTo>
                  <a:cubicBezTo>
                    <a:pt x="65846" y="26837"/>
                    <a:pt x="66988" y="26038"/>
                    <a:pt x="68244" y="25241"/>
                  </a:cubicBezTo>
                  <a:cubicBezTo>
                    <a:pt x="69386" y="24437"/>
                    <a:pt x="70643" y="23638"/>
                    <a:pt x="71785" y="22839"/>
                  </a:cubicBezTo>
                  <a:cubicBezTo>
                    <a:pt x="73155" y="22155"/>
                    <a:pt x="74412" y="21351"/>
                    <a:pt x="75668" y="20666"/>
                  </a:cubicBezTo>
                  <a:cubicBezTo>
                    <a:pt x="78181" y="19178"/>
                    <a:pt x="80922" y="17923"/>
                    <a:pt x="83663" y="16554"/>
                  </a:cubicBezTo>
                  <a:cubicBezTo>
                    <a:pt x="89145" y="14152"/>
                    <a:pt x="94856" y="11751"/>
                    <a:pt x="100795" y="10149"/>
                  </a:cubicBezTo>
                  <a:cubicBezTo>
                    <a:pt x="102280" y="9692"/>
                    <a:pt x="103765" y="9236"/>
                    <a:pt x="105136" y="8893"/>
                  </a:cubicBezTo>
                  <a:lnTo>
                    <a:pt x="109704" y="7982"/>
                  </a:lnTo>
                  <a:lnTo>
                    <a:pt x="111988" y="7519"/>
                  </a:lnTo>
                  <a:lnTo>
                    <a:pt x="114159" y="7178"/>
                  </a:lnTo>
                  <a:cubicBezTo>
                    <a:pt x="115758" y="6949"/>
                    <a:pt x="117242" y="6722"/>
                    <a:pt x="118727" y="6493"/>
                  </a:cubicBezTo>
                  <a:cubicBezTo>
                    <a:pt x="121697" y="6036"/>
                    <a:pt x="124666" y="5923"/>
                    <a:pt x="127636" y="5694"/>
                  </a:cubicBezTo>
                  <a:cubicBezTo>
                    <a:pt x="130606" y="5580"/>
                    <a:pt x="133461" y="5580"/>
                    <a:pt x="136431" y="5580"/>
                  </a:cubicBezTo>
                  <a:cubicBezTo>
                    <a:pt x="139286" y="5694"/>
                    <a:pt x="142027" y="5809"/>
                    <a:pt x="144883" y="6036"/>
                  </a:cubicBezTo>
                  <a:cubicBezTo>
                    <a:pt x="147509" y="6264"/>
                    <a:pt x="150251" y="6722"/>
                    <a:pt x="152878" y="6949"/>
                  </a:cubicBezTo>
                  <a:cubicBezTo>
                    <a:pt x="155390" y="7292"/>
                    <a:pt x="157903" y="7867"/>
                    <a:pt x="160416" y="8323"/>
                  </a:cubicBezTo>
                  <a:cubicBezTo>
                    <a:pt x="162814" y="8780"/>
                    <a:pt x="165099" y="9236"/>
                    <a:pt x="167269" y="9806"/>
                  </a:cubicBezTo>
                  <a:cubicBezTo>
                    <a:pt x="169553" y="10491"/>
                    <a:pt x="171609" y="11066"/>
                    <a:pt x="173665" y="11524"/>
                  </a:cubicBezTo>
                  <a:cubicBezTo>
                    <a:pt x="175721" y="12094"/>
                    <a:pt x="177434" y="12778"/>
                    <a:pt x="179261" y="13348"/>
                  </a:cubicBezTo>
                  <a:cubicBezTo>
                    <a:pt x="182802" y="14608"/>
                    <a:pt x="185772" y="15636"/>
                    <a:pt x="188284" y="16668"/>
                  </a:cubicBezTo>
                  <a:cubicBezTo>
                    <a:pt x="193196" y="18722"/>
                    <a:pt x="195937" y="19867"/>
                    <a:pt x="195937" y="19867"/>
                  </a:cubicBezTo>
                  <a:cubicBezTo>
                    <a:pt x="195937" y="19867"/>
                    <a:pt x="193081" y="18949"/>
                    <a:pt x="188056" y="17239"/>
                  </a:cubicBezTo>
                  <a:cubicBezTo>
                    <a:pt x="185543" y="16440"/>
                    <a:pt x="182459" y="15521"/>
                    <a:pt x="178919" y="14608"/>
                  </a:cubicBezTo>
                  <a:cubicBezTo>
                    <a:pt x="175378" y="13582"/>
                    <a:pt x="171266" y="12778"/>
                    <a:pt x="166926" y="11751"/>
                  </a:cubicBezTo>
                  <a:cubicBezTo>
                    <a:pt x="164642" y="11181"/>
                    <a:pt x="162357" y="10953"/>
                    <a:pt x="159959" y="10610"/>
                  </a:cubicBezTo>
                  <a:cubicBezTo>
                    <a:pt x="157560" y="10264"/>
                    <a:pt x="155048" y="9692"/>
                    <a:pt x="152535" y="9465"/>
                  </a:cubicBezTo>
                  <a:cubicBezTo>
                    <a:pt x="149908" y="9351"/>
                    <a:pt x="147281" y="8893"/>
                    <a:pt x="144654" y="8893"/>
                  </a:cubicBezTo>
                  <a:cubicBezTo>
                    <a:pt x="141913" y="8780"/>
                    <a:pt x="139172" y="8552"/>
                    <a:pt x="136316" y="8552"/>
                  </a:cubicBezTo>
                  <a:cubicBezTo>
                    <a:pt x="133575" y="8666"/>
                    <a:pt x="130720" y="8666"/>
                    <a:pt x="127864" y="8893"/>
                  </a:cubicBezTo>
                  <a:cubicBezTo>
                    <a:pt x="126380" y="9008"/>
                    <a:pt x="124895" y="9122"/>
                    <a:pt x="123524" y="9236"/>
                  </a:cubicBezTo>
                  <a:cubicBezTo>
                    <a:pt x="122039" y="9465"/>
                    <a:pt x="120555" y="9465"/>
                    <a:pt x="119070" y="9692"/>
                  </a:cubicBezTo>
                  <a:cubicBezTo>
                    <a:pt x="117699" y="9921"/>
                    <a:pt x="116214" y="10149"/>
                    <a:pt x="114730" y="10377"/>
                  </a:cubicBezTo>
                  <a:lnTo>
                    <a:pt x="112560" y="10725"/>
                  </a:lnTo>
                  <a:lnTo>
                    <a:pt x="110389" y="11295"/>
                  </a:lnTo>
                  <a:lnTo>
                    <a:pt x="106049" y="12208"/>
                  </a:lnTo>
                  <a:cubicBezTo>
                    <a:pt x="104565" y="12550"/>
                    <a:pt x="103194" y="13007"/>
                    <a:pt x="101709" y="13463"/>
                  </a:cubicBezTo>
                  <a:cubicBezTo>
                    <a:pt x="95998" y="14951"/>
                    <a:pt x="90402" y="17124"/>
                    <a:pt x="85034" y="19526"/>
                  </a:cubicBezTo>
                  <a:cubicBezTo>
                    <a:pt x="79666" y="22035"/>
                    <a:pt x="74526" y="24664"/>
                    <a:pt x="69843" y="27750"/>
                  </a:cubicBezTo>
                  <a:cubicBezTo>
                    <a:pt x="67445" y="29239"/>
                    <a:pt x="65160" y="30841"/>
                    <a:pt x="62990" y="32439"/>
                  </a:cubicBezTo>
                  <a:cubicBezTo>
                    <a:pt x="60820" y="34041"/>
                    <a:pt x="58650" y="35524"/>
                    <a:pt x="56708" y="37241"/>
                  </a:cubicBezTo>
                  <a:cubicBezTo>
                    <a:pt x="52711" y="40440"/>
                    <a:pt x="49170" y="43755"/>
                    <a:pt x="45858" y="46954"/>
                  </a:cubicBezTo>
                  <a:cubicBezTo>
                    <a:pt x="42660" y="50154"/>
                    <a:pt x="39919" y="53239"/>
                    <a:pt x="37520" y="55984"/>
                  </a:cubicBezTo>
                  <a:cubicBezTo>
                    <a:pt x="35122" y="58841"/>
                    <a:pt x="33066" y="61241"/>
                    <a:pt x="31581" y="63414"/>
                  </a:cubicBezTo>
                  <a:cubicBezTo>
                    <a:pt x="29982" y="65587"/>
                    <a:pt x="28840" y="67299"/>
                    <a:pt x="28040" y="68445"/>
                  </a:cubicBezTo>
                  <a:cubicBezTo>
                    <a:pt x="27241" y="69700"/>
                    <a:pt x="26898" y="70271"/>
                    <a:pt x="26898" y="70271"/>
                  </a:cubicBezTo>
                  <a:moveTo>
                    <a:pt x="138448" y="264318"/>
                  </a:moveTo>
                  <a:cubicBezTo>
                    <a:pt x="69691" y="264318"/>
                    <a:pt x="13751" y="208348"/>
                    <a:pt x="13751" y="139540"/>
                  </a:cubicBezTo>
                  <a:cubicBezTo>
                    <a:pt x="13751" y="70717"/>
                    <a:pt x="69691" y="14738"/>
                    <a:pt x="138448" y="14738"/>
                  </a:cubicBezTo>
                  <a:cubicBezTo>
                    <a:pt x="207219" y="14738"/>
                    <a:pt x="263146" y="70717"/>
                    <a:pt x="263146" y="139540"/>
                  </a:cubicBezTo>
                  <a:cubicBezTo>
                    <a:pt x="263146" y="208348"/>
                    <a:pt x="207219" y="264318"/>
                    <a:pt x="138448" y="264318"/>
                  </a:cubicBezTo>
                </a:path>
              </a:pathLst>
            </a:custGeom>
            <a:solidFill>
              <a:srgbClr val="C9202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8" name="Vrije vorm 17">
              <a:extLst>
                <a:ext uri="{FF2B5EF4-FFF2-40B4-BE49-F238E27FC236}">
                  <a16:creationId xmlns:a16="http://schemas.microsoft.com/office/drawing/2014/main" id="{0A558EAD-CD4D-14DA-1113-348349BF4FD6}"/>
                </a:ext>
              </a:extLst>
            </p:cNvPr>
            <p:cNvSpPr/>
            <p:nvPr/>
          </p:nvSpPr>
          <p:spPr>
            <a:xfrm flipV="1">
              <a:off x="6194549" y="3580539"/>
              <a:ext cx="247669" cy="247862"/>
            </a:xfrm>
            <a:custGeom>
              <a:avLst/>
              <a:gdLst>
                <a:gd name="connsiteX0" fmla="*/ 246052 w 247669"/>
                <a:gd name="connsiteY0" fmla="*/ 123288 h 247862"/>
                <a:gd name="connsiteX1" fmla="*/ 122204 w 247669"/>
                <a:gd name="connsiteY1" fmla="*/ -651 h 247862"/>
                <a:gd name="connsiteX2" fmla="*/ -1618 w 247669"/>
                <a:gd name="connsiteY2" fmla="*/ 123288 h 247862"/>
                <a:gd name="connsiteX3" fmla="*/ 122204 w 247669"/>
                <a:gd name="connsiteY3" fmla="*/ 247212 h 247862"/>
                <a:gd name="connsiteX4" fmla="*/ 246052 w 247669"/>
                <a:gd name="connsiteY4" fmla="*/ 123288 h 247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669" h="247862">
                  <a:moveTo>
                    <a:pt x="246052" y="123288"/>
                  </a:moveTo>
                  <a:cubicBezTo>
                    <a:pt x="246052" y="54831"/>
                    <a:pt x="190594" y="-651"/>
                    <a:pt x="122204" y="-651"/>
                  </a:cubicBezTo>
                  <a:cubicBezTo>
                    <a:pt x="53815" y="-651"/>
                    <a:pt x="-1618" y="54831"/>
                    <a:pt x="-1618" y="123288"/>
                  </a:cubicBezTo>
                  <a:cubicBezTo>
                    <a:pt x="-1618" y="191723"/>
                    <a:pt x="53815" y="247212"/>
                    <a:pt x="122204" y="247212"/>
                  </a:cubicBezTo>
                  <a:cubicBezTo>
                    <a:pt x="190594" y="247212"/>
                    <a:pt x="246052" y="191723"/>
                    <a:pt x="246052" y="123288"/>
                  </a:cubicBezTo>
                </a:path>
              </a:pathLst>
            </a:custGeom>
            <a:solidFill>
              <a:srgbClr val="FBFAEE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9" name="Vrije vorm 18">
              <a:extLst>
                <a:ext uri="{FF2B5EF4-FFF2-40B4-BE49-F238E27FC236}">
                  <a16:creationId xmlns:a16="http://schemas.microsoft.com/office/drawing/2014/main" id="{240977EA-F0A6-1296-1AA2-BBCB5E89D19E}"/>
                </a:ext>
              </a:extLst>
            </p:cNvPr>
            <p:cNvSpPr/>
            <p:nvPr/>
          </p:nvSpPr>
          <p:spPr>
            <a:xfrm flipV="1">
              <a:off x="6193674" y="3579685"/>
              <a:ext cx="249395" cy="249579"/>
            </a:xfrm>
            <a:custGeom>
              <a:avLst/>
              <a:gdLst>
                <a:gd name="connsiteX0" fmla="*/ 123080 w 249395"/>
                <a:gd name="connsiteY0" fmla="*/ 247227 h 249579"/>
                <a:gd name="connsiteX1" fmla="*/ 83 w 249395"/>
                <a:gd name="connsiteY1" fmla="*/ 124151 h 249579"/>
                <a:gd name="connsiteX2" fmla="*/ 123080 w 249395"/>
                <a:gd name="connsiteY2" fmla="*/ 1075 h 249579"/>
                <a:gd name="connsiteX3" fmla="*/ 246077 w 249395"/>
                <a:gd name="connsiteY3" fmla="*/ 124151 h 249579"/>
                <a:gd name="connsiteX4" fmla="*/ 123080 w 249395"/>
                <a:gd name="connsiteY4" fmla="*/ 247227 h 249579"/>
                <a:gd name="connsiteX5" fmla="*/ 123080 w 249395"/>
                <a:gd name="connsiteY5" fmla="*/ -651 h 249579"/>
                <a:gd name="connsiteX6" fmla="*/ -1618 w 249395"/>
                <a:gd name="connsiteY6" fmla="*/ 124151 h 249579"/>
                <a:gd name="connsiteX7" fmla="*/ 123080 w 249395"/>
                <a:gd name="connsiteY7" fmla="*/ 248929 h 249579"/>
                <a:gd name="connsiteX8" fmla="*/ 247778 w 249395"/>
                <a:gd name="connsiteY8" fmla="*/ 124151 h 249579"/>
                <a:gd name="connsiteX9" fmla="*/ 123080 w 249395"/>
                <a:gd name="connsiteY9" fmla="*/ -651 h 249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9395" h="249579">
                  <a:moveTo>
                    <a:pt x="123080" y="247227"/>
                  </a:moveTo>
                  <a:cubicBezTo>
                    <a:pt x="55274" y="247227"/>
                    <a:pt x="83" y="192006"/>
                    <a:pt x="83" y="124151"/>
                  </a:cubicBezTo>
                  <a:cubicBezTo>
                    <a:pt x="83" y="56296"/>
                    <a:pt x="55274" y="1075"/>
                    <a:pt x="123080" y="1075"/>
                  </a:cubicBezTo>
                  <a:cubicBezTo>
                    <a:pt x="190886" y="1075"/>
                    <a:pt x="246077" y="56296"/>
                    <a:pt x="246077" y="124151"/>
                  </a:cubicBezTo>
                  <a:cubicBezTo>
                    <a:pt x="246077" y="192006"/>
                    <a:pt x="190886" y="247227"/>
                    <a:pt x="123080" y="247227"/>
                  </a:cubicBezTo>
                  <a:moveTo>
                    <a:pt x="123080" y="-651"/>
                  </a:moveTo>
                  <a:cubicBezTo>
                    <a:pt x="54323" y="-651"/>
                    <a:pt x="-1618" y="55328"/>
                    <a:pt x="-1618" y="124151"/>
                  </a:cubicBezTo>
                  <a:cubicBezTo>
                    <a:pt x="-1618" y="192959"/>
                    <a:pt x="54323" y="248929"/>
                    <a:pt x="123080" y="248929"/>
                  </a:cubicBezTo>
                  <a:cubicBezTo>
                    <a:pt x="191850" y="248929"/>
                    <a:pt x="247778" y="192959"/>
                    <a:pt x="247778" y="124151"/>
                  </a:cubicBezTo>
                  <a:cubicBezTo>
                    <a:pt x="247778" y="55328"/>
                    <a:pt x="191850" y="-651"/>
                    <a:pt x="123080" y="-651"/>
                  </a:cubicBezTo>
                </a:path>
              </a:pathLst>
            </a:custGeom>
            <a:solidFill>
              <a:srgbClr val="83181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0" name="Vrije vorm 19">
              <a:extLst>
                <a:ext uri="{FF2B5EF4-FFF2-40B4-BE49-F238E27FC236}">
                  <a16:creationId xmlns:a16="http://schemas.microsoft.com/office/drawing/2014/main" id="{055CCE86-7358-FF26-0849-E20BA388BE91}"/>
                </a:ext>
              </a:extLst>
            </p:cNvPr>
            <p:cNvSpPr/>
            <p:nvPr/>
          </p:nvSpPr>
          <p:spPr>
            <a:xfrm flipV="1">
              <a:off x="6195374" y="3581387"/>
              <a:ext cx="245994" cy="246152"/>
            </a:xfrm>
            <a:custGeom>
              <a:avLst/>
              <a:gdLst>
                <a:gd name="connsiteX0" fmla="*/ 121379 w 245994"/>
                <a:gd name="connsiteY0" fmla="*/ -651 h 246152"/>
                <a:gd name="connsiteX1" fmla="*/ -1618 w 245994"/>
                <a:gd name="connsiteY1" fmla="*/ 122425 h 246152"/>
                <a:gd name="connsiteX2" fmla="*/ 121379 w 245994"/>
                <a:gd name="connsiteY2" fmla="*/ 245501 h 246152"/>
                <a:gd name="connsiteX3" fmla="*/ 244377 w 245994"/>
                <a:gd name="connsiteY3" fmla="*/ 122425 h 246152"/>
                <a:gd name="connsiteX4" fmla="*/ 121379 w 245994"/>
                <a:gd name="connsiteY4" fmla="*/ -651 h 246152"/>
                <a:gd name="connsiteX5" fmla="*/ 116633 w 245994"/>
                <a:gd name="connsiteY5" fmla="*/ 8850 h 246152"/>
                <a:gd name="connsiteX6" fmla="*/ 118334 w 245994"/>
                <a:gd name="connsiteY6" fmla="*/ 6865 h 246152"/>
                <a:gd name="connsiteX7" fmla="*/ 122217 w 245994"/>
                <a:gd name="connsiteY7" fmla="*/ 5724 h 246152"/>
                <a:gd name="connsiteX8" fmla="*/ 127128 w 245994"/>
                <a:gd name="connsiteY8" fmla="*/ 7783 h 246152"/>
                <a:gd name="connsiteX9" fmla="*/ 127979 w 245994"/>
                <a:gd name="connsiteY9" fmla="*/ 8933 h 246152"/>
                <a:gd name="connsiteX10" fmla="*/ 174667 w 245994"/>
                <a:gd name="connsiteY10" fmla="*/ 21649 h 246152"/>
                <a:gd name="connsiteX11" fmla="*/ 176241 w 245994"/>
                <a:gd name="connsiteY11" fmla="*/ 21152 h 246152"/>
                <a:gd name="connsiteX12" fmla="*/ 177954 w 245994"/>
                <a:gd name="connsiteY12" fmla="*/ 21039 h 246152"/>
                <a:gd name="connsiteX13" fmla="*/ 182294 w 245994"/>
                <a:gd name="connsiteY13" fmla="*/ 21951 h 246152"/>
                <a:gd name="connsiteX14" fmla="*/ 185835 w 245994"/>
                <a:gd name="connsiteY14" fmla="*/ 25042 h 246152"/>
                <a:gd name="connsiteX15" fmla="*/ 187091 w 245994"/>
                <a:gd name="connsiteY15" fmla="*/ 29040 h 246152"/>
                <a:gd name="connsiteX16" fmla="*/ 187091 w 245994"/>
                <a:gd name="connsiteY16" fmla="*/ 29066 h 246152"/>
                <a:gd name="connsiteX17" fmla="*/ 218830 w 245994"/>
                <a:gd name="connsiteY17" fmla="*/ 61466 h 246152"/>
                <a:gd name="connsiteX18" fmla="*/ 220328 w 245994"/>
                <a:gd name="connsiteY18" fmla="*/ 61500 h 246152"/>
                <a:gd name="connsiteX19" fmla="*/ 224325 w 245994"/>
                <a:gd name="connsiteY19" fmla="*/ 61386 h 246152"/>
                <a:gd name="connsiteX20" fmla="*/ 225468 w 245994"/>
                <a:gd name="connsiteY20" fmla="*/ 61386 h 246152"/>
                <a:gd name="connsiteX21" fmla="*/ 225468 w 245994"/>
                <a:gd name="connsiteY21" fmla="*/ 62645 h 246152"/>
                <a:gd name="connsiteX22" fmla="*/ 223526 w 245994"/>
                <a:gd name="connsiteY22" fmla="*/ 62874 h 246152"/>
                <a:gd name="connsiteX23" fmla="*/ 222841 w 245994"/>
                <a:gd name="connsiteY23" fmla="*/ 63103 h 246152"/>
                <a:gd name="connsiteX24" fmla="*/ 222612 w 245994"/>
                <a:gd name="connsiteY24" fmla="*/ 63673 h 246152"/>
                <a:gd name="connsiteX25" fmla="*/ 222612 w 245994"/>
                <a:gd name="connsiteY25" fmla="*/ 66759 h 246152"/>
                <a:gd name="connsiteX26" fmla="*/ 224440 w 245994"/>
                <a:gd name="connsiteY26" fmla="*/ 66759 h 246152"/>
                <a:gd name="connsiteX27" fmla="*/ 225353 w 245994"/>
                <a:gd name="connsiteY27" fmla="*/ 66759 h 246152"/>
                <a:gd name="connsiteX28" fmla="*/ 225353 w 245994"/>
                <a:gd name="connsiteY28" fmla="*/ 67785 h 246152"/>
                <a:gd name="connsiteX29" fmla="*/ 225353 w 245994"/>
                <a:gd name="connsiteY29" fmla="*/ 69159 h 246152"/>
                <a:gd name="connsiteX30" fmla="*/ 225353 w 245994"/>
                <a:gd name="connsiteY30" fmla="*/ 69388 h 246152"/>
                <a:gd name="connsiteX31" fmla="*/ 223539 w 245994"/>
                <a:gd name="connsiteY31" fmla="*/ 69289 h 246152"/>
                <a:gd name="connsiteX32" fmla="*/ 237828 w 245994"/>
                <a:gd name="connsiteY32" fmla="*/ 125268 h 246152"/>
                <a:gd name="connsiteX33" fmla="*/ 121379 w 245994"/>
                <a:gd name="connsiteY33" fmla="*/ 241775 h 246152"/>
                <a:gd name="connsiteX34" fmla="*/ 4943 w 245994"/>
                <a:gd name="connsiteY34" fmla="*/ 125268 h 246152"/>
                <a:gd name="connsiteX35" fmla="*/ 29677 w 245994"/>
                <a:gd name="connsiteY35" fmla="*/ 53463 h 246152"/>
                <a:gd name="connsiteX36" fmla="*/ 29931 w 245994"/>
                <a:gd name="connsiteY36" fmla="*/ 52243 h 246152"/>
                <a:gd name="connsiteX37" fmla="*/ 31073 w 245994"/>
                <a:gd name="connsiteY37" fmla="*/ 50526 h 246152"/>
                <a:gd name="connsiteX38" fmla="*/ 32672 w 245994"/>
                <a:gd name="connsiteY38" fmla="*/ 49500 h 246152"/>
                <a:gd name="connsiteX39" fmla="*/ 33091 w 245994"/>
                <a:gd name="connsiteY39" fmla="*/ 49297 h 246152"/>
                <a:gd name="connsiteX40" fmla="*/ 71264 w 245994"/>
                <a:gd name="connsiteY40" fmla="*/ 20061 h 246152"/>
                <a:gd name="connsiteX41" fmla="*/ 69335 w 245994"/>
                <a:gd name="connsiteY41" fmla="*/ 16698 h 246152"/>
                <a:gd name="connsiteX42" fmla="*/ 69450 w 245994"/>
                <a:gd name="connsiteY42" fmla="*/ 16350 h 246152"/>
                <a:gd name="connsiteX43" fmla="*/ 71277 w 245994"/>
                <a:gd name="connsiteY43" fmla="*/ 16470 h 246152"/>
                <a:gd name="connsiteX44" fmla="*/ 72990 w 245994"/>
                <a:gd name="connsiteY44" fmla="*/ 16350 h 246152"/>
                <a:gd name="connsiteX45" fmla="*/ 73904 w 245994"/>
                <a:gd name="connsiteY45" fmla="*/ 18841 h 246152"/>
                <a:gd name="connsiteX46" fmla="*/ 116633 w 245994"/>
                <a:gd name="connsiteY46" fmla="*/ 8850 h 246152"/>
                <a:gd name="connsiteX47" fmla="*/ 122560 w 245994"/>
                <a:gd name="connsiteY47" fmla="*/ 7322 h 246152"/>
                <a:gd name="connsiteX48" fmla="*/ 120275 w 245994"/>
                <a:gd name="connsiteY48" fmla="*/ 8696 h 246152"/>
                <a:gd name="connsiteX49" fmla="*/ 120237 w 245994"/>
                <a:gd name="connsiteY49" fmla="*/ 8761 h 246152"/>
                <a:gd name="connsiteX50" fmla="*/ 121379 w 245994"/>
                <a:gd name="connsiteY50" fmla="*/ 8746 h 246152"/>
                <a:gd name="connsiteX51" fmla="*/ 124857 w 245994"/>
                <a:gd name="connsiteY51" fmla="*/ 8795 h 246152"/>
                <a:gd name="connsiteX52" fmla="*/ 124501 w 245994"/>
                <a:gd name="connsiteY52" fmla="*/ 8239 h 246152"/>
                <a:gd name="connsiteX53" fmla="*/ 122560 w 245994"/>
                <a:gd name="connsiteY53" fmla="*/ 7322 h 246152"/>
                <a:gd name="connsiteX54" fmla="*/ 179439 w 245994"/>
                <a:gd name="connsiteY54" fmla="*/ 22869 h 246152"/>
                <a:gd name="connsiteX55" fmla="*/ 177662 w 245994"/>
                <a:gd name="connsiteY55" fmla="*/ 23236 h 246152"/>
                <a:gd name="connsiteX56" fmla="*/ 183297 w 245994"/>
                <a:gd name="connsiteY56" fmla="*/ 26565 h 246152"/>
                <a:gd name="connsiteX57" fmla="*/ 182180 w 245994"/>
                <a:gd name="connsiteY57" fmla="*/ 24010 h 246152"/>
                <a:gd name="connsiteX58" fmla="*/ 179439 w 245994"/>
                <a:gd name="connsiteY58" fmla="*/ 22869 h 24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45994" h="246152">
                  <a:moveTo>
                    <a:pt x="121379" y="-651"/>
                  </a:moveTo>
                  <a:cubicBezTo>
                    <a:pt x="53574" y="-651"/>
                    <a:pt x="-1618" y="54570"/>
                    <a:pt x="-1618" y="122425"/>
                  </a:cubicBezTo>
                  <a:cubicBezTo>
                    <a:pt x="-1618" y="190280"/>
                    <a:pt x="53574" y="245501"/>
                    <a:pt x="121379" y="245501"/>
                  </a:cubicBezTo>
                  <a:cubicBezTo>
                    <a:pt x="189185" y="245501"/>
                    <a:pt x="244377" y="190280"/>
                    <a:pt x="244377" y="122425"/>
                  </a:cubicBezTo>
                  <a:cubicBezTo>
                    <a:pt x="244377" y="54570"/>
                    <a:pt x="189185" y="-651"/>
                    <a:pt x="121379" y="-651"/>
                  </a:cubicBezTo>
                  <a:moveTo>
                    <a:pt x="116633" y="8850"/>
                  </a:moveTo>
                  <a:cubicBezTo>
                    <a:pt x="117077" y="8071"/>
                    <a:pt x="117674" y="7436"/>
                    <a:pt x="118334" y="6865"/>
                  </a:cubicBezTo>
                  <a:cubicBezTo>
                    <a:pt x="119362" y="6066"/>
                    <a:pt x="120618" y="5724"/>
                    <a:pt x="122217" y="5724"/>
                  </a:cubicBezTo>
                  <a:cubicBezTo>
                    <a:pt x="124159" y="5724"/>
                    <a:pt x="125758" y="6409"/>
                    <a:pt x="127128" y="7783"/>
                  </a:cubicBezTo>
                  <a:cubicBezTo>
                    <a:pt x="127458" y="8135"/>
                    <a:pt x="127737" y="8517"/>
                    <a:pt x="127979" y="8933"/>
                  </a:cubicBezTo>
                  <a:cubicBezTo>
                    <a:pt x="144730" y="9876"/>
                    <a:pt x="160543" y="14362"/>
                    <a:pt x="174667" y="21649"/>
                  </a:cubicBezTo>
                  <a:lnTo>
                    <a:pt x="176241" y="21152"/>
                  </a:lnTo>
                  <a:lnTo>
                    <a:pt x="177954" y="21039"/>
                  </a:lnTo>
                  <a:cubicBezTo>
                    <a:pt x="179667" y="21039"/>
                    <a:pt x="181038" y="21381"/>
                    <a:pt x="182294" y="21951"/>
                  </a:cubicBezTo>
                  <a:cubicBezTo>
                    <a:pt x="183893" y="22755"/>
                    <a:pt x="185035" y="23782"/>
                    <a:pt x="185835" y="25042"/>
                  </a:cubicBezTo>
                  <a:cubicBezTo>
                    <a:pt x="186634" y="26411"/>
                    <a:pt x="187091" y="27666"/>
                    <a:pt x="187091" y="29040"/>
                  </a:cubicBezTo>
                  <a:cubicBezTo>
                    <a:pt x="187091" y="29050"/>
                    <a:pt x="187091" y="29050"/>
                    <a:pt x="187091" y="29066"/>
                  </a:cubicBezTo>
                  <a:cubicBezTo>
                    <a:pt x="199668" y="37688"/>
                    <a:pt x="210467" y="48701"/>
                    <a:pt x="218830" y="61466"/>
                  </a:cubicBezTo>
                  <a:lnTo>
                    <a:pt x="220328" y="61500"/>
                  </a:lnTo>
                  <a:lnTo>
                    <a:pt x="224325" y="61386"/>
                  </a:lnTo>
                  <a:lnTo>
                    <a:pt x="225468" y="61386"/>
                  </a:lnTo>
                  <a:lnTo>
                    <a:pt x="225468" y="62645"/>
                  </a:lnTo>
                  <a:lnTo>
                    <a:pt x="223526" y="62874"/>
                  </a:lnTo>
                  <a:lnTo>
                    <a:pt x="222841" y="63103"/>
                  </a:lnTo>
                  <a:lnTo>
                    <a:pt x="222612" y="63673"/>
                  </a:lnTo>
                  <a:cubicBezTo>
                    <a:pt x="222612" y="64243"/>
                    <a:pt x="222612" y="65161"/>
                    <a:pt x="222612" y="66759"/>
                  </a:cubicBezTo>
                  <a:lnTo>
                    <a:pt x="224440" y="66759"/>
                  </a:lnTo>
                  <a:lnTo>
                    <a:pt x="225353" y="66759"/>
                  </a:lnTo>
                  <a:lnTo>
                    <a:pt x="225353" y="67785"/>
                  </a:lnTo>
                  <a:lnTo>
                    <a:pt x="225353" y="69159"/>
                  </a:lnTo>
                  <a:lnTo>
                    <a:pt x="225353" y="69388"/>
                  </a:lnTo>
                  <a:lnTo>
                    <a:pt x="223539" y="69289"/>
                  </a:lnTo>
                  <a:cubicBezTo>
                    <a:pt x="232650" y="85898"/>
                    <a:pt x="237828" y="104972"/>
                    <a:pt x="237828" y="125268"/>
                  </a:cubicBezTo>
                  <a:cubicBezTo>
                    <a:pt x="237828" y="189621"/>
                    <a:pt x="185683" y="241775"/>
                    <a:pt x="121379" y="241775"/>
                  </a:cubicBezTo>
                  <a:cubicBezTo>
                    <a:pt x="57064" y="241775"/>
                    <a:pt x="4943" y="189621"/>
                    <a:pt x="4943" y="125268"/>
                  </a:cubicBezTo>
                  <a:cubicBezTo>
                    <a:pt x="4943" y="98181"/>
                    <a:pt x="14182" y="73247"/>
                    <a:pt x="29677" y="53463"/>
                  </a:cubicBezTo>
                  <a:lnTo>
                    <a:pt x="29931" y="52243"/>
                  </a:lnTo>
                  <a:lnTo>
                    <a:pt x="31073" y="50526"/>
                  </a:lnTo>
                  <a:lnTo>
                    <a:pt x="32672" y="49500"/>
                  </a:lnTo>
                  <a:cubicBezTo>
                    <a:pt x="32799" y="49425"/>
                    <a:pt x="32939" y="49360"/>
                    <a:pt x="33091" y="49297"/>
                  </a:cubicBezTo>
                  <a:cubicBezTo>
                    <a:pt x="43586" y="37092"/>
                    <a:pt x="56569" y="27086"/>
                    <a:pt x="71264" y="20061"/>
                  </a:cubicBezTo>
                  <a:cubicBezTo>
                    <a:pt x="70706" y="19093"/>
                    <a:pt x="70059" y="17977"/>
                    <a:pt x="69335" y="16698"/>
                  </a:cubicBezTo>
                  <a:lnTo>
                    <a:pt x="69450" y="16350"/>
                  </a:lnTo>
                  <a:lnTo>
                    <a:pt x="71277" y="16470"/>
                  </a:lnTo>
                  <a:lnTo>
                    <a:pt x="72990" y="16350"/>
                  </a:lnTo>
                  <a:cubicBezTo>
                    <a:pt x="73231" y="17065"/>
                    <a:pt x="73511" y="17878"/>
                    <a:pt x="73904" y="18841"/>
                  </a:cubicBezTo>
                  <a:cubicBezTo>
                    <a:pt x="87039" y="12962"/>
                    <a:pt x="101455" y="9454"/>
                    <a:pt x="116633" y="8850"/>
                  </a:cubicBezTo>
                  <a:moveTo>
                    <a:pt x="122560" y="7322"/>
                  </a:moveTo>
                  <a:lnTo>
                    <a:pt x="120275" y="8696"/>
                  </a:lnTo>
                  <a:cubicBezTo>
                    <a:pt x="120263" y="8720"/>
                    <a:pt x="120250" y="8735"/>
                    <a:pt x="120237" y="8761"/>
                  </a:cubicBezTo>
                  <a:cubicBezTo>
                    <a:pt x="120618" y="8746"/>
                    <a:pt x="120999" y="8746"/>
                    <a:pt x="121379" y="8746"/>
                  </a:cubicBezTo>
                  <a:cubicBezTo>
                    <a:pt x="122547" y="8746"/>
                    <a:pt x="123702" y="8770"/>
                    <a:pt x="124857" y="8795"/>
                  </a:cubicBezTo>
                  <a:cubicBezTo>
                    <a:pt x="124755" y="8592"/>
                    <a:pt x="124641" y="8403"/>
                    <a:pt x="124501" y="8239"/>
                  </a:cubicBezTo>
                  <a:lnTo>
                    <a:pt x="122560" y="7322"/>
                  </a:lnTo>
                  <a:moveTo>
                    <a:pt x="179439" y="22869"/>
                  </a:moveTo>
                  <a:lnTo>
                    <a:pt x="177662" y="23236"/>
                  </a:lnTo>
                  <a:cubicBezTo>
                    <a:pt x="179578" y="24303"/>
                    <a:pt x="181444" y="25409"/>
                    <a:pt x="183297" y="26565"/>
                  </a:cubicBezTo>
                  <a:cubicBezTo>
                    <a:pt x="183195" y="25508"/>
                    <a:pt x="182853" y="24685"/>
                    <a:pt x="182180" y="24010"/>
                  </a:cubicBezTo>
                  <a:lnTo>
                    <a:pt x="179439" y="22869"/>
                  </a:lnTo>
                </a:path>
              </a:pathLst>
            </a:custGeom>
            <a:solidFill>
              <a:srgbClr val="F0E1A0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1" name="Vrije vorm 20">
              <a:extLst>
                <a:ext uri="{FF2B5EF4-FFF2-40B4-BE49-F238E27FC236}">
                  <a16:creationId xmlns:a16="http://schemas.microsoft.com/office/drawing/2014/main" id="{65E16829-22EF-2096-7AA7-C69C4369938A}"/>
                </a:ext>
              </a:extLst>
            </p:cNvPr>
            <p:cNvSpPr/>
            <p:nvPr/>
          </p:nvSpPr>
          <p:spPr>
            <a:xfrm flipV="1">
              <a:off x="6194549" y="3580539"/>
              <a:ext cx="247669" cy="247862"/>
            </a:xfrm>
            <a:custGeom>
              <a:avLst/>
              <a:gdLst>
                <a:gd name="connsiteX0" fmla="*/ 122204 w 247669"/>
                <a:gd name="connsiteY0" fmla="*/ -651 h 247862"/>
                <a:gd name="connsiteX1" fmla="*/ -1618 w 247669"/>
                <a:gd name="connsiteY1" fmla="*/ 123288 h 247862"/>
                <a:gd name="connsiteX2" fmla="*/ 122204 w 247669"/>
                <a:gd name="connsiteY2" fmla="*/ 247212 h 247862"/>
                <a:gd name="connsiteX3" fmla="*/ 246052 w 247669"/>
                <a:gd name="connsiteY3" fmla="*/ 123288 h 247862"/>
                <a:gd name="connsiteX4" fmla="*/ 122204 w 247669"/>
                <a:gd name="connsiteY4" fmla="*/ -651 h 247862"/>
                <a:gd name="connsiteX5" fmla="*/ 122204 w 247669"/>
                <a:gd name="connsiteY5" fmla="*/ 246363 h 247862"/>
                <a:gd name="connsiteX6" fmla="*/ -793 w 247669"/>
                <a:gd name="connsiteY6" fmla="*/ 123288 h 247862"/>
                <a:gd name="connsiteX7" fmla="*/ 122204 w 247669"/>
                <a:gd name="connsiteY7" fmla="*/ 211 h 247862"/>
                <a:gd name="connsiteX8" fmla="*/ 245201 w 247669"/>
                <a:gd name="connsiteY8" fmla="*/ 123288 h 247862"/>
                <a:gd name="connsiteX9" fmla="*/ 122204 w 247669"/>
                <a:gd name="connsiteY9" fmla="*/ 246363 h 247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7669" h="247862">
                  <a:moveTo>
                    <a:pt x="122204" y="-651"/>
                  </a:moveTo>
                  <a:cubicBezTo>
                    <a:pt x="53815" y="-651"/>
                    <a:pt x="-1618" y="54831"/>
                    <a:pt x="-1618" y="123288"/>
                  </a:cubicBezTo>
                  <a:cubicBezTo>
                    <a:pt x="-1618" y="191723"/>
                    <a:pt x="53815" y="247212"/>
                    <a:pt x="122204" y="247212"/>
                  </a:cubicBezTo>
                  <a:cubicBezTo>
                    <a:pt x="190594" y="247212"/>
                    <a:pt x="246052" y="191723"/>
                    <a:pt x="246052" y="123288"/>
                  </a:cubicBezTo>
                  <a:cubicBezTo>
                    <a:pt x="246052" y="54831"/>
                    <a:pt x="190594" y="-651"/>
                    <a:pt x="122204" y="-651"/>
                  </a:cubicBezTo>
                  <a:moveTo>
                    <a:pt x="122204" y="246363"/>
                  </a:moveTo>
                  <a:cubicBezTo>
                    <a:pt x="54399" y="246363"/>
                    <a:pt x="-793" y="191142"/>
                    <a:pt x="-793" y="123288"/>
                  </a:cubicBezTo>
                  <a:cubicBezTo>
                    <a:pt x="-793" y="55432"/>
                    <a:pt x="54399" y="211"/>
                    <a:pt x="122204" y="211"/>
                  </a:cubicBezTo>
                  <a:cubicBezTo>
                    <a:pt x="190010" y="211"/>
                    <a:pt x="245201" y="55432"/>
                    <a:pt x="245201" y="123288"/>
                  </a:cubicBezTo>
                  <a:cubicBezTo>
                    <a:pt x="245201" y="191142"/>
                    <a:pt x="190010" y="246363"/>
                    <a:pt x="122204" y="246363"/>
                  </a:cubicBezTo>
                </a:path>
              </a:pathLst>
            </a:custGeom>
            <a:solidFill>
              <a:srgbClr val="7F171B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" name="Vrije vorm 21">
              <a:extLst>
                <a:ext uri="{FF2B5EF4-FFF2-40B4-BE49-F238E27FC236}">
                  <a16:creationId xmlns:a16="http://schemas.microsoft.com/office/drawing/2014/main" id="{DB7F58F2-FC53-A845-4735-3A400F710766}"/>
                </a:ext>
              </a:extLst>
            </p:cNvPr>
            <p:cNvSpPr/>
            <p:nvPr/>
          </p:nvSpPr>
          <p:spPr>
            <a:xfrm flipV="1">
              <a:off x="6304983" y="3590584"/>
              <a:ext cx="13299" cy="21258"/>
            </a:xfrm>
            <a:custGeom>
              <a:avLst/>
              <a:gdLst>
                <a:gd name="connsiteX0" fmla="*/ 11687 w 13299"/>
                <a:gd name="connsiteY0" fmla="*/ -743 h 21258"/>
                <a:gd name="connsiteX1" fmla="*/ 6255 w 13299"/>
                <a:gd name="connsiteY1" fmla="*/ -595 h 21258"/>
                <a:gd name="connsiteX2" fmla="*/ -293 w 13299"/>
                <a:gd name="connsiteY2" fmla="*/ -743 h 21258"/>
                <a:gd name="connsiteX3" fmla="*/ -293 w 13299"/>
                <a:gd name="connsiteY3" fmla="*/ 513 h 21258"/>
                <a:gd name="connsiteX4" fmla="*/ 2638 w 13299"/>
                <a:gd name="connsiteY4" fmla="*/ 820 h 21258"/>
                <a:gd name="connsiteX5" fmla="*/ 3311 w 13299"/>
                <a:gd name="connsiteY5" fmla="*/ 1083 h 21258"/>
                <a:gd name="connsiteX6" fmla="*/ 3641 w 13299"/>
                <a:gd name="connsiteY6" fmla="*/ 1936 h 21258"/>
                <a:gd name="connsiteX7" fmla="*/ 3831 w 13299"/>
                <a:gd name="connsiteY7" fmla="*/ 7284 h 21258"/>
                <a:gd name="connsiteX8" fmla="*/ 3831 w 13299"/>
                <a:gd name="connsiteY8" fmla="*/ 10980 h 21258"/>
                <a:gd name="connsiteX9" fmla="*/ 3780 w 13299"/>
                <a:gd name="connsiteY9" fmla="*/ 15132 h 21258"/>
                <a:gd name="connsiteX10" fmla="*/ 3768 w 13299"/>
                <a:gd name="connsiteY10" fmla="*/ 16461 h 21258"/>
                <a:gd name="connsiteX11" fmla="*/ 3666 w 13299"/>
                <a:gd name="connsiteY11" fmla="*/ 17086 h 21258"/>
                <a:gd name="connsiteX12" fmla="*/ 3425 w 13299"/>
                <a:gd name="connsiteY12" fmla="*/ 17216 h 21258"/>
                <a:gd name="connsiteX13" fmla="*/ 2752 w 13299"/>
                <a:gd name="connsiteY13" fmla="*/ 16958 h 21258"/>
                <a:gd name="connsiteX14" fmla="*/ -1106 w 13299"/>
                <a:gd name="connsiteY14" fmla="*/ 15181 h 21258"/>
                <a:gd name="connsiteX15" fmla="*/ -1270 w 13299"/>
                <a:gd name="connsiteY15" fmla="*/ 15321 h 21258"/>
                <a:gd name="connsiteX16" fmla="*/ -1435 w 13299"/>
                <a:gd name="connsiteY16" fmla="*/ 16297 h 21258"/>
                <a:gd name="connsiteX17" fmla="*/ -1613 w 13299"/>
                <a:gd name="connsiteY17" fmla="*/ 17240 h 21258"/>
                <a:gd name="connsiteX18" fmla="*/ -1588 w 13299"/>
                <a:gd name="connsiteY18" fmla="*/ 17340 h 21258"/>
                <a:gd name="connsiteX19" fmla="*/ 2791 w 13299"/>
                <a:gd name="connsiteY19" fmla="*/ 18674 h 21258"/>
                <a:gd name="connsiteX20" fmla="*/ 7880 w 13299"/>
                <a:gd name="connsiteY20" fmla="*/ 20515 h 21258"/>
                <a:gd name="connsiteX21" fmla="*/ 8222 w 13299"/>
                <a:gd name="connsiteY21" fmla="*/ 20287 h 21258"/>
                <a:gd name="connsiteX22" fmla="*/ 8121 w 13299"/>
                <a:gd name="connsiteY22" fmla="*/ 18853 h 21258"/>
                <a:gd name="connsiteX23" fmla="*/ 8044 w 13299"/>
                <a:gd name="connsiteY23" fmla="*/ 17299 h 21258"/>
                <a:gd name="connsiteX24" fmla="*/ 7905 w 13299"/>
                <a:gd name="connsiteY24" fmla="*/ 10434 h 21258"/>
                <a:gd name="connsiteX25" fmla="*/ 7905 w 13299"/>
                <a:gd name="connsiteY25" fmla="*/ 8133 h 21258"/>
                <a:gd name="connsiteX26" fmla="*/ 7943 w 13299"/>
                <a:gd name="connsiteY26" fmla="*/ 3498 h 21258"/>
                <a:gd name="connsiteX27" fmla="*/ 8146 w 13299"/>
                <a:gd name="connsiteY27" fmla="*/ 1197 h 21258"/>
                <a:gd name="connsiteX28" fmla="*/ 8463 w 13299"/>
                <a:gd name="connsiteY28" fmla="*/ 880 h 21258"/>
                <a:gd name="connsiteX29" fmla="*/ 10671 w 13299"/>
                <a:gd name="connsiteY29" fmla="*/ 586 h 21258"/>
                <a:gd name="connsiteX30" fmla="*/ 11687 w 13299"/>
                <a:gd name="connsiteY30" fmla="*/ 513 h 21258"/>
                <a:gd name="connsiteX31" fmla="*/ 11687 w 13299"/>
                <a:gd name="connsiteY31" fmla="*/ -743 h 21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99" h="21258">
                  <a:moveTo>
                    <a:pt x="11687" y="-743"/>
                  </a:moveTo>
                  <a:cubicBezTo>
                    <a:pt x="9453" y="-629"/>
                    <a:pt x="7638" y="-595"/>
                    <a:pt x="6255" y="-595"/>
                  </a:cubicBezTo>
                  <a:cubicBezTo>
                    <a:pt x="5303" y="-595"/>
                    <a:pt x="3133" y="-629"/>
                    <a:pt x="-293" y="-743"/>
                  </a:cubicBezTo>
                  <a:lnTo>
                    <a:pt x="-293" y="513"/>
                  </a:lnTo>
                  <a:lnTo>
                    <a:pt x="2638" y="820"/>
                  </a:lnTo>
                  <a:lnTo>
                    <a:pt x="3311" y="1083"/>
                  </a:lnTo>
                  <a:lnTo>
                    <a:pt x="3641" y="1936"/>
                  </a:lnTo>
                  <a:cubicBezTo>
                    <a:pt x="3768" y="2735"/>
                    <a:pt x="3831" y="4516"/>
                    <a:pt x="3831" y="7284"/>
                  </a:cubicBezTo>
                  <a:lnTo>
                    <a:pt x="3831" y="10980"/>
                  </a:lnTo>
                  <a:cubicBezTo>
                    <a:pt x="3831" y="12260"/>
                    <a:pt x="3793" y="13643"/>
                    <a:pt x="3780" y="15132"/>
                  </a:cubicBezTo>
                  <a:lnTo>
                    <a:pt x="3768" y="16461"/>
                  </a:lnTo>
                  <a:lnTo>
                    <a:pt x="3666" y="17086"/>
                  </a:lnTo>
                  <a:lnTo>
                    <a:pt x="3425" y="17216"/>
                  </a:lnTo>
                  <a:lnTo>
                    <a:pt x="2752" y="16958"/>
                  </a:lnTo>
                  <a:cubicBezTo>
                    <a:pt x="735" y="16070"/>
                    <a:pt x="-534" y="15485"/>
                    <a:pt x="-1106" y="15181"/>
                  </a:cubicBezTo>
                  <a:lnTo>
                    <a:pt x="-1270" y="15321"/>
                  </a:lnTo>
                  <a:lnTo>
                    <a:pt x="-1435" y="16297"/>
                  </a:lnTo>
                  <a:lnTo>
                    <a:pt x="-1613" y="17240"/>
                  </a:lnTo>
                  <a:lnTo>
                    <a:pt x="-1588" y="17340"/>
                  </a:lnTo>
                  <a:cubicBezTo>
                    <a:pt x="265" y="17885"/>
                    <a:pt x="1712" y="18332"/>
                    <a:pt x="2791" y="18674"/>
                  </a:cubicBezTo>
                  <a:cubicBezTo>
                    <a:pt x="3882" y="19056"/>
                    <a:pt x="5582" y="19667"/>
                    <a:pt x="7880" y="20515"/>
                  </a:cubicBezTo>
                  <a:lnTo>
                    <a:pt x="8222" y="20287"/>
                  </a:lnTo>
                  <a:lnTo>
                    <a:pt x="8121" y="18853"/>
                  </a:lnTo>
                  <a:lnTo>
                    <a:pt x="8044" y="17299"/>
                  </a:lnTo>
                  <a:cubicBezTo>
                    <a:pt x="8006" y="16412"/>
                    <a:pt x="7956" y="14114"/>
                    <a:pt x="7905" y="10434"/>
                  </a:cubicBezTo>
                  <a:lnTo>
                    <a:pt x="7905" y="8133"/>
                  </a:lnTo>
                  <a:cubicBezTo>
                    <a:pt x="7905" y="5910"/>
                    <a:pt x="7917" y="4362"/>
                    <a:pt x="7943" y="3498"/>
                  </a:cubicBezTo>
                  <a:cubicBezTo>
                    <a:pt x="7994" y="2174"/>
                    <a:pt x="8044" y="1400"/>
                    <a:pt x="8146" y="1197"/>
                  </a:cubicBezTo>
                  <a:lnTo>
                    <a:pt x="8463" y="880"/>
                  </a:lnTo>
                  <a:cubicBezTo>
                    <a:pt x="8717" y="740"/>
                    <a:pt x="9440" y="651"/>
                    <a:pt x="10671" y="586"/>
                  </a:cubicBezTo>
                  <a:lnTo>
                    <a:pt x="11687" y="513"/>
                  </a:lnTo>
                  <a:lnTo>
                    <a:pt x="11687" y="-743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3" name="Vrije vorm 22">
              <a:extLst>
                <a:ext uri="{FF2B5EF4-FFF2-40B4-BE49-F238E27FC236}">
                  <a16:creationId xmlns:a16="http://schemas.microsoft.com/office/drawing/2014/main" id="{0E06FB87-5EE5-DE20-4BFD-50D87E731DA9}"/>
                </a:ext>
              </a:extLst>
            </p:cNvPr>
            <p:cNvSpPr/>
            <p:nvPr/>
          </p:nvSpPr>
          <p:spPr>
            <a:xfrm flipV="1">
              <a:off x="6320541" y="3590953"/>
              <a:ext cx="14061" cy="20890"/>
            </a:xfrm>
            <a:custGeom>
              <a:avLst/>
              <a:gdLst>
                <a:gd name="connsiteX0" fmla="*/ 12374 w 14061"/>
                <a:gd name="connsiteY0" fmla="*/ -743 h 20890"/>
                <a:gd name="connsiteX1" fmla="*/ 7805 w 14061"/>
                <a:gd name="connsiteY1" fmla="*/ -619 h 20890"/>
                <a:gd name="connsiteX2" fmla="*/ 5584 w 14061"/>
                <a:gd name="connsiteY2" fmla="*/ -579 h 20890"/>
                <a:gd name="connsiteX3" fmla="*/ -1624 w 14061"/>
                <a:gd name="connsiteY3" fmla="*/ -743 h 20890"/>
                <a:gd name="connsiteX4" fmla="*/ -1624 w 14061"/>
                <a:gd name="connsiteY4" fmla="*/ 854 h 20890"/>
                <a:gd name="connsiteX5" fmla="*/ 1231 w 14061"/>
                <a:gd name="connsiteY5" fmla="*/ 3702 h 20890"/>
                <a:gd name="connsiteX6" fmla="*/ 4531 w 14061"/>
                <a:gd name="connsiteY6" fmla="*/ 7204 h 20890"/>
                <a:gd name="connsiteX7" fmla="*/ 6206 w 14061"/>
                <a:gd name="connsiteY7" fmla="*/ 9492 h 20890"/>
                <a:gd name="connsiteX8" fmla="*/ 7057 w 14061"/>
                <a:gd name="connsiteY8" fmla="*/ 11436 h 20890"/>
                <a:gd name="connsiteX9" fmla="*/ 7285 w 14061"/>
                <a:gd name="connsiteY9" fmla="*/ 13172 h 20890"/>
                <a:gd name="connsiteX10" fmla="*/ 6397 w 14061"/>
                <a:gd name="connsiteY10" fmla="*/ 15881 h 20890"/>
                <a:gd name="connsiteX11" fmla="*/ 3922 w 14061"/>
                <a:gd name="connsiteY11" fmla="*/ 16809 h 20890"/>
                <a:gd name="connsiteX12" fmla="*/ 2259 w 14061"/>
                <a:gd name="connsiteY12" fmla="*/ 16461 h 20890"/>
                <a:gd name="connsiteX13" fmla="*/ 914 w 14061"/>
                <a:gd name="connsiteY13" fmla="*/ 15395 h 20890"/>
                <a:gd name="connsiteX14" fmla="*/ 292 w 14061"/>
                <a:gd name="connsiteY14" fmla="*/ 12945 h 20890"/>
                <a:gd name="connsiteX15" fmla="*/ -888 w 14061"/>
                <a:gd name="connsiteY15" fmla="*/ 12945 h 20890"/>
                <a:gd name="connsiteX16" fmla="*/ -494 w 14061"/>
                <a:gd name="connsiteY16" fmla="*/ 16477 h 20890"/>
                <a:gd name="connsiteX17" fmla="*/ -304 w 14061"/>
                <a:gd name="connsiteY17" fmla="*/ 18192 h 20890"/>
                <a:gd name="connsiteX18" fmla="*/ 2018 w 14061"/>
                <a:gd name="connsiteY18" fmla="*/ 19652 h 20890"/>
                <a:gd name="connsiteX19" fmla="*/ 4937 w 14061"/>
                <a:gd name="connsiteY19" fmla="*/ 20147 h 20890"/>
                <a:gd name="connsiteX20" fmla="*/ 8643 w 14061"/>
                <a:gd name="connsiteY20" fmla="*/ 19374 h 20890"/>
                <a:gd name="connsiteX21" fmla="*/ 10749 w 14061"/>
                <a:gd name="connsiteY21" fmla="*/ 17289 h 20890"/>
                <a:gd name="connsiteX22" fmla="*/ 11435 w 14061"/>
                <a:gd name="connsiteY22" fmla="*/ 14546 h 20890"/>
                <a:gd name="connsiteX23" fmla="*/ 11168 w 14061"/>
                <a:gd name="connsiteY23" fmla="*/ 12771 h 20890"/>
                <a:gd name="connsiteX24" fmla="*/ 10267 w 14061"/>
                <a:gd name="connsiteY24" fmla="*/ 10851 h 20890"/>
                <a:gd name="connsiteX25" fmla="*/ 8871 w 14061"/>
                <a:gd name="connsiteY25" fmla="*/ 9035 h 20890"/>
                <a:gd name="connsiteX26" fmla="*/ 7133 w 14061"/>
                <a:gd name="connsiteY26" fmla="*/ 7230 h 20890"/>
                <a:gd name="connsiteX27" fmla="*/ 5521 w 14061"/>
                <a:gd name="connsiteY27" fmla="*/ 5642 h 20890"/>
                <a:gd name="connsiteX28" fmla="*/ 2754 w 14061"/>
                <a:gd name="connsiteY28" fmla="*/ 3043 h 20890"/>
                <a:gd name="connsiteX29" fmla="*/ 2818 w 14061"/>
                <a:gd name="connsiteY29" fmla="*/ 2839 h 20890"/>
                <a:gd name="connsiteX30" fmla="*/ 5521 w 14061"/>
                <a:gd name="connsiteY30" fmla="*/ 2839 h 20890"/>
                <a:gd name="connsiteX31" fmla="*/ 9595 w 14061"/>
                <a:gd name="connsiteY31" fmla="*/ 2928 h 20890"/>
                <a:gd name="connsiteX32" fmla="*/ 12323 w 14061"/>
                <a:gd name="connsiteY32" fmla="*/ 3043 h 20890"/>
                <a:gd name="connsiteX33" fmla="*/ 12437 w 14061"/>
                <a:gd name="connsiteY33" fmla="*/ 2839 h 20890"/>
                <a:gd name="connsiteX34" fmla="*/ 12298 w 14061"/>
                <a:gd name="connsiteY34" fmla="*/ 706 h 20890"/>
                <a:gd name="connsiteX35" fmla="*/ 12437 w 14061"/>
                <a:gd name="connsiteY35" fmla="*/ -579 h 20890"/>
                <a:gd name="connsiteX36" fmla="*/ 12374 w 14061"/>
                <a:gd name="connsiteY36" fmla="*/ -743 h 20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061" h="20890">
                  <a:moveTo>
                    <a:pt x="12374" y="-743"/>
                  </a:moveTo>
                  <a:lnTo>
                    <a:pt x="7805" y="-619"/>
                  </a:lnTo>
                  <a:lnTo>
                    <a:pt x="5584" y="-579"/>
                  </a:lnTo>
                  <a:lnTo>
                    <a:pt x="-1624" y="-743"/>
                  </a:lnTo>
                  <a:lnTo>
                    <a:pt x="-1624" y="854"/>
                  </a:lnTo>
                  <a:lnTo>
                    <a:pt x="1231" y="3702"/>
                  </a:lnTo>
                  <a:cubicBezTo>
                    <a:pt x="2704" y="5175"/>
                    <a:pt x="3820" y="6341"/>
                    <a:pt x="4531" y="7204"/>
                  </a:cubicBezTo>
                  <a:lnTo>
                    <a:pt x="6206" y="9492"/>
                  </a:lnTo>
                  <a:lnTo>
                    <a:pt x="7057" y="11436"/>
                  </a:lnTo>
                  <a:lnTo>
                    <a:pt x="7285" y="13172"/>
                  </a:lnTo>
                  <a:cubicBezTo>
                    <a:pt x="7285" y="14369"/>
                    <a:pt x="6993" y="15271"/>
                    <a:pt x="6397" y="15881"/>
                  </a:cubicBezTo>
                  <a:lnTo>
                    <a:pt x="3922" y="16809"/>
                  </a:lnTo>
                  <a:lnTo>
                    <a:pt x="2259" y="16461"/>
                  </a:lnTo>
                  <a:lnTo>
                    <a:pt x="914" y="15395"/>
                  </a:lnTo>
                  <a:lnTo>
                    <a:pt x="292" y="12945"/>
                  </a:lnTo>
                  <a:lnTo>
                    <a:pt x="-888" y="12945"/>
                  </a:lnTo>
                  <a:lnTo>
                    <a:pt x="-494" y="16477"/>
                  </a:lnTo>
                  <a:lnTo>
                    <a:pt x="-304" y="18192"/>
                  </a:lnTo>
                  <a:lnTo>
                    <a:pt x="2018" y="19652"/>
                  </a:lnTo>
                  <a:lnTo>
                    <a:pt x="4937" y="20147"/>
                  </a:lnTo>
                  <a:cubicBezTo>
                    <a:pt x="6473" y="20147"/>
                    <a:pt x="7704" y="19870"/>
                    <a:pt x="8643" y="19374"/>
                  </a:cubicBezTo>
                  <a:lnTo>
                    <a:pt x="10749" y="17289"/>
                  </a:lnTo>
                  <a:lnTo>
                    <a:pt x="11435" y="14546"/>
                  </a:lnTo>
                  <a:lnTo>
                    <a:pt x="11168" y="12771"/>
                  </a:lnTo>
                  <a:lnTo>
                    <a:pt x="10267" y="10851"/>
                  </a:lnTo>
                  <a:lnTo>
                    <a:pt x="8871" y="9035"/>
                  </a:lnTo>
                  <a:lnTo>
                    <a:pt x="7133" y="7230"/>
                  </a:lnTo>
                  <a:lnTo>
                    <a:pt x="5521" y="5642"/>
                  </a:lnTo>
                  <a:lnTo>
                    <a:pt x="2754" y="3043"/>
                  </a:lnTo>
                  <a:lnTo>
                    <a:pt x="2818" y="2839"/>
                  </a:lnTo>
                  <a:lnTo>
                    <a:pt x="5521" y="2839"/>
                  </a:lnTo>
                  <a:cubicBezTo>
                    <a:pt x="5914" y="2839"/>
                    <a:pt x="7285" y="2848"/>
                    <a:pt x="9595" y="2928"/>
                  </a:cubicBezTo>
                  <a:lnTo>
                    <a:pt x="12323" y="3043"/>
                  </a:lnTo>
                  <a:lnTo>
                    <a:pt x="12437" y="2839"/>
                  </a:lnTo>
                  <a:lnTo>
                    <a:pt x="12298" y="706"/>
                  </a:lnTo>
                  <a:lnTo>
                    <a:pt x="12437" y="-579"/>
                  </a:lnTo>
                  <a:lnTo>
                    <a:pt x="12374" y="-743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4" name="Vrije vorm 23">
              <a:extLst>
                <a:ext uri="{FF2B5EF4-FFF2-40B4-BE49-F238E27FC236}">
                  <a16:creationId xmlns:a16="http://schemas.microsoft.com/office/drawing/2014/main" id="{18B93CD3-DFB9-AE68-8992-2ABAEBD36A66}"/>
                </a:ext>
              </a:extLst>
            </p:cNvPr>
            <p:cNvSpPr/>
            <p:nvPr/>
          </p:nvSpPr>
          <p:spPr>
            <a:xfrm flipV="1">
              <a:off x="6370580" y="3607463"/>
              <a:ext cx="13287" cy="21262"/>
            </a:xfrm>
            <a:custGeom>
              <a:avLst/>
              <a:gdLst>
                <a:gd name="connsiteX0" fmla="*/ 11629 w 13287"/>
                <a:gd name="connsiteY0" fmla="*/ -728 h 21262"/>
                <a:gd name="connsiteX1" fmla="*/ 6198 w 13287"/>
                <a:gd name="connsiteY1" fmla="*/ -559 h 21262"/>
                <a:gd name="connsiteX2" fmla="*/ -351 w 13287"/>
                <a:gd name="connsiteY2" fmla="*/ -728 h 21262"/>
                <a:gd name="connsiteX3" fmla="*/ -351 w 13287"/>
                <a:gd name="connsiteY3" fmla="*/ 532 h 21262"/>
                <a:gd name="connsiteX4" fmla="*/ 2555 w 13287"/>
                <a:gd name="connsiteY4" fmla="*/ 825 h 21262"/>
                <a:gd name="connsiteX5" fmla="*/ 3253 w 13287"/>
                <a:gd name="connsiteY5" fmla="*/ 1117 h 21262"/>
                <a:gd name="connsiteX6" fmla="*/ 3571 w 13287"/>
                <a:gd name="connsiteY6" fmla="*/ 1957 h 21262"/>
                <a:gd name="connsiteX7" fmla="*/ 3774 w 13287"/>
                <a:gd name="connsiteY7" fmla="*/ 7299 h 21262"/>
                <a:gd name="connsiteX8" fmla="*/ 3774 w 13287"/>
                <a:gd name="connsiteY8" fmla="*/ 11009 h 21262"/>
                <a:gd name="connsiteX9" fmla="*/ 3710 w 13287"/>
                <a:gd name="connsiteY9" fmla="*/ 15137 h 21262"/>
                <a:gd name="connsiteX10" fmla="*/ 3710 w 13287"/>
                <a:gd name="connsiteY10" fmla="*/ 16482 h 21262"/>
                <a:gd name="connsiteX11" fmla="*/ 3609 w 13287"/>
                <a:gd name="connsiteY11" fmla="*/ 17106 h 21262"/>
                <a:gd name="connsiteX12" fmla="*/ 3368 w 13287"/>
                <a:gd name="connsiteY12" fmla="*/ 17255 h 21262"/>
                <a:gd name="connsiteX13" fmla="*/ 2682 w 13287"/>
                <a:gd name="connsiteY13" fmla="*/ 16978 h 21262"/>
                <a:gd name="connsiteX14" fmla="*/ -1163 w 13287"/>
                <a:gd name="connsiteY14" fmla="*/ 15227 h 21262"/>
                <a:gd name="connsiteX15" fmla="*/ -1328 w 13287"/>
                <a:gd name="connsiteY15" fmla="*/ 15341 h 21262"/>
                <a:gd name="connsiteX16" fmla="*/ -1493 w 13287"/>
                <a:gd name="connsiteY16" fmla="*/ 16302 h 21262"/>
                <a:gd name="connsiteX17" fmla="*/ -1658 w 13287"/>
                <a:gd name="connsiteY17" fmla="*/ 17255 h 21262"/>
                <a:gd name="connsiteX18" fmla="*/ -1645 w 13287"/>
                <a:gd name="connsiteY18" fmla="*/ 17369 h 21262"/>
                <a:gd name="connsiteX19" fmla="*/ 2746 w 13287"/>
                <a:gd name="connsiteY19" fmla="*/ 18704 h 21262"/>
                <a:gd name="connsiteX20" fmla="*/ 7809 w 13287"/>
                <a:gd name="connsiteY20" fmla="*/ 20534 h 21262"/>
                <a:gd name="connsiteX21" fmla="*/ 8177 w 13287"/>
                <a:gd name="connsiteY21" fmla="*/ 20317 h 21262"/>
                <a:gd name="connsiteX22" fmla="*/ 8076 w 13287"/>
                <a:gd name="connsiteY22" fmla="*/ 18858 h 21262"/>
                <a:gd name="connsiteX23" fmla="*/ 7987 w 13287"/>
                <a:gd name="connsiteY23" fmla="*/ 17335 h 21262"/>
                <a:gd name="connsiteX24" fmla="*/ 7847 w 13287"/>
                <a:gd name="connsiteY24" fmla="*/ 10449 h 21262"/>
                <a:gd name="connsiteX25" fmla="*/ 7847 w 13287"/>
                <a:gd name="connsiteY25" fmla="*/ 8177 h 21262"/>
                <a:gd name="connsiteX26" fmla="*/ 7898 w 13287"/>
                <a:gd name="connsiteY26" fmla="*/ 3519 h 21262"/>
                <a:gd name="connsiteX27" fmla="*/ 8076 w 13287"/>
                <a:gd name="connsiteY27" fmla="*/ 1207 h 21262"/>
                <a:gd name="connsiteX28" fmla="*/ 8393 w 13287"/>
                <a:gd name="connsiteY28" fmla="*/ 890 h 21262"/>
                <a:gd name="connsiteX29" fmla="*/ 10614 w 13287"/>
                <a:gd name="connsiteY29" fmla="*/ 622 h 21262"/>
                <a:gd name="connsiteX30" fmla="*/ 11629 w 13287"/>
                <a:gd name="connsiteY30" fmla="*/ 532 h 21262"/>
                <a:gd name="connsiteX31" fmla="*/ 11629 w 13287"/>
                <a:gd name="connsiteY31" fmla="*/ -728 h 21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87" h="21262">
                  <a:moveTo>
                    <a:pt x="11629" y="-728"/>
                  </a:moveTo>
                  <a:cubicBezTo>
                    <a:pt x="9396" y="-638"/>
                    <a:pt x="7568" y="-559"/>
                    <a:pt x="6198" y="-559"/>
                  </a:cubicBezTo>
                  <a:cubicBezTo>
                    <a:pt x="5258" y="-559"/>
                    <a:pt x="3076" y="-638"/>
                    <a:pt x="-351" y="-728"/>
                  </a:cubicBezTo>
                  <a:lnTo>
                    <a:pt x="-351" y="532"/>
                  </a:lnTo>
                  <a:lnTo>
                    <a:pt x="2555" y="825"/>
                  </a:lnTo>
                  <a:lnTo>
                    <a:pt x="3253" y="1117"/>
                  </a:lnTo>
                  <a:lnTo>
                    <a:pt x="3571" y="1957"/>
                  </a:lnTo>
                  <a:cubicBezTo>
                    <a:pt x="3710" y="2740"/>
                    <a:pt x="3774" y="4531"/>
                    <a:pt x="3774" y="7299"/>
                  </a:cubicBezTo>
                  <a:lnTo>
                    <a:pt x="3774" y="11009"/>
                  </a:lnTo>
                  <a:cubicBezTo>
                    <a:pt x="3774" y="12289"/>
                    <a:pt x="3748" y="13663"/>
                    <a:pt x="3710" y="15137"/>
                  </a:cubicBezTo>
                  <a:lnTo>
                    <a:pt x="3710" y="16482"/>
                  </a:lnTo>
                  <a:lnTo>
                    <a:pt x="3609" y="17106"/>
                  </a:lnTo>
                  <a:lnTo>
                    <a:pt x="3368" y="17255"/>
                  </a:lnTo>
                  <a:lnTo>
                    <a:pt x="2682" y="16978"/>
                  </a:lnTo>
                  <a:cubicBezTo>
                    <a:pt x="677" y="16099"/>
                    <a:pt x="-592" y="15519"/>
                    <a:pt x="-1163" y="15227"/>
                  </a:cubicBezTo>
                  <a:lnTo>
                    <a:pt x="-1328" y="15341"/>
                  </a:lnTo>
                  <a:lnTo>
                    <a:pt x="-1493" y="16302"/>
                  </a:lnTo>
                  <a:lnTo>
                    <a:pt x="-1658" y="17255"/>
                  </a:lnTo>
                  <a:lnTo>
                    <a:pt x="-1645" y="17369"/>
                  </a:lnTo>
                  <a:cubicBezTo>
                    <a:pt x="208" y="17905"/>
                    <a:pt x="1654" y="18337"/>
                    <a:pt x="2746" y="18704"/>
                  </a:cubicBezTo>
                  <a:cubicBezTo>
                    <a:pt x="3837" y="19071"/>
                    <a:pt x="5512" y="19682"/>
                    <a:pt x="7809" y="20534"/>
                  </a:cubicBezTo>
                  <a:lnTo>
                    <a:pt x="8177" y="20317"/>
                  </a:lnTo>
                  <a:lnTo>
                    <a:pt x="8076" y="18858"/>
                  </a:lnTo>
                  <a:lnTo>
                    <a:pt x="7987" y="17335"/>
                  </a:lnTo>
                  <a:cubicBezTo>
                    <a:pt x="7962" y="16417"/>
                    <a:pt x="7898" y="14135"/>
                    <a:pt x="7847" y="10449"/>
                  </a:cubicBezTo>
                  <a:lnTo>
                    <a:pt x="7847" y="8177"/>
                  </a:lnTo>
                  <a:cubicBezTo>
                    <a:pt x="7847" y="5939"/>
                    <a:pt x="7860" y="4382"/>
                    <a:pt x="7898" y="3519"/>
                  </a:cubicBezTo>
                  <a:cubicBezTo>
                    <a:pt x="7911" y="2209"/>
                    <a:pt x="7987" y="1435"/>
                    <a:pt x="8076" y="1207"/>
                  </a:cubicBezTo>
                  <a:lnTo>
                    <a:pt x="8393" y="890"/>
                  </a:lnTo>
                  <a:cubicBezTo>
                    <a:pt x="8647" y="760"/>
                    <a:pt x="9396" y="671"/>
                    <a:pt x="10614" y="622"/>
                  </a:cubicBezTo>
                  <a:lnTo>
                    <a:pt x="11629" y="532"/>
                  </a:lnTo>
                  <a:lnTo>
                    <a:pt x="11629" y="-728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5" name="Vrije vorm 24">
              <a:extLst>
                <a:ext uri="{FF2B5EF4-FFF2-40B4-BE49-F238E27FC236}">
                  <a16:creationId xmlns:a16="http://schemas.microsoft.com/office/drawing/2014/main" id="{2ED80C01-880A-C722-3934-4DDC9235EE8C}"/>
                </a:ext>
              </a:extLst>
            </p:cNvPr>
            <p:cNvSpPr/>
            <p:nvPr/>
          </p:nvSpPr>
          <p:spPr>
            <a:xfrm flipV="1">
              <a:off x="6406723" y="3646222"/>
              <a:ext cx="14086" cy="20890"/>
            </a:xfrm>
            <a:custGeom>
              <a:avLst/>
              <a:gdLst>
                <a:gd name="connsiteX0" fmla="*/ 12328 w 14086"/>
                <a:gd name="connsiteY0" fmla="*/ -694 h 20890"/>
                <a:gd name="connsiteX1" fmla="*/ 7734 w 14086"/>
                <a:gd name="connsiteY1" fmla="*/ -555 h 20890"/>
                <a:gd name="connsiteX2" fmla="*/ 5538 w 14086"/>
                <a:gd name="connsiteY2" fmla="*/ -506 h 20890"/>
                <a:gd name="connsiteX3" fmla="*/ -1683 w 14086"/>
                <a:gd name="connsiteY3" fmla="*/ -694 h 20890"/>
                <a:gd name="connsiteX4" fmla="*/ -1683 w 14086"/>
                <a:gd name="connsiteY4" fmla="*/ 918 h 20890"/>
                <a:gd name="connsiteX5" fmla="*/ 1185 w 14086"/>
                <a:gd name="connsiteY5" fmla="*/ 3751 h 20890"/>
                <a:gd name="connsiteX6" fmla="*/ 4485 w 14086"/>
                <a:gd name="connsiteY6" fmla="*/ 7244 h 20890"/>
                <a:gd name="connsiteX7" fmla="*/ 6185 w 14086"/>
                <a:gd name="connsiteY7" fmla="*/ 9580 h 20890"/>
                <a:gd name="connsiteX8" fmla="*/ 7010 w 14086"/>
                <a:gd name="connsiteY8" fmla="*/ 11470 h 20890"/>
                <a:gd name="connsiteX9" fmla="*/ 7251 w 14086"/>
                <a:gd name="connsiteY9" fmla="*/ 13235 h 20890"/>
                <a:gd name="connsiteX10" fmla="*/ 6338 w 14086"/>
                <a:gd name="connsiteY10" fmla="*/ 15939 h 20890"/>
                <a:gd name="connsiteX11" fmla="*/ 3876 w 14086"/>
                <a:gd name="connsiteY11" fmla="*/ 16868 h 20890"/>
                <a:gd name="connsiteX12" fmla="*/ 2201 w 14086"/>
                <a:gd name="connsiteY12" fmla="*/ 16511 h 20890"/>
                <a:gd name="connsiteX13" fmla="*/ 868 w 14086"/>
                <a:gd name="connsiteY13" fmla="*/ 15458 h 20890"/>
                <a:gd name="connsiteX14" fmla="*/ 234 w 14086"/>
                <a:gd name="connsiteY14" fmla="*/ 13008 h 20890"/>
                <a:gd name="connsiteX15" fmla="*/ -947 w 14086"/>
                <a:gd name="connsiteY15" fmla="*/ 13008 h 20890"/>
                <a:gd name="connsiteX16" fmla="*/ -541 w 14086"/>
                <a:gd name="connsiteY16" fmla="*/ 16540 h 20890"/>
                <a:gd name="connsiteX17" fmla="*/ -363 w 14086"/>
                <a:gd name="connsiteY17" fmla="*/ 18227 h 20890"/>
                <a:gd name="connsiteX18" fmla="*/ 1959 w 14086"/>
                <a:gd name="connsiteY18" fmla="*/ 19700 h 20890"/>
                <a:gd name="connsiteX19" fmla="*/ 4904 w 14086"/>
                <a:gd name="connsiteY19" fmla="*/ 20196 h 20890"/>
                <a:gd name="connsiteX20" fmla="*/ 8609 w 14086"/>
                <a:gd name="connsiteY20" fmla="*/ 19447 h 20890"/>
                <a:gd name="connsiteX21" fmla="*/ 10703 w 14086"/>
                <a:gd name="connsiteY21" fmla="*/ 17349 h 20890"/>
                <a:gd name="connsiteX22" fmla="*/ 11401 w 14086"/>
                <a:gd name="connsiteY22" fmla="*/ 14606 h 20890"/>
                <a:gd name="connsiteX23" fmla="*/ 11147 w 14086"/>
                <a:gd name="connsiteY23" fmla="*/ 12814 h 20890"/>
                <a:gd name="connsiteX24" fmla="*/ 10221 w 14086"/>
                <a:gd name="connsiteY24" fmla="*/ 10924 h 20890"/>
                <a:gd name="connsiteX25" fmla="*/ 8825 w 14086"/>
                <a:gd name="connsiteY25" fmla="*/ 9084 h 20890"/>
                <a:gd name="connsiteX26" fmla="*/ 7074 w 14086"/>
                <a:gd name="connsiteY26" fmla="*/ 7303 h 20890"/>
                <a:gd name="connsiteX27" fmla="*/ 5475 w 14086"/>
                <a:gd name="connsiteY27" fmla="*/ 5706 h 20890"/>
                <a:gd name="connsiteX28" fmla="*/ 2696 w 14086"/>
                <a:gd name="connsiteY28" fmla="*/ 3101 h 20890"/>
                <a:gd name="connsiteX29" fmla="*/ 2759 w 14086"/>
                <a:gd name="connsiteY29" fmla="*/ 2898 h 20890"/>
                <a:gd name="connsiteX30" fmla="*/ 5475 w 14086"/>
                <a:gd name="connsiteY30" fmla="*/ 2898 h 20890"/>
                <a:gd name="connsiteX31" fmla="*/ 9561 w 14086"/>
                <a:gd name="connsiteY31" fmla="*/ 2971 h 20890"/>
                <a:gd name="connsiteX32" fmla="*/ 12290 w 14086"/>
                <a:gd name="connsiteY32" fmla="*/ 3101 h 20890"/>
                <a:gd name="connsiteX33" fmla="*/ 12404 w 14086"/>
                <a:gd name="connsiteY33" fmla="*/ 2898 h 20890"/>
                <a:gd name="connsiteX34" fmla="*/ 12251 w 14086"/>
                <a:gd name="connsiteY34" fmla="*/ 764 h 20890"/>
                <a:gd name="connsiteX35" fmla="*/ 12404 w 14086"/>
                <a:gd name="connsiteY35" fmla="*/ -506 h 20890"/>
                <a:gd name="connsiteX36" fmla="*/ 12328 w 14086"/>
                <a:gd name="connsiteY36" fmla="*/ -694 h 20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086" h="20890">
                  <a:moveTo>
                    <a:pt x="12328" y="-694"/>
                  </a:moveTo>
                  <a:lnTo>
                    <a:pt x="7734" y="-555"/>
                  </a:lnTo>
                  <a:lnTo>
                    <a:pt x="5538" y="-506"/>
                  </a:lnTo>
                  <a:lnTo>
                    <a:pt x="-1683" y="-694"/>
                  </a:lnTo>
                  <a:lnTo>
                    <a:pt x="-1683" y="918"/>
                  </a:lnTo>
                  <a:lnTo>
                    <a:pt x="1185" y="3751"/>
                  </a:lnTo>
                  <a:cubicBezTo>
                    <a:pt x="2670" y="5259"/>
                    <a:pt x="3762" y="6430"/>
                    <a:pt x="4485" y="7244"/>
                  </a:cubicBezTo>
                  <a:lnTo>
                    <a:pt x="6185" y="9580"/>
                  </a:lnTo>
                  <a:lnTo>
                    <a:pt x="7010" y="11470"/>
                  </a:lnTo>
                  <a:lnTo>
                    <a:pt x="7251" y="13235"/>
                  </a:lnTo>
                  <a:cubicBezTo>
                    <a:pt x="7251" y="14417"/>
                    <a:pt x="6947" y="15330"/>
                    <a:pt x="6338" y="15939"/>
                  </a:cubicBezTo>
                  <a:lnTo>
                    <a:pt x="3876" y="16868"/>
                  </a:lnTo>
                  <a:lnTo>
                    <a:pt x="2201" y="16511"/>
                  </a:lnTo>
                  <a:lnTo>
                    <a:pt x="868" y="15458"/>
                  </a:lnTo>
                  <a:lnTo>
                    <a:pt x="234" y="13008"/>
                  </a:lnTo>
                  <a:lnTo>
                    <a:pt x="-947" y="13008"/>
                  </a:lnTo>
                  <a:lnTo>
                    <a:pt x="-541" y="16540"/>
                  </a:lnTo>
                  <a:lnTo>
                    <a:pt x="-363" y="18227"/>
                  </a:lnTo>
                  <a:lnTo>
                    <a:pt x="1959" y="19700"/>
                  </a:lnTo>
                  <a:lnTo>
                    <a:pt x="4904" y="20196"/>
                  </a:lnTo>
                  <a:cubicBezTo>
                    <a:pt x="6427" y="20196"/>
                    <a:pt x="7657" y="19944"/>
                    <a:pt x="8609" y="19447"/>
                  </a:cubicBezTo>
                  <a:lnTo>
                    <a:pt x="10703" y="17349"/>
                  </a:lnTo>
                  <a:lnTo>
                    <a:pt x="11401" y="14606"/>
                  </a:lnTo>
                  <a:lnTo>
                    <a:pt x="11147" y="12814"/>
                  </a:lnTo>
                  <a:lnTo>
                    <a:pt x="10221" y="10924"/>
                  </a:lnTo>
                  <a:lnTo>
                    <a:pt x="8825" y="9084"/>
                  </a:lnTo>
                  <a:lnTo>
                    <a:pt x="7074" y="7303"/>
                  </a:lnTo>
                  <a:lnTo>
                    <a:pt x="5475" y="5706"/>
                  </a:lnTo>
                  <a:lnTo>
                    <a:pt x="2696" y="3101"/>
                  </a:lnTo>
                  <a:lnTo>
                    <a:pt x="2759" y="2898"/>
                  </a:lnTo>
                  <a:lnTo>
                    <a:pt x="5475" y="2898"/>
                  </a:lnTo>
                  <a:cubicBezTo>
                    <a:pt x="5893" y="2898"/>
                    <a:pt x="7251" y="2922"/>
                    <a:pt x="9561" y="2971"/>
                  </a:cubicBezTo>
                  <a:lnTo>
                    <a:pt x="12290" y="3101"/>
                  </a:lnTo>
                  <a:lnTo>
                    <a:pt x="12404" y="2898"/>
                  </a:lnTo>
                  <a:lnTo>
                    <a:pt x="12251" y="764"/>
                  </a:lnTo>
                  <a:lnTo>
                    <a:pt x="12404" y="-506"/>
                  </a:lnTo>
                  <a:lnTo>
                    <a:pt x="12328" y="-694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6" name="Vrije vorm 25">
              <a:extLst>
                <a:ext uri="{FF2B5EF4-FFF2-40B4-BE49-F238E27FC236}">
                  <a16:creationId xmlns:a16="http://schemas.microsoft.com/office/drawing/2014/main" id="{9FFDCB41-1E6B-F1E5-B179-39AB34A93C5E}"/>
                </a:ext>
              </a:extLst>
            </p:cNvPr>
            <p:cNvSpPr/>
            <p:nvPr/>
          </p:nvSpPr>
          <p:spPr>
            <a:xfrm flipV="1">
              <a:off x="6213826" y="3649740"/>
              <a:ext cx="13274" cy="21272"/>
            </a:xfrm>
            <a:custGeom>
              <a:avLst/>
              <a:gdLst>
                <a:gd name="connsiteX0" fmla="*/ 11724 w 13274"/>
                <a:gd name="connsiteY0" fmla="*/ -691 h 21272"/>
                <a:gd name="connsiteX1" fmla="*/ 6279 w 13274"/>
                <a:gd name="connsiteY1" fmla="*/ -517 h 21272"/>
                <a:gd name="connsiteX2" fmla="*/ -244 w 13274"/>
                <a:gd name="connsiteY2" fmla="*/ -691 h 21272"/>
                <a:gd name="connsiteX3" fmla="*/ -244 w 13274"/>
                <a:gd name="connsiteY3" fmla="*/ 566 h 21272"/>
                <a:gd name="connsiteX4" fmla="*/ 2663 w 13274"/>
                <a:gd name="connsiteY4" fmla="*/ 883 h 21272"/>
                <a:gd name="connsiteX5" fmla="*/ 3373 w 13274"/>
                <a:gd name="connsiteY5" fmla="*/ 1151 h 21272"/>
                <a:gd name="connsiteX6" fmla="*/ 3678 w 13274"/>
                <a:gd name="connsiteY6" fmla="*/ 1989 h 21272"/>
                <a:gd name="connsiteX7" fmla="*/ 3868 w 13274"/>
                <a:gd name="connsiteY7" fmla="*/ 7361 h 21272"/>
                <a:gd name="connsiteX8" fmla="*/ 3868 w 13274"/>
                <a:gd name="connsiteY8" fmla="*/ 11043 h 21272"/>
                <a:gd name="connsiteX9" fmla="*/ 3830 w 13274"/>
                <a:gd name="connsiteY9" fmla="*/ 15184 h 21272"/>
                <a:gd name="connsiteX10" fmla="*/ 3792 w 13274"/>
                <a:gd name="connsiteY10" fmla="*/ 16504 h 21272"/>
                <a:gd name="connsiteX11" fmla="*/ 3703 w 13274"/>
                <a:gd name="connsiteY11" fmla="*/ 17125 h 21272"/>
                <a:gd name="connsiteX12" fmla="*/ 3475 w 13274"/>
                <a:gd name="connsiteY12" fmla="*/ 17268 h 21272"/>
                <a:gd name="connsiteX13" fmla="*/ 2815 w 13274"/>
                <a:gd name="connsiteY13" fmla="*/ 17011 h 21272"/>
                <a:gd name="connsiteX14" fmla="*/ -1056 w 13274"/>
                <a:gd name="connsiteY14" fmla="*/ 15275 h 21272"/>
                <a:gd name="connsiteX15" fmla="*/ -1233 w 13274"/>
                <a:gd name="connsiteY15" fmla="*/ 15358 h 21272"/>
                <a:gd name="connsiteX16" fmla="*/ -1386 w 13274"/>
                <a:gd name="connsiteY16" fmla="*/ 16350 h 21272"/>
                <a:gd name="connsiteX17" fmla="*/ -1551 w 13274"/>
                <a:gd name="connsiteY17" fmla="*/ 17303 h 21272"/>
                <a:gd name="connsiteX18" fmla="*/ -1538 w 13274"/>
                <a:gd name="connsiteY18" fmla="*/ 17417 h 21272"/>
                <a:gd name="connsiteX19" fmla="*/ 2840 w 13274"/>
                <a:gd name="connsiteY19" fmla="*/ 18752 h 21272"/>
                <a:gd name="connsiteX20" fmla="*/ 7929 w 13274"/>
                <a:gd name="connsiteY20" fmla="*/ 20582 h 21272"/>
                <a:gd name="connsiteX21" fmla="*/ 8272 w 13274"/>
                <a:gd name="connsiteY21" fmla="*/ 20365 h 21272"/>
                <a:gd name="connsiteX22" fmla="*/ 8196 w 13274"/>
                <a:gd name="connsiteY22" fmla="*/ 18906 h 21272"/>
                <a:gd name="connsiteX23" fmla="*/ 8081 w 13274"/>
                <a:gd name="connsiteY23" fmla="*/ 17368 h 21272"/>
                <a:gd name="connsiteX24" fmla="*/ 7967 w 13274"/>
                <a:gd name="connsiteY24" fmla="*/ 10497 h 21272"/>
                <a:gd name="connsiteX25" fmla="*/ 7967 w 13274"/>
                <a:gd name="connsiteY25" fmla="*/ 8210 h 21272"/>
                <a:gd name="connsiteX26" fmla="*/ 7993 w 13274"/>
                <a:gd name="connsiteY26" fmla="*/ 3561 h 21272"/>
                <a:gd name="connsiteX27" fmla="*/ 8196 w 13274"/>
                <a:gd name="connsiteY27" fmla="*/ 1250 h 21272"/>
                <a:gd name="connsiteX28" fmla="*/ 8500 w 13274"/>
                <a:gd name="connsiteY28" fmla="*/ 933 h 21272"/>
                <a:gd name="connsiteX29" fmla="*/ 10721 w 13274"/>
                <a:gd name="connsiteY29" fmla="*/ 654 h 21272"/>
                <a:gd name="connsiteX30" fmla="*/ 11724 w 13274"/>
                <a:gd name="connsiteY30" fmla="*/ 566 h 21272"/>
                <a:gd name="connsiteX31" fmla="*/ 11724 w 13274"/>
                <a:gd name="connsiteY31" fmla="*/ -691 h 21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74" h="21272">
                  <a:moveTo>
                    <a:pt x="11724" y="-691"/>
                  </a:moveTo>
                  <a:cubicBezTo>
                    <a:pt x="9477" y="-590"/>
                    <a:pt x="7675" y="-517"/>
                    <a:pt x="6279" y="-517"/>
                  </a:cubicBezTo>
                  <a:cubicBezTo>
                    <a:pt x="5353" y="-517"/>
                    <a:pt x="3158" y="-590"/>
                    <a:pt x="-244" y="-691"/>
                  </a:cubicBezTo>
                  <a:lnTo>
                    <a:pt x="-244" y="566"/>
                  </a:lnTo>
                  <a:lnTo>
                    <a:pt x="2663" y="883"/>
                  </a:lnTo>
                  <a:lnTo>
                    <a:pt x="3373" y="1151"/>
                  </a:lnTo>
                  <a:lnTo>
                    <a:pt x="3678" y="1989"/>
                  </a:lnTo>
                  <a:cubicBezTo>
                    <a:pt x="3817" y="2788"/>
                    <a:pt x="3868" y="4579"/>
                    <a:pt x="3868" y="7361"/>
                  </a:cubicBezTo>
                  <a:lnTo>
                    <a:pt x="3868" y="11043"/>
                  </a:lnTo>
                  <a:cubicBezTo>
                    <a:pt x="3868" y="12313"/>
                    <a:pt x="3868" y="13711"/>
                    <a:pt x="3830" y="15184"/>
                  </a:cubicBezTo>
                  <a:lnTo>
                    <a:pt x="3792" y="16504"/>
                  </a:lnTo>
                  <a:lnTo>
                    <a:pt x="3703" y="17125"/>
                  </a:lnTo>
                  <a:lnTo>
                    <a:pt x="3475" y="17268"/>
                  </a:lnTo>
                  <a:lnTo>
                    <a:pt x="2815" y="17011"/>
                  </a:lnTo>
                  <a:cubicBezTo>
                    <a:pt x="772" y="16147"/>
                    <a:pt x="-485" y="15538"/>
                    <a:pt x="-1056" y="15275"/>
                  </a:cubicBezTo>
                  <a:lnTo>
                    <a:pt x="-1233" y="15358"/>
                  </a:lnTo>
                  <a:lnTo>
                    <a:pt x="-1386" y="16350"/>
                  </a:lnTo>
                  <a:lnTo>
                    <a:pt x="-1551" y="17303"/>
                  </a:lnTo>
                  <a:lnTo>
                    <a:pt x="-1538" y="17417"/>
                  </a:lnTo>
                  <a:cubicBezTo>
                    <a:pt x="302" y="17953"/>
                    <a:pt x="1761" y="18385"/>
                    <a:pt x="2840" y="18752"/>
                  </a:cubicBezTo>
                  <a:cubicBezTo>
                    <a:pt x="3932" y="19119"/>
                    <a:pt x="5607" y="19720"/>
                    <a:pt x="7929" y="20582"/>
                  </a:cubicBezTo>
                  <a:lnTo>
                    <a:pt x="8272" y="20365"/>
                  </a:lnTo>
                  <a:lnTo>
                    <a:pt x="8196" y="18906"/>
                  </a:lnTo>
                  <a:lnTo>
                    <a:pt x="8081" y="17368"/>
                  </a:lnTo>
                  <a:cubicBezTo>
                    <a:pt x="8056" y="16480"/>
                    <a:pt x="8018" y="14168"/>
                    <a:pt x="7967" y="10497"/>
                  </a:cubicBezTo>
                  <a:lnTo>
                    <a:pt x="7967" y="8210"/>
                  </a:lnTo>
                  <a:cubicBezTo>
                    <a:pt x="7967" y="5977"/>
                    <a:pt x="7967" y="4425"/>
                    <a:pt x="7993" y="3561"/>
                  </a:cubicBezTo>
                  <a:cubicBezTo>
                    <a:pt x="8031" y="2242"/>
                    <a:pt x="8094" y="1453"/>
                    <a:pt x="8196" y="1250"/>
                  </a:cubicBezTo>
                  <a:lnTo>
                    <a:pt x="8500" y="933"/>
                  </a:lnTo>
                  <a:cubicBezTo>
                    <a:pt x="8754" y="808"/>
                    <a:pt x="9477" y="719"/>
                    <a:pt x="10721" y="654"/>
                  </a:cubicBezTo>
                  <a:lnTo>
                    <a:pt x="11724" y="566"/>
                  </a:lnTo>
                  <a:lnTo>
                    <a:pt x="11724" y="-691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7" name="Vrije vorm 26">
              <a:extLst>
                <a:ext uri="{FF2B5EF4-FFF2-40B4-BE49-F238E27FC236}">
                  <a16:creationId xmlns:a16="http://schemas.microsoft.com/office/drawing/2014/main" id="{3F31F96B-BB1D-258B-5DCB-B15ECFE01AD2}"/>
                </a:ext>
              </a:extLst>
            </p:cNvPr>
            <p:cNvSpPr/>
            <p:nvPr/>
          </p:nvSpPr>
          <p:spPr>
            <a:xfrm flipV="1">
              <a:off x="6229601" y="3650170"/>
              <a:ext cx="13718" cy="21376"/>
            </a:xfrm>
            <a:custGeom>
              <a:avLst/>
              <a:gdLst>
                <a:gd name="connsiteX0" fmla="*/ 5050 w 13718"/>
                <a:gd name="connsiteY0" fmla="*/ -690 h 21376"/>
                <a:gd name="connsiteX1" fmla="*/ 1992 w 13718"/>
                <a:gd name="connsiteY1" fmla="*/ -6 h 21376"/>
                <a:gd name="connsiteX2" fmla="*/ -128 w 13718"/>
                <a:gd name="connsiteY2" fmla="*/ 1963 h 21376"/>
                <a:gd name="connsiteX3" fmla="*/ -1283 w 13718"/>
                <a:gd name="connsiteY3" fmla="*/ 5228 h 21376"/>
                <a:gd name="connsiteX4" fmla="*/ -1562 w 13718"/>
                <a:gd name="connsiteY4" fmla="*/ 9624 h 21376"/>
                <a:gd name="connsiteX5" fmla="*/ -1181 w 13718"/>
                <a:gd name="connsiteY5" fmla="*/ 14524 h 21376"/>
                <a:gd name="connsiteX6" fmla="*/ -293 w 13718"/>
                <a:gd name="connsiteY6" fmla="*/ 17179 h 21376"/>
                <a:gd name="connsiteX7" fmla="*/ 1192 w 13718"/>
                <a:gd name="connsiteY7" fmla="*/ 19123 h 21376"/>
                <a:gd name="connsiteX8" fmla="*/ 3121 w 13718"/>
                <a:gd name="connsiteY8" fmla="*/ 20289 h 21376"/>
                <a:gd name="connsiteX9" fmla="*/ 5494 w 13718"/>
                <a:gd name="connsiteY9" fmla="*/ 20686 h 21376"/>
                <a:gd name="connsiteX10" fmla="*/ 9466 w 13718"/>
                <a:gd name="connsiteY10" fmla="*/ 19589 h 21376"/>
                <a:gd name="connsiteX11" fmla="*/ 11510 w 13718"/>
                <a:gd name="connsiteY11" fmla="*/ 16445 h 21376"/>
                <a:gd name="connsiteX12" fmla="*/ 12157 w 13718"/>
                <a:gd name="connsiteY12" fmla="*/ 10814 h 21376"/>
                <a:gd name="connsiteX13" fmla="*/ 11903 w 13718"/>
                <a:gd name="connsiteY13" fmla="*/ 6344 h 21376"/>
                <a:gd name="connsiteX14" fmla="*/ 10964 w 13718"/>
                <a:gd name="connsiteY14" fmla="*/ 3079 h 21376"/>
                <a:gd name="connsiteX15" fmla="*/ 9466 w 13718"/>
                <a:gd name="connsiteY15" fmla="*/ 922 h 21376"/>
                <a:gd name="connsiteX16" fmla="*/ 7601 w 13718"/>
                <a:gd name="connsiteY16" fmla="*/ -284 h 21376"/>
                <a:gd name="connsiteX17" fmla="*/ 5050 w 13718"/>
                <a:gd name="connsiteY17" fmla="*/ -690 h 21376"/>
                <a:gd name="connsiteX18" fmla="*/ 5101 w 13718"/>
                <a:gd name="connsiteY18" fmla="*/ 19044 h 21376"/>
                <a:gd name="connsiteX19" fmla="*/ 3629 w 13718"/>
                <a:gd name="connsiteY19" fmla="*/ 18538 h 21376"/>
                <a:gd name="connsiteX20" fmla="*/ 2690 w 13718"/>
                <a:gd name="connsiteY20" fmla="*/ 16846 h 21376"/>
                <a:gd name="connsiteX21" fmla="*/ 2195 w 13718"/>
                <a:gd name="connsiteY21" fmla="*/ 11771 h 21376"/>
                <a:gd name="connsiteX22" fmla="*/ 2537 w 13718"/>
                <a:gd name="connsiteY22" fmla="*/ 5496 h 21376"/>
                <a:gd name="connsiteX23" fmla="*/ 3680 w 13718"/>
                <a:gd name="connsiteY23" fmla="*/ 1785 h 21376"/>
                <a:gd name="connsiteX24" fmla="*/ 5469 w 13718"/>
                <a:gd name="connsiteY24" fmla="*/ 872 h 21376"/>
                <a:gd name="connsiteX25" fmla="*/ 7537 w 13718"/>
                <a:gd name="connsiteY25" fmla="*/ 2157 h 21376"/>
                <a:gd name="connsiteX26" fmla="*/ 8362 w 13718"/>
                <a:gd name="connsiteY26" fmla="*/ 8378 h 21376"/>
                <a:gd name="connsiteX27" fmla="*/ 7956 w 13718"/>
                <a:gd name="connsiteY27" fmla="*/ 14803 h 21376"/>
                <a:gd name="connsiteX28" fmla="*/ 7347 w 13718"/>
                <a:gd name="connsiteY28" fmla="*/ 17367 h 21376"/>
                <a:gd name="connsiteX29" fmla="*/ 6421 w 13718"/>
                <a:gd name="connsiteY29" fmla="*/ 18627 h 21376"/>
                <a:gd name="connsiteX30" fmla="*/ 5101 w 13718"/>
                <a:gd name="connsiteY30" fmla="*/ 19044 h 21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3718" h="21376">
                  <a:moveTo>
                    <a:pt x="5050" y="-690"/>
                  </a:moveTo>
                  <a:cubicBezTo>
                    <a:pt x="3908" y="-690"/>
                    <a:pt x="2867" y="-463"/>
                    <a:pt x="1992" y="-6"/>
                  </a:cubicBezTo>
                  <a:lnTo>
                    <a:pt x="-128" y="1963"/>
                  </a:lnTo>
                  <a:cubicBezTo>
                    <a:pt x="-686" y="2842"/>
                    <a:pt x="-1067" y="3933"/>
                    <a:pt x="-1283" y="5228"/>
                  </a:cubicBezTo>
                  <a:cubicBezTo>
                    <a:pt x="-1460" y="6537"/>
                    <a:pt x="-1562" y="7995"/>
                    <a:pt x="-1562" y="9624"/>
                  </a:cubicBezTo>
                  <a:cubicBezTo>
                    <a:pt x="-1562" y="11414"/>
                    <a:pt x="-1435" y="13051"/>
                    <a:pt x="-1181" y="14524"/>
                  </a:cubicBezTo>
                  <a:lnTo>
                    <a:pt x="-293" y="17179"/>
                  </a:lnTo>
                  <a:lnTo>
                    <a:pt x="1192" y="19123"/>
                  </a:lnTo>
                  <a:lnTo>
                    <a:pt x="3121" y="20289"/>
                  </a:lnTo>
                  <a:lnTo>
                    <a:pt x="5494" y="20686"/>
                  </a:lnTo>
                  <a:cubicBezTo>
                    <a:pt x="7182" y="20686"/>
                    <a:pt x="8515" y="20338"/>
                    <a:pt x="9466" y="19589"/>
                  </a:cubicBezTo>
                  <a:cubicBezTo>
                    <a:pt x="10405" y="18840"/>
                    <a:pt x="11091" y="17804"/>
                    <a:pt x="11510" y="16445"/>
                  </a:cubicBezTo>
                  <a:cubicBezTo>
                    <a:pt x="11941" y="15095"/>
                    <a:pt x="12157" y="13215"/>
                    <a:pt x="12157" y="10814"/>
                  </a:cubicBezTo>
                  <a:cubicBezTo>
                    <a:pt x="12157" y="9112"/>
                    <a:pt x="12068" y="7628"/>
                    <a:pt x="11903" y="6344"/>
                  </a:cubicBezTo>
                  <a:cubicBezTo>
                    <a:pt x="11725" y="5088"/>
                    <a:pt x="11421" y="3997"/>
                    <a:pt x="10964" y="3079"/>
                  </a:cubicBezTo>
                  <a:lnTo>
                    <a:pt x="9466" y="922"/>
                  </a:lnTo>
                  <a:lnTo>
                    <a:pt x="7601" y="-284"/>
                  </a:lnTo>
                  <a:lnTo>
                    <a:pt x="5050" y="-690"/>
                  </a:lnTo>
                  <a:moveTo>
                    <a:pt x="5101" y="19044"/>
                  </a:moveTo>
                  <a:lnTo>
                    <a:pt x="3629" y="18538"/>
                  </a:lnTo>
                  <a:lnTo>
                    <a:pt x="2690" y="16846"/>
                  </a:lnTo>
                  <a:cubicBezTo>
                    <a:pt x="2347" y="15730"/>
                    <a:pt x="2195" y="14028"/>
                    <a:pt x="2195" y="11771"/>
                  </a:cubicBezTo>
                  <a:cubicBezTo>
                    <a:pt x="2195" y="9444"/>
                    <a:pt x="2309" y="7351"/>
                    <a:pt x="2537" y="5496"/>
                  </a:cubicBezTo>
                  <a:cubicBezTo>
                    <a:pt x="2778" y="3641"/>
                    <a:pt x="3159" y="2395"/>
                    <a:pt x="3680" y="1785"/>
                  </a:cubicBezTo>
                  <a:lnTo>
                    <a:pt x="5469" y="872"/>
                  </a:lnTo>
                  <a:lnTo>
                    <a:pt x="7537" y="2157"/>
                  </a:lnTo>
                  <a:cubicBezTo>
                    <a:pt x="8096" y="2995"/>
                    <a:pt x="8362" y="5074"/>
                    <a:pt x="8362" y="8378"/>
                  </a:cubicBezTo>
                  <a:cubicBezTo>
                    <a:pt x="8362" y="10526"/>
                    <a:pt x="8223" y="12669"/>
                    <a:pt x="7956" y="14803"/>
                  </a:cubicBezTo>
                  <a:lnTo>
                    <a:pt x="7347" y="17367"/>
                  </a:lnTo>
                  <a:lnTo>
                    <a:pt x="6421" y="18627"/>
                  </a:lnTo>
                  <a:lnTo>
                    <a:pt x="5101" y="19044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8" name="Vrije vorm 27">
              <a:extLst>
                <a:ext uri="{FF2B5EF4-FFF2-40B4-BE49-F238E27FC236}">
                  <a16:creationId xmlns:a16="http://schemas.microsoft.com/office/drawing/2014/main" id="{12C42CFE-E891-6B0B-31AB-BD746B5ADA6D}"/>
                </a:ext>
              </a:extLst>
            </p:cNvPr>
            <p:cNvSpPr/>
            <p:nvPr/>
          </p:nvSpPr>
          <p:spPr>
            <a:xfrm flipV="1">
              <a:off x="6251073" y="3607463"/>
              <a:ext cx="13287" cy="21262"/>
            </a:xfrm>
            <a:custGeom>
              <a:avLst/>
              <a:gdLst>
                <a:gd name="connsiteX0" fmla="*/ 11711 w 13287"/>
                <a:gd name="connsiteY0" fmla="*/ -728 h 21262"/>
                <a:gd name="connsiteX1" fmla="*/ 6292 w 13287"/>
                <a:gd name="connsiteY1" fmla="*/ -559 h 21262"/>
                <a:gd name="connsiteX2" fmla="*/ -269 w 13287"/>
                <a:gd name="connsiteY2" fmla="*/ -728 h 21262"/>
                <a:gd name="connsiteX3" fmla="*/ -269 w 13287"/>
                <a:gd name="connsiteY3" fmla="*/ 532 h 21262"/>
                <a:gd name="connsiteX4" fmla="*/ 2624 w 13287"/>
                <a:gd name="connsiteY4" fmla="*/ 825 h 21262"/>
                <a:gd name="connsiteX5" fmla="*/ 3323 w 13287"/>
                <a:gd name="connsiteY5" fmla="*/ 1117 h 21262"/>
                <a:gd name="connsiteX6" fmla="*/ 3652 w 13287"/>
                <a:gd name="connsiteY6" fmla="*/ 1957 h 21262"/>
                <a:gd name="connsiteX7" fmla="*/ 3855 w 13287"/>
                <a:gd name="connsiteY7" fmla="*/ 7299 h 21262"/>
                <a:gd name="connsiteX8" fmla="*/ 3855 w 13287"/>
                <a:gd name="connsiteY8" fmla="*/ 11009 h 21262"/>
                <a:gd name="connsiteX9" fmla="*/ 3805 w 13287"/>
                <a:gd name="connsiteY9" fmla="*/ 15137 h 21262"/>
                <a:gd name="connsiteX10" fmla="*/ 3767 w 13287"/>
                <a:gd name="connsiteY10" fmla="*/ 16482 h 21262"/>
                <a:gd name="connsiteX11" fmla="*/ 3678 w 13287"/>
                <a:gd name="connsiteY11" fmla="*/ 17106 h 21262"/>
                <a:gd name="connsiteX12" fmla="*/ 3449 w 13287"/>
                <a:gd name="connsiteY12" fmla="*/ 17255 h 21262"/>
                <a:gd name="connsiteX13" fmla="*/ 2751 w 13287"/>
                <a:gd name="connsiteY13" fmla="*/ 16978 h 21262"/>
                <a:gd name="connsiteX14" fmla="*/ -1069 w 13287"/>
                <a:gd name="connsiteY14" fmla="*/ 15227 h 21262"/>
                <a:gd name="connsiteX15" fmla="*/ -1259 w 13287"/>
                <a:gd name="connsiteY15" fmla="*/ 15341 h 21262"/>
                <a:gd name="connsiteX16" fmla="*/ -1411 w 13287"/>
                <a:gd name="connsiteY16" fmla="*/ 16318 h 21262"/>
                <a:gd name="connsiteX17" fmla="*/ -1576 w 13287"/>
                <a:gd name="connsiteY17" fmla="*/ 17255 h 21262"/>
                <a:gd name="connsiteX18" fmla="*/ -1551 w 13287"/>
                <a:gd name="connsiteY18" fmla="*/ 17369 h 21262"/>
                <a:gd name="connsiteX19" fmla="*/ 2815 w 13287"/>
                <a:gd name="connsiteY19" fmla="*/ 18704 h 21262"/>
                <a:gd name="connsiteX20" fmla="*/ 7891 w 13287"/>
                <a:gd name="connsiteY20" fmla="*/ 20534 h 21262"/>
                <a:gd name="connsiteX21" fmla="*/ 8234 w 13287"/>
                <a:gd name="connsiteY21" fmla="*/ 20317 h 21262"/>
                <a:gd name="connsiteX22" fmla="*/ 8170 w 13287"/>
                <a:gd name="connsiteY22" fmla="*/ 18858 h 21262"/>
                <a:gd name="connsiteX23" fmla="*/ 8056 w 13287"/>
                <a:gd name="connsiteY23" fmla="*/ 17335 h 21262"/>
                <a:gd name="connsiteX24" fmla="*/ 7942 w 13287"/>
                <a:gd name="connsiteY24" fmla="*/ 10449 h 21262"/>
                <a:gd name="connsiteX25" fmla="*/ 7942 w 13287"/>
                <a:gd name="connsiteY25" fmla="*/ 8177 h 21262"/>
                <a:gd name="connsiteX26" fmla="*/ 7954 w 13287"/>
                <a:gd name="connsiteY26" fmla="*/ 3519 h 21262"/>
                <a:gd name="connsiteX27" fmla="*/ 8170 w 13287"/>
                <a:gd name="connsiteY27" fmla="*/ 1207 h 21262"/>
                <a:gd name="connsiteX28" fmla="*/ 8462 w 13287"/>
                <a:gd name="connsiteY28" fmla="*/ 890 h 21262"/>
                <a:gd name="connsiteX29" fmla="*/ 10696 w 13287"/>
                <a:gd name="connsiteY29" fmla="*/ 622 h 21262"/>
                <a:gd name="connsiteX30" fmla="*/ 11711 w 13287"/>
                <a:gd name="connsiteY30" fmla="*/ 532 h 21262"/>
                <a:gd name="connsiteX31" fmla="*/ 11711 w 13287"/>
                <a:gd name="connsiteY31" fmla="*/ -728 h 21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87" h="21262">
                  <a:moveTo>
                    <a:pt x="11711" y="-728"/>
                  </a:moveTo>
                  <a:cubicBezTo>
                    <a:pt x="9465" y="-638"/>
                    <a:pt x="7663" y="-559"/>
                    <a:pt x="6292" y="-559"/>
                  </a:cubicBezTo>
                  <a:cubicBezTo>
                    <a:pt x="5328" y="-559"/>
                    <a:pt x="3145" y="-638"/>
                    <a:pt x="-269" y="-728"/>
                  </a:cubicBezTo>
                  <a:lnTo>
                    <a:pt x="-269" y="532"/>
                  </a:lnTo>
                  <a:lnTo>
                    <a:pt x="2624" y="825"/>
                  </a:lnTo>
                  <a:lnTo>
                    <a:pt x="3323" y="1117"/>
                  </a:lnTo>
                  <a:lnTo>
                    <a:pt x="3652" y="1957"/>
                  </a:lnTo>
                  <a:cubicBezTo>
                    <a:pt x="3779" y="2740"/>
                    <a:pt x="3855" y="4531"/>
                    <a:pt x="3855" y="7299"/>
                  </a:cubicBezTo>
                  <a:lnTo>
                    <a:pt x="3855" y="11009"/>
                  </a:lnTo>
                  <a:cubicBezTo>
                    <a:pt x="3855" y="12289"/>
                    <a:pt x="3817" y="13663"/>
                    <a:pt x="3805" y="15137"/>
                  </a:cubicBezTo>
                  <a:lnTo>
                    <a:pt x="3767" y="16482"/>
                  </a:lnTo>
                  <a:lnTo>
                    <a:pt x="3678" y="17106"/>
                  </a:lnTo>
                  <a:lnTo>
                    <a:pt x="3449" y="17255"/>
                  </a:lnTo>
                  <a:lnTo>
                    <a:pt x="2751" y="16978"/>
                  </a:lnTo>
                  <a:cubicBezTo>
                    <a:pt x="772" y="16099"/>
                    <a:pt x="-548" y="15519"/>
                    <a:pt x="-1069" y="15227"/>
                  </a:cubicBezTo>
                  <a:lnTo>
                    <a:pt x="-1259" y="15341"/>
                  </a:lnTo>
                  <a:lnTo>
                    <a:pt x="-1411" y="16318"/>
                  </a:lnTo>
                  <a:lnTo>
                    <a:pt x="-1576" y="17255"/>
                  </a:lnTo>
                  <a:lnTo>
                    <a:pt x="-1551" y="17369"/>
                  </a:lnTo>
                  <a:cubicBezTo>
                    <a:pt x="277" y="17905"/>
                    <a:pt x="1749" y="18352"/>
                    <a:pt x="2815" y="18704"/>
                  </a:cubicBezTo>
                  <a:cubicBezTo>
                    <a:pt x="3919" y="19071"/>
                    <a:pt x="5607" y="19682"/>
                    <a:pt x="7891" y="20534"/>
                  </a:cubicBezTo>
                  <a:lnTo>
                    <a:pt x="8234" y="20317"/>
                  </a:lnTo>
                  <a:lnTo>
                    <a:pt x="8170" y="18858"/>
                  </a:lnTo>
                  <a:lnTo>
                    <a:pt x="8056" y="17335"/>
                  </a:lnTo>
                  <a:cubicBezTo>
                    <a:pt x="8018" y="16417"/>
                    <a:pt x="7980" y="14135"/>
                    <a:pt x="7942" y="10449"/>
                  </a:cubicBezTo>
                  <a:lnTo>
                    <a:pt x="7942" y="8177"/>
                  </a:lnTo>
                  <a:cubicBezTo>
                    <a:pt x="7942" y="5939"/>
                    <a:pt x="7942" y="4382"/>
                    <a:pt x="7954" y="3519"/>
                  </a:cubicBezTo>
                  <a:cubicBezTo>
                    <a:pt x="7980" y="2209"/>
                    <a:pt x="8056" y="1435"/>
                    <a:pt x="8170" y="1207"/>
                  </a:cubicBezTo>
                  <a:lnTo>
                    <a:pt x="8462" y="890"/>
                  </a:lnTo>
                  <a:cubicBezTo>
                    <a:pt x="8716" y="760"/>
                    <a:pt x="9465" y="671"/>
                    <a:pt x="10696" y="622"/>
                  </a:cubicBezTo>
                  <a:lnTo>
                    <a:pt x="11711" y="532"/>
                  </a:lnTo>
                  <a:lnTo>
                    <a:pt x="11711" y="-728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9" name="Vrije vorm 28">
              <a:extLst>
                <a:ext uri="{FF2B5EF4-FFF2-40B4-BE49-F238E27FC236}">
                  <a16:creationId xmlns:a16="http://schemas.microsoft.com/office/drawing/2014/main" id="{1027FFA6-7C97-3616-8CAA-190C08CD6AB2}"/>
                </a:ext>
              </a:extLst>
            </p:cNvPr>
            <p:cNvSpPr/>
            <p:nvPr/>
          </p:nvSpPr>
          <p:spPr>
            <a:xfrm flipV="1">
              <a:off x="6265705" y="3607463"/>
              <a:ext cx="13274" cy="21262"/>
            </a:xfrm>
            <a:custGeom>
              <a:avLst/>
              <a:gdLst>
                <a:gd name="connsiteX0" fmla="*/ 11688 w 13274"/>
                <a:gd name="connsiteY0" fmla="*/ -728 h 21262"/>
                <a:gd name="connsiteX1" fmla="*/ 6257 w 13274"/>
                <a:gd name="connsiteY1" fmla="*/ -559 h 21262"/>
                <a:gd name="connsiteX2" fmla="*/ -292 w 13274"/>
                <a:gd name="connsiteY2" fmla="*/ -728 h 21262"/>
                <a:gd name="connsiteX3" fmla="*/ -292 w 13274"/>
                <a:gd name="connsiteY3" fmla="*/ 532 h 21262"/>
                <a:gd name="connsiteX4" fmla="*/ 2640 w 13274"/>
                <a:gd name="connsiteY4" fmla="*/ 825 h 21262"/>
                <a:gd name="connsiteX5" fmla="*/ 3325 w 13274"/>
                <a:gd name="connsiteY5" fmla="*/ 1117 h 21262"/>
                <a:gd name="connsiteX6" fmla="*/ 3642 w 13274"/>
                <a:gd name="connsiteY6" fmla="*/ 1957 h 21262"/>
                <a:gd name="connsiteX7" fmla="*/ 3833 w 13274"/>
                <a:gd name="connsiteY7" fmla="*/ 7299 h 21262"/>
                <a:gd name="connsiteX8" fmla="*/ 3833 w 13274"/>
                <a:gd name="connsiteY8" fmla="*/ 11009 h 21262"/>
                <a:gd name="connsiteX9" fmla="*/ 3807 w 13274"/>
                <a:gd name="connsiteY9" fmla="*/ 15137 h 21262"/>
                <a:gd name="connsiteX10" fmla="*/ 3769 w 13274"/>
                <a:gd name="connsiteY10" fmla="*/ 16482 h 21262"/>
                <a:gd name="connsiteX11" fmla="*/ 3680 w 13274"/>
                <a:gd name="connsiteY11" fmla="*/ 17106 h 21262"/>
                <a:gd name="connsiteX12" fmla="*/ 3439 w 13274"/>
                <a:gd name="connsiteY12" fmla="*/ 17255 h 21262"/>
                <a:gd name="connsiteX13" fmla="*/ 2767 w 13274"/>
                <a:gd name="connsiteY13" fmla="*/ 16978 h 21262"/>
                <a:gd name="connsiteX14" fmla="*/ -1079 w 13274"/>
                <a:gd name="connsiteY14" fmla="*/ 15227 h 21262"/>
                <a:gd name="connsiteX15" fmla="*/ -1269 w 13274"/>
                <a:gd name="connsiteY15" fmla="*/ 15341 h 21262"/>
                <a:gd name="connsiteX16" fmla="*/ -1434 w 13274"/>
                <a:gd name="connsiteY16" fmla="*/ 16318 h 21262"/>
                <a:gd name="connsiteX17" fmla="*/ -1586 w 13274"/>
                <a:gd name="connsiteY17" fmla="*/ 17255 h 21262"/>
                <a:gd name="connsiteX18" fmla="*/ -1561 w 13274"/>
                <a:gd name="connsiteY18" fmla="*/ 17369 h 21262"/>
                <a:gd name="connsiteX19" fmla="*/ 2805 w 13274"/>
                <a:gd name="connsiteY19" fmla="*/ 18704 h 21262"/>
                <a:gd name="connsiteX20" fmla="*/ 7919 w 13274"/>
                <a:gd name="connsiteY20" fmla="*/ 20534 h 21262"/>
                <a:gd name="connsiteX21" fmla="*/ 8236 w 13274"/>
                <a:gd name="connsiteY21" fmla="*/ 20317 h 21262"/>
                <a:gd name="connsiteX22" fmla="*/ 8135 w 13274"/>
                <a:gd name="connsiteY22" fmla="*/ 18858 h 21262"/>
                <a:gd name="connsiteX23" fmla="*/ 8046 w 13274"/>
                <a:gd name="connsiteY23" fmla="*/ 17335 h 21262"/>
                <a:gd name="connsiteX24" fmla="*/ 7919 w 13274"/>
                <a:gd name="connsiteY24" fmla="*/ 10449 h 21262"/>
                <a:gd name="connsiteX25" fmla="*/ 7919 w 13274"/>
                <a:gd name="connsiteY25" fmla="*/ 8177 h 21262"/>
                <a:gd name="connsiteX26" fmla="*/ 7970 w 13274"/>
                <a:gd name="connsiteY26" fmla="*/ 3519 h 21262"/>
                <a:gd name="connsiteX27" fmla="*/ 8160 w 13274"/>
                <a:gd name="connsiteY27" fmla="*/ 1207 h 21262"/>
                <a:gd name="connsiteX28" fmla="*/ 8478 w 13274"/>
                <a:gd name="connsiteY28" fmla="*/ 890 h 21262"/>
                <a:gd name="connsiteX29" fmla="*/ 10686 w 13274"/>
                <a:gd name="connsiteY29" fmla="*/ 622 h 21262"/>
                <a:gd name="connsiteX30" fmla="*/ 11688 w 13274"/>
                <a:gd name="connsiteY30" fmla="*/ 532 h 21262"/>
                <a:gd name="connsiteX31" fmla="*/ 11688 w 13274"/>
                <a:gd name="connsiteY31" fmla="*/ -728 h 21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74" h="21262">
                  <a:moveTo>
                    <a:pt x="11688" y="-728"/>
                  </a:moveTo>
                  <a:cubicBezTo>
                    <a:pt x="9467" y="-638"/>
                    <a:pt x="7653" y="-559"/>
                    <a:pt x="6257" y="-559"/>
                  </a:cubicBezTo>
                  <a:cubicBezTo>
                    <a:pt x="5318" y="-559"/>
                    <a:pt x="3147" y="-638"/>
                    <a:pt x="-292" y="-728"/>
                  </a:cubicBezTo>
                  <a:lnTo>
                    <a:pt x="-292" y="532"/>
                  </a:lnTo>
                  <a:lnTo>
                    <a:pt x="2640" y="825"/>
                  </a:lnTo>
                  <a:lnTo>
                    <a:pt x="3325" y="1117"/>
                  </a:lnTo>
                  <a:lnTo>
                    <a:pt x="3642" y="1957"/>
                  </a:lnTo>
                  <a:cubicBezTo>
                    <a:pt x="3769" y="2740"/>
                    <a:pt x="3833" y="4531"/>
                    <a:pt x="3833" y="7299"/>
                  </a:cubicBezTo>
                  <a:lnTo>
                    <a:pt x="3833" y="11009"/>
                  </a:lnTo>
                  <a:cubicBezTo>
                    <a:pt x="3833" y="12289"/>
                    <a:pt x="3833" y="13663"/>
                    <a:pt x="3807" y="15137"/>
                  </a:cubicBezTo>
                  <a:lnTo>
                    <a:pt x="3769" y="16482"/>
                  </a:lnTo>
                  <a:lnTo>
                    <a:pt x="3680" y="17106"/>
                  </a:lnTo>
                  <a:lnTo>
                    <a:pt x="3439" y="17255"/>
                  </a:lnTo>
                  <a:lnTo>
                    <a:pt x="2767" y="16978"/>
                  </a:lnTo>
                  <a:cubicBezTo>
                    <a:pt x="736" y="16099"/>
                    <a:pt x="-520" y="15519"/>
                    <a:pt x="-1079" y="15227"/>
                  </a:cubicBezTo>
                  <a:lnTo>
                    <a:pt x="-1269" y="15341"/>
                  </a:lnTo>
                  <a:lnTo>
                    <a:pt x="-1434" y="16318"/>
                  </a:lnTo>
                  <a:lnTo>
                    <a:pt x="-1586" y="17255"/>
                  </a:lnTo>
                  <a:lnTo>
                    <a:pt x="-1561" y="17369"/>
                  </a:lnTo>
                  <a:cubicBezTo>
                    <a:pt x="254" y="17905"/>
                    <a:pt x="1726" y="18352"/>
                    <a:pt x="2805" y="18704"/>
                  </a:cubicBezTo>
                  <a:cubicBezTo>
                    <a:pt x="3896" y="19071"/>
                    <a:pt x="5597" y="19682"/>
                    <a:pt x="7919" y="20534"/>
                  </a:cubicBezTo>
                  <a:lnTo>
                    <a:pt x="8236" y="20317"/>
                  </a:lnTo>
                  <a:lnTo>
                    <a:pt x="8135" y="18858"/>
                  </a:lnTo>
                  <a:lnTo>
                    <a:pt x="8046" y="17335"/>
                  </a:lnTo>
                  <a:cubicBezTo>
                    <a:pt x="8021" y="16417"/>
                    <a:pt x="7970" y="14135"/>
                    <a:pt x="7919" y="10449"/>
                  </a:cubicBezTo>
                  <a:lnTo>
                    <a:pt x="7919" y="8177"/>
                  </a:lnTo>
                  <a:cubicBezTo>
                    <a:pt x="7919" y="5939"/>
                    <a:pt x="7932" y="4382"/>
                    <a:pt x="7970" y="3519"/>
                  </a:cubicBezTo>
                  <a:cubicBezTo>
                    <a:pt x="7995" y="2209"/>
                    <a:pt x="8046" y="1435"/>
                    <a:pt x="8160" y="1207"/>
                  </a:cubicBezTo>
                  <a:lnTo>
                    <a:pt x="8478" y="890"/>
                  </a:lnTo>
                  <a:cubicBezTo>
                    <a:pt x="8719" y="760"/>
                    <a:pt x="9455" y="671"/>
                    <a:pt x="10686" y="622"/>
                  </a:cubicBezTo>
                  <a:lnTo>
                    <a:pt x="11688" y="532"/>
                  </a:lnTo>
                  <a:lnTo>
                    <a:pt x="11688" y="-728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0" name="Vrije vorm 29">
              <a:extLst>
                <a:ext uri="{FF2B5EF4-FFF2-40B4-BE49-F238E27FC236}">
                  <a16:creationId xmlns:a16="http://schemas.microsoft.com/office/drawing/2014/main" id="{4A1ED1CA-A643-837D-3497-9B4455FFF9C9}"/>
                </a:ext>
              </a:extLst>
            </p:cNvPr>
            <p:cNvSpPr/>
            <p:nvPr/>
          </p:nvSpPr>
          <p:spPr>
            <a:xfrm flipV="1">
              <a:off x="6304983" y="3588780"/>
              <a:ext cx="13299" cy="21247"/>
            </a:xfrm>
            <a:custGeom>
              <a:avLst/>
              <a:gdLst>
                <a:gd name="connsiteX0" fmla="*/ -293 w 13299"/>
                <a:gd name="connsiteY0" fmla="*/ -745 h 21247"/>
                <a:gd name="connsiteX1" fmla="*/ -293 w 13299"/>
                <a:gd name="connsiteY1" fmla="*/ 486 h 21247"/>
                <a:gd name="connsiteX2" fmla="*/ 2638 w 13299"/>
                <a:gd name="connsiteY2" fmla="*/ 803 h 21247"/>
                <a:gd name="connsiteX3" fmla="*/ 3311 w 13299"/>
                <a:gd name="connsiteY3" fmla="*/ 1071 h 21247"/>
                <a:gd name="connsiteX4" fmla="*/ 3641 w 13299"/>
                <a:gd name="connsiteY4" fmla="*/ 1920 h 21247"/>
                <a:gd name="connsiteX5" fmla="*/ 3831 w 13299"/>
                <a:gd name="connsiteY5" fmla="*/ 7268 h 21247"/>
                <a:gd name="connsiteX6" fmla="*/ 3831 w 13299"/>
                <a:gd name="connsiteY6" fmla="*/ 10963 h 21247"/>
                <a:gd name="connsiteX7" fmla="*/ 3780 w 13299"/>
                <a:gd name="connsiteY7" fmla="*/ 15105 h 21247"/>
                <a:gd name="connsiteX8" fmla="*/ 3768 w 13299"/>
                <a:gd name="connsiteY8" fmla="*/ 16424 h 21247"/>
                <a:gd name="connsiteX9" fmla="*/ 3653 w 13299"/>
                <a:gd name="connsiteY9" fmla="*/ 17059 h 21247"/>
                <a:gd name="connsiteX10" fmla="*/ 3425 w 13299"/>
                <a:gd name="connsiteY10" fmla="*/ 17214 h 21247"/>
                <a:gd name="connsiteX11" fmla="*/ 2752 w 13299"/>
                <a:gd name="connsiteY11" fmla="*/ 16946 h 21247"/>
                <a:gd name="connsiteX12" fmla="*/ -1106 w 13299"/>
                <a:gd name="connsiteY12" fmla="*/ 15195 h 21247"/>
                <a:gd name="connsiteX13" fmla="*/ -1270 w 13299"/>
                <a:gd name="connsiteY13" fmla="*/ 15284 h 21247"/>
                <a:gd name="connsiteX14" fmla="*/ -1435 w 13299"/>
                <a:gd name="connsiteY14" fmla="*/ 16262 h 21247"/>
                <a:gd name="connsiteX15" fmla="*/ -1613 w 13299"/>
                <a:gd name="connsiteY15" fmla="*/ 17214 h 21247"/>
                <a:gd name="connsiteX16" fmla="*/ -1588 w 13299"/>
                <a:gd name="connsiteY16" fmla="*/ 17327 h 21247"/>
                <a:gd name="connsiteX17" fmla="*/ 2791 w 13299"/>
                <a:gd name="connsiteY17" fmla="*/ 18672 h 21247"/>
                <a:gd name="connsiteX18" fmla="*/ 7880 w 13299"/>
                <a:gd name="connsiteY18" fmla="*/ 20502 h 21247"/>
                <a:gd name="connsiteX19" fmla="*/ 8222 w 13299"/>
                <a:gd name="connsiteY19" fmla="*/ 20275 h 21247"/>
                <a:gd name="connsiteX20" fmla="*/ 8121 w 13299"/>
                <a:gd name="connsiteY20" fmla="*/ 18836 h 21247"/>
                <a:gd name="connsiteX21" fmla="*/ 8044 w 13299"/>
                <a:gd name="connsiteY21" fmla="*/ 17288 h 21247"/>
                <a:gd name="connsiteX22" fmla="*/ 7905 w 13299"/>
                <a:gd name="connsiteY22" fmla="*/ 10417 h 21247"/>
                <a:gd name="connsiteX23" fmla="*/ 7905 w 13299"/>
                <a:gd name="connsiteY23" fmla="*/ 8155 h 21247"/>
                <a:gd name="connsiteX24" fmla="*/ 7943 w 13299"/>
                <a:gd name="connsiteY24" fmla="*/ 3482 h 21247"/>
                <a:gd name="connsiteX25" fmla="*/ 8146 w 13299"/>
                <a:gd name="connsiteY25" fmla="*/ 1160 h 21247"/>
                <a:gd name="connsiteX26" fmla="*/ 8463 w 13299"/>
                <a:gd name="connsiteY26" fmla="*/ 867 h 21247"/>
                <a:gd name="connsiteX27" fmla="*/ 10671 w 13299"/>
                <a:gd name="connsiteY27" fmla="*/ 590 h 21247"/>
                <a:gd name="connsiteX28" fmla="*/ 11687 w 13299"/>
                <a:gd name="connsiteY28" fmla="*/ 486 h 21247"/>
                <a:gd name="connsiteX29" fmla="*/ 11687 w 13299"/>
                <a:gd name="connsiteY29" fmla="*/ -745 h 21247"/>
                <a:gd name="connsiteX30" fmla="*/ 6255 w 13299"/>
                <a:gd name="connsiteY30" fmla="*/ -591 h 21247"/>
                <a:gd name="connsiteX31" fmla="*/ -293 w 13299"/>
                <a:gd name="connsiteY31" fmla="*/ -745 h 21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99" h="21247">
                  <a:moveTo>
                    <a:pt x="-293" y="-745"/>
                  </a:moveTo>
                  <a:lnTo>
                    <a:pt x="-293" y="486"/>
                  </a:lnTo>
                  <a:lnTo>
                    <a:pt x="2638" y="803"/>
                  </a:lnTo>
                  <a:lnTo>
                    <a:pt x="3311" y="1071"/>
                  </a:lnTo>
                  <a:lnTo>
                    <a:pt x="3641" y="1920"/>
                  </a:lnTo>
                  <a:cubicBezTo>
                    <a:pt x="3768" y="2708"/>
                    <a:pt x="3831" y="4499"/>
                    <a:pt x="3831" y="7268"/>
                  </a:cubicBezTo>
                  <a:lnTo>
                    <a:pt x="3831" y="10963"/>
                  </a:lnTo>
                  <a:cubicBezTo>
                    <a:pt x="3831" y="12257"/>
                    <a:pt x="3793" y="13617"/>
                    <a:pt x="3780" y="15105"/>
                  </a:cubicBezTo>
                  <a:lnTo>
                    <a:pt x="3768" y="16424"/>
                  </a:lnTo>
                  <a:lnTo>
                    <a:pt x="3653" y="17059"/>
                  </a:lnTo>
                  <a:lnTo>
                    <a:pt x="3425" y="17214"/>
                  </a:lnTo>
                  <a:lnTo>
                    <a:pt x="2752" y="16946"/>
                  </a:lnTo>
                  <a:cubicBezTo>
                    <a:pt x="735" y="16067"/>
                    <a:pt x="-534" y="15448"/>
                    <a:pt x="-1106" y="15195"/>
                  </a:cubicBezTo>
                  <a:lnTo>
                    <a:pt x="-1270" y="15284"/>
                  </a:lnTo>
                  <a:lnTo>
                    <a:pt x="-1435" y="16262"/>
                  </a:lnTo>
                  <a:lnTo>
                    <a:pt x="-1613" y="17214"/>
                  </a:lnTo>
                  <a:lnTo>
                    <a:pt x="-1588" y="17327"/>
                  </a:lnTo>
                  <a:cubicBezTo>
                    <a:pt x="265" y="17873"/>
                    <a:pt x="1712" y="18329"/>
                    <a:pt x="2791" y="18672"/>
                  </a:cubicBezTo>
                  <a:cubicBezTo>
                    <a:pt x="3882" y="19039"/>
                    <a:pt x="5582" y="19650"/>
                    <a:pt x="7880" y="20502"/>
                  </a:cubicBezTo>
                  <a:lnTo>
                    <a:pt x="8222" y="20275"/>
                  </a:lnTo>
                  <a:lnTo>
                    <a:pt x="8121" y="18836"/>
                  </a:lnTo>
                  <a:lnTo>
                    <a:pt x="8044" y="17288"/>
                  </a:lnTo>
                  <a:cubicBezTo>
                    <a:pt x="8006" y="16400"/>
                    <a:pt x="7956" y="14098"/>
                    <a:pt x="7905" y="10417"/>
                  </a:cubicBezTo>
                  <a:lnTo>
                    <a:pt x="7905" y="8155"/>
                  </a:lnTo>
                  <a:cubicBezTo>
                    <a:pt x="7905" y="5883"/>
                    <a:pt x="7917" y="4345"/>
                    <a:pt x="7943" y="3482"/>
                  </a:cubicBezTo>
                  <a:cubicBezTo>
                    <a:pt x="7994" y="2162"/>
                    <a:pt x="8044" y="1398"/>
                    <a:pt x="8146" y="1160"/>
                  </a:cubicBezTo>
                  <a:lnTo>
                    <a:pt x="8463" y="867"/>
                  </a:lnTo>
                  <a:cubicBezTo>
                    <a:pt x="8717" y="728"/>
                    <a:pt x="9440" y="624"/>
                    <a:pt x="10671" y="590"/>
                  </a:cubicBezTo>
                  <a:lnTo>
                    <a:pt x="11687" y="486"/>
                  </a:lnTo>
                  <a:lnTo>
                    <a:pt x="11687" y="-745"/>
                  </a:lnTo>
                  <a:cubicBezTo>
                    <a:pt x="9466" y="-656"/>
                    <a:pt x="7638" y="-591"/>
                    <a:pt x="6255" y="-591"/>
                  </a:cubicBezTo>
                  <a:cubicBezTo>
                    <a:pt x="5303" y="-591"/>
                    <a:pt x="3121" y="-656"/>
                    <a:pt x="-293" y="-745"/>
                  </a:cubicBez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1" name="Vrije vorm 30">
              <a:extLst>
                <a:ext uri="{FF2B5EF4-FFF2-40B4-BE49-F238E27FC236}">
                  <a16:creationId xmlns:a16="http://schemas.microsoft.com/office/drawing/2014/main" id="{DEEF4AE7-32A6-817D-3868-CCAC069F1EAE}"/>
                </a:ext>
              </a:extLst>
            </p:cNvPr>
            <p:cNvSpPr/>
            <p:nvPr/>
          </p:nvSpPr>
          <p:spPr>
            <a:xfrm flipV="1">
              <a:off x="6320541" y="3589176"/>
              <a:ext cx="14061" cy="20850"/>
            </a:xfrm>
            <a:custGeom>
              <a:avLst/>
              <a:gdLst>
                <a:gd name="connsiteX0" fmla="*/ -1624 w 14061"/>
                <a:gd name="connsiteY0" fmla="*/ -745 h 20850"/>
                <a:gd name="connsiteX1" fmla="*/ -1624 w 14061"/>
                <a:gd name="connsiteY1" fmla="*/ 843 h 20850"/>
                <a:gd name="connsiteX2" fmla="*/ 1231 w 14061"/>
                <a:gd name="connsiteY2" fmla="*/ 3675 h 20850"/>
                <a:gd name="connsiteX3" fmla="*/ 4531 w 14061"/>
                <a:gd name="connsiteY3" fmla="*/ 7177 h 20850"/>
                <a:gd name="connsiteX4" fmla="*/ 6206 w 14061"/>
                <a:gd name="connsiteY4" fmla="*/ 9490 h 20850"/>
                <a:gd name="connsiteX5" fmla="*/ 7057 w 14061"/>
                <a:gd name="connsiteY5" fmla="*/ 11419 h 20850"/>
                <a:gd name="connsiteX6" fmla="*/ 7285 w 14061"/>
                <a:gd name="connsiteY6" fmla="*/ 13176 h 20850"/>
                <a:gd name="connsiteX7" fmla="*/ 6397 w 14061"/>
                <a:gd name="connsiteY7" fmla="*/ 15864 h 20850"/>
                <a:gd name="connsiteX8" fmla="*/ 3922 w 14061"/>
                <a:gd name="connsiteY8" fmla="*/ 16783 h 20850"/>
                <a:gd name="connsiteX9" fmla="*/ 2259 w 14061"/>
                <a:gd name="connsiteY9" fmla="*/ 16424 h 20850"/>
                <a:gd name="connsiteX10" fmla="*/ 914 w 14061"/>
                <a:gd name="connsiteY10" fmla="*/ 15368 h 20850"/>
                <a:gd name="connsiteX11" fmla="*/ 292 w 14061"/>
                <a:gd name="connsiteY11" fmla="*/ 12918 h 20850"/>
                <a:gd name="connsiteX12" fmla="*/ -888 w 14061"/>
                <a:gd name="connsiteY12" fmla="*/ 12918 h 20850"/>
                <a:gd name="connsiteX13" fmla="*/ -494 w 14061"/>
                <a:gd name="connsiteY13" fmla="*/ 16465 h 20850"/>
                <a:gd name="connsiteX14" fmla="*/ -304 w 14061"/>
                <a:gd name="connsiteY14" fmla="*/ 18167 h 20850"/>
                <a:gd name="connsiteX15" fmla="*/ 2018 w 14061"/>
                <a:gd name="connsiteY15" fmla="*/ 19625 h 20850"/>
                <a:gd name="connsiteX16" fmla="*/ 4937 w 14061"/>
                <a:gd name="connsiteY16" fmla="*/ 20106 h 20850"/>
                <a:gd name="connsiteX17" fmla="*/ 8643 w 14061"/>
                <a:gd name="connsiteY17" fmla="*/ 19357 h 20850"/>
                <a:gd name="connsiteX18" fmla="*/ 10749 w 14061"/>
                <a:gd name="connsiteY18" fmla="*/ 17273 h 20850"/>
                <a:gd name="connsiteX19" fmla="*/ 11435 w 14061"/>
                <a:gd name="connsiteY19" fmla="*/ 14545 h 20850"/>
                <a:gd name="connsiteX20" fmla="*/ 11168 w 14061"/>
                <a:gd name="connsiteY20" fmla="*/ 12754 h 20850"/>
                <a:gd name="connsiteX21" fmla="*/ 10267 w 14061"/>
                <a:gd name="connsiteY21" fmla="*/ 10834 h 20850"/>
                <a:gd name="connsiteX22" fmla="*/ 8871 w 14061"/>
                <a:gd name="connsiteY22" fmla="*/ 8994 h 20850"/>
                <a:gd name="connsiteX23" fmla="*/ 7133 w 14061"/>
                <a:gd name="connsiteY23" fmla="*/ 7227 h 20850"/>
                <a:gd name="connsiteX24" fmla="*/ 5521 w 14061"/>
                <a:gd name="connsiteY24" fmla="*/ 5629 h 20850"/>
                <a:gd name="connsiteX25" fmla="*/ 2754 w 14061"/>
                <a:gd name="connsiteY25" fmla="*/ 3026 h 20850"/>
                <a:gd name="connsiteX26" fmla="*/ 2818 w 14061"/>
                <a:gd name="connsiteY26" fmla="*/ 2823 h 20850"/>
                <a:gd name="connsiteX27" fmla="*/ 5521 w 14061"/>
                <a:gd name="connsiteY27" fmla="*/ 2823 h 20850"/>
                <a:gd name="connsiteX28" fmla="*/ 9595 w 14061"/>
                <a:gd name="connsiteY28" fmla="*/ 2896 h 20850"/>
                <a:gd name="connsiteX29" fmla="*/ 12323 w 14061"/>
                <a:gd name="connsiteY29" fmla="*/ 3026 h 20850"/>
                <a:gd name="connsiteX30" fmla="*/ 12437 w 14061"/>
                <a:gd name="connsiteY30" fmla="*/ 2823 h 20850"/>
                <a:gd name="connsiteX31" fmla="*/ 12298 w 14061"/>
                <a:gd name="connsiteY31" fmla="*/ 704 h 20850"/>
                <a:gd name="connsiteX32" fmla="*/ 12437 w 14061"/>
                <a:gd name="connsiteY32" fmla="*/ -591 h 20850"/>
                <a:gd name="connsiteX33" fmla="*/ 12374 w 14061"/>
                <a:gd name="connsiteY33" fmla="*/ -745 h 20850"/>
                <a:gd name="connsiteX34" fmla="*/ 7805 w 14061"/>
                <a:gd name="connsiteY34" fmla="*/ -646 h 20850"/>
                <a:gd name="connsiteX35" fmla="*/ 5584 w 14061"/>
                <a:gd name="connsiteY35" fmla="*/ -591 h 20850"/>
                <a:gd name="connsiteX36" fmla="*/ -1624 w 14061"/>
                <a:gd name="connsiteY36" fmla="*/ -745 h 2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061" h="20850">
                  <a:moveTo>
                    <a:pt x="-1624" y="-745"/>
                  </a:moveTo>
                  <a:lnTo>
                    <a:pt x="-1624" y="843"/>
                  </a:lnTo>
                  <a:lnTo>
                    <a:pt x="1231" y="3675"/>
                  </a:lnTo>
                  <a:cubicBezTo>
                    <a:pt x="2704" y="5158"/>
                    <a:pt x="3820" y="6339"/>
                    <a:pt x="4531" y="7177"/>
                  </a:cubicBezTo>
                  <a:lnTo>
                    <a:pt x="6206" y="9490"/>
                  </a:lnTo>
                  <a:lnTo>
                    <a:pt x="7057" y="11419"/>
                  </a:lnTo>
                  <a:lnTo>
                    <a:pt x="7285" y="13176"/>
                  </a:lnTo>
                  <a:cubicBezTo>
                    <a:pt x="7285" y="14342"/>
                    <a:pt x="6993" y="15245"/>
                    <a:pt x="6397" y="15864"/>
                  </a:cubicBezTo>
                  <a:lnTo>
                    <a:pt x="3922" y="16783"/>
                  </a:lnTo>
                  <a:lnTo>
                    <a:pt x="2259" y="16424"/>
                  </a:lnTo>
                  <a:lnTo>
                    <a:pt x="914" y="15368"/>
                  </a:lnTo>
                  <a:lnTo>
                    <a:pt x="292" y="12918"/>
                  </a:lnTo>
                  <a:lnTo>
                    <a:pt x="-888" y="12918"/>
                  </a:lnTo>
                  <a:lnTo>
                    <a:pt x="-494" y="16465"/>
                  </a:lnTo>
                  <a:lnTo>
                    <a:pt x="-304" y="18167"/>
                  </a:lnTo>
                  <a:lnTo>
                    <a:pt x="2018" y="19625"/>
                  </a:lnTo>
                  <a:lnTo>
                    <a:pt x="4937" y="20106"/>
                  </a:lnTo>
                  <a:cubicBezTo>
                    <a:pt x="6473" y="20106"/>
                    <a:pt x="7704" y="19853"/>
                    <a:pt x="8643" y="19357"/>
                  </a:cubicBezTo>
                  <a:lnTo>
                    <a:pt x="10749" y="17273"/>
                  </a:lnTo>
                  <a:lnTo>
                    <a:pt x="11435" y="14545"/>
                  </a:lnTo>
                  <a:lnTo>
                    <a:pt x="11168" y="12754"/>
                  </a:lnTo>
                  <a:lnTo>
                    <a:pt x="10267" y="10834"/>
                  </a:lnTo>
                  <a:lnTo>
                    <a:pt x="8871" y="8994"/>
                  </a:lnTo>
                  <a:lnTo>
                    <a:pt x="7133" y="7227"/>
                  </a:lnTo>
                  <a:lnTo>
                    <a:pt x="5521" y="5629"/>
                  </a:lnTo>
                  <a:lnTo>
                    <a:pt x="2754" y="3026"/>
                  </a:lnTo>
                  <a:lnTo>
                    <a:pt x="2818" y="2823"/>
                  </a:lnTo>
                  <a:lnTo>
                    <a:pt x="5521" y="2823"/>
                  </a:lnTo>
                  <a:cubicBezTo>
                    <a:pt x="5914" y="2823"/>
                    <a:pt x="7285" y="2847"/>
                    <a:pt x="9595" y="2896"/>
                  </a:cubicBezTo>
                  <a:lnTo>
                    <a:pt x="12323" y="3026"/>
                  </a:lnTo>
                  <a:lnTo>
                    <a:pt x="12437" y="2823"/>
                  </a:lnTo>
                  <a:lnTo>
                    <a:pt x="12298" y="704"/>
                  </a:lnTo>
                  <a:lnTo>
                    <a:pt x="12437" y="-591"/>
                  </a:lnTo>
                  <a:lnTo>
                    <a:pt x="12374" y="-745"/>
                  </a:lnTo>
                  <a:lnTo>
                    <a:pt x="7805" y="-646"/>
                  </a:lnTo>
                  <a:lnTo>
                    <a:pt x="5584" y="-591"/>
                  </a:lnTo>
                  <a:lnTo>
                    <a:pt x="-1624" y="-745"/>
                  </a:ln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2" name="Vrije vorm 31">
              <a:extLst>
                <a:ext uri="{FF2B5EF4-FFF2-40B4-BE49-F238E27FC236}">
                  <a16:creationId xmlns:a16="http://schemas.microsoft.com/office/drawing/2014/main" id="{68DD131E-A64C-6A3D-787E-1782A0FD920A}"/>
                </a:ext>
              </a:extLst>
            </p:cNvPr>
            <p:cNvSpPr/>
            <p:nvPr/>
          </p:nvSpPr>
          <p:spPr>
            <a:xfrm flipV="1">
              <a:off x="6370580" y="3605647"/>
              <a:ext cx="13287" cy="21257"/>
            </a:xfrm>
            <a:custGeom>
              <a:avLst/>
              <a:gdLst>
                <a:gd name="connsiteX0" fmla="*/ -351 w 13287"/>
                <a:gd name="connsiteY0" fmla="*/ -730 h 21257"/>
                <a:gd name="connsiteX1" fmla="*/ -351 w 13287"/>
                <a:gd name="connsiteY1" fmla="*/ 510 h 21257"/>
                <a:gd name="connsiteX2" fmla="*/ 2555 w 13287"/>
                <a:gd name="connsiteY2" fmla="*/ 803 h 21257"/>
                <a:gd name="connsiteX3" fmla="*/ 3253 w 13287"/>
                <a:gd name="connsiteY3" fmla="*/ 1095 h 21257"/>
                <a:gd name="connsiteX4" fmla="*/ 3571 w 13287"/>
                <a:gd name="connsiteY4" fmla="*/ 1924 h 21257"/>
                <a:gd name="connsiteX5" fmla="*/ 3774 w 13287"/>
                <a:gd name="connsiteY5" fmla="*/ 7281 h 21257"/>
                <a:gd name="connsiteX6" fmla="*/ 3774 w 13287"/>
                <a:gd name="connsiteY6" fmla="*/ 10978 h 21257"/>
                <a:gd name="connsiteX7" fmla="*/ 3710 w 13287"/>
                <a:gd name="connsiteY7" fmla="*/ 15115 h 21257"/>
                <a:gd name="connsiteX8" fmla="*/ 3710 w 13287"/>
                <a:gd name="connsiteY8" fmla="*/ 16465 h 21257"/>
                <a:gd name="connsiteX9" fmla="*/ 3609 w 13287"/>
                <a:gd name="connsiteY9" fmla="*/ 17074 h 21257"/>
                <a:gd name="connsiteX10" fmla="*/ 3368 w 13287"/>
                <a:gd name="connsiteY10" fmla="*/ 17224 h 21257"/>
                <a:gd name="connsiteX11" fmla="*/ 2682 w 13287"/>
                <a:gd name="connsiteY11" fmla="*/ 16961 h 21257"/>
                <a:gd name="connsiteX12" fmla="*/ -1163 w 13287"/>
                <a:gd name="connsiteY12" fmla="*/ 15205 h 21257"/>
                <a:gd name="connsiteX13" fmla="*/ -1328 w 13287"/>
                <a:gd name="connsiteY13" fmla="*/ 15309 h 21257"/>
                <a:gd name="connsiteX14" fmla="*/ -1493 w 13287"/>
                <a:gd name="connsiteY14" fmla="*/ 16301 h 21257"/>
                <a:gd name="connsiteX15" fmla="*/ -1658 w 13287"/>
                <a:gd name="connsiteY15" fmla="*/ 17248 h 21257"/>
                <a:gd name="connsiteX16" fmla="*/ -1645 w 13287"/>
                <a:gd name="connsiteY16" fmla="*/ 17352 h 21257"/>
                <a:gd name="connsiteX17" fmla="*/ 2746 w 13287"/>
                <a:gd name="connsiteY17" fmla="*/ 18672 h 21257"/>
                <a:gd name="connsiteX18" fmla="*/ 7809 w 13287"/>
                <a:gd name="connsiteY18" fmla="*/ 20527 h 21257"/>
                <a:gd name="connsiteX19" fmla="*/ 8177 w 13287"/>
                <a:gd name="connsiteY19" fmla="*/ 20285 h 21257"/>
                <a:gd name="connsiteX20" fmla="*/ 8076 w 13287"/>
                <a:gd name="connsiteY20" fmla="*/ 18836 h 21257"/>
                <a:gd name="connsiteX21" fmla="*/ 7987 w 13287"/>
                <a:gd name="connsiteY21" fmla="*/ 17303 h 21257"/>
                <a:gd name="connsiteX22" fmla="*/ 7847 w 13287"/>
                <a:gd name="connsiteY22" fmla="*/ 10432 h 21257"/>
                <a:gd name="connsiteX23" fmla="*/ 7847 w 13287"/>
                <a:gd name="connsiteY23" fmla="*/ 8145 h 21257"/>
                <a:gd name="connsiteX24" fmla="*/ 7898 w 13287"/>
                <a:gd name="connsiteY24" fmla="*/ 3512 h 21257"/>
                <a:gd name="connsiteX25" fmla="*/ 8076 w 13287"/>
                <a:gd name="connsiteY25" fmla="*/ 1185 h 21257"/>
                <a:gd name="connsiteX26" fmla="*/ 8393 w 13287"/>
                <a:gd name="connsiteY26" fmla="*/ 882 h 21257"/>
                <a:gd name="connsiteX27" fmla="*/ 10614 w 13287"/>
                <a:gd name="connsiteY27" fmla="*/ 590 h 21257"/>
                <a:gd name="connsiteX28" fmla="*/ 11629 w 13287"/>
                <a:gd name="connsiteY28" fmla="*/ 510 h 21257"/>
                <a:gd name="connsiteX29" fmla="*/ 11629 w 13287"/>
                <a:gd name="connsiteY29" fmla="*/ -730 h 21257"/>
                <a:gd name="connsiteX30" fmla="*/ 6198 w 13287"/>
                <a:gd name="connsiteY30" fmla="*/ -581 h 21257"/>
                <a:gd name="connsiteX31" fmla="*/ -351 w 13287"/>
                <a:gd name="connsiteY31" fmla="*/ -730 h 2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87" h="21257">
                  <a:moveTo>
                    <a:pt x="-351" y="-730"/>
                  </a:moveTo>
                  <a:lnTo>
                    <a:pt x="-351" y="510"/>
                  </a:lnTo>
                  <a:lnTo>
                    <a:pt x="2555" y="803"/>
                  </a:lnTo>
                  <a:lnTo>
                    <a:pt x="3253" y="1095"/>
                  </a:lnTo>
                  <a:lnTo>
                    <a:pt x="3571" y="1924"/>
                  </a:lnTo>
                  <a:cubicBezTo>
                    <a:pt x="3710" y="2723"/>
                    <a:pt x="3774" y="4514"/>
                    <a:pt x="3774" y="7281"/>
                  </a:cubicBezTo>
                  <a:lnTo>
                    <a:pt x="3774" y="10978"/>
                  </a:lnTo>
                  <a:cubicBezTo>
                    <a:pt x="3774" y="12272"/>
                    <a:pt x="3748" y="13631"/>
                    <a:pt x="3710" y="15115"/>
                  </a:cubicBezTo>
                  <a:lnTo>
                    <a:pt x="3710" y="16465"/>
                  </a:lnTo>
                  <a:lnTo>
                    <a:pt x="3609" y="17074"/>
                  </a:lnTo>
                  <a:lnTo>
                    <a:pt x="3368" y="17224"/>
                  </a:lnTo>
                  <a:lnTo>
                    <a:pt x="2682" y="16961"/>
                  </a:lnTo>
                  <a:cubicBezTo>
                    <a:pt x="677" y="16082"/>
                    <a:pt x="-592" y="15473"/>
                    <a:pt x="-1163" y="15205"/>
                  </a:cubicBezTo>
                  <a:lnTo>
                    <a:pt x="-1328" y="15309"/>
                  </a:lnTo>
                  <a:lnTo>
                    <a:pt x="-1493" y="16301"/>
                  </a:lnTo>
                  <a:lnTo>
                    <a:pt x="-1658" y="17248"/>
                  </a:lnTo>
                  <a:lnTo>
                    <a:pt x="-1645" y="17352"/>
                  </a:lnTo>
                  <a:cubicBezTo>
                    <a:pt x="208" y="17859"/>
                    <a:pt x="1654" y="18320"/>
                    <a:pt x="2746" y="18672"/>
                  </a:cubicBezTo>
                  <a:cubicBezTo>
                    <a:pt x="3837" y="19039"/>
                    <a:pt x="5512" y="19650"/>
                    <a:pt x="7809" y="20527"/>
                  </a:cubicBezTo>
                  <a:lnTo>
                    <a:pt x="8177" y="20285"/>
                  </a:lnTo>
                  <a:lnTo>
                    <a:pt x="8076" y="18836"/>
                  </a:lnTo>
                  <a:lnTo>
                    <a:pt x="7987" y="17303"/>
                  </a:lnTo>
                  <a:cubicBezTo>
                    <a:pt x="7962" y="16415"/>
                    <a:pt x="7898" y="14113"/>
                    <a:pt x="7847" y="10432"/>
                  </a:cubicBezTo>
                  <a:lnTo>
                    <a:pt x="7847" y="8145"/>
                  </a:lnTo>
                  <a:cubicBezTo>
                    <a:pt x="7847" y="5907"/>
                    <a:pt x="7860" y="4374"/>
                    <a:pt x="7898" y="3512"/>
                  </a:cubicBezTo>
                  <a:cubicBezTo>
                    <a:pt x="7911" y="2177"/>
                    <a:pt x="7987" y="1413"/>
                    <a:pt x="8076" y="1185"/>
                  </a:cubicBezTo>
                  <a:lnTo>
                    <a:pt x="8393" y="882"/>
                  </a:lnTo>
                  <a:cubicBezTo>
                    <a:pt x="8647" y="738"/>
                    <a:pt x="9396" y="654"/>
                    <a:pt x="10614" y="590"/>
                  </a:cubicBezTo>
                  <a:lnTo>
                    <a:pt x="11629" y="510"/>
                  </a:lnTo>
                  <a:lnTo>
                    <a:pt x="11629" y="-730"/>
                  </a:lnTo>
                  <a:cubicBezTo>
                    <a:pt x="9396" y="-646"/>
                    <a:pt x="7568" y="-581"/>
                    <a:pt x="6198" y="-581"/>
                  </a:cubicBezTo>
                  <a:cubicBezTo>
                    <a:pt x="5258" y="-581"/>
                    <a:pt x="3076" y="-646"/>
                    <a:pt x="-351" y="-730"/>
                  </a:cubicBez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3" name="Vrije vorm 32">
              <a:extLst>
                <a:ext uri="{FF2B5EF4-FFF2-40B4-BE49-F238E27FC236}">
                  <a16:creationId xmlns:a16="http://schemas.microsoft.com/office/drawing/2014/main" id="{EE8FCF49-3DAD-D6F3-DB91-D259400E014F}"/>
                </a:ext>
              </a:extLst>
            </p:cNvPr>
            <p:cNvSpPr/>
            <p:nvPr/>
          </p:nvSpPr>
          <p:spPr>
            <a:xfrm flipV="1">
              <a:off x="6406723" y="3644431"/>
              <a:ext cx="14086" cy="20866"/>
            </a:xfrm>
            <a:custGeom>
              <a:avLst/>
              <a:gdLst>
                <a:gd name="connsiteX0" fmla="*/ -1683 w 14086"/>
                <a:gd name="connsiteY0" fmla="*/ -695 h 20866"/>
                <a:gd name="connsiteX1" fmla="*/ -1683 w 14086"/>
                <a:gd name="connsiteY1" fmla="*/ 892 h 20866"/>
                <a:gd name="connsiteX2" fmla="*/ 1185 w 14086"/>
                <a:gd name="connsiteY2" fmla="*/ 3736 h 20866"/>
                <a:gd name="connsiteX3" fmla="*/ 4485 w 14086"/>
                <a:gd name="connsiteY3" fmla="*/ 7228 h 20866"/>
                <a:gd name="connsiteX4" fmla="*/ 6185 w 14086"/>
                <a:gd name="connsiteY4" fmla="*/ 9555 h 20866"/>
                <a:gd name="connsiteX5" fmla="*/ 7010 w 14086"/>
                <a:gd name="connsiteY5" fmla="*/ 11484 h 20866"/>
                <a:gd name="connsiteX6" fmla="*/ 7251 w 14086"/>
                <a:gd name="connsiteY6" fmla="*/ 13220 h 20866"/>
                <a:gd name="connsiteX7" fmla="*/ 6338 w 14086"/>
                <a:gd name="connsiteY7" fmla="*/ 15915 h 20866"/>
                <a:gd name="connsiteX8" fmla="*/ 3876 w 14086"/>
                <a:gd name="connsiteY8" fmla="*/ 16827 h 20866"/>
                <a:gd name="connsiteX9" fmla="*/ 2201 w 14086"/>
                <a:gd name="connsiteY9" fmla="*/ 16499 h 20866"/>
                <a:gd name="connsiteX10" fmla="*/ 868 w 14086"/>
                <a:gd name="connsiteY10" fmla="*/ 15442 h 20866"/>
                <a:gd name="connsiteX11" fmla="*/ 234 w 14086"/>
                <a:gd name="connsiteY11" fmla="*/ 13007 h 20866"/>
                <a:gd name="connsiteX12" fmla="*/ -947 w 14086"/>
                <a:gd name="connsiteY12" fmla="*/ 13007 h 20866"/>
                <a:gd name="connsiteX13" fmla="*/ -541 w 14086"/>
                <a:gd name="connsiteY13" fmla="*/ 16499 h 20866"/>
                <a:gd name="connsiteX14" fmla="*/ -350 w 14086"/>
                <a:gd name="connsiteY14" fmla="*/ 18226 h 20866"/>
                <a:gd name="connsiteX15" fmla="*/ 1959 w 14086"/>
                <a:gd name="connsiteY15" fmla="*/ 19684 h 20866"/>
                <a:gd name="connsiteX16" fmla="*/ 4904 w 14086"/>
                <a:gd name="connsiteY16" fmla="*/ 20171 h 20866"/>
                <a:gd name="connsiteX17" fmla="*/ 8609 w 14086"/>
                <a:gd name="connsiteY17" fmla="*/ 19421 h 20866"/>
                <a:gd name="connsiteX18" fmla="*/ 10703 w 14086"/>
                <a:gd name="connsiteY18" fmla="*/ 17323 h 20866"/>
                <a:gd name="connsiteX19" fmla="*/ 11401 w 14086"/>
                <a:gd name="connsiteY19" fmla="*/ 14604 h 20866"/>
                <a:gd name="connsiteX20" fmla="*/ 11147 w 14086"/>
                <a:gd name="connsiteY20" fmla="*/ 12814 h 20866"/>
                <a:gd name="connsiteX21" fmla="*/ 10221 w 14086"/>
                <a:gd name="connsiteY21" fmla="*/ 10898 h 20866"/>
                <a:gd name="connsiteX22" fmla="*/ 8825 w 14086"/>
                <a:gd name="connsiteY22" fmla="*/ 9043 h 20866"/>
                <a:gd name="connsiteX23" fmla="*/ 7061 w 14086"/>
                <a:gd name="connsiteY23" fmla="*/ 7278 h 20866"/>
                <a:gd name="connsiteX24" fmla="*/ 5475 w 14086"/>
                <a:gd name="connsiteY24" fmla="*/ 5704 h 20866"/>
                <a:gd name="connsiteX25" fmla="*/ 2696 w 14086"/>
                <a:gd name="connsiteY25" fmla="*/ 3090 h 20866"/>
                <a:gd name="connsiteX26" fmla="*/ 2759 w 14086"/>
                <a:gd name="connsiteY26" fmla="*/ 2897 h 20866"/>
                <a:gd name="connsiteX27" fmla="*/ 5475 w 14086"/>
                <a:gd name="connsiteY27" fmla="*/ 2897 h 20866"/>
                <a:gd name="connsiteX28" fmla="*/ 9561 w 14086"/>
                <a:gd name="connsiteY28" fmla="*/ 2971 h 20866"/>
                <a:gd name="connsiteX29" fmla="*/ 12290 w 14086"/>
                <a:gd name="connsiteY29" fmla="*/ 3090 h 20866"/>
                <a:gd name="connsiteX30" fmla="*/ 12404 w 14086"/>
                <a:gd name="connsiteY30" fmla="*/ 2897 h 20866"/>
                <a:gd name="connsiteX31" fmla="*/ 12251 w 14086"/>
                <a:gd name="connsiteY31" fmla="*/ 754 h 20866"/>
                <a:gd name="connsiteX32" fmla="*/ 12404 w 14086"/>
                <a:gd name="connsiteY32" fmla="*/ -532 h 20866"/>
                <a:gd name="connsiteX33" fmla="*/ 12328 w 14086"/>
                <a:gd name="connsiteY33" fmla="*/ -695 h 20866"/>
                <a:gd name="connsiteX34" fmla="*/ 7734 w 14086"/>
                <a:gd name="connsiteY34" fmla="*/ -571 h 20866"/>
                <a:gd name="connsiteX35" fmla="*/ 5538 w 14086"/>
                <a:gd name="connsiteY35" fmla="*/ -532 h 20866"/>
                <a:gd name="connsiteX36" fmla="*/ -1683 w 14086"/>
                <a:gd name="connsiteY36" fmla="*/ -695 h 2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086" h="20866">
                  <a:moveTo>
                    <a:pt x="-1683" y="-695"/>
                  </a:moveTo>
                  <a:lnTo>
                    <a:pt x="-1683" y="892"/>
                  </a:lnTo>
                  <a:lnTo>
                    <a:pt x="1185" y="3736"/>
                  </a:lnTo>
                  <a:cubicBezTo>
                    <a:pt x="2670" y="5224"/>
                    <a:pt x="3762" y="6404"/>
                    <a:pt x="4485" y="7228"/>
                  </a:cubicBezTo>
                  <a:lnTo>
                    <a:pt x="6185" y="9555"/>
                  </a:lnTo>
                  <a:lnTo>
                    <a:pt x="7010" y="11484"/>
                  </a:lnTo>
                  <a:lnTo>
                    <a:pt x="7251" y="13220"/>
                  </a:lnTo>
                  <a:cubicBezTo>
                    <a:pt x="7251" y="14416"/>
                    <a:pt x="6947" y="15304"/>
                    <a:pt x="6338" y="15915"/>
                  </a:cubicBezTo>
                  <a:lnTo>
                    <a:pt x="3876" y="16827"/>
                  </a:lnTo>
                  <a:lnTo>
                    <a:pt x="2201" y="16499"/>
                  </a:lnTo>
                  <a:lnTo>
                    <a:pt x="868" y="15442"/>
                  </a:lnTo>
                  <a:lnTo>
                    <a:pt x="234" y="13007"/>
                  </a:lnTo>
                  <a:lnTo>
                    <a:pt x="-947" y="13007"/>
                  </a:lnTo>
                  <a:lnTo>
                    <a:pt x="-541" y="16499"/>
                  </a:lnTo>
                  <a:lnTo>
                    <a:pt x="-350" y="18226"/>
                  </a:lnTo>
                  <a:lnTo>
                    <a:pt x="1959" y="19684"/>
                  </a:lnTo>
                  <a:lnTo>
                    <a:pt x="4904" y="20171"/>
                  </a:lnTo>
                  <a:cubicBezTo>
                    <a:pt x="6427" y="20171"/>
                    <a:pt x="7657" y="19942"/>
                    <a:pt x="8609" y="19421"/>
                  </a:cubicBezTo>
                  <a:lnTo>
                    <a:pt x="10703" y="17323"/>
                  </a:lnTo>
                  <a:lnTo>
                    <a:pt x="11401" y="14604"/>
                  </a:lnTo>
                  <a:lnTo>
                    <a:pt x="11147" y="12814"/>
                  </a:lnTo>
                  <a:lnTo>
                    <a:pt x="10221" y="10898"/>
                  </a:lnTo>
                  <a:lnTo>
                    <a:pt x="8825" y="9043"/>
                  </a:lnTo>
                  <a:lnTo>
                    <a:pt x="7061" y="7278"/>
                  </a:lnTo>
                  <a:lnTo>
                    <a:pt x="5475" y="5704"/>
                  </a:lnTo>
                  <a:lnTo>
                    <a:pt x="2696" y="3090"/>
                  </a:lnTo>
                  <a:lnTo>
                    <a:pt x="2759" y="2897"/>
                  </a:lnTo>
                  <a:lnTo>
                    <a:pt x="5475" y="2897"/>
                  </a:lnTo>
                  <a:cubicBezTo>
                    <a:pt x="5893" y="2897"/>
                    <a:pt x="7251" y="2911"/>
                    <a:pt x="9561" y="2971"/>
                  </a:cubicBezTo>
                  <a:lnTo>
                    <a:pt x="12290" y="3090"/>
                  </a:lnTo>
                  <a:lnTo>
                    <a:pt x="12404" y="2897"/>
                  </a:lnTo>
                  <a:lnTo>
                    <a:pt x="12251" y="754"/>
                  </a:lnTo>
                  <a:lnTo>
                    <a:pt x="12404" y="-532"/>
                  </a:lnTo>
                  <a:lnTo>
                    <a:pt x="12328" y="-695"/>
                  </a:lnTo>
                  <a:lnTo>
                    <a:pt x="7734" y="-571"/>
                  </a:lnTo>
                  <a:lnTo>
                    <a:pt x="5538" y="-532"/>
                  </a:lnTo>
                  <a:lnTo>
                    <a:pt x="-1683" y="-695"/>
                  </a:ln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4" name="Vrije vorm 33">
              <a:extLst>
                <a:ext uri="{FF2B5EF4-FFF2-40B4-BE49-F238E27FC236}">
                  <a16:creationId xmlns:a16="http://schemas.microsoft.com/office/drawing/2014/main" id="{2C73FB1C-CFBA-8DC0-AB06-34DB1B17DEA5}"/>
                </a:ext>
              </a:extLst>
            </p:cNvPr>
            <p:cNvSpPr/>
            <p:nvPr/>
          </p:nvSpPr>
          <p:spPr>
            <a:xfrm flipV="1">
              <a:off x="6419287" y="3696605"/>
              <a:ext cx="13693" cy="21410"/>
            </a:xfrm>
            <a:custGeom>
              <a:avLst/>
              <a:gdLst>
                <a:gd name="connsiteX0" fmla="*/ -904 w 13693"/>
                <a:gd name="connsiteY0" fmla="*/ 164 h 21410"/>
                <a:gd name="connsiteX1" fmla="*/ -1272 w 13693"/>
                <a:gd name="connsiteY1" fmla="*/ 2477 h 21410"/>
                <a:gd name="connsiteX2" fmla="*/ -1691 w 13693"/>
                <a:gd name="connsiteY2" fmla="*/ 4822 h 21410"/>
                <a:gd name="connsiteX3" fmla="*/ -651 w 13693"/>
                <a:gd name="connsiteY3" fmla="*/ 5140 h 21410"/>
                <a:gd name="connsiteX4" fmla="*/ 644 w 13693"/>
                <a:gd name="connsiteY4" fmla="*/ 2868 h 21410"/>
                <a:gd name="connsiteX5" fmla="*/ 2294 w 13693"/>
                <a:gd name="connsiteY5" fmla="*/ 1574 h 21410"/>
                <a:gd name="connsiteX6" fmla="*/ 4299 w 13693"/>
                <a:gd name="connsiteY6" fmla="*/ 1166 h 21410"/>
                <a:gd name="connsiteX7" fmla="*/ 7078 w 13693"/>
                <a:gd name="connsiteY7" fmla="*/ 2258 h 21410"/>
                <a:gd name="connsiteX8" fmla="*/ 8144 w 13693"/>
                <a:gd name="connsiteY8" fmla="*/ 5270 h 21410"/>
                <a:gd name="connsiteX9" fmla="*/ 6976 w 13693"/>
                <a:gd name="connsiteY9" fmla="*/ 8241 h 21410"/>
                <a:gd name="connsiteX10" fmla="*/ 4020 w 13693"/>
                <a:gd name="connsiteY10" fmla="*/ 9243 h 21410"/>
                <a:gd name="connsiteX11" fmla="*/ 2217 w 13693"/>
                <a:gd name="connsiteY11" fmla="*/ 8991 h 21410"/>
                <a:gd name="connsiteX12" fmla="*/ 2014 w 13693"/>
                <a:gd name="connsiteY12" fmla="*/ 9184 h 21410"/>
                <a:gd name="connsiteX13" fmla="*/ 2065 w 13693"/>
                <a:gd name="connsiteY13" fmla="*/ 9372 h 21410"/>
                <a:gd name="connsiteX14" fmla="*/ 2332 w 13693"/>
                <a:gd name="connsiteY14" fmla="*/ 10285 h 21410"/>
                <a:gd name="connsiteX15" fmla="*/ 2598 w 13693"/>
                <a:gd name="connsiteY15" fmla="*/ 11490 h 21410"/>
                <a:gd name="connsiteX16" fmla="*/ 2763 w 13693"/>
                <a:gd name="connsiteY16" fmla="*/ 11521 h 21410"/>
                <a:gd name="connsiteX17" fmla="*/ 3880 w 13693"/>
                <a:gd name="connsiteY17" fmla="*/ 11490 h 21410"/>
                <a:gd name="connsiteX18" fmla="*/ 5530 w 13693"/>
                <a:gd name="connsiteY18" fmla="*/ 11927 h 21410"/>
                <a:gd name="connsiteX19" fmla="*/ 6773 w 13693"/>
                <a:gd name="connsiteY19" fmla="*/ 13142 h 21410"/>
                <a:gd name="connsiteX20" fmla="*/ 7243 w 13693"/>
                <a:gd name="connsiteY20" fmla="*/ 14779 h 21410"/>
                <a:gd name="connsiteX21" fmla="*/ 6380 w 13693"/>
                <a:gd name="connsiteY21" fmla="*/ 16788 h 21410"/>
                <a:gd name="connsiteX22" fmla="*/ 4096 w 13693"/>
                <a:gd name="connsiteY22" fmla="*/ 17613 h 21410"/>
                <a:gd name="connsiteX23" fmla="*/ 2446 w 13693"/>
                <a:gd name="connsiteY23" fmla="*/ 17335 h 21410"/>
                <a:gd name="connsiteX24" fmla="*/ 1355 w 13693"/>
                <a:gd name="connsiteY24" fmla="*/ 16611 h 21410"/>
                <a:gd name="connsiteX25" fmla="*/ 618 w 13693"/>
                <a:gd name="connsiteY25" fmla="*/ 15102 h 21410"/>
                <a:gd name="connsiteX26" fmla="*/ 377 w 13693"/>
                <a:gd name="connsiteY26" fmla="*/ 14438 h 21410"/>
                <a:gd name="connsiteX27" fmla="*/ -752 w 13693"/>
                <a:gd name="connsiteY27" fmla="*/ 14527 h 21410"/>
                <a:gd name="connsiteX28" fmla="*/ -67 w 13693"/>
                <a:gd name="connsiteY28" fmla="*/ 17652 h 21410"/>
                <a:gd name="connsiteX29" fmla="*/ 187 w 13693"/>
                <a:gd name="connsiteY29" fmla="*/ 19255 h 21410"/>
                <a:gd name="connsiteX30" fmla="*/ 2433 w 13693"/>
                <a:gd name="connsiteY30" fmla="*/ 20380 h 21410"/>
                <a:gd name="connsiteX31" fmla="*/ 5200 w 13693"/>
                <a:gd name="connsiteY31" fmla="*/ 20762 h 21410"/>
                <a:gd name="connsiteX32" fmla="*/ 9324 w 13693"/>
                <a:gd name="connsiteY32" fmla="*/ 19468 h 21410"/>
                <a:gd name="connsiteX33" fmla="*/ 10771 w 13693"/>
                <a:gd name="connsiteY33" fmla="*/ 16317 h 21410"/>
                <a:gd name="connsiteX34" fmla="*/ 9921 w 13693"/>
                <a:gd name="connsiteY34" fmla="*/ 13767 h 21410"/>
                <a:gd name="connsiteX35" fmla="*/ 7332 w 13693"/>
                <a:gd name="connsiteY35" fmla="*/ 11734 h 21410"/>
                <a:gd name="connsiteX36" fmla="*/ 8271 w 13693"/>
                <a:gd name="connsiteY36" fmla="*/ 11604 h 21410"/>
                <a:gd name="connsiteX37" fmla="*/ 9756 w 13693"/>
                <a:gd name="connsiteY37" fmla="*/ 11034 h 21410"/>
                <a:gd name="connsiteX38" fmla="*/ 10987 w 13693"/>
                <a:gd name="connsiteY38" fmla="*/ 10071 h 21410"/>
                <a:gd name="connsiteX39" fmla="*/ 11761 w 13693"/>
                <a:gd name="connsiteY39" fmla="*/ 8752 h 21410"/>
                <a:gd name="connsiteX40" fmla="*/ 12002 w 13693"/>
                <a:gd name="connsiteY40" fmla="*/ 6995 h 21410"/>
                <a:gd name="connsiteX41" fmla="*/ 9616 w 13693"/>
                <a:gd name="connsiteY41" fmla="*/ 1881 h 21410"/>
                <a:gd name="connsiteX42" fmla="*/ 2877 w 13693"/>
                <a:gd name="connsiteY42" fmla="*/ -649 h 21410"/>
                <a:gd name="connsiteX43" fmla="*/ 936 w 13693"/>
                <a:gd name="connsiteY43" fmla="*/ -485 h 21410"/>
                <a:gd name="connsiteX44" fmla="*/ -904 w 13693"/>
                <a:gd name="connsiteY44" fmla="*/ 164 h 21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3693" h="21410">
                  <a:moveTo>
                    <a:pt x="-904" y="164"/>
                  </a:moveTo>
                  <a:lnTo>
                    <a:pt x="-1272" y="2477"/>
                  </a:lnTo>
                  <a:cubicBezTo>
                    <a:pt x="-1463" y="3633"/>
                    <a:pt x="-1615" y="4421"/>
                    <a:pt x="-1691" y="4822"/>
                  </a:cubicBezTo>
                  <a:lnTo>
                    <a:pt x="-651" y="5140"/>
                  </a:lnTo>
                  <a:lnTo>
                    <a:pt x="644" y="2868"/>
                  </a:lnTo>
                  <a:lnTo>
                    <a:pt x="2294" y="1574"/>
                  </a:lnTo>
                  <a:lnTo>
                    <a:pt x="4299" y="1166"/>
                  </a:lnTo>
                  <a:lnTo>
                    <a:pt x="7078" y="2258"/>
                  </a:lnTo>
                  <a:cubicBezTo>
                    <a:pt x="7789" y="2998"/>
                    <a:pt x="8144" y="4000"/>
                    <a:pt x="8144" y="5270"/>
                  </a:cubicBezTo>
                  <a:cubicBezTo>
                    <a:pt x="8144" y="6589"/>
                    <a:pt x="7738" y="7606"/>
                    <a:pt x="6976" y="8241"/>
                  </a:cubicBezTo>
                  <a:cubicBezTo>
                    <a:pt x="6202" y="8916"/>
                    <a:pt x="5212" y="9243"/>
                    <a:pt x="4020" y="9243"/>
                  </a:cubicBezTo>
                  <a:lnTo>
                    <a:pt x="2217" y="8991"/>
                  </a:lnTo>
                  <a:lnTo>
                    <a:pt x="2014" y="9184"/>
                  </a:lnTo>
                  <a:lnTo>
                    <a:pt x="2065" y="9372"/>
                  </a:lnTo>
                  <a:lnTo>
                    <a:pt x="2332" y="10285"/>
                  </a:lnTo>
                  <a:lnTo>
                    <a:pt x="2598" y="11490"/>
                  </a:lnTo>
                  <a:lnTo>
                    <a:pt x="2763" y="11521"/>
                  </a:lnTo>
                  <a:lnTo>
                    <a:pt x="3880" y="11490"/>
                  </a:lnTo>
                  <a:lnTo>
                    <a:pt x="5530" y="11927"/>
                  </a:lnTo>
                  <a:lnTo>
                    <a:pt x="6773" y="13142"/>
                  </a:lnTo>
                  <a:lnTo>
                    <a:pt x="7243" y="14779"/>
                  </a:lnTo>
                  <a:lnTo>
                    <a:pt x="6380" y="16788"/>
                  </a:lnTo>
                  <a:lnTo>
                    <a:pt x="4096" y="17613"/>
                  </a:lnTo>
                  <a:lnTo>
                    <a:pt x="2446" y="17335"/>
                  </a:lnTo>
                  <a:lnTo>
                    <a:pt x="1355" y="16611"/>
                  </a:lnTo>
                  <a:lnTo>
                    <a:pt x="618" y="15102"/>
                  </a:lnTo>
                  <a:lnTo>
                    <a:pt x="377" y="14438"/>
                  </a:lnTo>
                  <a:lnTo>
                    <a:pt x="-752" y="14527"/>
                  </a:lnTo>
                  <a:lnTo>
                    <a:pt x="-67" y="17652"/>
                  </a:lnTo>
                  <a:lnTo>
                    <a:pt x="187" y="19255"/>
                  </a:lnTo>
                  <a:lnTo>
                    <a:pt x="2433" y="20380"/>
                  </a:lnTo>
                  <a:lnTo>
                    <a:pt x="5200" y="20762"/>
                  </a:lnTo>
                  <a:cubicBezTo>
                    <a:pt x="7002" y="20762"/>
                    <a:pt x="8385" y="20346"/>
                    <a:pt x="9324" y="19468"/>
                  </a:cubicBezTo>
                  <a:cubicBezTo>
                    <a:pt x="10276" y="18629"/>
                    <a:pt x="10771" y="17577"/>
                    <a:pt x="10771" y="16317"/>
                  </a:cubicBezTo>
                  <a:lnTo>
                    <a:pt x="9921" y="13767"/>
                  </a:lnTo>
                  <a:cubicBezTo>
                    <a:pt x="9350" y="13018"/>
                    <a:pt x="8487" y="12343"/>
                    <a:pt x="7332" y="11734"/>
                  </a:cubicBezTo>
                  <a:lnTo>
                    <a:pt x="8271" y="11604"/>
                  </a:lnTo>
                  <a:lnTo>
                    <a:pt x="9756" y="11034"/>
                  </a:lnTo>
                  <a:lnTo>
                    <a:pt x="10987" y="10071"/>
                  </a:lnTo>
                  <a:lnTo>
                    <a:pt x="11761" y="8752"/>
                  </a:lnTo>
                  <a:lnTo>
                    <a:pt x="12002" y="6995"/>
                  </a:lnTo>
                  <a:cubicBezTo>
                    <a:pt x="12002" y="4991"/>
                    <a:pt x="11202" y="3300"/>
                    <a:pt x="9616" y="1881"/>
                  </a:cubicBezTo>
                  <a:cubicBezTo>
                    <a:pt x="7725" y="190"/>
                    <a:pt x="5466" y="-649"/>
                    <a:pt x="2877" y="-649"/>
                  </a:cubicBezTo>
                  <a:lnTo>
                    <a:pt x="936" y="-485"/>
                  </a:lnTo>
                  <a:lnTo>
                    <a:pt x="-904" y="164"/>
                  </a:ln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5" name="Vrije vorm 34">
              <a:extLst>
                <a:ext uri="{FF2B5EF4-FFF2-40B4-BE49-F238E27FC236}">
                  <a16:creationId xmlns:a16="http://schemas.microsoft.com/office/drawing/2014/main" id="{FB9B882E-EDFC-5D68-CB43-FA17A650559C}"/>
                </a:ext>
              </a:extLst>
            </p:cNvPr>
            <p:cNvSpPr/>
            <p:nvPr/>
          </p:nvSpPr>
          <p:spPr>
            <a:xfrm flipV="1">
              <a:off x="6407967" y="3742528"/>
              <a:ext cx="14518" cy="21183"/>
            </a:xfrm>
            <a:custGeom>
              <a:avLst/>
              <a:gdLst>
                <a:gd name="connsiteX0" fmla="*/ 575 w 14518"/>
                <a:gd name="connsiteY0" fmla="*/ 7265 h 21183"/>
                <a:gd name="connsiteX1" fmla="*/ 6096 w 14518"/>
                <a:gd name="connsiteY1" fmla="*/ 7265 h 21183"/>
                <a:gd name="connsiteX2" fmla="*/ 6184 w 14518"/>
                <a:gd name="connsiteY2" fmla="*/ 12881 h 21183"/>
                <a:gd name="connsiteX3" fmla="*/ 6197 w 14518"/>
                <a:gd name="connsiteY3" fmla="*/ 14885 h 21183"/>
                <a:gd name="connsiteX4" fmla="*/ 6261 w 14518"/>
                <a:gd name="connsiteY4" fmla="*/ 17783 h 21183"/>
                <a:gd name="connsiteX5" fmla="*/ 3164 w 14518"/>
                <a:gd name="connsiteY5" fmla="*/ 12574 h 21183"/>
                <a:gd name="connsiteX6" fmla="*/ 575 w 14518"/>
                <a:gd name="connsiteY6" fmla="*/ 7265 h 21183"/>
                <a:gd name="connsiteX7" fmla="*/ 2390 w 14518"/>
                <a:gd name="connsiteY7" fmla="*/ -608 h 21183"/>
                <a:gd name="connsiteX8" fmla="*/ 2390 w 14518"/>
                <a:gd name="connsiteY8" fmla="*/ 652 h 21183"/>
                <a:gd name="connsiteX9" fmla="*/ 5233 w 14518"/>
                <a:gd name="connsiteY9" fmla="*/ 906 h 21183"/>
                <a:gd name="connsiteX10" fmla="*/ 5728 w 14518"/>
                <a:gd name="connsiteY10" fmla="*/ 1119 h 21183"/>
                <a:gd name="connsiteX11" fmla="*/ 5981 w 14518"/>
                <a:gd name="connsiteY11" fmla="*/ 2062 h 21183"/>
                <a:gd name="connsiteX12" fmla="*/ 6096 w 14518"/>
                <a:gd name="connsiteY12" fmla="*/ 4755 h 21183"/>
                <a:gd name="connsiteX13" fmla="*/ 4065 w 14518"/>
                <a:gd name="connsiteY13" fmla="*/ 4755 h 21183"/>
                <a:gd name="connsiteX14" fmla="*/ -1481 w 14518"/>
                <a:gd name="connsiteY14" fmla="*/ 4675 h 21183"/>
                <a:gd name="connsiteX15" fmla="*/ -1684 w 14518"/>
                <a:gd name="connsiteY15" fmla="*/ 5961 h 21183"/>
                <a:gd name="connsiteX16" fmla="*/ 271 w 14518"/>
                <a:gd name="connsiteY16" fmla="*/ 10122 h 21183"/>
                <a:gd name="connsiteX17" fmla="*/ 3900 w 14518"/>
                <a:gd name="connsiteY17" fmla="*/ 16641 h 21183"/>
                <a:gd name="connsiteX18" fmla="*/ 6045 w 14518"/>
                <a:gd name="connsiteY18" fmla="*/ 19842 h 21183"/>
                <a:gd name="connsiteX19" fmla="*/ 7860 w 14518"/>
                <a:gd name="connsiteY19" fmla="*/ 20199 h 21183"/>
                <a:gd name="connsiteX20" fmla="*/ 9903 w 14518"/>
                <a:gd name="connsiteY20" fmla="*/ 20576 h 21183"/>
                <a:gd name="connsiteX21" fmla="*/ 10182 w 14518"/>
                <a:gd name="connsiteY21" fmla="*/ 20313 h 21183"/>
                <a:gd name="connsiteX22" fmla="*/ 10017 w 14518"/>
                <a:gd name="connsiteY22" fmla="*/ 17073 h 21183"/>
                <a:gd name="connsiteX23" fmla="*/ 9903 w 14518"/>
                <a:gd name="connsiteY23" fmla="*/ 10773 h 21183"/>
                <a:gd name="connsiteX24" fmla="*/ 9903 w 14518"/>
                <a:gd name="connsiteY24" fmla="*/ 7265 h 21183"/>
                <a:gd name="connsiteX25" fmla="*/ 10474 w 14518"/>
                <a:gd name="connsiteY25" fmla="*/ 7265 h 21183"/>
                <a:gd name="connsiteX26" fmla="*/ 12644 w 14518"/>
                <a:gd name="connsiteY26" fmla="*/ 7355 h 21183"/>
                <a:gd name="connsiteX27" fmla="*/ 12733 w 14518"/>
                <a:gd name="connsiteY27" fmla="*/ 7166 h 21183"/>
                <a:gd name="connsiteX28" fmla="*/ 12695 w 14518"/>
                <a:gd name="connsiteY28" fmla="*/ 5846 h 21183"/>
                <a:gd name="connsiteX29" fmla="*/ 12733 w 14518"/>
                <a:gd name="connsiteY29" fmla="*/ 4740 h 21183"/>
                <a:gd name="connsiteX30" fmla="*/ 11756 w 14518"/>
                <a:gd name="connsiteY30" fmla="*/ 4755 h 21183"/>
                <a:gd name="connsiteX31" fmla="*/ 9903 w 14518"/>
                <a:gd name="connsiteY31" fmla="*/ 4755 h 21183"/>
                <a:gd name="connsiteX32" fmla="*/ 9979 w 14518"/>
                <a:gd name="connsiteY32" fmla="*/ 1680 h 21183"/>
                <a:gd name="connsiteX33" fmla="*/ 10220 w 14518"/>
                <a:gd name="connsiteY33" fmla="*/ 1119 h 21183"/>
                <a:gd name="connsiteX34" fmla="*/ 10842 w 14518"/>
                <a:gd name="connsiteY34" fmla="*/ 865 h 21183"/>
                <a:gd name="connsiteX35" fmla="*/ 12834 w 14518"/>
                <a:gd name="connsiteY35" fmla="*/ 652 h 21183"/>
                <a:gd name="connsiteX36" fmla="*/ 12834 w 14518"/>
                <a:gd name="connsiteY36" fmla="*/ -608 h 21183"/>
                <a:gd name="connsiteX37" fmla="*/ 11629 w 14518"/>
                <a:gd name="connsiteY37" fmla="*/ -592 h 21183"/>
                <a:gd name="connsiteX38" fmla="*/ 7669 w 14518"/>
                <a:gd name="connsiteY38" fmla="*/ -504 h 21183"/>
                <a:gd name="connsiteX39" fmla="*/ 2390 w 14518"/>
                <a:gd name="connsiteY39" fmla="*/ -608 h 2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518" h="21183">
                  <a:moveTo>
                    <a:pt x="575" y="7265"/>
                  </a:moveTo>
                  <a:lnTo>
                    <a:pt x="6096" y="7265"/>
                  </a:lnTo>
                  <a:lnTo>
                    <a:pt x="6184" y="12881"/>
                  </a:lnTo>
                  <a:lnTo>
                    <a:pt x="6197" y="14885"/>
                  </a:lnTo>
                  <a:lnTo>
                    <a:pt x="6261" y="17783"/>
                  </a:lnTo>
                  <a:cubicBezTo>
                    <a:pt x="4827" y="15436"/>
                    <a:pt x="3786" y="13719"/>
                    <a:pt x="3164" y="12574"/>
                  </a:cubicBezTo>
                  <a:cubicBezTo>
                    <a:pt x="2542" y="11433"/>
                    <a:pt x="1667" y="9692"/>
                    <a:pt x="575" y="7265"/>
                  </a:cubicBezTo>
                  <a:close/>
                  <a:moveTo>
                    <a:pt x="2390" y="-608"/>
                  </a:moveTo>
                  <a:lnTo>
                    <a:pt x="2390" y="652"/>
                  </a:lnTo>
                  <a:cubicBezTo>
                    <a:pt x="4027" y="752"/>
                    <a:pt x="4991" y="841"/>
                    <a:pt x="5233" y="906"/>
                  </a:cubicBezTo>
                  <a:lnTo>
                    <a:pt x="5728" y="1119"/>
                  </a:lnTo>
                  <a:lnTo>
                    <a:pt x="5981" y="2062"/>
                  </a:lnTo>
                  <a:cubicBezTo>
                    <a:pt x="6007" y="2240"/>
                    <a:pt x="6045" y="3129"/>
                    <a:pt x="6096" y="4755"/>
                  </a:cubicBezTo>
                  <a:lnTo>
                    <a:pt x="4065" y="4755"/>
                  </a:lnTo>
                  <a:cubicBezTo>
                    <a:pt x="2200" y="4755"/>
                    <a:pt x="347" y="4725"/>
                    <a:pt x="-1481" y="4675"/>
                  </a:cubicBezTo>
                  <a:lnTo>
                    <a:pt x="-1684" y="5961"/>
                  </a:lnTo>
                  <a:cubicBezTo>
                    <a:pt x="-1417" y="6720"/>
                    <a:pt x="-757" y="8118"/>
                    <a:pt x="271" y="10122"/>
                  </a:cubicBezTo>
                  <a:cubicBezTo>
                    <a:pt x="1692" y="12891"/>
                    <a:pt x="2898" y="15064"/>
                    <a:pt x="3900" y="16641"/>
                  </a:cubicBezTo>
                  <a:cubicBezTo>
                    <a:pt x="4877" y="18229"/>
                    <a:pt x="5588" y="19296"/>
                    <a:pt x="6045" y="19842"/>
                  </a:cubicBezTo>
                  <a:lnTo>
                    <a:pt x="7860" y="20199"/>
                  </a:lnTo>
                  <a:cubicBezTo>
                    <a:pt x="9014" y="20437"/>
                    <a:pt x="9713" y="20576"/>
                    <a:pt x="9903" y="20576"/>
                  </a:cubicBezTo>
                  <a:lnTo>
                    <a:pt x="10182" y="20313"/>
                  </a:lnTo>
                  <a:cubicBezTo>
                    <a:pt x="10106" y="19613"/>
                    <a:pt x="10055" y="18546"/>
                    <a:pt x="10017" y="17073"/>
                  </a:cubicBezTo>
                  <a:cubicBezTo>
                    <a:pt x="9966" y="16121"/>
                    <a:pt x="9954" y="14012"/>
                    <a:pt x="9903" y="10773"/>
                  </a:cubicBezTo>
                  <a:lnTo>
                    <a:pt x="9903" y="7265"/>
                  </a:lnTo>
                  <a:lnTo>
                    <a:pt x="10474" y="7265"/>
                  </a:lnTo>
                  <a:lnTo>
                    <a:pt x="12644" y="7355"/>
                  </a:lnTo>
                  <a:lnTo>
                    <a:pt x="12733" y="7166"/>
                  </a:lnTo>
                  <a:lnTo>
                    <a:pt x="12695" y="5846"/>
                  </a:lnTo>
                  <a:lnTo>
                    <a:pt x="12733" y="4740"/>
                  </a:lnTo>
                  <a:lnTo>
                    <a:pt x="11756" y="4755"/>
                  </a:lnTo>
                  <a:lnTo>
                    <a:pt x="9903" y="4755"/>
                  </a:lnTo>
                  <a:cubicBezTo>
                    <a:pt x="9903" y="3202"/>
                    <a:pt x="9928" y="2200"/>
                    <a:pt x="9979" y="1680"/>
                  </a:cubicBezTo>
                  <a:lnTo>
                    <a:pt x="10220" y="1119"/>
                  </a:lnTo>
                  <a:lnTo>
                    <a:pt x="10842" y="865"/>
                  </a:lnTo>
                  <a:lnTo>
                    <a:pt x="12834" y="652"/>
                  </a:lnTo>
                  <a:lnTo>
                    <a:pt x="12834" y="-608"/>
                  </a:lnTo>
                  <a:lnTo>
                    <a:pt x="11629" y="-592"/>
                  </a:lnTo>
                  <a:lnTo>
                    <a:pt x="7669" y="-504"/>
                  </a:lnTo>
                  <a:lnTo>
                    <a:pt x="2390" y="-608"/>
                  </a:ln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6" name="Vrije vorm 35">
              <a:extLst>
                <a:ext uri="{FF2B5EF4-FFF2-40B4-BE49-F238E27FC236}">
                  <a16:creationId xmlns:a16="http://schemas.microsoft.com/office/drawing/2014/main" id="{F9B66E2B-46A1-1DE3-72FC-643DB3E3F934}"/>
                </a:ext>
              </a:extLst>
            </p:cNvPr>
            <p:cNvSpPr/>
            <p:nvPr/>
          </p:nvSpPr>
          <p:spPr>
            <a:xfrm flipV="1">
              <a:off x="6370403" y="3782746"/>
              <a:ext cx="13655" cy="21297"/>
            </a:xfrm>
            <a:custGeom>
              <a:avLst/>
              <a:gdLst>
                <a:gd name="connsiteX0" fmla="*/ 550 w 13655"/>
                <a:gd name="connsiteY0" fmla="*/ 8695 h 21297"/>
                <a:gd name="connsiteX1" fmla="*/ -59 w 13655"/>
                <a:gd name="connsiteY1" fmla="*/ 9003 h 21297"/>
                <a:gd name="connsiteX2" fmla="*/ 55 w 13655"/>
                <a:gd name="connsiteY2" fmla="*/ 11340 h 21297"/>
                <a:gd name="connsiteX3" fmla="*/ 132 w 13655"/>
                <a:gd name="connsiteY3" fmla="*/ 13816 h 21297"/>
                <a:gd name="connsiteX4" fmla="*/ 132 w 13655"/>
                <a:gd name="connsiteY4" fmla="*/ 15825 h 21297"/>
                <a:gd name="connsiteX5" fmla="*/ 55 w 13655"/>
                <a:gd name="connsiteY5" fmla="*/ 17536 h 21297"/>
                <a:gd name="connsiteX6" fmla="*/ 43 w 13655"/>
                <a:gd name="connsiteY6" fmla="*/ 18896 h 21297"/>
                <a:gd name="connsiteX7" fmla="*/ -8 w 13655"/>
                <a:gd name="connsiteY7" fmla="*/ 19659 h 21297"/>
                <a:gd name="connsiteX8" fmla="*/ -97 w 13655"/>
                <a:gd name="connsiteY8" fmla="*/ 20547 h 21297"/>
                <a:gd name="connsiteX9" fmla="*/ 93 w 13655"/>
                <a:gd name="connsiteY9" fmla="*/ 20726 h 21297"/>
                <a:gd name="connsiteX10" fmla="*/ 6515 w 13655"/>
                <a:gd name="connsiteY10" fmla="*/ 20547 h 21297"/>
                <a:gd name="connsiteX11" fmla="*/ 8139 w 13655"/>
                <a:gd name="connsiteY11" fmla="*/ 20557 h 21297"/>
                <a:gd name="connsiteX12" fmla="*/ 11071 w 13655"/>
                <a:gd name="connsiteY12" fmla="*/ 20726 h 21297"/>
                <a:gd name="connsiteX13" fmla="*/ 11223 w 13655"/>
                <a:gd name="connsiteY13" fmla="*/ 20458 h 21297"/>
                <a:gd name="connsiteX14" fmla="*/ 11033 w 13655"/>
                <a:gd name="connsiteY14" fmla="*/ 18275 h 21297"/>
                <a:gd name="connsiteX15" fmla="*/ 11071 w 13655"/>
                <a:gd name="connsiteY15" fmla="*/ 17218 h 21297"/>
                <a:gd name="connsiteX16" fmla="*/ 10931 w 13655"/>
                <a:gd name="connsiteY16" fmla="*/ 17015 h 21297"/>
                <a:gd name="connsiteX17" fmla="*/ 9573 w 13655"/>
                <a:gd name="connsiteY17" fmla="*/ 17070 h 21297"/>
                <a:gd name="connsiteX18" fmla="*/ 6375 w 13655"/>
                <a:gd name="connsiteY18" fmla="*/ 17119 h 21297"/>
                <a:gd name="connsiteX19" fmla="*/ 1807 w 13655"/>
                <a:gd name="connsiteY19" fmla="*/ 17015 h 21297"/>
                <a:gd name="connsiteX20" fmla="*/ 1680 w 13655"/>
                <a:gd name="connsiteY20" fmla="*/ 12128 h 21297"/>
                <a:gd name="connsiteX21" fmla="*/ 3888 w 13655"/>
                <a:gd name="connsiteY21" fmla="*/ 12942 h 21297"/>
                <a:gd name="connsiteX22" fmla="*/ 5868 w 13655"/>
                <a:gd name="connsiteY22" fmla="*/ 13156 h 21297"/>
                <a:gd name="connsiteX23" fmla="*/ 10335 w 13655"/>
                <a:gd name="connsiteY23" fmla="*/ 11607 h 21297"/>
                <a:gd name="connsiteX24" fmla="*/ 11997 w 13655"/>
                <a:gd name="connsiteY24" fmla="*/ 7466 h 21297"/>
                <a:gd name="connsiteX25" fmla="*/ 10792 w 13655"/>
                <a:gd name="connsiteY25" fmla="*/ 3477 h 21297"/>
                <a:gd name="connsiteX26" fmla="*/ 7213 w 13655"/>
                <a:gd name="connsiteY26" fmla="*/ 341 h 21297"/>
                <a:gd name="connsiteX27" fmla="*/ 2923 w 13655"/>
                <a:gd name="connsiteY27" fmla="*/ -572 h 21297"/>
                <a:gd name="connsiteX28" fmla="*/ 1185 w 13655"/>
                <a:gd name="connsiteY28" fmla="*/ -408 h 21297"/>
                <a:gd name="connsiteX29" fmla="*/ -617 w 13655"/>
                <a:gd name="connsiteY29" fmla="*/ 138 h 21297"/>
                <a:gd name="connsiteX30" fmla="*/ -858 w 13655"/>
                <a:gd name="connsiteY30" fmla="*/ 1507 h 21297"/>
                <a:gd name="connsiteX31" fmla="*/ -1658 w 13655"/>
                <a:gd name="connsiteY31" fmla="*/ 4583 h 21297"/>
                <a:gd name="connsiteX32" fmla="*/ -630 w 13655"/>
                <a:gd name="connsiteY32" fmla="*/ 4940 h 21297"/>
                <a:gd name="connsiteX33" fmla="*/ 563 w 13655"/>
                <a:gd name="connsiteY33" fmla="*/ 2980 h 21297"/>
                <a:gd name="connsiteX34" fmla="*/ 2251 w 13655"/>
                <a:gd name="connsiteY34" fmla="*/ 1726 h 21297"/>
                <a:gd name="connsiteX35" fmla="*/ 4332 w 13655"/>
                <a:gd name="connsiteY35" fmla="*/ 1270 h 21297"/>
                <a:gd name="connsiteX36" fmla="*/ 7137 w 13655"/>
                <a:gd name="connsiteY36" fmla="*/ 2436 h 21297"/>
                <a:gd name="connsiteX37" fmla="*/ 8228 w 13655"/>
                <a:gd name="connsiteY37" fmla="*/ 5561 h 21297"/>
                <a:gd name="connsiteX38" fmla="*/ 7099 w 13655"/>
                <a:gd name="connsiteY38" fmla="*/ 8786 h 21297"/>
                <a:gd name="connsiteX39" fmla="*/ 4053 w 13655"/>
                <a:gd name="connsiteY39" fmla="*/ 9955 h 21297"/>
                <a:gd name="connsiteX40" fmla="*/ 2695 w 13655"/>
                <a:gd name="connsiteY40" fmla="*/ 9793 h 21297"/>
                <a:gd name="connsiteX41" fmla="*/ 1680 w 13655"/>
                <a:gd name="connsiteY41" fmla="*/ 9421 h 21297"/>
                <a:gd name="connsiteX42" fmla="*/ 550 w 13655"/>
                <a:gd name="connsiteY42" fmla="*/ 8695 h 21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3655" h="21297">
                  <a:moveTo>
                    <a:pt x="550" y="8695"/>
                  </a:moveTo>
                  <a:lnTo>
                    <a:pt x="-59" y="9003"/>
                  </a:lnTo>
                  <a:lnTo>
                    <a:pt x="55" y="11340"/>
                  </a:lnTo>
                  <a:lnTo>
                    <a:pt x="132" y="13816"/>
                  </a:lnTo>
                  <a:lnTo>
                    <a:pt x="132" y="15825"/>
                  </a:lnTo>
                  <a:lnTo>
                    <a:pt x="55" y="17536"/>
                  </a:lnTo>
                  <a:lnTo>
                    <a:pt x="43" y="18896"/>
                  </a:lnTo>
                  <a:lnTo>
                    <a:pt x="-8" y="19659"/>
                  </a:lnTo>
                  <a:lnTo>
                    <a:pt x="-97" y="20547"/>
                  </a:lnTo>
                  <a:lnTo>
                    <a:pt x="93" y="20726"/>
                  </a:lnTo>
                  <a:cubicBezTo>
                    <a:pt x="2581" y="20612"/>
                    <a:pt x="4738" y="20547"/>
                    <a:pt x="6515" y="20547"/>
                  </a:cubicBezTo>
                  <a:lnTo>
                    <a:pt x="8139" y="20557"/>
                  </a:lnTo>
                  <a:lnTo>
                    <a:pt x="11071" y="20726"/>
                  </a:lnTo>
                  <a:lnTo>
                    <a:pt x="11223" y="20458"/>
                  </a:lnTo>
                  <a:lnTo>
                    <a:pt x="11033" y="18275"/>
                  </a:lnTo>
                  <a:lnTo>
                    <a:pt x="11071" y="17218"/>
                  </a:lnTo>
                  <a:lnTo>
                    <a:pt x="10931" y="17015"/>
                  </a:lnTo>
                  <a:lnTo>
                    <a:pt x="9573" y="17070"/>
                  </a:lnTo>
                  <a:cubicBezTo>
                    <a:pt x="7924" y="17104"/>
                    <a:pt x="6845" y="17119"/>
                    <a:pt x="6375" y="17119"/>
                  </a:cubicBezTo>
                  <a:cubicBezTo>
                    <a:pt x="4167" y="17119"/>
                    <a:pt x="2670" y="17104"/>
                    <a:pt x="1807" y="17015"/>
                  </a:cubicBezTo>
                  <a:lnTo>
                    <a:pt x="1680" y="12128"/>
                  </a:lnTo>
                  <a:lnTo>
                    <a:pt x="3888" y="12942"/>
                  </a:lnTo>
                  <a:lnTo>
                    <a:pt x="5868" y="13156"/>
                  </a:lnTo>
                  <a:cubicBezTo>
                    <a:pt x="7746" y="13156"/>
                    <a:pt x="9256" y="12659"/>
                    <a:pt x="10335" y="11607"/>
                  </a:cubicBezTo>
                  <a:cubicBezTo>
                    <a:pt x="11452" y="10566"/>
                    <a:pt x="11997" y="9167"/>
                    <a:pt x="11997" y="7466"/>
                  </a:cubicBezTo>
                  <a:cubicBezTo>
                    <a:pt x="11997" y="6096"/>
                    <a:pt x="11591" y="4771"/>
                    <a:pt x="10792" y="3477"/>
                  </a:cubicBezTo>
                  <a:cubicBezTo>
                    <a:pt x="10018" y="2182"/>
                    <a:pt x="8825" y="1140"/>
                    <a:pt x="7213" y="341"/>
                  </a:cubicBezTo>
                  <a:cubicBezTo>
                    <a:pt x="5969" y="-254"/>
                    <a:pt x="4561" y="-572"/>
                    <a:pt x="2923" y="-572"/>
                  </a:cubicBezTo>
                  <a:lnTo>
                    <a:pt x="1185" y="-408"/>
                  </a:lnTo>
                  <a:lnTo>
                    <a:pt x="-617" y="138"/>
                  </a:lnTo>
                  <a:lnTo>
                    <a:pt x="-858" y="1507"/>
                  </a:lnTo>
                  <a:cubicBezTo>
                    <a:pt x="-998" y="1968"/>
                    <a:pt x="-1239" y="2996"/>
                    <a:pt x="-1658" y="4583"/>
                  </a:cubicBezTo>
                  <a:lnTo>
                    <a:pt x="-630" y="4940"/>
                  </a:lnTo>
                  <a:lnTo>
                    <a:pt x="563" y="2980"/>
                  </a:lnTo>
                  <a:lnTo>
                    <a:pt x="2251" y="1726"/>
                  </a:lnTo>
                  <a:lnTo>
                    <a:pt x="4332" y="1270"/>
                  </a:lnTo>
                  <a:lnTo>
                    <a:pt x="7137" y="2436"/>
                  </a:lnTo>
                  <a:cubicBezTo>
                    <a:pt x="7873" y="3199"/>
                    <a:pt x="8228" y="4240"/>
                    <a:pt x="8228" y="5561"/>
                  </a:cubicBezTo>
                  <a:cubicBezTo>
                    <a:pt x="8228" y="6944"/>
                    <a:pt x="7860" y="8026"/>
                    <a:pt x="7099" y="8786"/>
                  </a:cubicBezTo>
                  <a:cubicBezTo>
                    <a:pt x="6375" y="9574"/>
                    <a:pt x="5335" y="9955"/>
                    <a:pt x="4053" y="9955"/>
                  </a:cubicBezTo>
                  <a:lnTo>
                    <a:pt x="2695" y="9793"/>
                  </a:lnTo>
                  <a:lnTo>
                    <a:pt x="1680" y="9421"/>
                  </a:lnTo>
                  <a:lnTo>
                    <a:pt x="550" y="8695"/>
                  </a:ln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7" name="Vrije vorm 36">
              <a:extLst>
                <a:ext uri="{FF2B5EF4-FFF2-40B4-BE49-F238E27FC236}">
                  <a16:creationId xmlns:a16="http://schemas.microsoft.com/office/drawing/2014/main" id="{79130B4D-9751-1181-5685-0A60FB277C4C}"/>
                </a:ext>
              </a:extLst>
            </p:cNvPr>
            <p:cNvSpPr/>
            <p:nvPr/>
          </p:nvSpPr>
          <p:spPr>
            <a:xfrm flipV="1">
              <a:off x="6312445" y="3797986"/>
              <a:ext cx="13604" cy="21410"/>
            </a:xfrm>
            <a:custGeom>
              <a:avLst/>
              <a:gdLst>
                <a:gd name="connsiteX0" fmla="*/ 2417 w 13604"/>
                <a:gd name="connsiteY0" fmla="*/ 6550 h 21410"/>
                <a:gd name="connsiteX1" fmla="*/ 3191 w 13604"/>
                <a:gd name="connsiteY1" fmla="*/ 2472 h 21410"/>
                <a:gd name="connsiteX2" fmla="*/ 5501 w 13604"/>
                <a:gd name="connsiteY2" fmla="*/ 1029 h 21410"/>
                <a:gd name="connsiteX3" fmla="*/ 7468 w 13604"/>
                <a:gd name="connsiteY3" fmla="*/ 2016 h 21410"/>
                <a:gd name="connsiteX4" fmla="*/ 8242 w 13604"/>
                <a:gd name="connsiteY4" fmla="*/ 5360 h 21410"/>
                <a:gd name="connsiteX5" fmla="*/ 7824 w 13604"/>
                <a:gd name="connsiteY5" fmla="*/ 8113 h 21410"/>
                <a:gd name="connsiteX6" fmla="*/ 6669 w 13604"/>
                <a:gd name="connsiteY6" fmla="*/ 9651 h 21410"/>
                <a:gd name="connsiteX7" fmla="*/ 5120 w 13604"/>
                <a:gd name="connsiteY7" fmla="*/ 10147 h 21410"/>
                <a:gd name="connsiteX8" fmla="*/ 3674 w 13604"/>
                <a:gd name="connsiteY8" fmla="*/ 9750 h 21410"/>
                <a:gd name="connsiteX9" fmla="*/ 2709 w 13604"/>
                <a:gd name="connsiteY9" fmla="*/ 8634 h 21410"/>
                <a:gd name="connsiteX10" fmla="*/ 9702 w 13604"/>
                <a:gd name="connsiteY10" fmla="*/ 20853 h 21410"/>
                <a:gd name="connsiteX11" fmla="*/ 10907 w 13604"/>
                <a:gd name="connsiteY11" fmla="*/ 19875 h 21410"/>
                <a:gd name="connsiteX12" fmla="*/ 10438 w 13604"/>
                <a:gd name="connsiteY12" fmla="*/ 19364 h 21410"/>
                <a:gd name="connsiteX13" fmla="*/ 9397 w 13604"/>
                <a:gd name="connsiteY13" fmla="*/ 19429 h 21410"/>
                <a:gd name="connsiteX14" fmla="*/ 6605 w 13604"/>
                <a:gd name="connsiteY14" fmla="*/ 18719 h 21410"/>
                <a:gd name="connsiteX15" fmla="*/ 4410 w 13604"/>
                <a:gd name="connsiteY15" fmla="*/ 16759 h 21410"/>
                <a:gd name="connsiteX16" fmla="*/ 3065 w 13604"/>
                <a:gd name="connsiteY16" fmla="*/ 13982 h 21410"/>
                <a:gd name="connsiteX17" fmla="*/ 2494 w 13604"/>
                <a:gd name="connsiteY17" fmla="*/ 10385 h 21410"/>
                <a:gd name="connsiteX18" fmla="*/ 4765 w 13604"/>
                <a:gd name="connsiteY18" fmla="*/ 12345 h 21410"/>
                <a:gd name="connsiteX19" fmla="*/ 5780 w 13604"/>
                <a:gd name="connsiteY19" fmla="*/ 12687 h 21410"/>
                <a:gd name="connsiteX20" fmla="*/ 7316 w 13604"/>
                <a:gd name="connsiteY20" fmla="*/ 12876 h 21410"/>
                <a:gd name="connsiteX21" fmla="*/ 10514 w 13604"/>
                <a:gd name="connsiteY21" fmla="*/ 11452 h 21410"/>
                <a:gd name="connsiteX22" fmla="*/ 11986 w 13604"/>
                <a:gd name="connsiteY22" fmla="*/ 7007 h 21410"/>
                <a:gd name="connsiteX23" fmla="*/ 10032 w 13604"/>
                <a:gd name="connsiteY23" fmla="*/ 1485 h 21410"/>
                <a:gd name="connsiteX24" fmla="*/ 5159 w 13604"/>
                <a:gd name="connsiteY24" fmla="*/ -558 h 21410"/>
                <a:gd name="connsiteX25" fmla="*/ 1313 w 13604"/>
                <a:gd name="connsiteY25" fmla="*/ 608 h 21410"/>
                <a:gd name="connsiteX26" fmla="*/ -908 w 13604"/>
                <a:gd name="connsiteY26" fmla="*/ 3578 h 21410"/>
                <a:gd name="connsiteX27" fmla="*/ -1618 w 13604"/>
                <a:gd name="connsiteY27" fmla="*/ 8153 h 21410"/>
                <a:gd name="connsiteX28" fmla="*/ -654 w 13604"/>
                <a:gd name="connsiteY28" fmla="*/ 13699 h 21410"/>
                <a:gd name="connsiteX29" fmla="*/ 1948 w 13604"/>
                <a:gd name="connsiteY29" fmla="*/ 17548 h 21410"/>
                <a:gd name="connsiteX30" fmla="*/ 5526 w 13604"/>
                <a:gd name="connsiteY30" fmla="*/ 19989 h 21410"/>
                <a:gd name="connsiteX31" fmla="*/ 9702 w 13604"/>
                <a:gd name="connsiteY31" fmla="*/ 20853 h 21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604" h="21410">
                  <a:moveTo>
                    <a:pt x="2417" y="6550"/>
                  </a:moveTo>
                  <a:cubicBezTo>
                    <a:pt x="2417" y="4809"/>
                    <a:pt x="2659" y="3479"/>
                    <a:pt x="3191" y="2472"/>
                  </a:cubicBezTo>
                  <a:lnTo>
                    <a:pt x="5501" y="1029"/>
                  </a:lnTo>
                  <a:lnTo>
                    <a:pt x="7468" y="2016"/>
                  </a:lnTo>
                  <a:cubicBezTo>
                    <a:pt x="7976" y="2666"/>
                    <a:pt x="8242" y="3783"/>
                    <a:pt x="8242" y="5360"/>
                  </a:cubicBezTo>
                  <a:lnTo>
                    <a:pt x="7824" y="8113"/>
                  </a:lnTo>
                  <a:lnTo>
                    <a:pt x="6669" y="9651"/>
                  </a:lnTo>
                  <a:lnTo>
                    <a:pt x="5120" y="10147"/>
                  </a:lnTo>
                  <a:lnTo>
                    <a:pt x="3674" y="9750"/>
                  </a:lnTo>
                  <a:lnTo>
                    <a:pt x="2709" y="8634"/>
                  </a:lnTo>
                  <a:close/>
                  <a:moveTo>
                    <a:pt x="9702" y="20853"/>
                  </a:moveTo>
                  <a:lnTo>
                    <a:pt x="10907" y="19875"/>
                  </a:lnTo>
                  <a:lnTo>
                    <a:pt x="10438" y="19364"/>
                  </a:lnTo>
                  <a:lnTo>
                    <a:pt x="9397" y="19429"/>
                  </a:lnTo>
                  <a:lnTo>
                    <a:pt x="6605" y="18719"/>
                  </a:lnTo>
                  <a:lnTo>
                    <a:pt x="4410" y="16759"/>
                  </a:lnTo>
                  <a:lnTo>
                    <a:pt x="3065" y="13982"/>
                  </a:lnTo>
                  <a:cubicBezTo>
                    <a:pt x="2836" y="13207"/>
                    <a:pt x="2659" y="12028"/>
                    <a:pt x="2494" y="10385"/>
                  </a:cubicBezTo>
                  <a:cubicBezTo>
                    <a:pt x="3763" y="11541"/>
                    <a:pt x="4499" y="12215"/>
                    <a:pt x="4765" y="12345"/>
                  </a:cubicBezTo>
                  <a:lnTo>
                    <a:pt x="5780" y="12687"/>
                  </a:lnTo>
                  <a:lnTo>
                    <a:pt x="7316" y="12876"/>
                  </a:lnTo>
                  <a:cubicBezTo>
                    <a:pt x="8496" y="12876"/>
                    <a:pt x="9549" y="12419"/>
                    <a:pt x="10514" y="11452"/>
                  </a:cubicBezTo>
                  <a:cubicBezTo>
                    <a:pt x="11491" y="10514"/>
                    <a:pt x="11986" y="9040"/>
                    <a:pt x="11986" y="7007"/>
                  </a:cubicBezTo>
                  <a:cubicBezTo>
                    <a:pt x="11986" y="4710"/>
                    <a:pt x="11339" y="2870"/>
                    <a:pt x="10032" y="1485"/>
                  </a:cubicBezTo>
                  <a:cubicBezTo>
                    <a:pt x="8737" y="101"/>
                    <a:pt x="7100" y="-558"/>
                    <a:pt x="5159" y="-558"/>
                  </a:cubicBezTo>
                  <a:cubicBezTo>
                    <a:pt x="3572" y="-558"/>
                    <a:pt x="2290" y="-182"/>
                    <a:pt x="1313" y="608"/>
                  </a:cubicBezTo>
                  <a:cubicBezTo>
                    <a:pt x="311" y="1371"/>
                    <a:pt x="-438" y="2358"/>
                    <a:pt x="-908" y="3578"/>
                  </a:cubicBezTo>
                  <a:cubicBezTo>
                    <a:pt x="-1390" y="4785"/>
                    <a:pt x="-1618" y="6297"/>
                    <a:pt x="-1618" y="8153"/>
                  </a:cubicBezTo>
                  <a:cubicBezTo>
                    <a:pt x="-1618" y="10350"/>
                    <a:pt x="-1314" y="12215"/>
                    <a:pt x="-654" y="13699"/>
                  </a:cubicBezTo>
                  <a:cubicBezTo>
                    <a:pt x="-32" y="15227"/>
                    <a:pt x="844" y="16497"/>
                    <a:pt x="1948" y="17548"/>
                  </a:cubicBezTo>
                  <a:cubicBezTo>
                    <a:pt x="3039" y="18630"/>
                    <a:pt x="4207" y="19429"/>
                    <a:pt x="5526" y="19989"/>
                  </a:cubicBezTo>
                  <a:cubicBezTo>
                    <a:pt x="6808" y="20559"/>
                    <a:pt x="8204" y="20853"/>
                    <a:pt x="9702" y="20853"/>
                  </a:cubicBez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8" name="Vrije vorm 37">
              <a:extLst>
                <a:ext uri="{FF2B5EF4-FFF2-40B4-BE49-F238E27FC236}">
                  <a16:creationId xmlns:a16="http://schemas.microsoft.com/office/drawing/2014/main" id="{7E554F31-4BEE-90BB-EADA-C698990D99F7}"/>
                </a:ext>
              </a:extLst>
            </p:cNvPr>
            <p:cNvSpPr/>
            <p:nvPr/>
          </p:nvSpPr>
          <p:spPr>
            <a:xfrm flipV="1">
              <a:off x="6265033" y="3788030"/>
              <a:ext cx="14010" cy="20717"/>
            </a:xfrm>
            <a:custGeom>
              <a:avLst/>
              <a:gdLst>
                <a:gd name="connsiteX0" fmla="*/ -165 w 14010"/>
                <a:gd name="connsiteY0" fmla="*/ -567 h 20717"/>
                <a:gd name="connsiteX1" fmla="*/ -330 w 14010"/>
                <a:gd name="connsiteY1" fmla="*/ -219 h 20717"/>
                <a:gd name="connsiteX2" fmla="*/ 4036 w 14010"/>
                <a:gd name="connsiteY2" fmla="*/ 7247 h 20717"/>
                <a:gd name="connsiteX3" fmla="*/ 6930 w 14010"/>
                <a:gd name="connsiteY3" fmla="*/ 12108 h 20717"/>
                <a:gd name="connsiteX4" fmla="*/ 9061 w 14010"/>
                <a:gd name="connsiteY4" fmla="*/ 16062 h 20717"/>
                <a:gd name="connsiteX5" fmla="*/ 8960 w 14010"/>
                <a:gd name="connsiteY5" fmla="*/ 16325 h 20717"/>
                <a:gd name="connsiteX6" fmla="*/ 5051 w 14010"/>
                <a:gd name="connsiteY6" fmla="*/ 16325 h 20717"/>
                <a:gd name="connsiteX7" fmla="*/ 2602 w 14010"/>
                <a:gd name="connsiteY7" fmla="*/ 16301 h 20717"/>
                <a:gd name="connsiteX8" fmla="*/ 698 w 14010"/>
                <a:gd name="connsiteY8" fmla="*/ 16186 h 20717"/>
                <a:gd name="connsiteX9" fmla="*/ 381 w 14010"/>
                <a:gd name="connsiteY9" fmla="*/ 15997 h 20717"/>
                <a:gd name="connsiteX10" fmla="*/ 102 w 14010"/>
                <a:gd name="connsiteY10" fmla="*/ 15502 h 20717"/>
                <a:gd name="connsiteX11" fmla="*/ -330 w 14010"/>
                <a:gd name="connsiteY11" fmla="*/ 12644 h 20717"/>
                <a:gd name="connsiteX12" fmla="*/ -1586 w 14010"/>
                <a:gd name="connsiteY12" fmla="*/ 12669 h 20717"/>
                <a:gd name="connsiteX13" fmla="*/ -1522 w 14010"/>
                <a:gd name="connsiteY13" fmla="*/ 16096 h 20717"/>
                <a:gd name="connsiteX14" fmla="*/ -1586 w 14010"/>
                <a:gd name="connsiteY14" fmla="*/ 19996 h 20717"/>
                <a:gd name="connsiteX15" fmla="*/ -1383 w 14010"/>
                <a:gd name="connsiteY15" fmla="*/ 20150 h 20717"/>
                <a:gd name="connsiteX16" fmla="*/ 2627 w 14010"/>
                <a:gd name="connsiteY16" fmla="*/ 20046 h 20717"/>
                <a:gd name="connsiteX17" fmla="*/ 5825 w 14010"/>
                <a:gd name="connsiteY17" fmla="*/ 19996 h 20717"/>
                <a:gd name="connsiteX18" fmla="*/ 12424 w 14010"/>
                <a:gd name="connsiteY18" fmla="*/ 20101 h 20717"/>
                <a:gd name="connsiteX19" fmla="*/ 12424 w 14010"/>
                <a:gd name="connsiteY19" fmla="*/ 18677 h 20717"/>
                <a:gd name="connsiteX20" fmla="*/ 9556 w 14010"/>
                <a:gd name="connsiteY20" fmla="*/ 13403 h 20717"/>
                <a:gd name="connsiteX21" fmla="*/ 7006 w 14010"/>
                <a:gd name="connsiteY21" fmla="*/ 8239 h 20717"/>
                <a:gd name="connsiteX22" fmla="*/ 4836 w 14010"/>
                <a:gd name="connsiteY22" fmla="*/ 3297 h 20717"/>
                <a:gd name="connsiteX23" fmla="*/ 3338 w 14010"/>
                <a:gd name="connsiteY23" fmla="*/ -567 h 20717"/>
                <a:gd name="connsiteX24" fmla="*/ 1650 w 14010"/>
                <a:gd name="connsiteY24" fmla="*/ -487 h 20717"/>
                <a:gd name="connsiteX25" fmla="*/ -165 w 14010"/>
                <a:gd name="connsiteY25" fmla="*/ -567 h 2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010" h="20717">
                  <a:moveTo>
                    <a:pt x="-165" y="-567"/>
                  </a:moveTo>
                  <a:lnTo>
                    <a:pt x="-330" y="-219"/>
                  </a:lnTo>
                  <a:cubicBezTo>
                    <a:pt x="2120" y="3982"/>
                    <a:pt x="3566" y="6482"/>
                    <a:pt x="4036" y="7247"/>
                  </a:cubicBezTo>
                  <a:cubicBezTo>
                    <a:pt x="5787" y="10193"/>
                    <a:pt x="6765" y="11815"/>
                    <a:pt x="6930" y="12108"/>
                  </a:cubicBezTo>
                  <a:lnTo>
                    <a:pt x="9061" y="16062"/>
                  </a:lnTo>
                  <a:lnTo>
                    <a:pt x="8960" y="16325"/>
                  </a:lnTo>
                  <a:lnTo>
                    <a:pt x="5051" y="16325"/>
                  </a:lnTo>
                  <a:lnTo>
                    <a:pt x="2602" y="16301"/>
                  </a:lnTo>
                  <a:lnTo>
                    <a:pt x="698" y="16186"/>
                  </a:lnTo>
                  <a:lnTo>
                    <a:pt x="381" y="15997"/>
                  </a:lnTo>
                  <a:lnTo>
                    <a:pt x="102" y="15502"/>
                  </a:lnTo>
                  <a:cubicBezTo>
                    <a:pt x="13" y="15135"/>
                    <a:pt x="-127" y="14191"/>
                    <a:pt x="-330" y="12644"/>
                  </a:cubicBezTo>
                  <a:lnTo>
                    <a:pt x="-1586" y="12669"/>
                  </a:lnTo>
                  <a:cubicBezTo>
                    <a:pt x="-1548" y="14038"/>
                    <a:pt x="-1522" y="15169"/>
                    <a:pt x="-1522" y="16096"/>
                  </a:cubicBezTo>
                  <a:cubicBezTo>
                    <a:pt x="-1522" y="17074"/>
                    <a:pt x="-1548" y="18384"/>
                    <a:pt x="-1586" y="19996"/>
                  </a:cubicBezTo>
                  <a:lnTo>
                    <a:pt x="-1383" y="20150"/>
                  </a:lnTo>
                  <a:lnTo>
                    <a:pt x="2627" y="20046"/>
                  </a:lnTo>
                  <a:lnTo>
                    <a:pt x="5825" y="19996"/>
                  </a:lnTo>
                  <a:cubicBezTo>
                    <a:pt x="6574" y="19996"/>
                    <a:pt x="8770" y="20046"/>
                    <a:pt x="12424" y="20101"/>
                  </a:cubicBezTo>
                  <a:lnTo>
                    <a:pt x="12424" y="18677"/>
                  </a:lnTo>
                  <a:cubicBezTo>
                    <a:pt x="10876" y="15908"/>
                    <a:pt x="9924" y="14128"/>
                    <a:pt x="9556" y="13403"/>
                  </a:cubicBezTo>
                  <a:cubicBezTo>
                    <a:pt x="8503" y="11325"/>
                    <a:pt x="7653" y="9593"/>
                    <a:pt x="7006" y="8239"/>
                  </a:cubicBezTo>
                  <a:cubicBezTo>
                    <a:pt x="6358" y="6849"/>
                    <a:pt x="5635" y="5228"/>
                    <a:pt x="4836" y="3297"/>
                  </a:cubicBezTo>
                  <a:cubicBezTo>
                    <a:pt x="4214" y="1800"/>
                    <a:pt x="3719" y="489"/>
                    <a:pt x="3338" y="-567"/>
                  </a:cubicBezTo>
                  <a:lnTo>
                    <a:pt x="1650" y="-487"/>
                  </a:lnTo>
                  <a:lnTo>
                    <a:pt x="-165" y="-567"/>
                  </a:ln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9" name="Vrije vorm 38">
              <a:extLst>
                <a:ext uri="{FF2B5EF4-FFF2-40B4-BE49-F238E27FC236}">
                  <a16:creationId xmlns:a16="http://schemas.microsoft.com/office/drawing/2014/main" id="{88B20F34-B821-04F9-929B-45CBE6D03D6B}"/>
                </a:ext>
              </a:extLst>
            </p:cNvPr>
            <p:cNvSpPr/>
            <p:nvPr/>
          </p:nvSpPr>
          <p:spPr>
            <a:xfrm flipV="1">
              <a:off x="6226491" y="3754782"/>
              <a:ext cx="13604" cy="21410"/>
            </a:xfrm>
            <a:custGeom>
              <a:avLst/>
              <a:gdLst>
                <a:gd name="connsiteX0" fmla="*/ 6639 w 13604"/>
                <a:gd name="connsiteY0" fmla="*/ 12381 h 21410"/>
                <a:gd name="connsiteX1" fmla="*/ 8009 w 13604"/>
                <a:gd name="connsiteY1" fmla="*/ 13870 h 21410"/>
                <a:gd name="connsiteX2" fmla="*/ 8504 w 13604"/>
                <a:gd name="connsiteY2" fmla="*/ 15859 h 21410"/>
                <a:gd name="connsiteX3" fmla="*/ 7616 w 13604"/>
                <a:gd name="connsiteY3" fmla="*/ 18250 h 21410"/>
                <a:gd name="connsiteX4" fmla="*/ 5154 w 13604"/>
                <a:gd name="connsiteY4" fmla="*/ 19153 h 21410"/>
                <a:gd name="connsiteX5" fmla="*/ 3022 w 13604"/>
                <a:gd name="connsiteY5" fmla="*/ 18349 h 21410"/>
                <a:gd name="connsiteX6" fmla="*/ 2210 w 13604"/>
                <a:gd name="connsiteY6" fmla="*/ 16345 h 21410"/>
                <a:gd name="connsiteX7" fmla="*/ 2349 w 13604"/>
                <a:gd name="connsiteY7" fmla="*/ 15457 h 21410"/>
                <a:gd name="connsiteX8" fmla="*/ 2806 w 13604"/>
                <a:gd name="connsiteY8" fmla="*/ 14628 h 21410"/>
                <a:gd name="connsiteX9" fmla="*/ 3555 w 13604"/>
                <a:gd name="connsiteY9" fmla="*/ 13904 h 21410"/>
                <a:gd name="connsiteX10" fmla="*/ 4697 w 13604"/>
                <a:gd name="connsiteY10" fmla="*/ 13245 h 21410"/>
                <a:gd name="connsiteX11" fmla="*/ 5814 w 13604"/>
                <a:gd name="connsiteY11" fmla="*/ 12723 h 21410"/>
                <a:gd name="connsiteX12" fmla="*/ 3441 w 13604"/>
                <a:gd name="connsiteY12" fmla="*/ 9485 h 21410"/>
                <a:gd name="connsiteX13" fmla="*/ 1778 w 13604"/>
                <a:gd name="connsiteY13" fmla="*/ 7604 h 21410"/>
                <a:gd name="connsiteX14" fmla="*/ 1245 w 13604"/>
                <a:gd name="connsiteY14" fmla="*/ 5332 h 21410"/>
                <a:gd name="connsiteX15" fmla="*/ 2387 w 13604"/>
                <a:gd name="connsiteY15" fmla="*/ 2261 h 21410"/>
                <a:gd name="connsiteX16" fmla="*/ 5167 w 13604"/>
                <a:gd name="connsiteY16" fmla="*/ 1066 h 21410"/>
                <a:gd name="connsiteX17" fmla="*/ 7641 w 13604"/>
                <a:gd name="connsiteY17" fmla="*/ 2058 h 21410"/>
                <a:gd name="connsiteX18" fmla="*/ 8618 w 13604"/>
                <a:gd name="connsiteY18" fmla="*/ 4608 h 21410"/>
                <a:gd name="connsiteX19" fmla="*/ 8238 w 13604"/>
                <a:gd name="connsiteY19" fmla="*/ 6463 h 21410"/>
                <a:gd name="connsiteX20" fmla="*/ 6905 w 13604"/>
                <a:gd name="connsiteY20" fmla="*/ 7807 h 21410"/>
                <a:gd name="connsiteX21" fmla="*/ 3859 w 13604"/>
                <a:gd name="connsiteY21" fmla="*/ 9311 h 21410"/>
                <a:gd name="connsiteX22" fmla="*/ 2108 w 13604"/>
                <a:gd name="connsiteY22" fmla="*/ 10084 h 21410"/>
                <a:gd name="connsiteX23" fmla="*/ 281 w 13604"/>
                <a:gd name="connsiteY23" fmla="*/ 11404 h 21410"/>
                <a:gd name="connsiteX24" fmla="*/ -646 w 13604"/>
                <a:gd name="connsiteY24" fmla="*/ 12917 h 21410"/>
                <a:gd name="connsiteX25" fmla="*/ -988 w 13604"/>
                <a:gd name="connsiteY25" fmla="*/ 14946 h 21410"/>
                <a:gd name="connsiteX26" fmla="*/ -100 w 13604"/>
                <a:gd name="connsiteY26" fmla="*/ 18047 h 21410"/>
                <a:gd name="connsiteX27" fmla="*/ 2210 w 13604"/>
                <a:gd name="connsiteY27" fmla="*/ 20106 h 21410"/>
                <a:gd name="connsiteX28" fmla="*/ 5712 w 13604"/>
                <a:gd name="connsiteY28" fmla="*/ 20814 h 21410"/>
                <a:gd name="connsiteX29" fmla="*/ 9722 w 13604"/>
                <a:gd name="connsiteY29" fmla="*/ 19495 h 21410"/>
                <a:gd name="connsiteX30" fmla="*/ 11106 w 13604"/>
                <a:gd name="connsiteY30" fmla="*/ 16296 h 21410"/>
                <a:gd name="connsiteX31" fmla="*/ 10725 w 13604"/>
                <a:gd name="connsiteY31" fmla="*/ 14401 h 21410"/>
                <a:gd name="connsiteX32" fmla="*/ 9570 w 13604"/>
                <a:gd name="connsiteY32" fmla="*/ 12827 h 21410"/>
                <a:gd name="connsiteX33" fmla="*/ 8162 w 13604"/>
                <a:gd name="connsiteY33" fmla="*/ 11811 h 21410"/>
                <a:gd name="connsiteX34" fmla="*/ 10179 w 13604"/>
                <a:gd name="connsiteY34" fmla="*/ 10729 h 21410"/>
                <a:gd name="connsiteX35" fmla="*/ 11271 w 13604"/>
                <a:gd name="connsiteY35" fmla="*/ 9548 h 21410"/>
                <a:gd name="connsiteX36" fmla="*/ 11867 w 13604"/>
                <a:gd name="connsiteY36" fmla="*/ 8140 h 21410"/>
                <a:gd name="connsiteX37" fmla="*/ 12045 w 13604"/>
                <a:gd name="connsiteY37" fmla="*/ 6463 h 21410"/>
                <a:gd name="connsiteX38" fmla="*/ 10966 w 13604"/>
                <a:gd name="connsiteY38" fmla="*/ 2563 h 21410"/>
                <a:gd name="connsiteX39" fmla="*/ 7895 w 13604"/>
                <a:gd name="connsiteY39" fmla="*/ -1 h 21410"/>
                <a:gd name="connsiteX40" fmla="*/ 4608 w 13604"/>
                <a:gd name="connsiteY40" fmla="*/ -597 h 21410"/>
                <a:gd name="connsiteX41" fmla="*/ 1651 w 13604"/>
                <a:gd name="connsiteY41" fmla="*/ -40 h 21410"/>
                <a:gd name="connsiteX42" fmla="*/ 52 w 13604"/>
                <a:gd name="connsiteY42" fmla="*/ 1066 h 21410"/>
                <a:gd name="connsiteX43" fmla="*/ -1128 w 13604"/>
                <a:gd name="connsiteY43" fmla="*/ 2703 h 21410"/>
                <a:gd name="connsiteX44" fmla="*/ -1560 w 13604"/>
                <a:gd name="connsiteY44" fmla="*/ 4980 h 21410"/>
                <a:gd name="connsiteX45" fmla="*/ -1268 w 13604"/>
                <a:gd name="connsiteY45" fmla="*/ 6844 h 21410"/>
                <a:gd name="connsiteX46" fmla="*/ -443 w 13604"/>
                <a:gd name="connsiteY46" fmla="*/ 8303 h 21410"/>
                <a:gd name="connsiteX47" fmla="*/ 687 w 13604"/>
                <a:gd name="connsiteY47" fmla="*/ 9295 h 21410"/>
                <a:gd name="connsiteX48" fmla="*/ 2108 w 13604"/>
                <a:gd name="connsiteY48" fmla="*/ 10084 h 21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3604" h="21410">
                  <a:moveTo>
                    <a:pt x="6639" y="12381"/>
                  </a:moveTo>
                  <a:lnTo>
                    <a:pt x="8009" y="13870"/>
                  </a:lnTo>
                  <a:lnTo>
                    <a:pt x="8504" y="15859"/>
                  </a:lnTo>
                  <a:lnTo>
                    <a:pt x="7616" y="18250"/>
                  </a:lnTo>
                  <a:lnTo>
                    <a:pt x="5154" y="19153"/>
                  </a:lnTo>
                  <a:lnTo>
                    <a:pt x="3022" y="18349"/>
                  </a:lnTo>
                  <a:lnTo>
                    <a:pt x="2210" y="16345"/>
                  </a:lnTo>
                  <a:lnTo>
                    <a:pt x="2349" y="15457"/>
                  </a:lnTo>
                  <a:lnTo>
                    <a:pt x="2806" y="14628"/>
                  </a:lnTo>
                  <a:lnTo>
                    <a:pt x="3555" y="13904"/>
                  </a:lnTo>
                  <a:lnTo>
                    <a:pt x="4697" y="13245"/>
                  </a:lnTo>
                  <a:lnTo>
                    <a:pt x="5814" y="12723"/>
                  </a:lnTo>
                  <a:close/>
                  <a:moveTo>
                    <a:pt x="3441" y="9485"/>
                  </a:moveTo>
                  <a:lnTo>
                    <a:pt x="1778" y="7604"/>
                  </a:lnTo>
                  <a:lnTo>
                    <a:pt x="1245" y="5332"/>
                  </a:lnTo>
                  <a:cubicBezTo>
                    <a:pt x="1245" y="4077"/>
                    <a:pt x="1639" y="3060"/>
                    <a:pt x="2387" y="2261"/>
                  </a:cubicBezTo>
                  <a:lnTo>
                    <a:pt x="5167" y="1066"/>
                  </a:lnTo>
                  <a:lnTo>
                    <a:pt x="7641" y="2058"/>
                  </a:lnTo>
                  <a:lnTo>
                    <a:pt x="8618" y="4608"/>
                  </a:lnTo>
                  <a:lnTo>
                    <a:pt x="8238" y="6463"/>
                  </a:lnTo>
                  <a:lnTo>
                    <a:pt x="6905" y="7807"/>
                  </a:lnTo>
                  <a:cubicBezTo>
                    <a:pt x="6334" y="8189"/>
                    <a:pt x="5306" y="8700"/>
                    <a:pt x="3859" y="9311"/>
                  </a:cubicBezTo>
                  <a:close/>
                  <a:moveTo>
                    <a:pt x="2108" y="10084"/>
                  </a:moveTo>
                  <a:lnTo>
                    <a:pt x="281" y="11404"/>
                  </a:lnTo>
                  <a:lnTo>
                    <a:pt x="-646" y="12917"/>
                  </a:lnTo>
                  <a:lnTo>
                    <a:pt x="-988" y="14946"/>
                  </a:lnTo>
                  <a:cubicBezTo>
                    <a:pt x="-988" y="16116"/>
                    <a:pt x="-684" y="17159"/>
                    <a:pt x="-100" y="18047"/>
                  </a:cubicBezTo>
                  <a:lnTo>
                    <a:pt x="2210" y="20106"/>
                  </a:lnTo>
                  <a:cubicBezTo>
                    <a:pt x="3136" y="20572"/>
                    <a:pt x="4304" y="20814"/>
                    <a:pt x="5712" y="20814"/>
                  </a:cubicBezTo>
                  <a:cubicBezTo>
                    <a:pt x="7438" y="20814"/>
                    <a:pt x="8758" y="20368"/>
                    <a:pt x="9722" y="19495"/>
                  </a:cubicBezTo>
                  <a:cubicBezTo>
                    <a:pt x="10662" y="18617"/>
                    <a:pt x="11106" y="17550"/>
                    <a:pt x="11106" y="16296"/>
                  </a:cubicBezTo>
                  <a:lnTo>
                    <a:pt x="10725" y="14401"/>
                  </a:lnTo>
                  <a:lnTo>
                    <a:pt x="9570" y="12827"/>
                  </a:lnTo>
                  <a:lnTo>
                    <a:pt x="8162" y="11811"/>
                  </a:lnTo>
                  <a:lnTo>
                    <a:pt x="10179" y="10729"/>
                  </a:lnTo>
                  <a:lnTo>
                    <a:pt x="11271" y="9548"/>
                  </a:lnTo>
                  <a:lnTo>
                    <a:pt x="11867" y="8140"/>
                  </a:lnTo>
                  <a:lnTo>
                    <a:pt x="12045" y="6463"/>
                  </a:lnTo>
                  <a:cubicBezTo>
                    <a:pt x="12045" y="4990"/>
                    <a:pt x="11702" y="3695"/>
                    <a:pt x="10966" y="2563"/>
                  </a:cubicBezTo>
                  <a:cubicBezTo>
                    <a:pt x="10230" y="1447"/>
                    <a:pt x="9215" y="584"/>
                    <a:pt x="7895" y="-1"/>
                  </a:cubicBezTo>
                  <a:cubicBezTo>
                    <a:pt x="6969" y="-383"/>
                    <a:pt x="5890" y="-597"/>
                    <a:pt x="4608" y="-597"/>
                  </a:cubicBezTo>
                  <a:cubicBezTo>
                    <a:pt x="3415" y="-597"/>
                    <a:pt x="2438" y="-418"/>
                    <a:pt x="1651" y="-40"/>
                  </a:cubicBezTo>
                  <a:lnTo>
                    <a:pt x="52" y="1066"/>
                  </a:lnTo>
                  <a:lnTo>
                    <a:pt x="-1128" y="2703"/>
                  </a:lnTo>
                  <a:lnTo>
                    <a:pt x="-1560" y="4980"/>
                  </a:lnTo>
                  <a:lnTo>
                    <a:pt x="-1268" y="6844"/>
                  </a:lnTo>
                  <a:lnTo>
                    <a:pt x="-443" y="8303"/>
                  </a:lnTo>
                  <a:lnTo>
                    <a:pt x="687" y="9295"/>
                  </a:lnTo>
                  <a:lnTo>
                    <a:pt x="2108" y="10084"/>
                  </a:ln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0" name="Vrije vorm 39">
              <a:extLst>
                <a:ext uri="{FF2B5EF4-FFF2-40B4-BE49-F238E27FC236}">
                  <a16:creationId xmlns:a16="http://schemas.microsoft.com/office/drawing/2014/main" id="{038FCAD3-B529-6BEF-8862-01C5FABFB397}"/>
                </a:ext>
              </a:extLst>
            </p:cNvPr>
            <p:cNvSpPr/>
            <p:nvPr/>
          </p:nvSpPr>
          <p:spPr>
            <a:xfrm flipV="1">
              <a:off x="6207075" y="3700767"/>
              <a:ext cx="13591" cy="21441"/>
            </a:xfrm>
            <a:custGeom>
              <a:avLst/>
              <a:gdLst>
                <a:gd name="connsiteX0" fmla="*/ 8035 w 13591"/>
                <a:gd name="connsiteY0" fmla="*/ 13667 h 21441"/>
                <a:gd name="connsiteX1" fmla="*/ 7236 w 13591"/>
                <a:gd name="connsiteY1" fmla="*/ 17736 h 21441"/>
                <a:gd name="connsiteX2" fmla="*/ 4913 w 13591"/>
                <a:gd name="connsiteY2" fmla="*/ 19178 h 21441"/>
                <a:gd name="connsiteX3" fmla="*/ 2946 w 13591"/>
                <a:gd name="connsiteY3" fmla="*/ 18192 h 21441"/>
                <a:gd name="connsiteX4" fmla="*/ 2172 w 13591"/>
                <a:gd name="connsiteY4" fmla="*/ 14887 h 21441"/>
                <a:gd name="connsiteX5" fmla="*/ 2616 w 13591"/>
                <a:gd name="connsiteY5" fmla="*/ 12120 h 21441"/>
                <a:gd name="connsiteX6" fmla="*/ 3758 w 13591"/>
                <a:gd name="connsiteY6" fmla="*/ 10572 h 21441"/>
                <a:gd name="connsiteX7" fmla="*/ 5319 w 13591"/>
                <a:gd name="connsiteY7" fmla="*/ 10075 h 21441"/>
                <a:gd name="connsiteX8" fmla="*/ 6753 w 13591"/>
                <a:gd name="connsiteY8" fmla="*/ 10483 h 21441"/>
                <a:gd name="connsiteX9" fmla="*/ 7705 w 13591"/>
                <a:gd name="connsiteY9" fmla="*/ 11599 h 21441"/>
                <a:gd name="connsiteX10" fmla="*/ 725 w 13591"/>
                <a:gd name="connsiteY10" fmla="*/ -645 h 21441"/>
                <a:gd name="connsiteX11" fmla="*/ -493 w 13591"/>
                <a:gd name="connsiteY11" fmla="*/ 372 h 21441"/>
                <a:gd name="connsiteX12" fmla="*/ -125 w 13591"/>
                <a:gd name="connsiteY12" fmla="*/ 943 h 21441"/>
                <a:gd name="connsiteX13" fmla="*/ 992 w 13591"/>
                <a:gd name="connsiteY13" fmla="*/ 779 h 21441"/>
                <a:gd name="connsiteX14" fmla="*/ 3860 w 13591"/>
                <a:gd name="connsiteY14" fmla="*/ 1513 h 21441"/>
                <a:gd name="connsiteX15" fmla="*/ 6043 w 13591"/>
                <a:gd name="connsiteY15" fmla="*/ 3507 h 21441"/>
                <a:gd name="connsiteX16" fmla="*/ 7375 w 13591"/>
                <a:gd name="connsiteY16" fmla="*/ 6251 h 21441"/>
                <a:gd name="connsiteX17" fmla="*/ 7946 w 13591"/>
                <a:gd name="connsiteY17" fmla="*/ 9822 h 21441"/>
                <a:gd name="connsiteX18" fmla="*/ 5903 w 13591"/>
                <a:gd name="connsiteY18" fmla="*/ 8042 h 21441"/>
                <a:gd name="connsiteX19" fmla="*/ 5370 w 13591"/>
                <a:gd name="connsiteY19" fmla="*/ 7714 h 21441"/>
                <a:gd name="connsiteX20" fmla="*/ 3175 w 13591"/>
                <a:gd name="connsiteY20" fmla="*/ 7332 h 21441"/>
                <a:gd name="connsiteX21" fmla="*/ -188 w 13591"/>
                <a:gd name="connsiteY21" fmla="*/ 8870 h 21441"/>
                <a:gd name="connsiteX22" fmla="*/ -1546 w 13591"/>
                <a:gd name="connsiteY22" fmla="*/ 13201 h 21441"/>
                <a:gd name="connsiteX23" fmla="*/ 395 w 13591"/>
                <a:gd name="connsiteY23" fmla="*/ 18723 h 21441"/>
                <a:gd name="connsiteX24" fmla="*/ 5307 w 13591"/>
                <a:gd name="connsiteY24" fmla="*/ 20796 h 21441"/>
                <a:gd name="connsiteX25" fmla="*/ 9114 w 13591"/>
                <a:gd name="connsiteY25" fmla="*/ 19626 h 21441"/>
                <a:gd name="connsiteX26" fmla="*/ 11322 w 13591"/>
                <a:gd name="connsiteY26" fmla="*/ 16654 h 21441"/>
                <a:gd name="connsiteX27" fmla="*/ 12045 w 13591"/>
                <a:gd name="connsiteY27" fmla="*/ 12045 h 21441"/>
                <a:gd name="connsiteX28" fmla="*/ 11094 w 13591"/>
                <a:gd name="connsiteY28" fmla="*/ 6509 h 21441"/>
                <a:gd name="connsiteX29" fmla="*/ 8492 w 13591"/>
                <a:gd name="connsiteY29" fmla="*/ 2658 h 21441"/>
                <a:gd name="connsiteX30" fmla="*/ 4913 w 13591"/>
                <a:gd name="connsiteY30" fmla="*/ 219 h 21441"/>
                <a:gd name="connsiteX31" fmla="*/ 725 w 13591"/>
                <a:gd name="connsiteY31" fmla="*/ -645 h 21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591" h="21441">
                  <a:moveTo>
                    <a:pt x="8035" y="13667"/>
                  </a:moveTo>
                  <a:cubicBezTo>
                    <a:pt x="8035" y="15409"/>
                    <a:pt x="7769" y="16768"/>
                    <a:pt x="7236" y="17736"/>
                  </a:cubicBezTo>
                  <a:lnTo>
                    <a:pt x="4913" y="19178"/>
                  </a:lnTo>
                  <a:lnTo>
                    <a:pt x="2946" y="18192"/>
                  </a:lnTo>
                  <a:cubicBezTo>
                    <a:pt x="2439" y="17541"/>
                    <a:pt x="2172" y="16440"/>
                    <a:pt x="2172" y="14887"/>
                  </a:cubicBezTo>
                  <a:cubicBezTo>
                    <a:pt x="2172" y="13731"/>
                    <a:pt x="2299" y="12818"/>
                    <a:pt x="2616" y="12120"/>
                  </a:cubicBezTo>
                  <a:lnTo>
                    <a:pt x="3758" y="10572"/>
                  </a:lnTo>
                  <a:lnTo>
                    <a:pt x="5319" y="10075"/>
                  </a:lnTo>
                  <a:lnTo>
                    <a:pt x="6753" y="10483"/>
                  </a:lnTo>
                  <a:lnTo>
                    <a:pt x="7705" y="11599"/>
                  </a:lnTo>
                  <a:close/>
                  <a:moveTo>
                    <a:pt x="725" y="-645"/>
                  </a:moveTo>
                  <a:lnTo>
                    <a:pt x="-493" y="372"/>
                  </a:lnTo>
                  <a:lnTo>
                    <a:pt x="-125" y="943"/>
                  </a:lnTo>
                  <a:lnTo>
                    <a:pt x="992" y="779"/>
                  </a:lnTo>
                  <a:lnTo>
                    <a:pt x="3860" y="1513"/>
                  </a:lnTo>
                  <a:lnTo>
                    <a:pt x="6043" y="3507"/>
                  </a:lnTo>
                  <a:lnTo>
                    <a:pt x="7375" y="6251"/>
                  </a:lnTo>
                  <a:cubicBezTo>
                    <a:pt x="7578" y="7030"/>
                    <a:pt x="7769" y="8211"/>
                    <a:pt x="7946" y="9822"/>
                  </a:cubicBezTo>
                  <a:lnTo>
                    <a:pt x="5903" y="8042"/>
                  </a:lnTo>
                  <a:lnTo>
                    <a:pt x="5370" y="7714"/>
                  </a:lnTo>
                  <a:lnTo>
                    <a:pt x="3175" y="7332"/>
                  </a:lnTo>
                  <a:cubicBezTo>
                    <a:pt x="1829" y="7332"/>
                    <a:pt x="725" y="7853"/>
                    <a:pt x="-188" y="8870"/>
                  </a:cubicBezTo>
                  <a:cubicBezTo>
                    <a:pt x="-1089" y="9872"/>
                    <a:pt x="-1546" y="11321"/>
                    <a:pt x="-1546" y="13201"/>
                  </a:cubicBezTo>
                  <a:cubicBezTo>
                    <a:pt x="-1546" y="15513"/>
                    <a:pt x="-912" y="17353"/>
                    <a:pt x="395" y="18723"/>
                  </a:cubicBezTo>
                  <a:cubicBezTo>
                    <a:pt x="1677" y="20097"/>
                    <a:pt x="3301" y="20796"/>
                    <a:pt x="5307" y="20796"/>
                  </a:cubicBezTo>
                  <a:cubicBezTo>
                    <a:pt x="6842" y="20796"/>
                    <a:pt x="8124" y="20399"/>
                    <a:pt x="9114" y="19626"/>
                  </a:cubicBezTo>
                  <a:cubicBezTo>
                    <a:pt x="10129" y="18861"/>
                    <a:pt x="10840" y="17874"/>
                    <a:pt x="11322" y="16654"/>
                  </a:cubicBezTo>
                  <a:cubicBezTo>
                    <a:pt x="11792" y="15433"/>
                    <a:pt x="12045" y="13895"/>
                    <a:pt x="12045" y="12045"/>
                  </a:cubicBezTo>
                  <a:cubicBezTo>
                    <a:pt x="12045" y="9857"/>
                    <a:pt x="11728" y="8006"/>
                    <a:pt x="11094" y="6509"/>
                  </a:cubicBezTo>
                  <a:cubicBezTo>
                    <a:pt x="10459" y="4995"/>
                    <a:pt x="9596" y="3711"/>
                    <a:pt x="8492" y="2658"/>
                  </a:cubicBezTo>
                  <a:cubicBezTo>
                    <a:pt x="7388" y="1593"/>
                    <a:pt x="6182" y="779"/>
                    <a:pt x="4913" y="219"/>
                  </a:cubicBezTo>
                  <a:cubicBezTo>
                    <a:pt x="3606" y="-338"/>
                    <a:pt x="2223" y="-645"/>
                    <a:pt x="725" y="-645"/>
                  </a:cubicBez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1" name="Vrije vorm 40">
              <a:extLst>
                <a:ext uri="{FF2B5EF4-FFF2-40B4-BE49-F238E27FC236}">
                  <a16:creationId xmlns:a16="http://schemas.microsoft.com/office/drawing/2014/main" id="{7D8DC450-E21E-7DE2-0C7E-83A3EFA2EBFD}"/>
                </a:ext>
              </a:extLst>
            </p:cNvPr>
            <p:cNvSpPr/>
            <p:nvPr/>
          </p:nvSpPr>
          <p:spPr>
            <a:xfrm flipV="1">
              <a:off x="6213826" y="3647924"/>
              <a:ext cx="13274" cy="21287"/>
            </a:xfrm>
            <a:custGeom>
              <a:avLst/>
              <a:gdLst>
                <a:gd name="connsiteX0" fmla="*/ -244 w 13274"/>
                <a:gd name="connsiteY0" fmla="*/ -692 h 21287"/>
                <a:gd name="connsiteX1" fmla="*/ -244 w 13274"/>
                <a:gd name="connsiteY1" fmla="*/ 578 h 21287"/>
                <a:gd name="connsiteX2" fmla="*/ 2663 w 13274"/>
                <a:gd name="connsiteY2" fmla="*/ 871 h 21287"/>
                <a:gd name="connsiteX3" fmla="*/ 3373 w 13274"/>
                <a:gd name="connsiteY3" fmla="*/ 1139 h 21287"/>
                <a:gd name="connsiteX4" fmla="*/ 3678 w 13274"/>
                <a:gd name="connsiteY4" fmla="*/ 1977 h 21287"/>
                <a:gd name="connsiteX5" fmla="*/ 3868 w 13274"/>
                <a:gd name="connsiteY5" fmla="*/ 7325 h 21287"/>
                <a:gd name="connsiteX6" fmla="*/ 3868 w 13274"/>
                <a:gd name="connsiteY6" fmla="*/ 11031 h 21287"/>
                <a:gd name="connsiteX7" fmla="*/ 3830 w 13274"/>
                <a:gd name="connsiteY7" fmla="*/ 15174 h 21287"/>
                <a:gd name="connsiteX8" fmla="*/ 3792 w 13274"/>
                <a:gd name="connsiteY8" fmla="*/ 16502 h 21287"/>
                <a:gd name="connsiteX9" fmla="*/ 3703 w 13274"/>
                <a:gd name="connsiteY9" fmla="*/ 17137 h 21287"/>
                <a:gd name="connsiteX10" fmla="*/ 3475 w 13274"/>
                <a:gd name="connsiteY10" fmla="*/ 17292 h 21287"/>
                <a:gd name="connsiteX11" fmla="*/ 2815 w 13274"/>
                <a:gd name="connsiteY11" fmla="*/ 17014 h 21287"/>
                <a:gd name="connsiteX12" fmla="*/ -1056 w 13274"/>
                <a:gd name="connsiteY12" fmla="*/ 15248 h 21287"/>
                <a:gd name="connsiteX13" fmla="*/ -1233 w 13274"/>
                <a:gd name="connsiteY13" fmla="*/ 15362 h 21287"/>
                <a:gd name="connsiteX14" fmla="*/ -1386 w 13274"/>
                <a:gd name="connsiteY14" fmla="*/ 16364 h 21287"/>
                <a:gd name="connsiteX15" fmla="*/ -1551 w 13274"/>
                <a:gd name="connsiteY15" fmla="*/ 17306 h 21287"/>
                <a:gd name="connsiteX16" fmla="*/ -1538 w 13274"/>
                <a:gd name="connsiteY16" fmla="*/ 17405 h 21287"/>
                <a:gd name="connsiteX17" fmla="*/ 2853 w 13274"/>
                <a:gd name="connsiteY17" fmla="*/ 18740 h 21287"/>
                <a:gd name="connsiteX18" fmla="*/ 7929 w 13274"/>
                <a:gd name="connsiteY18" fmla="*/ 20596 h 21287"/>
                <a:gd name="connsiteX19" fmla="*/ 8272 w 13274"/>
                <a:gd name="connsiteY19" fmla="*/ 20353 h 21287"/>
                <a:gd name="connsiteX20" fmla="*/ 8196 w 13274"/>
                <a:gd name="connsiteY20" fmla="*/ 18894 h 21287"/>
                <a:gd name="connsiteX21" fmla="*/ 8081 w 13274"/>
                <a:gd name="connsiteY21" fmla="*/ 17356 h 21287"/>
                <a:gd name="connsiteX22" fmla="*/ 7967 w 13274"/>
                <a:gd name="connsiteY22" fmla="*/ 10485 h 21287"/>
                <a:gd name="connsiteX23" fmla="*/ 7967 w 13274"/>
                <a:gd name="connsiteY23" fmla="*/ 8213 h 21287"/>
                <a:gd name="connsiteX24" fmla="*/ 7993 w 13274"/>
                <a:gd name="connsiteY24" fmla="*/ 3550 h 21287"/>
                <a:gd name="connsiteX25" fmla="*/ 8196 w 13274"/>
                <a:gd name="connsiteY25" fmla="*/ 1238 h 21287"/>
                <a:gd name="connsiteX26" fmla="*/ 8500 w 13274"/>
                <a:gd name="connsiteY26" fmla="*/ 921 h 21287"/>
                <a:gd name="connsiteX27" fmla="*/ 10721 w 13274"/>
                <a:gd name="connsiteY27" fmla="*/ 643 h 21287"/>
                <a:gd name="connsiteX28" fmla="*/ 11724 w 13274"/>
                <a:gd name="connsiteY28" fmla="*/ 578 h 21287"/>
                <a:gd name="connsiteX29" fmla="*/ 11724 w 13274"/>
                <a:gd name="connsiteY29" fmla="*/ -692 h 21287"/>
                <a:gd name="connsiteX30" fmla="*/ 6279 w 13274"/>
                <a:gd name="connsiteY30" fmla="*/ -528 h 21287"/>
                <a:gd name="connsiteX31" fmla="*/ -244 w 13274"/>
                <a:gd name="connsiteY31" fmla="*/ -692 h 21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74" h="21287">
                  <a:moveTo>
                    <a:pt x="-244" y="-692"/>
                  </a:moveTo>
                  <a:lnTo>
                    <a:pt x="-244" y="578"/>
                  </a:lnTo>
                  <a:lnTo>
                    <a:pt x="2663" y="871"/>
                  </a:lnTo>
                  <a:lnTo>
                    <a:pt x="3373" y="1139"/>
                  </a:lnTo>
                  <a:lnTo>
                    <a:pt x="3678" y="1977"/>
                  </a:lnTo>
                  <a:cubicBezTo>
                    <a:pt x="3817" y="2791"/>
                    <a:pt x="3868" y="4582"/>
                    <a:pt x="3868" y="7325"/>
                  </a:cubicBezTo>
                  <a:lnTo>
                    <a:pt x="3868" y="11031"/>
                  </a:lnTo>
                  <a:cubicBezTo>
                    <a:pt x="3868" y="12325"/>
                    <a:pt x="3868" y="13710"/>
                    <a:pt x="3830" y="15174"/>
                  </a:cubicBezTo>
                  <a:lnTo>
                    <a:pt x="3792" y="16502"/>
                  </a:lnTo>
                  <a:lnTo>
                    <a:pt x="3703" y="17137"/>
                  </a:lnTo>
                  <a:lnTo>
                    <a:pt x="3475" y="17292"/>
                  </a:lnTo>
                  <a:lnTo>
                    <a:pt x="2815" y="17014"/>
                  </a:lnTo>
                  <a:cubicBezTo>
                    <a:pt x="772" y="16151"/>
                    <a:pt x="-485" y="15550"/>
                    <a:pt x="-1056" y="15248"/>
                  </a:cubicBezTo>
                  <a:lnTo>
                    <a:pt x="-1233" y="15362"/>
                  </a:lnTo>
                  <a:lnTo>
                    <a:pt x="-1386" y="16364"/>
                  </a:lnTo>
                  <a:lnTo>
                    <a:pt x="-1551" y="17306"/>
                  </a:lnTo>
                  <a:lnTo>
                    <a:pt x="-1538" y="17405"/>
                  </a:lnTo>
                  <a:cubicBezTo>
                    <a:pt x="302" y="17927"/>
                    <a:pt x="1761" y="18373"/>
                    <a:pt x="2853" y="18740"/>
                  </a:cubicBezTo>
                  <a:cubicBezTo>
                    <a:pt x="3932" y="19107"/>
                    <a:pt x="5607" y="19718"/>
                    <a:pt x="7929" y="20596"/>
                  </a:cubicBezTo>
                  <a:lnTo>
                    <a:pt x="8272" y="20353"/>
                  </a:lnTo>
                  <a:lnTo>
                    <a:pt x="8196" y="18894"/>
                  </a:lnTo>
                  <a:lnTo>
                    <a:pt x="8081" y="17356"/>
                  </a:lnTo>
                  <a:cubicBezTo>
                    <a:pt x="8056" y="16453"/>
                    <a:pt x="8018" y="14157"/>
                    <a:pt x="7967" y="10485"/>
                  </a:cubicBezTo>
                  <a:lnTo>
                    <a:pt x="7967" y="8213"/>
                  </a:lnTo>
                  <a:cubicBezTo>
                    <a:pt x="7967" y="5975"/>
                    <a:pt x="7967" y="4428"/>
                    <a:pt x="7993" y="3550"/>
                  </a:cubicBezTo>
                  <a:cubicBezTo>
                    <a:pt x="8031" y="2245"/>
                    <a:pt x="8094" y="1467"/>
                    <a:pt x="8196" y="1238"/>
                  </a:cubicBezTo>
                  <a:lnTo>
                    <a:pt x="8500" y="921"/>
                  </a:lnTo>
                  <a:cubicBezTo>
                    <a:pt x="8754" y="796"/>
                    <a:pt x="9477" y="692"/>
                    <a:pt x="10721" y="643"/>
                  </a:cubicBezTo>
                  <a:lnTo>
                    <a:pt x="11724" y="578"/>
                  </a:lnTo>
                  <a:lnTo>
                    <a:pt x="11724" y="-692"/>
                  </a:lnTo>
                  <a:cubicBezTo>
                    <a:pt x="9477" y="-588"/>
                    <a:pt x="7675" y="-528"/>
                    <a:pt x="6279" y="-528"/>
                  </a:cubicBezTo>
                  <a:cubicBezTo>
                    <a:pt x="5353" y="-528"/>
                    <a:pt x="3158" y="-588"/>
                    <a:pt x="-244" y="-692"/>
                  </a:cubicBez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2" name="Vrije vorm 41">
              <a:extLst>
                <a:ext uri="{FF2B5EF4-FFF2-40B4-BE49-F238E27FC236}">
                  <a16:creationId xmlns:a16="http://schemas.microsoft.com/office/drawing/2014/main" id="{EAEF0198-7F3D-CD69-995C-7095572DB9A7}"/>
                </a:ext>
              </a:extLst>
            </p:cNvPr>
            <p:cNvSpPr/>
            <p:nvPr/>
          </p:nvSpPr>
          <p:spPr>
            <a:xfrm flipV="1">
              <a:off x="6229601" y="3648369"/>
              <a:ext cx="13718" cy="21386"/>
            </a:xfrm>
            <a:custGeom>
              <a:avLst/>
              <a:gdLst>
                <a:gd name="connsiteX0" fmla="*/ 2195 w 13718"/>
                <a:gd name="connsiteY0" fmla="*/ 11754 h 21386"/>
                <a:gd name="connsiteX1" fmla="*/ 2537 w 13718"/>
                <a:gd name="connsiteY1" fmla="*/ 5479 h 21386"/>
                <a:gd name="connsiteX2" fmla="*/ 3680 w 13718"/>
                <a:gd name="connsiteY2" fmla="*/ 1784 h 21386"/>
                <a:gd name="connsiteX3" fmla="*/ 5469 w 13718"/>
                <a:gd name="connsiteY3" fmla="*/ 886 h 21386"/>
                <a:gd name="connsiteX4" fmla="*/ 7537 w 13718"/>
                <a:gd name="connsiteY4" fmla="*/ 2180 h 21386"/>
                <a:gd name="connsiteX5" fmla="*/ 8362 w 13718"/>
                <a:gd name="connsiteY5" fmla="*/ 8391 h 21386"/>
                <a:gd name="connsiteX6" fmla="*/ 7956 w 13718"/>
                <a:gd name="connsiteY6" fmla="*/ 14801 h 21386"/>
                <a:gd name="connsiteX7" fmla="*/ 7347 w 13718"/>
                <a:gd name="connsiteY7" fmla="*/ 17380 h 21386"/>
                <a:gd name="connsiteX8" fmla="*/ 6421 w 13718"/>
                <a:gd name="connsiteY8" fmla="*/ 18635 h 21386"/>
                <a:gd name="connsiteX9" fmla="*/ 5101 w 13718"/>
                <a:gd name="connsiteY9" fmla="*/ 19043 h 21386"/>
                <a:gd name="connsiteX10" fmla="*/ 3629 w 13718"/>
                <a:gd name="connsiteY10" fmla="*/ 18546 h 21386"/>
                <a:gd name="connsiteX11" fmla="*/ 2690 w 13718"/>
                <a:gd name="connsiteY11" fmla="*/ 16834 h 21386"/>
                <a:gd name="connsiteX12" fmla="*/ 2195 w 13718"/>
                <a:gd name="connsiteY12" fmla="*/ 11754 h 21386"/>
                <a:gd name="connsiteX13" fmla="*/ -1562 w 13718"/>
                <a:gd name="connsiteY13" fmla="*/ 9622 h 21386"/>
                <a:gd name="connsiteX14" fmla="*/ -1181 w 13718"/>
                <a:gd name="connsiteY14" fmla="*/ 14538 h 21386"/>
                <a:gd name="connsiteX15" fmla="*/ -293 w 13718"/>
                <a:gd name="connsiteY15" fmla="*/ 17162 h 21386"/>
                <a:gd name="connsiteX16" fmla="*/ 1192 w 13718"/>
                <a:gd name="connsiteY16" fmla="*/ 19147 h 21386"/>
                <a:gd name="connsiteX17" fmla="*/ 3121 w 13718"/>
                <a:gd name="connsiteY17" fmla="*/ 20303 h 21386"/>
                <a:gd name="connsiteX18" fmla="*/ 5494 w 13718"/>
                <a:gd name="connsiteY18" fmla="*/ 20695 h 21386"/>
                <a:gd name="connsiteX19" fmla="*/ 9466 w 13718"/>
                <a:gd name="connsiteY19" fmla="*/ 19588 h 21386"/>
                <a:gd name="connsiteX20" fmla="*/ 11510 w 13718"/>
                <a:gd name="connsiteY20" fmla="*/ 16467 h 21386"/>
                <a:gd name="connsiteX21" fmla="*/ 12157 w 13718"/>
                <a:gd name="connsiteY21" fmla="*/ 10812 h 21386"/>
                <a:gd name="connsiteX22" fmla="*/ 11903 w 13718"/>
                <a:gd name="connsiteY22" fmla="*/ 6367 h 21386"/>
                <a:gd name="connsiteX23" fmla="*/ 10964 w 13718"/>
                <a:gd name="connsiteY23" fmla="*/ 3093 h 21386"/>
                <a:gd name="connsiteX24" fmla="*/ 9466 w 13718"/>
                <a:gd name="connsiteY24" fmla="*/ 945 h 21386"/>
                <a:gd name="connsiteX25" fmla="*/ 7601 w 13718"/>
                <a:gd name="connsiteY25" fmla="*/ -270 h 21386"/>
                <a:gd name="connsiteX26" fmla="*/ 5050 w 13718"/>
                <a:gd name="connsiteY26" fmla="*/ -692 h 21386"/>
                <a:gd name="connsiteX27" fmla="*/ 1992 w 13718"/>
                <a:gd name="connsiteY27" fmla="*/ -7 h 21386"/>
                <a:gd name="connsiteX28" fmla="*/ -128 w 13718"/>
                <a:gd name="connsiteY28" fmla="*/ 1977 h 21386"/>
                <a:gd name="connsiteX29" fmla="*/ -1283 w 13718"/>
                <a:gd name="connsiteY29" fmla="*/ 5242 h 21386"/>
                <a:gd name="connsiteX30" fmla="*/ -1562 w 13718"/>
                <a:gd name="connsiteY30" fmla="*/ 9622 h 21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3718" h="21386">
                  <a:moveTo>
                    <a:pt x="2195" y="11754"/>
                  </a:moveTo>
                  <a:cubicBezTo>
                    <a:pt x="2195" y="9443"/>
                    <a:pt x="2309" y="7374"/>
                    <a:pt x="2537" y="5479"/>
                  </a:cubicBezTo>
                  <a:cubicBezTo>
                    <a:pt x="2778" y="3639"/>
                    <a:pt x="3159" y="2393"/>
                    <a:pt x="3680" y="1784"/>
                  </a:cubicBezTo>
                  <a:lnTo>
                    <a:pt x="5469" y="886"/>
                  </a:lnTo>
                  <a:lnTo>
                    <a:pt x="7537" y="2180"/>
                  </a:lnTo>
                  <a:cubicBezTo>
                    <a:pt x="8096" y="3004"/>
                    <a:pt x="8362" y="5087"/>
                    <a:pt x="8362" y="8391"/>
                  </a:cubicBezTo>
                  <a:cubicBezTo>
                    <a:pt x="8362" y="10549"/>
                    <a:pt x="8223" y="12683"/>
                    <a:pt x="7956" y="14801"/>
                  </a:cubicBezTo>
                  <a:cubicBezTo>
                    <a:pt x="7804" y="15957"/>
                    <a:pt x="7614" y="16810"/>
                    <a:pt x="7347" y="17380"/>
                  </a:cubicBezTo>
                  <a:lnTo>
                    <a:pt x="6421" y="18635"/>
                  </a:lnTo>
                  <a:lnTo>
                    <a:pt x="5101" y="19043"/>
                  </a:lnTo>
                  <a:lnTo>
                    <a:pt x="3629" y="18546"/>
                  </a:lnTo>
                  <a:lnTo>
                    <a:pt x="2690" y="16834"/>
                  </a:lnTo>
                  <a:cubicBezTo>
                    <a:pt x="2347" y="15728"/>
                    <a:pt x="2195" y="14052"/>
                    <a:pt x="2195" y="11754"/>
                  </a:cubicBezTo>
                  <a:close/>
                  <a:moveTo>
                    <a:pt x="-1562" y="9622"/>
                  </a:moveTo>
                  <a:cubicBezTo>
                    <a:pt x="-1562" y="11423"/>
                    <a:pt x="-1435" y="13065"/>
                    <a:pt x="-1181" y="14538"/>
                  </a:cubicBezTo>
                  <a:lnTo>
                    <a:pt x="-293" y="17162"/>
                  </a:lnTo>
                  <a:lnTo>
                    <a:pt x="1192" y="19147"/>
                  </a:lnTo>
                  <a:lnTo>
                    <a:pt x="3121" y="20303"/>
                  </a:lnTo>
                  <a:lnTo>
                    <a:pt x="5494" y="20695"/>
                  </a:lnTo>
                  <a:cubicBezTo>
                    <a:pt x="7182" y="20695"/>
                    <a:pt x="8515" y="20337"/>
                    <a:pt x="9466" y="19588"/>
                  </a:cubicBezTo>
                  <a:cubicBezTo>
                    <a:pt x="10405" y="18854"/>
                    <a:pt x="11091" y="17812"/>
                    <a:pt x="11510" y="16467"/>
                  </a:cubicBezTo>
                  <a:cubicBezTo>
                    <a:pt x="11941" y="15119"/>
                    <a:pt x="12157" y="13229"/>
                    <a:pt x="12157" y="10812"/>
                  </a:cubicBezTo>
                  <a:cubicBezTo>
                    <a:pt x="12157" y="9101"/>
                    <a:pt x="12068" y="7637"/>
                    <a:pt x="11903" y="6367"/>
                  </a:cubicBezTo>
                  <a:cubicBezTo>
                    <a:pt x="11725" y="5087"/>
                    <a:pt x="11421" y="4021"/>
                    <a:pt x="10964" y="3093"/>
                  </a:cubicBezTo>
                  <a:lnTo>
                    <a:pt x="9466" y="945"/>
                  </a:lnTo>
                  <a:lnTo>
                    <a:pt x="7601" y="-270"/>
                  </a:lnTo>
                  <a:lnTo>
                    <a:pt x="5050" y="-692"/>
                  </a:lnTo>
                  <a:cubicBezTo>
                    <a:pt x="3908" y="-692"/>
                    <a:pt x="2867" y="-449"/>
                    <a:pt x="1992" y="-7"/>
                  </a:cubicBezTo>
                  <a:lnTo>
                    <a:pt x="-128" y="1977"/>
                  </a:lnTo>
                  <a:cubicBezTo>
                    <a:pt x="-686" y="2840"/>
                    <a:pt x="-1067" y="3941"/>
                    <a:pt x="-1283" y="5242"/>
                  </a:cubicBezTo>
                  <a:cubicBezTo>
                    <a:pt x="-1460" y="6546"/>
                    <a:pt x="-1562" y="8009"/>
                    <a:pt x="-1562" y="9622"/>
                  </a:cubicBez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3" name="Vrije vorm 42">
              <a:extLst>
                <a:ext uri="{FF2B5EF4-FFF2-40B4-BE49-F238E27FC236}">
                  <a16:creationId xmlns:a16="http://schemas.microsoft.com/office/drawing/2014/main" id="{271F2C3F-AB78-0DA2-0DBA-62DAE85FE498}"/>
                </a:ext>
              </a:extLst>
            </p:cNvPr>
            <p:cNvSpPr/>
            <p:nvPr/>
          </p:nvSpPr>
          <p:spPr>
            <a:xfrm flipV="1">
              <a:off x="6251073" y="3605647"/>
              <a:ext cx="13287" cy="21257"/>
            </a:xfrm>
            <a:custGeom>
              <a:avLst/>
              <a:gdLst>
                <a:gd name="connsiteX0" fmla="*/ -269 w 13287"/>
                <a:gd name="connsiteY0" fmla="*/ -730 h 21257"/>
                <a:gd name="connsiteX1" fmla="*/ -269 w 13287"/>
                <a:gd name="connsiteY1" fmla="*/ 510 h 21257"/>
                <a:gd name="connsiteX2" fmla="*/ 2624 w 13287"/>
                <a:gd name="connsiteY2" fmla="*/ 803 h 21257"/>
                <a:gd name="connsiteX3" fmla="*/ 3323 w 13287"/>
                <a:gd name="connsiteY3" fmla="*/ 1095 h 21257"/>
                <a:gd name="connsiteX4" fmla="*/ 3652 w 13287"/>
                <a:gd name="connsiteY4" fmla="*/ 1924 h 21257"/>
                <a:gd name="connsiteX5" fmla="*/ 3855 w 13287"/>
                <a:gd name="connsiteY5" fmla="*/ 7281 h 21257"/>
                <a:gd name="connsiteX6" fmla="*/ 3855 w 13287"/>
                <a:gd name="connsiteY6" fmla="*/ 10978 h 21257"/>
                <a:gd name="connsiteX7" fmla="*/ 3805 w 13287"/>
                <a:gd name="connsiteY7" fmla="*/ 15115 h 21257"/>
                <a:gd name="connsiteX8" fmla="*/ 3767 w 13287"/>
                <a:gd name="connsiteY8" fmla="*/ 16465 h 21257"/>
                <a:gd name="connsiteX9" fmla="*/ 3665 w 13287"/>
                <a:gd name="connsiteY9" fmla="*/ 17074 h 21257"/>
                <a:gd name="connsiteX10" fmla="*/ 3449 w 13287"/>
                <a:gd name="connsiteY10" fmla="*/ 17224 h 21257"/>
                <a:gd name="connsiteX11" fmla="*/ 2751 w 13287"/>
                <a:gd name="connsiteY11" fmla="*/ 16961 h 21257"/>
                <a:gd name="connsiteX12" fmla="*/ -1069 w 13287"/>
                <a:gd name="connsiteY12" fmla="*/ 15205 h 21257"/>
                <a:gd name="connsiteX13" fmla="*/ -1259 w 13287"/>
                <a:gd name="connsiteY13" fmla="*/ 15309 h 21257"/>
                <a:gd name="connsiteX14" fmla="*/ -1411 w 13287"/>
                <a:gd name="connsiteY14" fmla="*/ 16301 h 21257"/>
                <a:gd name="connsiteX15" fmla="*/ -1576 w 13287"/>
                <a:gd name="connsiteY15" fmla="*/ 17248 h 21257"/>
                <a:gd name="connsiteX16" fmla="*/ -1551 w 13287"/>
                <a:gd name="connsiteY16" fmla="*/ 17352 h 21257"/>
                <a:gd name="connsiteX17" fmla="*/ 2815 w 13287"/>
                <a:gd name="connsiteY17" fmla="*/ 18672 h 21257"/>
                <a:gd name="connsiteX18" fmla="*/ 7891 w 13287"/>
                <a:gd name="connsiteY18" fmla="*/ 20527 h 21257"/>
                <a:gd name="connsiteX19" fmla="*/ 8234 w 13287"/>
                <a:gd name="connsiteY19" fmla="*/ 20285 h 21257"/>
                <a:gd name="connsiteX20" fmla="*/ 8170 w 13287"/>
                <a:gd name="connsiteY20" fmla="*/ 18836 h 21257"/>
                <a:gd name="connsiteX21" fmla="*/ 8056 w 13287"/>
                <a:gd name="connsiteY21" fmla="*/ 17303 h 21257"/>
                <a:gd name="connsiteX22" fmla="*/ 7942 w 13287"/>
                <a:gd name="connsiteY22" fmla="*/ 10432 h 21257"/>
                <a:gd name="connsiteX23" fmla="*/ 7942 w 13287"/>
                <a:gd name="connsiteY23" fmla="*/ 8145 h 21257"/>
                <a:gd name="connsiteX24" fmla="*/ 7954 w 13287"/>
                <a:gd name="connsiteY24" fmla="*/ 3512 h 21257"/>
                <a:gd name="connsiteX25" fmla="*/ 8170 w 13287"/>
                <a:gd name="connsiteY25" fmla="*/ 1185 h 21257"/>
                <a:gd name="connsiteX26" fmla="*/ 8462 w 13287"/>
                <a:gd name="connsiteY26" fmla="*/ 882 h 21257"/>
                <a:gd name="connsiteX27" fmla="*/ 10696 w 13287"/>
                <a:gd name="connsiteY27" fmla="*/ 590 h 21257"/>
                <a:gd name="connsiteX28" fmla="*/ 11711 w 13287"/>
                <a:gd name="connsiteY28" fmla="*/ 510 h 21257"/>
                <a:gd name="connsiteX29" fmla="*/ 11711 w 13287"/>
                <a:gd name="connsiteY29" fmla="*/ -730 h 21257"/>
                <a:gd name="connsiteX30" fmla="*/ 6292 w 13287"/>
                <a:gd name="connsiteY30" fmla="*/ -581 h 21257"/>
                <a:gd name="connsiteX31" fmla="*/ -269 w 13287"/>
                <a:gd name="connsiteY31" fmla="*/ -730 h 2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87" h="21257">
                  <a:moveTo>
                    <a:pt x="-269" y="-730"/>
                  </a:moveTo>
                  <a:lnTo>
                    <a:pt x="-269" y="510"/>
                  </a:lnTo>
                  <a:lnTo>
                    <a:pt x="2624" y="803"/>
                  </a:lnTo>
                  <a:lnTo>
                    <a:pt x="3323" y="1095"/>
                  </a:lnTo>
                  <a:lnTo>
                    <a:pt x="3652" y="1924"/>
                  </a:lnTo>
                  <a:cubicBezTo>
                    <a:pt x="3779" y="2723"/>
                    <a:pt x="3855" y="4514"/>
                    <a:pt x="3855" y="7281"/>
                  </a:cubicBezTo>
                  <a:lnTo>
                    <a:pt x="3855" y="10978"/>
                  </a:lnTo>
                  <a:cubicBezTo>
                    <a:pt x="3855" y="12272"/>
                    <a:pt x="3817" y="13631"/>
                    <a:pt x="3805" y="15115"/>
                  </a:cubicBezTo>
                  <a:lnTo>
                    <a:pt x="3767" y="16465"/>
                  </a:lnTo>
                  <a:lnTo>
                    <a:pt x="3665" y="17074"/>
                  </a:lnTo>
                  <a:lnTo>
                    <a:pt x="3449" y="17224"/>
                  </a:lnTo>
                  <a:lnTo>
                    <a:pt x="2751" y="16961"/>
                  </a:lnTo>
                  <a:cubicBezTo>
                    <a:pt x="772" y="16082"/>
                    <a:pt x="-548" y="15473"/>
                    <a:pt x="-1069" y="15205"/>
                  </a:cubicBezTo>
                  <a:lnTo>
                    <a:pt x="-1259" y="15309"/>
                  </a:lnTo>
                  <a:lnTo>
                    <a:pt x="-1411" y="16301"/>
                  </a:lnTo>
                  <a:lnTo>
                    <a:pt x="-1576" y="17248"/>
                  </a:lnTo>
                  <a:lnTo>
                    <a:pt x="-1551" y="17352"/>
                  </a:lnTo>
                  <a:cubicBezTo>
                    <a:pt x="277" y="17859"/>
                    <a:pt x="1749" y="18320"/>
                    <a:pt x="2815" y="18672"/>
                  </a:cubicBezTo>
                  <a:cubicBezTo>
                    <a:pt x="3919" y="19039"/>
                    <a:pt x="5607" y="19650"/>
                    <a:pt x="7891" y="20527"/>
                  </a:cubicBezTo>
                  <a:lnTo>
                    <a:pt x="8234" y="20285"/>
                  </a:lnTo>
                  <a:lnTo>
                    <a:pt x="8170" y="18836"/>
                  </a:lnTo>
                  <a:lnTo>
                    <a:pt x="8056" y="17303"/>
                  </a:lnTo>
                  <a:cubicBezTo>
                    <a:pt x="8018" y="16415"/>
                    <a:pt x="7980" y="14113"/>
                    <a:pt x="7942" y="10432"/>
                  </a:cubicBezTo>
                  <a:lnTo>
                    <a:pt x="7942" y="8145"/>
                  </a:lnTo>
                  <a:cubicBezTo>
                    <a:pt x="7942" y="5907"/>
                    <a:pt x="7942" y="4374"/>
                    <a:pt x="7954" y="3512"/>
                  </a:cubicBezTo>
                  <a:cubicBezTo>
                    <a:pt x="7980" y="2177"/>
                    <a:pt x="8056" y="1413"/>
                    <a:pt x="8170" y="1185"/>
                  </a:cubicBezTo>
                  <a:lnTo>
                    <a:pt x="8462" y="882"/>
                  </a:lnTo>
                  <a:cubicBezTo>
                    <a:pt x="8716" y="738"/>
                    <a:pt x="9477" y="654"/>
                    <a:pt x="10696" y="590"/>
                  </a:cubicBezTo>
                  <a:lnTo>
                    <a:pt x="11711" y="510"/>
                  </a:lnTo>
                  <a:lnTo>
                    <a:pt x="11711" y="-730"/>
                  </a:lnTo>
                  <a:cubicBezTo>
                    <a:pt x="9477" y="-646"/>
                    <a:pt x="7663" y="-581"/>
                    <a:pt x="6292" y="-581"/>
                  </a:cubicBezTo>
                  <a:cubicBezTo>
                    <a:pt x="5328" y="-581"/>
                    <a:pt x="3132" y="-646"/>
                    <a:pt x="-269" y="-730"/>
                  </a:cubicBez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4" name="Vrije vorm 43">
              <a:extLst>
                <a:ext uri="{FF2B5EF4-FFF2-40B4-BE49-F238E27FC236}">
                  <a16:creationId xmlns:a16="http://schemas.microsoft.com/office/drawing/2014/main" id="{55FDDBC5-5EEA-CE4A-D229-E6935906C579}"/>
                </a:ext>
              </a:extLst>
            </p:cNvPr>
            <p:cNvSpPr/>
            <p:nvPr/>
          </p:nvSpPr>
          <p:spPr>
            <a:xfrm flipV="1">
              <a:off x="6265705" y="3605647"/>
              <a:ext cx="13274" cy="21257"/>
            </a:xfrm>
            <a:custGeom>
              <a:avLst/>
              <a:gdLst>
                <a:gd name="connsiteX0" fmla="*/ -292 w 13274"/>
                <a:gd name="connsiteY0" fmla="*/ -730 h 21257"/>
                <a:gd name="connsiteX1" fmla="*/ -292 w 13274"/>
                <a:gd name="connsiteY1" fmla="*/ 510 h 21257"/>
                <a:gd name="connsiteX2" fmla="*/ 2640 w 13274"/>
                <a:gd name="connsiteY2" fmla="*/ 803 h 21257"/>
                <a:gd name="connsiteX3" fmla="*/ 3325 w 13274"/>
                <a:gd name="connsiteY3" fmla="*/ 1095 h 21257"/>
                <a:gd name="connsiteX4" fmla="*/ 3642 w 13274"/>
                <a:gd name="connsiteY4" fmla="*/ 1924 h 21257"/>
                <a:gd name="connsiteX5" fmla="*/ 3833 w 13274"/>
                <a:gd name="connsiteY5" fmla="*/ 7281 h 21257"/>
                <a:gd name="connsiteX6" fmla="*/ 3833 w 13274"/>
                <a:gd name="connsiteY6" fmla="*/ 10978 h 21257"/>
                <a:gd name="connsiteX7" fmla="*/ 3807 w 13274"/>
                <a:gd name="connsiteY7" fmla="*/ 15115 h 21257"/>
                <a:gd name="connsiteX8" fmla="*/ 3769 w 13274"/>
                <a:gd name="connsiteY8" fmla="*/ 16465 h 21257"/>
                <a:gd name="connsiteX9" fmla="*/ 3680 w 13274"/>
                <a:gd name="connsiteY9" fmla="*/ 17074 h 21257"/>
                <a:gd name="connsiteX10" fmla="*/ 3439 w 13274"/>
                <a:gd name="connsiteY10" fmla="*/ 17224 h 21257"/>
                <a:gd name="connsiteX11" fmla="*/ 2767 w 13274"/>
                <a:gd name="connsiteY11" fmla="*/ 16961 h 21257"/>
                <a:gd name="connsiteX12" fmla="*/ -1079 w 13274"/>
                <a:gd name="connsiteY12" fmla="*/ 15205 h 21257"/>
                <a:gd name="connsiteX13" fmla="*/ -1269 w 13274"/>
                <a:gd name="connsiteY13" fmla="*/ 15309 h 21257"/>
                <a:gd name="connsiteX14" fmla="*/ -1434 w 13274"/>
                <a:gd name="connsiteY14" fmla="*/ 16301 h 21257"/>
                <a:gd name="connsiteX15" fmla="*/ -1586 w 13274"/>
                <a:gd name="connsiteY15" fmla="*/ 17248 h 21257"/>
                <a:gd name="connsiteX16" fmla="*/ -1561 w 13274"/>
                <a:gd name="connsiteY16" fmla="*/ 17352 h 21257"/>
                <a:gd name="connsiteX17" fmla="*/ 2805 w 13274"/>
                <a:gd name="connsiteY17" fmla="*/ 18672 h 21257"/>
                <a:gd name="connsiteX18" fmla="*/ 7919 w 13274"/>
                <a:gd name="connsiteY18" fmla="*/ 20527 h 21257"/>
                <a:gd name="connsiteX19" fmla="*/ 8236 w 13274"/>
                <a:gd name="connsiteY19" fmla="*/ 20285 h 21257"/>
                <a:gd name="connsiteX20" fmla="*/ 8135 w 13274"/>
                <a:gd name="connsiteY20" fmla="*/ 18836 h 21257"/>
                <a:gd name="connsiteX21" fmla="*/ 8059 w 13274"/>
                <a:gd name="connsiteY21" fmla="*/ 17303 h 21257"/>
                <a:gd name="connsiteX22" fmla="*/ 7919 w 13274"/>
                <a:gd name="connsiteY22" fmla="*/ 10432 h 21257"/>
                <a:gd name="connsiteX23" fmla="*/ 7919 w 13274"/>
                <a:gd name="connsiteY23" fmla="*/ 8145 h 21257"/>
                <a:gd name="connsiteX24" fmla="*/ 7970 w 13274"/>
                <a:gd name="connsiteY24" fmla="*/ 3512 h 21257"/>
                <a:gd name="connsiteX25" fmla="*/ 8160 w 13274"/>
                <a:gd name="connsiteY25" fmla="*/ 1185 h 21257"/>
                <a:gd name="connsiteX26" fmla="*/ 8478 w 13274"/>
                <a:gd name="connsiteY26" fmla="*/ 882 h 21257"/>
                <a:gd name="connsiteX27" fmla="*/ 10698 w 13274"/>
                <a:gd name="connsiteY27" fmla="*/ 590 h 21257"/>
                <a:gd name="connsiteX28" fmla="*/ 11688 w 13274"/>
                <a:gd name="connsiteY28" fmla="*/ 510 h 21257"/>
                <a:gd name="connsiteX29" fmla="*/ 11688 w 13274"/>
                <a:gd name="connsiteY29" fmla="*/ -730 h 21257"/>
                <a:gd name="connsiteX30" fmla="*/ 6257 w 13274"/>
                <a:gd name="connsiteY30" fmla="*/ -581 h 21257"/>
                <a:gd name="connsiteX31" fmla="*/ -292 w 13274"/>
                <a:gd name="connsiteY31" fmla="*/ -730 h 2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274" h="21257">
                  <a:moveTo>
                    <a:pt x="-292" y="-730"/>
                  </a:moveTo>
                  <a:lnTo>
                    <a:pt x="-292" y="510"/>
                  </a:lnTo>
                  <a:lnTo>
                    <a:pt x="2640" y="803"/>
                  </a:lnTo>
                  <a:lnTo>
                    <a:pt x="3325" y="1095"/>
                  </a:lnTo>
                  <a:lnTo>
                    <a:pt x="3642" y="1924"/>
                  </a:lnTo>
                  <a:cubicBezTo>
                    <a:pt x="3769" y="2723"/>
                    <a:pt x="3833" y="4514"/>
                    <a:pt x="3833" y="7281"/>
                  </a:cubicBezTo>
                  <a:lnTo>
                    <a:pt x="3833" y="10978"/>
                  </a:lnTo>
                  <a:cubicBezTo>
                    <a:pt x="3833" y="12272"/>
                    <a:pt x="3833" y="13631"/>
                    <a:pt x="3807" y="15115"/>
                  </a:cubicBezTo>
                  <a:lnTo>
                    <a:pt x="3769" y="16465"/>
                  </a:lnTo>
                  <a:lnTo>
                    <a:pt x="3680" y="17074"/>
                  </a:lnTo>
                  <a:lnTo>
                    <a:pt x="3439" y="17224"/>
                  </a:lnTo>
                  <a:lnTo>
                    <a:pt x="2767" y="16961"/>
                  </a:lnTo>
                  <a:cubicBezTo>
                    <a:pt x="736" y="16082"/>
                    <a:pt x="-520" y="15473"/>
                    <a:pt x="-1079" y="15205"/>
                  </a:cubicBezTo>
                  <a:lnTo>
                    <a:pt x="-1269" y="15309"/>
                  </a:lnTo>
                  <a:lnTo>
                    <a:pt x="-1434" y="16301"/>
                  </a:lnTo>
                  <a:lnTo>
                    <a:pt x="-1586" y="17248"/>
                  </a:lnTo>
                  <a:lnTo>
                    <a:pt x="-1561" y="17352"/>
                  </a:lnTo>
                  <a:cubicBezTo>
                    <a:pt x="254" y="17859"/>
                    <a:pt x="1726" y="18320"/>
                    <a:pt x="2805" y="18672"/>
                  </a:cubicBezTo>
                  <a:cubicBezTo>
                    <a:pt x="3896" y="19039"/>
                    <a:pt x="5597" y="19650"/>
                    <a:pt x="7919" y="20527"/>
                  </a:cubicBezTo>
                  <a:lnTo>
                    <a:pt x="8236" y="20285"/>
                  </a:lnTo>
                  <a:lnTo>
                    <a:pt x="8135" y="18836"/>
                  </a:lnTo>
                  <a:lnTo>
                    <a:pt x="8059" y="17303"/>
                  </a:lnTo>
                  <a:cubicBezTo>
                    <a:pt x="8021" y="16415"/>
                    <a:pt x="7970" y="14113"/>
                    <a:pt x="7919" y="10432"/>
                  </a:cubicBezTo>
                  <a:lnTo>
                    <a:pt x="7919" y="8145"/>
                  </a:lnTo>
                  <a:cubicBezTo>
                    <a:pt x="7919" y="5907"/>
                    <a:pt x="7932" y="4374"/>
                    <a:pt x="7970" y="3512"/>
                  </a:cubicBezTo>
                  <a:cubicBezTo>
                    <a:pt x="7995" y="2177"/>
                    <a:pt x="8059" y="1413"/>
                    <a:pt x="8160" y="1185"/>
                  </a:cubicBezTo>
                  <a:lnTo>
                    <a:pt x="8478" y="882"/>
                  </a:lnTo>
                  <a:cubicBezTo>
                    <a:pt x="8719" y="738"/>
                    <a:pt x="9455" y="654"/>
                    <a:pt x="10698" y="590"/>
                  </a:cubicBezTo>
                  <a:lnTo>
                    <a:pt x="11688" y="510"/>
                  </a:lnTo>
                  <a:lnTo>
                    <a:pt x="11688" y="-730"/>
                  </a:lnTo>
                  <a:cubicBezTo>
                    <a:pt x="9467" y="-646"/>
                    <a:pt x="7653" y="-581"/>
                    <a:pt x="6257" y="-581"/>
                  </a:cubicBezTo>
                  <a:cubicBezTo>
                    <a:pt x="5318" y="-581"/>
                    <a:pt x="3147" y="-646"/>
                    <a:pt x="-292" y="-730"/>
                  </a:cubicBez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5" name="Vrije vorm 44">
              <a:extLst>
                <a:ext uri="{FF2B5EF4-FFF2-40B4-BE49-F238E27FC236}">
                  <a16:creationId xmlns:a16="http://schemas.microsoft.com/office/drawing/2014/main" id="{E7478369-74A7-B4AD-67E0-D37D09C6B370}"/>
                </a:ext>
              </a:extLst>
            </p:cNvPr>
            <p:cNvSpPr/>
            <p:nvPr/>
          </p:nvSpPr>
          <p:spPr>
            <a:xfrm flipV="1">
              <a:off x="6310846" y="3634758"/>
              <a:ext cx="19137" cy="60488"/>
            </a:xfrm>
            <a:custGeom>
              <a:avLst/>
              <a:gdLst>
                <a:gd name="connsiteX0" fmla="*/ 3673 w 19137"/>
                <a:gd name="connsiteY0" fmla="*/ -686 h 60488"/>
                <a:gd name="connsiteX1" fmla="*/ 2391 w 19137"/>
                <a:gd name="connsiteY1" fmla="*/ 36044 h 60488"/>
                <a:gd name="connsiteX2" fmla="*/ 2277 w 19137"/>
                <a:gd name="connsiteY2" fmla="*/ 47817 h 60488"/>
                <a:gd name="connsiteX3" fmla="*/ 2391 w 19137"/>
                <a:gd name="connsiteY3" fmla="*/ 38446 h 60488"/>
                <a:gd name="connsiteX4" fmla="*/ 3787 w 19137"/>
                <a:gd name="connsiteY4" fmla="*/ -637 h 60488"/>
                <a:gd name="connsiteX5" fmla="*/ 3673 w 19137"/>
                <a:gd name="connsiteY5" fmla="*/ -686 h 60488"/>
                <a:gd name="connsiteX6" fmla="*/ 11122 w 19137"/>
                <a:gd name="connsiteY6" fmla="*/ -150 h 60488"/>
                <a:gd name="connsiteX7" fmla="*/ 11033 w 19137"/>
                <a:gd name="connsiteY7" fmla="*/ -140 h 60488"/>
                <a:gd name="connsiteX8" fmla="*/ 12290 w 19137"/>
                <a:gd name="connsiteY8" fmla="*/ 34418 h 60488"/>
                <a:gd name="connsiteX9" fmla="*/ 12493 w 19137"/>
                <a:gd name="connsiteY9" fmla="*/ 43943 h 60488"/>
                <a:gd name="connsiteX10" fmla="*/ 12506 w 19137"/>
                <a:gd name="connsiteY10" fmla="*/ 41377 h 60488"/>
                <a:gd name="connsiteX11" fmla="*/ 12290 w 19137"/>
                <a:gd name="connsiteY11" fmla="*/ 31992 h 60488"/>
                <a:gd name="connsiteX12" fmla="*/ 11122 w 19137"/>
                <a:gd name="connsiteY12" fmla="*/ -150 h 60488"/>
                <a:gd name="connsiteX13" fmla="*/ -1619 w 19137"/>
                <a:gd name="connsiteY13" fmla="*/ 56008 h 60488"/>
                <a:gd name="connsiteX14" fmla="*/ -1213 w 19137"/>
                <a:gd name="connsiteY14" fmla="*/ 56796 h 60488"/>
                <a:gd name="connsiteX15" fmla="*/ -1086 w 19137"/>
                <a:gd name="connsiteY15" fmla="*/ 56796 h 60488"/>
                <a:gd name="connsiteX16" fmla="*/ -1061 w 19137"/>
                <a:gd name="connsiteY16" fmla="*/ 56935 h 60488"/>
                <a:gd name="connsiteX17" fmla="*/ -947 w 19137"/>
                <a:gd name="connsiteY17" fmla="*/ 57293 h 60488"/>
                <a:gd name="connsiteX18" fmla="*/ -236 w 19137"/>
                <a:gd name="connsiteY18" fmla="*/ 58508 h 60488"/>
                <a:gd name="connsiteX19" fmla="*/ -122 w 19137"/>
                <a:gd name="connsiteY19" fmla="*/ 58522 h 60488"/>
                <a:gd name="connsiteX20" fmla="*/ 2594 w 19137"/>
                <a:gd name="connsiteY20" fmla="*/ 58647 h 60488"/>
                <a:gd name="connsiteX21" fmla="*/ 2404 w 19137"/>
                <a:gd name="connsiteY21" fmla="*/ 56236 h 60488"/>
                <a:gd name="connsiteX22" fmla="*/ -122 w 19137"/>
                <a:gd name="connsiteY22" fmla="*/ 56112 h 60488"/>
                <a:gd name="connsiteX23" fmla="*/ -1619 w 19137"/>
                <a:gd name="connsiteY23" fmla="*/ 56008 h 60488"/>
                <a:gd name="connsiteX24" fmla="*/ 13191 w 19137"/>
                <a:gd name="connsiteY24" fmla="*/ 57366 h 60488"/>
                <a:gd name="connsiteX25" fmla="*/ 12455 w 19137"/>
                <a:gd name="connsiteY25" fmla="*/ 57416 h 60488"/>
                <a:gd name="connsiteX26" fmla="*/ 12455 w 19137"/>
                <a:gd name="connsiteY26" fmla="*/ 57545 h 60488"/>
                <a:gd name="connsiteX27" fmla="*/ 12290 w 19137"/>
                <a:gd name="connsiteY27" fmla="*/ 59802 h 60488"/>
                <a:gd name="connsiteX28" fmla="*/ 13191 w 19137"/>
                <a:gd name="connsiteY28" fmla="*/ 59753 h 60488"/>
                <a:gd name="connsiteX29" fmla="*/ 16097 w 19137"/>
                <a:gd name="connsiteY29" fmla="*/ 59768 h 60488"/>
                <a:gd name="connsiteX30" fmla="*/ 16325 w 19137"/>
                <a:gd name="connsiteY30" fmla="*/ 59792 h 60488"/>
                <a:gd name="connsiteX31" fmla="*/ 16617 w 19137"/>
                <a:gd name="connsiteY31" fmla="*/ 59247 h 60488"/>
                <a:gd name="connsiteX32" fmla="*/ 17518 w 19137"/>
                <a:gd name="connsiteY32" fmla="*/ 57457 h 60488"/>
                <a:gd name="connsiteX33" fmla="*/ 16097 w 19137"/>
                <a:gd name="connsiteY33" fmla="*/ 57382 h 60488"/>
                <a:gd name="connsiteX34" fmla="*/ 13191 w 19137"/>
                <a:gd name="connsiteY34" fmla="*/ 57366 h 6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9137" h="60488">
                  <a:moveTo>
                    <a:pt x="3673" y="-686"/>
                  </a:moveTo>
                  <a:cubicBezTo>
                    <a:pt x="3140" y="11459"/>
                    <a:pt x="2455" y="32552"/>
                    <a:pt x="2391" y="36044"/>
                  </a:cubicBezTo>
                  <a:cubicBezTo>
                    <a:pt x="2366" y="38074"/>
                    <a:pt x="2264" y="43154"/>
                    <a:pt x="2277" y="47817"/>
                  </a:cubicBezTo>
                  <a:cubicBezTo>
                    <a:pt x="2290" y="43917"/>
                    <a:pt x="2366" y="40133"/>
                    <a:pt x="2391" y="38446"/>
                  </a:cubicBezTo>
                  <a:cubicBezTo>
                    <a:pt x="2467" y="34720"/>
                    <a:pt x="3241" y="10897"/>
                    <a:pt x="3787" y="-637"/>
                  </a:cubicBezTo>
                  <a:cubicBezTo>
                    <a:pt x="3749" y="-661"/>
                    <a:pt x="3711" y="-671"/>
                    <a:pt x="3673" y="-686"/>
                  </a:cubicBezTo>
                  <a:moveTo>
                    <a:pt x="11122" y="-150"/>
                  </a:moveTo>
                  <a:cubicBezTo>
                    <a:pt x="11097" y="-150"/>
                    <a:pt x="11072" y="-140"/>
                    <a:pt x="11033" y="-140"/>
                  </a:cubicBezTo>
                  <a:cubicBezTo>
                    <a:pt x="11427" y="10834"/>
                    <a:pt x="12176" y="32130"/>
                    <a:pt x="12290" y="34418"/>
                  </a:cubicBezTo>
                  <a:cubicBezTo>
                    <a:pt x="12391" y="36020"/>
                    <a:pt x="12455" y="40003"/>
                    <a:pt x="12493" y="43943"/>
                  </a:cubicBezTo>
                  <a:cubicBezTo>
                    <a:pt x="12493" y="42712"/>
                    <a:pt x="12493" y="41759"/>
                    <a:pt x="12506" y="41377"/>
                  </a:cubicBezTo>
                  <a:cubicBezTo>
                    <a:pt x="12556" y="38267"/>
                    <a:pt x="12480" y="35117"/>
                    <a:pt x="12290" y="31992"/>
                  </a:cubicBezTo>
                  <a:cubicBezTo>
                    <a:pt x="12188" y="29884"/>
                    <a:pt x="11528" y="11255"/>
                    <a:pt x="11122" y="-150"/>
                  </a:cubicBezTo>
                  <a:moveTo>
                    <a:pt x="-1619" y="56008"/>
                  </a:moveTo>
                  <a:lnTo>
                    <a:pt x="-1213" y="56796"/>
                  </a:lnTo>
                  <a:lnTo>
                    <a:pt x="-1086" y="56796"/>
                  </a:lnTo>
                  <a:lnTo>
                    <a:pt x="-1061" y="56935"/>
                  </a:lnTo>
                  <a:lnTo>
                    <a:pt x="-947" y="57293"/>
                  </a:lnTo>
                  <a:cubicBezTo>
                    <a:pt x="-718" y="57699"/>
                    <a:pt x="-477" y="58100"/>
                    <a:pt x="-236" y="58508"/>
                  </a:cubicBezTo>
                  <a:lnTo>
                    <a:pt x="-122" y="58522"/>
                  </a:lnTo>
                  <a:lnTo>
                    <a:pt x="2594" y="58647"/>
                  </a:lnTo>
                  <a:cubicBezTo>
                    <a:pt x="2518" y="58066"/>
                    <a:pt x="2455" y="57238"/>
                    <a:pt x="2404" y="56236"/>
                  </a:cubicBezTo>
                  <a:lnTo>
                    <a:pt x="-122" y="56112"/>
                  </a:lnTo>
                  <a:lnTo>
                    <a:pt x="-1619" y="56008"/>
                  </a:lnTo>
                  <a:moveTo>
                    <a:pt x="13191" y="57366"/>
                  </a:moveTo>
                  <a:lnTo>
                    <a:pt x="12455" y="57416"/>
                  </a:lnTo>
                  <a:cubicBezTo>
                    <a:pt x="12455" y="57457"/>
                    <a:pt x="12455" y="57506"/>
                    <a:pt x="12455" y="57545"/>
                  </a:cubicBezTo>
                  <a:lnTo>
                    <a:pt x="12290" y="59802"/>
                  </a:lnTo>
                  <a:lnTo>
                    <a:pt x="13191" y="59753"/>
                  </a:lnTo>
                  <a:lnTo>
                    <a:pt x="16097" y="59768"/>
                  </a:lnTo>
                  <a:lnTo>
                    <a:pt x="16325" y="59792"/>
                  </a:lnTo>
                  <a:cubicBezTo>
                    <a:pt x="16427" y="59599"/>
                    <a:pt x="16516" y="59425"/>
                    <a:pt x="16617" y="59247"/>
                  </a:cubicBezTo>
                  <a:lnTo>
                    <a:pt x="17518" y="57457"/>
                  </a:lnTo>
                  <a:lnTo>
                    <a:pt x="16097" y="57382"/>
                  </a:lnTo>
                  <a:lnTo>
                    <a:pt x="13191" y="57366"/>
                  </a:lnTo>
                </a:path>
              </a:pathLst>
            </a:custGeom>
            <a:solidFill>
              <a:srgbClr val="E6C75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6" name="Vrije vorm 45">
              <a:extLst>
                <a:ext uri="{FF2B5EF4-FFF2-40B4-BE49-F238E27FC236}">
                  <a16:creationId xmlns:a16="http://schemas.microsoft.com/office/drawing/2014/main" id="{93F52B2C-79CB-01DB-044B-2A4F5F82F3BC}"/>
                </a:ext>
              </a:extLst>
            </p:cNvPr>
            <p:cNvSpPr/>
            <p:nvPr/>
          </p:nvSpPr>
          <p:spPr>
            <a:xfrm rot="10800000" flipV="1">
              <a:off x="6308349" y="3700563"/>
              <a:ext cx="19137" cy="79424"/>
            </a:xfrm>
            <a:custGeom>
              <a:avLst/>
              <a:gdLst>
                <a:gd name="connsiteX0" fmla="*/ 16617 w 19137"/>
                <a:gd name="connsiteY0" fmla="*/ 68119 h 79424"/>
                <a:gd name="connsiteX1" fmla="*/ 12290 w 19137"/>
                <a:gd name="connsiteY1" fmla="*/ 74584 h 79424"/>
                <a:gd name="connsiteX2" fmla="*/ 8394 w 19137"/>
                <a:gd name="connsiteY2" fmla="*/ 78735 h 79424"/>
                <a:gd name="connsiteX3" fmla="*/ 7772 w 19137"/>
                <a:gd name="connsiteY3" fmla="*/ 78140 h 79424"/>
                <a:gd name="connsiteX4" fmla="*/ 7810 w 19137"/>
                <a:gd name="connsiteY4" fmla="*/ 78100 h 79424"/>
                <a:gd name="connsiteX5" fmla="*/ 7264 w 19137"/>
                <a:gd name="connsiteY5" fmla="*/ 77595 h 79424"/>
                <a:gd name="connsiteX6" fmla="*/ 5589 w 19137"/>
                <a:gd name="connsiteY6" fmla="*/ 75610 h 79424"/>
                <a:gd name="connsiteX7" fmla="*/ 2340 w 19137"/>
                <a:gd name="connsiteY7" fmla="*/ 71334 h 79424"/>
                <a:gd name="connsiteX8" fmla="*/ -947 w 19137"/>
                <a:gd name="connsiteY8" fmla="*/ 66165 h 79424"/>
                <a:gd name="connsiteX9" fmla="*/ -1061 w 19137"/>
                <a:gd name="connsiteY9" fmla="*/ 65832 h 79424"/>
                <a:gd name="connsiteX10" fmla="*/ -1086 w 19137"/>
                <a:gd name="connsiteY10" fmla="*/ 65694 h 79424"/>
                <a:gd name="connsiteX11" fmla="*/ -1162 w 19137"/>
                <a:gd name="connsiteY11" fmla="*/ 65684 h 79424"/>
                <a:gd name="connsiteX12" fmla="*/ -1619 w 19137"/>
                <a:gd name="connsiteY12" fmla="*/ 64880 h 79424"/>
                <a:gd name="connsiteX13" fmla="*/ -122 w 19137"/>
                <a:gd name="connsiteY13" fmla="*/ 65008 h 79424"/>
                <a:gd name="connsiteX14" fmla="*/ 2594 w 19137"/>
                <a:gd name="connsiteY14" fmla="*/ 65132 h 79424"/>
                <a:gd name="connsiteX15" fmla="*/ 2391 w 19137"/>
                <a:gd name="connsiteY15" fmla="*/ 44932 h 79424"/>
                <a:gd name="connsiteX16" fmla="*/ 4041 w 19137"/>
                <a:gd name="connsiteY16" fmla="*/ 1166 h 79424"/>
                <a:gd name="connsiteX17" fmla="*/ 3990 w 19137"/>
                <a:gd name="connsiteY17" fmla="*/ 695 h 79424"/>
                <a:gd name="connsiteX18" fmla="*/ 4016 w 19137"/>
                <a:gd name="connsiteY18" fmla="*/ 303 h 79424"/>
                <a:gd name="connsiteX19" fmla="*/ 4041 w 19137"/>
                <a:gd name="connsiteY19" fmla="*/ 175 h 79424"/>
                <a:gd name="connsiteX20" fmla="*/ 4917 w 19137"/>
                <a:gd name="connsiteY20" fmla="*/ -510 h 79424"/>
                <a:gd name="connsiteX21" fmla="*/ 6287 w 19137"/>
                <a:gd name="connsiteY21" fmla="*/ -560 h 79424"/>
                <a:gd name="connsiteX22" fmla="*/ 8584 w 19137"/>
                <a:gd name="connsiteY22" fmla="*/ -689 h 79424"/>
                <a:gd name="connsiteX23" fmla="*/ 10475 w 19137"/>
                <a:gd name="connsiteY23" fmla="*/ 11 h 79424"/>
                <a:gd name="connsiteX24" fmla="*/ 10488 w 19137"/>
                <a:gd name="connsiteY24" fmla="*/ 60 h 79424"/>
                <a:gd name="connsiteX25" fmla="*/ 10805 w 19137"/>
                <a:gd name="connsiteY25" fmla="*/ 100 h 79424"/>
                <a:gd name="connsiteX26" fmla="*/ 12290 w 19137"/>
                <a:gd name="connsiteY26" fmla="*/ 40903 h 79424"/>
                <a:gd name="connsiteX27" fmla="*/ 12506 w 19137"/>
                <a:gd name="connsiteY27" fmla="*/ 59422 h 79424"/>
                <a:gd name="connsiteX28" fmla="*/ 12455 w 19137"/>
                <a:gd name="connsiteY28" fmla="*/ 64031 h 79424"/>
                <a:gd name="connsiteX29" fmla="*/ 12290 w 19137"/>
                <a:gd name="connsiteY29" fmla="*/ 66288 h 79424"/>
                <a:gd name="connsiteX30" fmla="*/ 13191 w 19137"/>
                <a:gd name="connsiteY30" fmla="*/ 66238 h 79424"/>
                <a:gd name="connsiteX31" fmla="*/ 16097 w 19137"/>
                <a:gd name="connsiteY31" fmla="*/ 66254 h 79424"/>
                <a:gd name="connsiteX32" fmla="*/ 17518 w 19137"/>
                <a:gd name="connsiteY32" fmla="*/ 66343 h 79424"/>
                <a:gd name="connsiteX33" fmla="*/ 16617 w 19137"/>
                <a:gd name="connsiteY33" fmla="*/ 68119 h 79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9137" h="79424">
                  <a:moveTo>
                    <a:pt x="16617" y="68119"/>
                  </a:moveTo>
                  <a:cubicBezTo>
                    <a:pt x="15399" y="70470"/>
                    <a:pt x="14067" y="72614"/>
                    <a:pt x="12290" y="74584"/>
                  </a:cubicBezTo>
                  <a:cubicBezTo>
                    <a:pt x="11084" y="75967"/>
                    <a:pt x="9764" y="77416"/>
                    <a:pt x="8394" y="78735"/>
                  </a:cubicBezTo>
                  <a:lnTo>
                    <a:pt x="7772" y="78140"/>
                  </a:lnTo>
                  <a:lnTo>
                    <a:pt x="7810" y="78100"/>
                  </a:lnTo>
                  <a:lnTo>
                    <a:pt x="7264" y="77595"/>
                  </a:lnTo>
                  <a:lnTo>
                    <a:pt x="5589" y="75610"/>
                  </a:lnTo>
                  <a:cubicBezTo>
                    <a:pt x="4472" y="74201"/>
                    <a:pt x="3394" y="72807"/>
                    <a:pt x="2340" y="71334"/>
                  </a:cubicBezTo>
                  <a:cubicBezTo>
                    <a:pt x="1160" y="69657"/>
                    <a:pt x="56" y="67956"/>
                    <a:pt x="-947" y="66165"/>
                  </a:cubicBezTo>
                  <a:lnTo>
                    <a:pt x="-1061" y="65832"/>
                  </a:lnTo>
                  <a:lnTo>
                    <a:pt x="-1086" y="65694"/>
                  </a:lnTo>
                  <a:lnTo>
                    <a:pt x="-1162" y="65684"/>
                  </a:lnTo>
                  <a:lnTo>
                    <a:pt x="-1619" y="64880"/>
                  </a:lnTo>
                  <a:lnTo>
                    <a:pt x="-122" y="65008"/>
                  </a:lnTo>
                  <a:lnTo>
                    <a:pt x="2594" y="65132"/>
                  </a:lnTo>
                  <a:cubicBezTo>
                    <a:pt x="2074" y="61515"/>
                    <a:pt x="2340" y="48523"/>
                    <a:pt x="2391" y="44932"/>
                  </a:cubicBezTo>
                  <a:cubicBezTo>
                    <a:pt x="2480" y="40571"/>
                    <a:pt x="3533" y="8657"/>
                    <a:pt x="4041" y="1166"/>
                  </a:cubicBezTo>
                  <a:lnTo>
                    <a:pt x="3990" y="695"/>
                  </a:lnTo>
                  <a:lnTo>
                    <a:pt x="4016" y="303"/>
                  </a:lnTo>
                  <a:lnTo>
                    <a:pt x="4041" y="175"/>
                  </a:lnTo>
                  <a:lnTo>
                    <a:pt x="4917" y="-510"/>
                  </a:lnTo>
                  <a:lnTo>
                    <a:pt x="6287" y="-560"/>
                  </a:lnTo>
                  <a:lnTo>
                    <a:pt x="8584" y="-689"/>
                  </a:lnTo>
                  <a:lnTo>
                    <a:pt x="10475" y="11"/>
                  </a:lnTo>
                  <a:lnTo>
                    <a:pt x="10488" y="60"/>
                  </a:lnTo>
                  <a:lnTo>
                    <a:pt x="10805" y="100"/>
                  </a:lnTo>
                  <a:cubicBezTo>
                    <a:pt x="10945" y="3071"/>
                    <a:pt x="12138" y="37932"/>
                    <a:pt x="12290" y="40903"/>
                  </a:cubicBezTo>
                  <a:cubicBezTo>
                    <a:pt x="12480" y="44029"/>
                    <a:pt x="12556" y="56282"/>
                    <a:pt x="12506" y="59422"/>
                  </a:cubicBezTo>
                  <a:cubicBezTo>
                    <a:pt x="12493" y="60945"/>
                    <a:pt x="12442" y="62493"/>
                    <a:pt x="12455" y="64031"/>
                  </a:cubicBezTo>
                  <a:lnTo>
                    <a:pt x="12290" y="66288"/>
                  </a:lnTo>
                  <a:lnTo>
                    <a:pt x="13191" y="66238"/>
                  </a:lnTo>
                  <a:lnTo>
                    <a:pt x="16097" y="66254"/>
                  </a:lnTo>
                  <a:lnTo>
                    <a:pt x="17518" y="66343"/>
                  </a:lnTo>
                  <a:lnTo>
                    <a:pt x="16617" y="68119"/>
                  </a:lnTo>
                </a:path>
              </a:pathLst>
            </a:custGeom>
            <a:solidFill>
              <a:srgbClr val="5F94D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8" name="Vrije vorm 47">
              <a:extLst>
                <a:ext uri="{FF2B5EF4-FFF2-40B4-BE49-F238E27FC236}">
                  <a16:creationId xmlns:a16="http://schemas.microsoft.com/office/drawing/2014/main" id="{7D94DB5D-761B-0BE0-3142-2F3C322A4525}"/>
                </a:ext>
              </a:extLst>
            </p:cNvPr>
            <p:cNvSpPr/>
            <p:nvPr/>
          </p:nvSpPr>
          <p:spPr>
            <a:xfrm flipV="1">
              <a:off x="6320478" y="3623237"/>
              <a:ext cx="2461" cy="71293"/>
            </a:xfrm>
            <a:custGeom>
              <a:avLst/>
              <a:gdLst>
                <a:gd name="connsiteX0" fmla="*/ 779 w 2461"/>
                <a:gd name="connsiteY0" fmla="*/ -692 h 71293"/>
                <a:gd name="connsiteX1" fmla="*/ 753 w 2461"/>
                <a:gd name="connsiteY1" fmla="*/ -692 h 71293"/>
                <a:gd name="connsiteX2" fmla="*/ 829 w 2461"/>
                <a:gd name="connsiteY2" fmla="*/ 3664 h 71293"/>
                <a:gd name="connsiteX3" fmla="*/ 842 w 2461"/>
                <a:gd name="connsiteY3" fmla="*/ 3664 h 71293"/>
                <a:gd name="connsiteX4" fmla="*/ 779 w 2461"/>
                <a:gd name="connsiteY4" fmla="*/ -692 h 71293"/>
                <a:gd name="connsiteX5" fmla="*/ -1366 w 2461"/>
                <a:gd name="connsiteY5" fmla="*/ 70249 h 71293"/>
                <a:gd name="connsiteX6" fmla="*/ -1620 w 2461"/>
                <a:gd name="connsiteY6" fmla="*/ 70602 h 71293"/>
                <a:gd name="connsiteX7" fmla="*/ -1366 w 2461"/>
                <a:gd name="connsiteY7" fmla="*/ 70249 h 71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61" h="71293">
                  <a:moveTo>
                    <a:pt x="779" y="-692"/>
                  </a:moveTo>
                  <a:cubicBezTo>
                    <a:pt x="766" y="-692"/>
                    <a:pt x="766" y="-692"/>
                    <a:pt x="753" y="-692"/>
                  </a:cubicBezTo>
                  <a:cubicBezTo>
                    <a:pt x="779" y="612"/>
                    <a:pt x="804" y="2077"/>
                    <a:pt x="829" y="3664"/>
                  </a:cubicBezTo>
                  <a:cubicBezTo>
                    <a:pt x="829" y="3664"/>
                    <a:pt x="829" y="3664"/>
                    <a:pt x="842" y="3664"/>
                  </a:cubicBezTo>
                  <a:cubicBezTo>
                    <a:pt x="817" y="2086"/>
                    <a:pt x="791" y="612"/>
                    <a:pt x="779" y="-692"/>
                  </a:cubicBezTo>
                  <a:moveTo>
                    <a:pt x="-1366" y="70249"/>
                  </a:moveTo>
                  <a:cubicBezTo>
                    <a:pt x="-1455" y="70363"/>
                    <a:pt x="-1531" y="70488"/>
                    <a:pt x="-1620" y="70602"/>
                  </a:cubicBezTo>
                  <a:lnTo>
                    <a:pt x="-1366" y="70249"/>
                  </a:lnTo>
                </a:path>
              </a:pathLst>
            </a:custGeom>
            <a:solidFill>
              <a:srgbClr val="2947A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1" name="Vrije vorm 50">
              <a:extLst>
                <a:ext uri="{FF2B5EF4-FFF2-40B4-BE49-F238E27FC236}">
                  <a16:creationId xmlns:a16="http://schemas.microsoft.com/office/drawing/2014/main" id="{B82DB9A1-BB95-10F8-232E-316EA59E8D3A}"/>
                </a:ext>
              </a:extLst>
            </p:cNvPr>
            <p:cNvSpPr/>
            <p:nvPr/>
          </p:nvSpPr>
          <p:spPr>
            <a:xfrm flipV="1">
              <a:off x="7880722" y="3571739"/>
              <a:ext cx="361097" cy="803109"/>
            </a:xfrm>
            <a:custGeom>
              <a:avLst/>
              <a:gdLst>
                <a:gd name="connsiteX0" fmla="*/ -2808 w 361097"/>
                <a:gd name="connsiteY0" fmla="*/ -411 h 803109"/>
                <a:gd name="connsiteX1" fmla="*/ 358290 w 361097"/>
                <a:gd name="connsiteY1" fmla="*/ -411 h 803109"/>
                <a:gd name="connsiteX2" fmla="*/ 358290 w 361097"/>
                <a:gd name="connsiteY2" fmla="*/ 802698 h 803109"/>
                <a:gd name="connsiteX3" fmla="*/ -2808 w 361097"/>
                <a:gd name="connsiteY3" fmla="*/ 802698 h 803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097" h="803109">
                  <a:moveTo>
                    <a:pt x="-2808" y="-411"/>
                  </a:moveTo>
                  <a:lnTo>
                    <a:pt x="358290" y="-411"/>
                  </a:lnTo>
                  <a:lnTo>
                    <a:pt x="358290" y="802698"/>
                  </a:lnTo>
                  <a:lnTo>
                    <a:pt x="-2808" y="802698"/>
                  </a:lnTo>
                  <a:close/>
                </a:path>
              </a:pathLst>
            </a:custGeom>
            <a:solidFill>
              <a:srgbClr val="DCD9B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2" name="Vrije vorm 51">
              <a:extLst>
                <a:ext uri="{FF2B5EF4-FFF2-40B4-BE49-F238E27FC236}">
                  <a16:creationId xmlns:a16="http://schemas.microsoft.com/office/drawing/2014/main" id="{5BB8A66C-7741-61EE-BBF7-132DC8965240}"/>
                </a:ext>
              </a:extLst>
            </p:cNvPr>
            <p:cNvSpPr/>
            <p:nvPr/>
          </p:nvSpPr>
          <p:spPr>
            <a:xfrm flipV="1">
              <a:off x="7880722" y="4234865"/>
              <a:ext cx="361097" cy="139982"/>
            </a:xfrm>
            <a:custGeom>
              <a:avLst/>
              <a:gdLst>
                <a:gd name="connsiteX0" fmla="*/ -2808 w 361097"/>
                <a:gd name="connsiteY0" fmla="*/ -115 h 139982"/>
                <a:gd name="connsiteX1" fmla="*/ 358290 w 361097"/>
                <a:gd name="connsiteY1" fmla="*/ -115 h 139982"/>
                <a:gd name="connsiteX2" fmla="*/ 358290 w 361097"/>
                <a:gd name="connsiteY2" fmla="*/ 139867 h 139982"/>
                <a:gd name="connsiteX3" fmla="*/ -2808 w 361097"/>
                <a:gd name="connsiteY3" fmla="*/ 139867 h 139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097" h="139982">
                  <a:moveTo>
                    <a:pt x="-2808" y="-115"/>
                  </a:moveTo>
                  <a:lnTo>
                    <a:pt x="358290" y="-115"/>
                  </a:lnTo>
                  <a:lnTo>
                    <a:pt x="358290" y="139867"/>
                  </a:lnTo>
                  <a:lnTo>
                    <a:pt x="-2808" y="139867"/>
                  </a:lnTo>
                  <a:close/>
                </a:path>
              </a:pathLst>
            </a:custGeom>
            <a:solidFill>
              <a:srgbClr val="9B9880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3" name="Vrije vorm 52">
              <a:extLst>
                <a:ext uri="{FF2B5EF4-FFF2-40B4-BE49-F238E27FC236}">
                  <a16:creationId xmlns:a16="http://schemas.microsoft.com/office/drawing/2014/main" id="{9769251E-E485-4D2D-07C5-7CA830B8AFBE}"/>
                </a:ext>
              </a:extLst>
            </p:cNvPr>
            <p:cNvSpPr/>
            <p:nvPr/>
          </p:nvSpPr>
          <p:spPr>
            <a:xfrm flipV="1">
              <a:off x="7860366" y="3548422"/>
              <a:ext cx="400197" cy="826426"/>
            </a:xfrm>
            <a:custGeom>
              <a:avLst/>
              <a:gdLst>
                <a:gd name="connsiteX0" fmla="*/ 397390 w 400197"/>
                <a:gd name="connsiteY0" fmla="*/ 826005 h 826426"/>
                <a:gd name="connsiteX1" fmla="*/ -2807 w 400197"/>
                <a:gd name="connsiteY1" fmla="*/ 826005 h 826426"/>
                <a:gd name="connsiteX2" fmla="*/ -2807 w 400197"/>
                <a:gd name="connsiteY2" fmla="*/ -422 h 826426"/>
                <a:gd name="connsiteX3" fmla="*/ 17548 w 400197"/>
                <a:gd name="connsiteY3" fmla="*/ -422 h 826426"/>
                <a:gd name="connsiteX4" fmla="*/ 17548 w 400197"/>
                <a:gd name="connsiteY4" fmla="*/ 800774 h 826426"/>
                <a:gd name="connsiteX5" fmla="*/ 377060 w 400197"/>
                <a:gd name="connsiteY5" fmla="*/ 800774 h 826426"/>
                <a:gd name="connsiteX6" fmla="*/ 377060 w 400197"/>
                <a:gd name="connsiteY6" fmla="*/ -422 h 826426"/>
                <a:gd name="connsiteX7" fmla="*/ 397390 w 400197"/>
                <a:gd name="connsiteY7" fmla="*/ -422 h 826426"/>
                <a:gd name="connsiteX8" fmla="*/ 397390 w 400197"/>
                <a:gd name="connsiteY8" fmla="*/ 826005 h 826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0197" h="826426">
                  <a:moveTo>
                    <a:pt x="397390" y="826005"/>
                  </a:moveTo>
                  <a:lnTo>
                    <a:pt x="-2807" y="826005"/>
                  </a:lnTo>
                  <a:lnTo>
                    <a:pt x="-2807" y="-422"/>
                  </a:lnTo>
                  <a:lnTo>
                    <a:pt x="17548" y="-422"/>
                  </a:lnTo>
                  <a:lnTo>
                    <a:pt x="17548" y="800774"/>
                  </a:lnTo>
                  <a:lnTo>
                    <a:pt x="377060" y="800774"/>
                  </a:lnTo>
                  <a:lnTo>
                    <a:pt x="377060" y="-422"/>
                  </a:lnTo>
                  <a:lnTo>
                    <a:pt x="397390" y="-422"/>
                  </a:lnTo>
                  <a:lnTo>
                    <a:pt x="397390" y="826005"/>
                  </a:lnTo>
                </a:path>
              </a:pathLst>
            </a:custGeom>
            <a:solidFill>
              <a:srgbClr val="B5462D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4" name="Vrije vorm 53">
              <a:extLst>
                <a:ext uri="{FF2B5EF4-FFF2-40B4-BE49-F238E27FC236}">
                  <a16:creationId xmlns:a16="http://schemas.microsoft.com/office/drawing/2014/main" id="{253B272D-26AA-6A0B-FBA6-969DCF470EC2}"/>
                </a:ext>
              </a:extLst>
            </p:cNvPr>
            <p:cNvSpPr/>
            <p:nvPr/>
          </p:nvSpPr>
          <p:spPr>
            <a:xfrm flipV="1">
              <a:off x="8240233" y="3548422"/>
              <a:ext cx="20330" cy="826426"/>
            </a:xfrm>
            <a:custGeom>
              <a:avLst/>
              <a:gdLst>
                <a:gd name="connsiteX0" fmla="*/ -2937 w 20330"/>
                <a:gd name="connsiteY0" fmla="*/ 800774 h 826426"/>
                <a:gd name="connsiteX1" fmla="*/ -2937 w 20330"/>
                <a:gd name="connsiteY1" fmla="*/ -422 h 826426"/>
                <a:gd name="connsiteX2" fmla="*/ 17393 w 20330"/>
                <a:gd name="connsiteY2" fmla="*/ -422 h 826426"/>
                <a:gd name="connsiteX3" fmla="*/ 17393 w 20330"/>
                <a:gd name="connsiteY3" fmla="*/ 826005 h 826426"/>
                <a:gd name="connsiteX4" fmla="*/ -2937 w 20330"/>
                <a:gd name="connsiteY4" fmla="*/ 800774 h 826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30" h="826426">
                  <a:moveTo>
                    <a:pt x="-2937" y="800774"/>
                  </a:moveTo>
                  <a:lnTo>
                    <a:pt x="-2937" y="-422"/>
                  </a:lnTo>
                  <a:lnTo>
                    <a:pt x="17393" y="-422"/>
                  </a:lnTo>
                  <a:lnTo>
                    <a:pt x="17393" y="826005"/>
                  </a:lnTo>
                  <a:lnTo>
                    <a:pt x="-2937" y="800774"/>
                  </a:lnTo>
                </a:path>
              </a:pathLst>
            </a:custGeom>
            <a:solidFill>
              <a:srgbClr val="80342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5" name="Vrije vorm 54">
              <a:extLst>
                <a:ext uri="{FF2B5EF4-FFF2-40B4-BE49-F238E27FC236}">
                  <a16:creationId xmlns:a16="http://schemas.microsoft.com/office/drawing/2014/main" id="{521EB251-4463-F7BB-7F61-C4F9EC1F298D}"/>
                </a:ext>
              </a:extLst>
            </p:cNvPr>
            <p:cNvSpPr/>
            <p:nvPr/>
          </p:nvSpPr>
          <p:spPr>
            <a:xfrm flipV="1">
              <a:off x="8240233" y="3572041"/>
              <a:ext cx="4213" cy="802806"/>
            </a:xfrm>
            <a:custGeom>
              <a:avLst/>
              <a:gdLst>
                <a:gd name="connsiteX0" fmla="*/ 1282 w 4213"/>
                <a:gd name="connsiteY0" fmla="*/ -411 h 802806"/>
                <a:gd name="connsiteX1" fmla="*/ -2932 w 4213"/>
                <a:gd name="connsiteY1" fmla="*/ -411 h 802806"/>
                <a:gd name="connsiteX2" fmla="*/ -2932 w 4213"/>
                <a:gd name="connsiteY2" fmla="*/ 800784 h 802806"/>
                <a:gd name="connsiteX3" fmla="*/ -1345 w 4213"/>
                <a:gd name="connsiteY3" fmla="*/ 802396 h 802806"/>
                <a:gd name="connsiteX4" fmla="*/ 1282 w 4213"/>
                <a:gd name="connsiteY4" fmla="*/ 392440 h 802806"/>
                <a:gd name="connsiteX5" fmla="*/ 1282 w 4213"/>
                <a:gd name="connsiteY5" fmla="*/ -411 h 802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13" h="802806">
                  <a:moveTo>
                    <a:pt x="1282" y="-411"/>
                  </a:moveTo>
                  <a:lnTo>
                    <a:pt x="-2932" y="-411"/>
                  </a:lnTo>
                  <a:lnTo>
                    <a:pt x="-2932" y="800784"/>
                  </a:lnTo>
                  <a:lnTo>
                    <a:pt x="-1345" y="802396"/>
                  </a:lnTo>
                  <a:lnTo>
                    <a:pt x="1282" y="392440"/>
                  </a:lnTo>
                  <a:lnTo>
                    <a:pt x="1282" y="-411"/>
                  </a:lnTo>
                </a:path>
              </a:pathLst>
            </a:custGeom>
            <a:solidFill>
              <a:srgbClr val="581F1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" name="Vrije vorm 55">
              <a:extLst>
                <a:ext uri="{FF2B5EF4-FFF2-40B4-BE49-F238E27FC236}">
                  <a16:creationId xmlns:a16="http://schemas.microsoft.com/office/drawing/2014/main" id="{2CA055C1-3DAD-BFAA-A406-A1567C4E3713}"/>
                </a:ext>
              </a:extLst>
            </p:cNvPr>
            <p:cNvSpPr/>
            <p:nvPr/>
          </p:nvSpPr>
          <p:spPr>
            <a:xfrm flipV="1">
              <a:off x="7860366" y="3548422"/>
              <a:ext cx="20355" cy="826426"/>
            </a:xfrm>
            <a:custGeom>
              <a:avLst/>
              <a:gdLst>
                <a:gd name="connsiteX0" fmla="*/ -2678 w 20355"/>
                <a:gd name="connsiteY0" fmla="*/ 826005 h 826426"/>
                <a:gd name="connsiteX1" fmla="*/ -2678 w 20355"/>
                <a:gd name="connsiteY1" fmla="*/ -422 h 826426"/>
                <a:gd name="connsiteX2" fmla="*/ 17678 w 20355"/>
                <a:gd name="connsiteY2" fmla="*/ -422 h 826426"/>
                <a:gd name="connsiteX3" fmla="*/ 17678 w 20355"/>
                <a:gd name="connsiteY3" fmla="*/ 800774 h 826426"/>
                <a:gd name="connsiteX4" fmla="*/ -2678 w 20355"/>
                <a:gd name="connsiteY4" fmla="*/ 826005 h 826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55" h="826426">
                  <a:moveTo>
                    <a:pt x="-2678" y="826005"/>
                  </a:moveTo>
                  <a:lnTo>
                    <a:pt x="-2678" y="-422"/>
                  </a:lnTo>
                  <a:lnTo>
                    <a:pt x="17678" y="-422"/>
                  </a:lnTo>
                  <a:lnTo>
                    <a:pt x="17678" y="800774"/>
                  </a:lnTo>
                  <a:lnTo>
                    <a:pt x="-2678" y="826005"/>
                  </a:lnTo>
                </a:path>
              </a:pathLst>
            </a:custGeom>
            <a:solidFill>
              <a:srgbClr val="B5462D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7" name="Vrije vorm 56">
              <a:extLst>
                <a:ext uri="{FF2B5EF4-FFF2-40B4-BE49-F238E27FC236}">
                  <a16:creationId xmlns:a16="http://schemas.microsoft.com/office/drawing/2014/main" id="{D1D67C40-8F45-EBAC-0CC3-4A883B75005C}"/>
                </a:ext>
              </a:extLst>
            </p:cNvPr>
            <p:cNvSpPr/>
            <p:nvPr/>
          </p:nvSpPr>
          <p:spPr>
            <a:xfrm flipV="1">
              <a:off x="7860366" y="3548422"/>
              <a:ext cx="400197" cy="25231"/>
            </a:xfrm>
            <a:custGeom>
              <a:avLst/>
              <a:gdLst>
                <a:gd name="connsiteX0" fmla="*/ 17548 w 400197"/>
                <a:gd name="connsiteY0" fmla="*/ -779 h 25231"/>
                <a:gd name="connsiteX1" fmla="*/ 377060 w 400197"/>
                <a:gd name="connsiteY1" fmla="*/ -779 h 25231"/>
                <a:gd name="connsiteX2" fmla="*/ 397390 w 400197"/>
                <a:gd name="connsiteY2" fmla="*/ 24452 h 25231"/>
                <a:gd name="connsiteX3" fmla="*/ -2807 w 400197"/>
                <a:gd name="connsiteY3" fmla="*/ 24452 h 25231"/>
                <a:gd name="connsiteX4" fmla="*/ 17548 w 400197"/>
                <a:gd name="connsiteY4" fmla="*/ -779 h 25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197" h="25231">
                  <a:moveTo>
                    <a:pt x="17548" y="-779"/>
                  </a:moveTo>
                  <a:lnTo>
                    <a:pt x="377060" y="-779"/>
                  </a:lnTo>
                  <a:lnTo>
                    <a:pt x="397390" y="24452"/>
                  </a:lnTo>
                  <a:lnTo>
                    <a:pt x="-2807" y="24452"/>
                  </a:lnTo>
                  <a:lnTo>
                    <a:pt x="17548" y="-779"/>
                  </a:lnTo>
                </a:path>
              </a:pathLst>
            </a:custGeom>
            <a:solidFill>
              <a:srgbClr val="A24027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8" name="Vrije vorm 57">
              <a:extLst>
                <a:ext uri="{FF2B5EF4-FFF2-40B4-BE49-F238E27FC236}">
                  <a16:creationId xmlns:a16="http://schemas.microsoft.com/office/drawing/2014/main" id="{906DEE34-757D-55C7-9AA4-67DA5C9FBDC3}"/>
                </a:ext>
              </a:extLst>
            </p:cNvPr>
            <p:cNvSpPr/>
            <p:nvPr/>
          </p:nvSpPr>
          <p:spPr>
            <a:xfrm flipV="1">
              <a:off x="8240233" y="3548422"/>
              <a:ext cx="20330" cy="25231"/>
            </a:xfrm>
            <a:custGeom>
              <a:avLst/>
              <a:gdLst>
                <a:gd name="connsiteX0" fmla="*/ 17393 w 20330"/>
                <a:gd name="connsiteY0" fmla="*/ 24452 h 25231"/>
                <a:gd name="connsiteX1" fmla="*/ -2937 w 20330"/>
                <a:gd name="connsiteY1" fmla="*/ -779 h 25231"/>
                <a:gd name="connsiteX2" fmla="*/ 17254 w 20330"/>
                <a:gd name="connsiteY2" fmla="*/ 19599 h 25231"/>
                <a:gd name="connsiteX3" fmla="*/ 17393 w 20330"/>
                <a:gd name="connsiteY3" fmla="*/ 24452 h 25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30" h="25231">
                  <a:moveTo>
                    <a:pt x="17393" y="24452"/>
                  </a:moveTo>
                  <a:lnTo>
                    <a:pt x="-2937" y="-779"/>
                  </a:lnTo>
                  <a:lnTo>
                    <a:pt x="17254" y="19599"/>
                  </a:lnTo>
                  <a:lnTo>
                    <a:pt x="17393" y="24452"/>
                  </a:lnTo>
                </a:path>
              </a:pathLst>
            </a:custGeom>
            <a:solidFill>
              <a:srgbClr val="CE4B30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9" name="Vrije vorm 58">
              <a:extLst>
                <a:ext uri="{FF2B5EF4-FFF2-40B4-BE49-F238E27FC236}">
                  <a16:creationId xmlns:a16="http://schemas.microsoft.com/office/drawing/2014/main" id="{E9320CEB-D8E8-F421-6559-ECB664728A21}"/>
                </a:ext>
              </a:extLst>
            </p:cNvPr>
            <p:cNvSpPr/>
            <p:nvPr/>
          </p:nvSpPr>
          <p:spPr>
            <a:xfrm flipV="1">
              <a:off x="7861127" y="3548422"/>
              <a:ext cx="20368" cy="25231"/>
            </a:xfrm>
            <a:custGeom>
              <a:avLst/>
              <a:gdLst>
                <a:gd name="connsiteX0" fmla="*/ -2678 w 20368"/>
                <a:gd name="connsiteY0" fmla="*/ 24452 h 25231"/>
                <a:gd name="connsiteX1" fmla="*/ 17690 w 20368"/>
                <a:gd name="connsiteY1" fmla="*/ -779 h 25231"/>
                <a:gd name="connsiteX2" fmla="*/ -2526 w 20368"/>
                <a:gd name="connsiteY2" fmla="*/ 19599 h 25231"/>
                <a:gd name="connsiteX3" fmla="*/ -2678 w 20368"/>
                <a:gd name="connsiteY3" fmla="*/ 24452 h 25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68" h="25231">
                  <a:moveTo>
                    <a:pt x="-2678" y="24452"/>
                  </a:moveTo>
                  <a:lnTo>
                    <a:pt x="17690" y="-779"/>
                  </a:lnTo>
                  <a:lnTo>
                    <a:pt x="-2526" y="19599"/>
                  </a:lnTo>
                  <a:lnTo>
                    <a:pt x="-2678" y="24452"/>
                  </a:lnTo>
                </a:path>
              </a:pathLst>
            </a:custGeom>
            <a:solidFill>
              <a:srgbClr val="CE4B30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0" name="Vrije vorm 59">
              <a:extLst>
                <a:ext uri="{FF2B5EF4-FFF2-40B4-BE49-F238E27FC236}">
                  <a16:creationId xmlns:a16="http://schemas.microsoft.com/office/drawing/2014/main" id="{A579EF4C-959F-9358-8558-CE3B904DDEFE}"/>
                </a:ext>
              </a:extLst>
            </p:cNvPr>
            <p:cNvSpPr/>
            <p:nvPr/>
          </p:nvSpPr>
          <p:spPr>
            <a:xfrm flipV="1">
              <a:off x="7874148" y="3566237"/>
              <a:ext cx="6573" cy="808610"/>
            </a:xfrm>
            <a:custGeom>
              <a:avLst/>
              <a:gdLst>
                <a:gd name="connsiteX0" fmla="*/ 3892 w 6573"/>
                <a:gd name="connsiteY0" fmla="*/ -414 h 808610"/>
                <a:gd name="connsiteX1" fmla="*/ 3892 w 6573"/>
                <a:gd name="connsiteY1" fmla="*/ -414 h 808610"/>
                <a:gd name="connsiteX2" fmla="*/ -2682 w 6573"/>
                <a:gd name="connsiteY2" fmla="*/ 808197 h 808610"/>
                <a:gd name="connsiteX3" fmla="*/ 528 w 6573"/>
                <a:gd name="connsiteY3" fmla="*/ 804943 h 808610"/>
                <a:gd name="connsiteX4" fmla="*/ 3892 w 6573"/>
                <a:gd name="connsiteY4" fmla="*/ 800782 h 808610"/>
                <a:gd name="connsiteX5" fmla="*/ 3892 w 6573"/>
                <a:gd name="connsiteY5" fmla="*/ 139569 h 808610"/>
                <a:gd name="connsiteX6" fmla="*/ 3892 w 6573"/>
                <a:gd name="connsiteY6" fmla="*/ -414 h 808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73" h="808610">
                  <a:moveTo>
                    <a:pt x="3892" y="-414"/>
                  </a:moveTo>
                  <a:lnTo>
                    <a:pt x="3892" y="-414"/>
                  </a:lnTo>
                  <a:lnTo>
                    <a:pt x="-2682" y="808197"/>
                  </a:lnTo>
                  <a:lnTo>
                    <a:pt x="528" y="804943"/>
                  </a:lnTo>
                  <a:lnTo>
                    <a:pt x="3892" y="800782"/>
                  </a:lnTo>
                  <a:lnTo>
                    <a:pt x="3892" y="139569"/>
                  </a:lnTo>
                  <a:lnTo>
                    <a:pt x="3892" y="-414"/>
                  </a:lnTo>
                </a:path>
              </a:pathLst>
            </a:custGeom>
            <a:solidFill>
              <a:srgbClr val="E26A4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1" name="Vrije vorm 60">
              <a:extLst>
                <a:ext uri="{FF2B5EF4-FFF2-40B4-BE49-F238E27FC236}">
                  <a16:creationId xmlns:a16="http://schemas.microsoft.com/office/drawing/2014/main" id="{744A55AD-8C73-7549-410C-5B4AAF94C5CB}"/>
                </a:ext>
              </a:extLst>
            </p:cNvPr>
            <p:cNvSpPr/>
            <p:nvPr/>
          </p:nvSpPr>
          <p:spPr>
            <a:xfrm flipV="1">
              <a:off x="7875252" y="3565910"/>
              <a:ext cx="155459" cy="7743"/>
            </a:xfrm>
            <a:custGeom>
              <a:avLst/>
              <a:gdLst>
                <a:gd name="connsiteX0" fmla="*/ 152726 w 155459"/>
                <a:gd name="connsiteY0" fmla="*/ -771 h 7743"/>
                <a:gd name="connsiteX1" fmla="*/ 3510 w 155459"/>
                <a:gd name="connsiteY1" fmla="*/ -771 h 7743"/>
                <a:gd name="connsiteX2" fmla="*/ -2734 w 155459"/>
                <a:gd name="connsiteY2" fmla="*/ 6972 h 7743"/>
                <a:gd name="connsiteX3" fmla="*/ 152713 w 155459"/>
                <a:gd name="connsiteY3" fmla="*/ 3643 h 7743"/>
                <a:gd name="connsiteX4" fmla="*/ 152726 w 155459"/>
                <a:gd name="connsiteY4" fmla="*/ -771 h 7743"/>
                <a:gd name="connsiteX5" fmla="*/ 3510 w 155459"/>
                <a:gd name="connsiteY5" fmla="*/ -771 h 7743"/>
                <a:gd name="connsiteX6" fmla="*/ 2736 w 155459"/>
                <a:gd name="connsiteY6" fmla="*/ -771 h 7743"/>
                <a:gd name="connsiteX7" fmla="*/ -627 w 155459"/>
                <a:gd name="connsiteY7" fmla="*/ 3390 h 7743"/>
                <a:gd name="connsiteX8" fmla="*/ 3510 w 155459"/>
                <a:gd name="connsiteY8" fmla="*/ -771 h 7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459" h="7743">
                  <a:moveTo>
                    <a:pt x="152726" y="-771"/>
                  </a:moveTo>
                  <a:lnTo>
                    <a:pt x="3510" y="-771"/>
                  </a:lnTo>
                  <a:lnTo>
                    <a:pt x="-2734" y="6972"/>
                  </a:lnTo>
                  <a:lnTo>
                    <a:pt x="152713" y="3643"/>
                  </a:lnTo>
                  <a:lnTo>
                    <a:pt x="152726" y="-771"/>
                  </a:lnTo>
                  <a:moveTo>
                    <a:pt x="3510" y="-771"/>
                  </a:moveTo>
                  <a:lnTo>
                    <a:pt x="2736" y="-771"/>
                  </a:lnTo>
                  <a:lnTo>
                    <a:pt x="-627" y="3390"/>
                  </a:lnTo>
                  <a:lnTo>
                    <a:pt x="3510" y="-771"/>
                  </a:lnTo>
                </a:path>
              </a:pathLst>
            </a:custGeom>
            <a:solidFill>
              <a:srgbClr val="DB653E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2" name="Vrije vorm 61">
              <a:extLst>
                <a:ext uri="{FF2B5EF4-FFF2-40B4-BE49-F238E27FC236}">
                  <a16:creationId xmlns:a16="http://schemas.microsoft.com/office/drawing/2014/main" id="{EC1DA84C-A5C7-C793-F92F-B6ED79A63424}"/>
                </a:ext>
              </a:extLst>
            </p:cNvPr>
            <p:cNvSpPr/>
            <p:nvPr/>
          </p:nvSpPr>
          <p:spPr>
            <a:xfrm flipV="1">
              <a:off x="7874148" y="3565884"/>
              <a:ext cx="7347" cy="7768"/>
            </a:xfrm>
            <a:custGeom>
              <a:avLst/>
              <a:gdLst>
                <a:gd name="connsiteX0" fmla="*/ 4665 w 7347"/>
                <a:gd name="connsiteY0" fmla="*/ -771 h 7768"/>
                <a:gd name="connsiteX1" fmla="*/ 4665 w 7347"/>
                <a:gd name="connsiteY1" fmla="*/ -771 h 7768"/>
                <a:gd name="connsiteX2" fmla="*/ 4665 w 7347"/>
                <a:gd name="connsiteY2" fmla="*/ -771 h 7768"/>
                <a:gd name="connsiteX3" fmla="*/ 528 w 7347"/>
                <a:gd name="connsiteY3" fmla="*/ 3390 h 7768"/>
                <a:gd name="connsiteX4" fmla="*/ -2683 w 7347"/>
                <a:gd name="connsiteY4" fmla="*/ 6644 h 7768"/>
                <a:gd name="connsiteX5" fmla="*/ -2683 w 7347"/>
                <a:gd name="connsiteY5" fmla="*/ 6997 h 7768"/>
                <a:gd name="connsiteX6" fmla="*/ -1578 w 7347"/>
                <a:gd name="connsiteY6" fmla="*/ 6972 h 7768"/>
                <a:gd name="connsiteX7" fmla="*/ 4665 w 7347"/>
                <a:gd name="connsiteY7" fmla="*/ -771 h 7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47" h="7768">
                  <a:moveTo>
                    <a:pt x="4665" y="-771"/>
                  </a:moveTo>
                  <a:lnTo>
                    <a:pt x="4665" y="-771"/>
                  </a:lnTo>
                  <a:moveTo>
                    <a:pt x="4665" y="-771"/>
                  </a:moveTo>
                  <a:lnTo>
                    <a:pt x="528" y="3390"/>
                  </a:lnTo>
                  <a:lnTo>
                    <a:pt x="-2683" y="6644"/>
                  </a:lnTo>
                  <a:lnTo>
                    <a:pt x="-2683" y="6997"/>
                  </a:lnTo>
                  <a:lnTo>
                    <a:pt x="-1578" y="6972"/>
                  </a:lnTo>
                  <a:lnTo>
                    <a:pt x="4665" y="-771"/>
                  </a:lnTo>
                </a:path>
              </a:pathLst>
            </a:custGeom>
            <a:solidFill>
              <a:srgbClr val="EB704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3" name="Vrije vorm 62">
              <a:extLst>
                <a:ext uri="{FF2B5EF4-FFF2-40B4-BE49-F238E27FC236}">
                  <a16:creationId xmlns:a16="http://schemas.microsoft.com/office/drawing/2014/main" id="{D1309CC1-69C7-BCE3-7605-6261AECFCE91}"/>
                </a:ext>
              </a:extLst>
            </p:cNvPr>
            <p:cNvSpPr/>
            <p:nvPr/>
          </p:nvSpPr>
          <p:spPr>
            <a:xfrm flipV="1">
              <a:off x="8045281" y="3508086"/>
              <a:ext cx="192325" cy="978404"/>
            </a:xfrm>
            <a:custGeom>
              <a:avLst/>
              <a:gdLst>
                <a:gd name="connsiteX0" fmla="*/ 189461 w 192325"/>
                <a:gd name="connsiteY0" fmla="*/ 907223 h 978404"/>
                <a:gd name="connsiteX1" fmla="*/ -2864 w 192325"/>
                <a:gd name="connsiteY1" fmla="*/ 978010 h 978404"/>
                <a:gd name="connsiteX2" fmla="*/ -2864 w 192325"/>
                <a:gd name="connsiteY2" fmla="*/ -395 h 978404"/>
                <a:gd name="connsiteX3" fmla="*/ 189461 w 192325"/>
                <a:gd name="connsiteY3" fmla="*/ 106027 h 978404"/>
                <a:gd name="connsiteX4" fmla="*/ 189461 w 192325"/>
                <a:gd name="connsiteY4" fmla="*/ 907223 h 97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325" h="978404">
                  <a:moveTo>
                    <a:pt x="189461" y="907223"/>
                  </a:moveTo>
                  <a:lnTo>
                    <a:pt x="-2864" y="978010"/>
                  </a:lnTo>
                  <a:lnTo>
                    <a:pt x="-2864" y="-395"/>
                  </a:lnTo>
                  <a:lnTo>
                    <a:pt x="189461" y="106027"/>
                  </a:lnTo>
                  <a:lnTo>
                    <a:pt x="189461" y="907223"/>
                  </a:lnTo>
                </a:path>
              </a:pathLst>
            </a:custGeom>
            <a:solidFill>
              <a:srgbClr val="B5462D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4" name="Vrije vorm 63">
              <a:extLst>
                <a:ext uri="{FF2B5EF4-FFF2-40B4-BE49-F238E27FC236}">
                  <a16:creationId xmlns:a16="http://schemas.microsoft.com/office/drawing/2014/main" id="{99C36917-F3C3-E98F-8D0C-EE55D1F55ADB}"/>
                </a:ext>
              </a:extLst>
            </p:cNvPr>
            <p:cNvSpPr/>
            <p:nvPr/>
          </p:nvSpPr>
          <p:spPr>
            <a:xfrm flipV="1">
              <a:off x="8027895" y="3508086"/>
              <a:ext cx="17386" cy="978404"/>
            </a:xfrm>
            <a:custGeom>
              <a:avLst/>
              <a:gdLst>
                <a:gd name="connsiteX0" fmla="*/ -2793 w 17386"/>
                <a:gd name="connsiteY0" fmla="*/ 978010 h 978404"/>
                <a:gd name="connsiteX1" fmla="*/ 14594 w 17386"/>
                <a:gd name="connsiteY1" fmla="*/ 978010 h 978404"/>
                <a:gd name="connsiteX2" fmla="*/ 14594 w 17386"/>
                <a:gd name="connsiteY2" fmla="*/ -395 h 978404"/>
                <a:gd name="connsiteX3" fmla="*/ -178 w 17386"/>
                <a:gd name="connsiteY3" fmla="*/ 1229 h 978404"/>
                <a:gd name="connsiteX4" fmla="*/ -2793 w 17386"/>
                <a:gd name="connsiteY4" fmla="*/ 978010 h 97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86" h="978404">
                  <a:moveTo>
                    <a:pt x="-2793" y="978010"/>
                  </a:moveTo>
                  <a:lnTo>
                    <a:pt x="14594" y="978010"/>
                  </a:lnTo>
                  <a:lnTo>
                    <a:pt x="14594" y="-395"/>
                  </a:lnTo>
                  <a:lnTo>
                    <a:pt x="-178" y="1229"/>
                  </a:lnTo>
                  <a:lnTo>
                    <a:pt x="-2793" y="978010"/>
                  </a:lnTo>
                </a:path>
              </a:pathLst>
            </a:custGeom>
            <a:solidFill>
              <a:srgbClr val="E24F33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5" name="Vrije vorm 64">
              <a:extLst>
                <a:ext uri="{FF2B5EF4-FFF2-40B4-BE49-F238E27FC236}">
                  <a16:creationId xmlns:a16="http://schemas.microsoft.com/office/drawing/2014/main" id="{C9AC0330-09A1-AC97-06F1-9487274D36BB}"/>
                </a:ext>
              </a:extLst>
            </p:cNvPr>
            <p:cNvSpPr/>
            <p:nvPr/>
          </p:nvSpPr>
          <p:spPr>
            <a:xfrm flipV="1">
              <a:off x="8033135" y="3502866"/>
              <a:ext cx="14772" cy="978404"/>
            </a:xfrm>
            <a:custGeom>
              <a:avLst/>
              <a:gdLst>
                <a:gd name="connsiteX0" fmla="*/ 11978 w 14772"/>
                <a:gd name="connsiteY0" fmla="*/ -395 h 978404"/>
                <a:gd name="connsiteX1" fmla="*/ -2794 w 14772"/>
                <a:gd name="connsiteY1" fmla="*/ 1229 h 978404"/>
                <a:gd name="connsiteX2" fmla="*/ 11978 w 14772"/>
                <a:gd name="connsiteY2" fmla="*/ 978010 h 978404"/>
                <a:gd name="connsiteX3" fmla="*/ 11978 w 14772"/>
                <a:gd name="connsiteY3" fmla="*/ -395 h 97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72" h="978404">
                  <a:moveTo>
                    <a:pt x="11978" y="-395"/>
                  </a:moveTo>
                  <a:lnTo>
                    <a:pt x="-2794" y="1229"/>
                  </a:lnTo>
                  <a:lnTo>
                    <a:pt x="11978" y="978010"/>
                  </a:lnTo>
                  <a:lnTo>
                    <a:pt x="11978" y="-395"/>
                  </a:lnTo>
                </a:path>
              </a:pathLst>
            </a:custGeom>
            <a:solidFill>
              <a:srgbClr val="CC452A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6" name="Vrije vorm 65">
              <a:extLst>
                <a:ext uri="{FF2B5EF4-FFF2-40B4-BE49-F238E27FC236}">
                  <a16:creationId xmlns:a16="http://schemas.microsoft.com/office/drawing/2014/main" id="{B72A2F86-F6EB-6CF8-C7E6-FE6F981088AF}"/>
                </a:ext>
              </a:extLst>
            </p:cNvPr>
            <p:cNvSpPr/>
            <p:nvPr/>
          </p:nvSpPr>
          <p:spPr>
            <a:xfrm flipV="1">
              <a:off x="8076994" y="3574318"/>
              <a:ext cx="137172" cy="157375"/>
            </a:xfrm>
            <a:custGeom>
              <a:avLst/>
              <a:gdLst>
                <a:gd name="connsiteX0" fmla="*/ 70892 w 137172"/>
                <a:gd name="connsiteY0" fmla="*/ -697 h 157375"/>
                <a:gd name="connsiteX1" fmla="*/ 126832 w 137172"/>
                <a:gd name="connsiteY1" fmla="*/ 100725 h 157375"/>
                <a:gd name="connsiteX2" fmla="*/ 134307 w 137172"/>
                <a:gd name="connsiteY2" fmla="*/ 112700 h 157375"/>
                <a:gd name="connsiteX3" fmla="*/ -2865 w 137172"/>
                <a:gd name="connsiteY3" fmla="*/ 156678 h 157375"/>
                <a:gd name="connsiteX4" fmla="*/ 4774 w 137172"/>
                <a:gd name="connsiteY4" fmla="*/ 139856 h 157375"/>
                <a:gd name="connsiteX5" fmla="*/ 70892 w 137172"/>
                <a:gd name="connsiteY5" fmla="*/ -697 h 157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172" h="157375">
                  <a:moveTo>
                    <a:pt x="70892" y="-697"/>
                  </a:moveTo>
                  <a:lnTo>
                    <a:pt x="126832" y="100725"/>
                  </a:lnTo>
                  <a:lnTo>
                    <a:pt x="134307" y="112700"/>
                  </a:lnTo>
                  <a:lnTo>
                    <a:pt x="-2865" y="156678"/>
                  </a:lnTo>
                  <a:lnTo>
                    <a:pt x="4774" y="139856"/>
                  </a:lnTo>
                  <a:lnTo>
                    <a:pt x="70892" y="-697"/>
                  </a:lnTo>
                </a:path>
              </a:pathLst>
            </a:custGeom>
            <a:solidFill>
              <a:srgbClr val="592819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7" name="Vrije vorm 66">
              <a:extLst>
                <a:ext uri="{FF2B5EF4-FFF2-40B4-BE49-F238E27FC236}">
                  <a16:creationId xmlns:a16="http://schemas.microsoft.com/office/drawing/2014/main" id="{C3006368-D444-C447-A2A1-CD3766838B4E}"/>
                </a:ext>
              </a:extLst>
            </p:cNvPr>
            <p:cNvSpPr/>
            <p:nvPr/>
          </p:nvSpPr>
          <p:spPr>
            <a:xfrm flipV="1">
              <a:off x="8076994" y="3574318"/>
              <a:ext cx="73757" cy="292565"/>
            </a:xfrm>
            <a:custGeom>
              <a:avLst/>
              <a:gdLst>
                <a:gd name="connsiteX0" fmla="*/ 70914 w 73757"/>
                <a:gd name="connsiteY0" fmla="*/ 134553 h 292565"/>
                <a:gd name="connsiteX1" fmla="*/ 4796 w 73757"/>
                <a:gd name="connsiteY1" fmla="*/ 275106 h 292565"/>
                <a:gd name="connsiteX2" fmla="*/ -2844 w 73757"/>
                <a:gd name="connsiteY2" fmla="*/ 291929 h 292565"/>
                <a:gd name="connsiteX3" fmla="*/ -2844 w 73757"/>
                <a:gd name="connsiteY3" fmla="*/ -637 h 292565"/>
                <a:gd name="connsiteX4" fmla="*/ 4796 w 73757"/>
                <a:gd name="connsiteY4" fmla="*/ 14702 h 292565"/>
                <a:gd name="connsiteX5" fmla="*/ 70914 w 73757"/>
                <a:gd name="connsiteY5" fmla="*/ 134553 h 29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757" h="292565">
                  <a:moveTo>
                    <a:pt x="70914" y="134553"/>
                  </a:moveTo>
                  <a:lnTo>
                    <a:pt x="4796" y="275106"/>
                  </a:lnTo>
                  <a:lnTo>
                    <a:pt x="-2844" y="291929"/>
                  </a:lnTo>
                  <a:lnTo>
                    <a:pt x="-2844" y="-637"/>
                  </a:lnTo>
                  <a:lnTo>
                    <a:pt x="4796" y="14702"/>
                  </a:lnTo>
                  <a:lnTo>
                    <a:pt x="70914" y="134553"/>
                  </a:lnTo>
                </a:path>
              </a:pathLst>
            </a:custGeom>
            <a:solidFill>
              <a:srgbClr val="6E2F1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8" name="Vrije vorm 67">
              <a:extLst>
                <a:ext uri="{FF2B5EF4-FFF2-40B4-BE49-F238E27FC236}">
                  <a16:creationId xmlns:a16="http://schemas.microsoft.com/office/drawing/2014/main" id="{9586D4F4-C709-D02F-C578-EED08761CCD7}"/>
                </a:ext>
              </a:extLst>
            </p:cNvPr>
            <p:cNvSpPr/>
            <p:nvPr/>
          </p:nvSpPr>
          <p:spPr>
            <a:xfrm flipV="1">
              <a:off x="8076994" y="3731694"/>
              <a:ext cx="138492" cy="136970"/>
            </a:xfrm>
            <a:custGeom>
              <a:avLst/>
              <a:gdLst>
                <a:gd name="connsiteX0" fmla="*/ 70892 w 138492"/>
                <a:gd name="connsiteY0" fmla="*/ 136405 h 136970"/>
                <a:gd name="connsiteX1" fmla="*/ 4774 w 138492"/>
                <a:gd name="connsiteY1" fmla="*/ 16554 h 136970"/>
                <a:gd name="connsiteX2" fmla="*/ -2866 w 138492"/>
                <a:gd name="connsiteY2" fmla="*/ 1215 h 136970"/>
                <a:gd name="connsiteX3" fmla="*/ 135626 w 138492"/>
                <a:gd name="connsiteY3" fmla="*/ -566 h 136970"/>
                <a:gd name="connsiteX4" fmla="*/ 128025 w 138492"/>
                <a:gd name="connsiteY4" fmla="*/ 14956 h 136970"/>
                <a:gd name="connsiteX5" fmla="*/ 70892 w 138492"/>
                <a:gd name="connsiteY5" fmla="*/ 136405 h 136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492" h="136970">
                  <a:moveTo>
                    <a:pt x="70892" y="136405"/>
                  </a:moveTo>
                  <a:lnTo>
                    <a:pt x="4774" y="16554"/>
                  </a:lnTo>
                  <a:lnTo>
                    <a:pt x="-2866" y="1215"/>
                  </a:lnTo>
                  <a:lnTo>
                    <a:pt x="135626" y="-566"/>
                  </a:lnTo>
                  <a:lnTo>
                    <a:pt x="128025" y="14956"/>
                  </a:lnTo>
                  <a:lnTo>
                    <a:pt x="70892" y="136405"/>
                  </a:lnTo>
                </a:path>
              </a:pathLst>
            </a:custGeom>
            <a:solidFill>
              <a:srgbClr val="E24F33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9" name="Vrije vorm 68">
              <a:extLst>
                <a:ext uri="{FF2B5EF4-FFF2-40B4-BE49-F238E27FC236}">
                  <a16:creationId xmlns:a16="http://schemas.microsoft.com/office/drawing/2014/main" id="{3177A96D-BEAA-9BAA-6EC5-EAC36AC63B8E}"/>
                </a:ext>
              </a:extLst>
            </p:cNvPr>
            <p:cNvSpPr/>
            <p:nvPr/>
          </p:nvSpPr>
          <p:spPr>
            <a:xfrm flipV="1">
              <a:off x="8150752" y="3618297"/>
              <a:ext cx="64734" cy="250367"/>
            </a:xfrm>
            <a:custGeom>
              <a:avLst/>
              <a:gdLst>
                <a:gd name="connsiteX0" fmla="*/ 53049 w 64734"/>
                <a:gd name="connsiteY0" fmla="*/ 237776 h 250367"/>
                <a:gd name="connsiteX1" fmla="*/ -2891 w 64734"/>
                <a:gd name="connsiteY1" fmla="*/ 136354 h 250367"/>
                <a:gd name="connsiteX2" fmla="*/ 54242 w 64734"/>
                <a:gd name="connsiteY2" fmla="*/ 14906 h 250367"/>
                <a:gd name="connsiteX3" fmla="*/ 61843 w 64734"/>
                <a:gd name="connsiteY3" fmla="*/ -616 h 250367"/>
                <a:gd name="connsiteX4" fmla="*/ 60524 w 64734"/>
                <a:gd name="connsiteY4" fmla="*/ 249751 h 250367"/>
                <a:gd name="connsiteX5" fmla="*/ 53049 w 64734"/>
                <a:gd name="connsiteY5" fmla="*/ 237776 h 250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734" h="250367">
                  <a:moveTo>
                    <a:pt x="53049" y="237776"/>
                  </a:moveTo>
                  <a:lnTo>
                    <a:pt x="-2891" y="136354"/>
                  </a:lnTo>
                  <a:lnTo>
                    <a:pt x="54242" y="14906"/>
                  </a:lnTo>
                  <a:lnTo>
                    <a:pt x="61843" y="-616"/>
                  </a:lnTo>
                  <a:lnTo>
                    <a:pt x="60524" y="249751"/>
                  </a:lnTo>
                  <a:lnTo>
                    <a:pt x="53049" y="237776"/>
                  </a:lnTo>
                </a:path>
              </a:pathLst>
            </a:custGeom>
            <a:solidFill>
              <a:srgbClr val="C94C31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0" name="Vrije vorm 69">
              <a:extLst>
                <a:ext uri="{FF2B5EF4-FFF2-40B4-BE49-F238E27FC236}">
                  <a16:creationId xmlns:a16="http://schemas.microsoft.com/office/drawing/2014/main" id="{AB8EE563-E1BA-73AE-67C5-A23CC0B9C3B8}"/>
                </a:ext>
              </a:extLst>
            </p:cNvPr>
            <p:cNvSpPr/>
            <p:nvPr/>
          </p:nvSpPr>
          <p:spPr>
            <a:xfrm flipV="1">
              <a:off x="8151107" y="4067444"/>
              <a:ext cx="66828" cy="245346"/>
            </a:xfrm>
            <a:custGeom>
              <a:avLst/>
              <a:gdLst>
                <a:gd name="connsiteX0" fmla="*/ -2892 w 66828"/>
                <a:gd name="connsiteY0" fmla="*/ 91574 h 245346"/>
                <a:gd name="connsiteX1" fmla="*/ 56081 w 66828"/>
                <a:gd name="connsiteY1" fmla="*/ 7778 h 245346"/>
                <a:gd name="connsiteX2" fmla="*/ 63937 w 66828"/>
                <a:gd name="connsiteY2" fmla="*/ -218 h 245346"/>
                <a:gd name="connsiteX3" fmla="*/ 62553 w 66828"/>
                <a:gd name="connsiteY3" fmla="*/ 245129 h 245346"/>
                <a:gd name="connsiteX4" fmla="*/ 54837 w 66828"/>
                <a:gd name="connsiteY4" fmla="*/ 225727 h 245346"/>
                <a:gd name="connsiteX5" fmla="*/ -2892 w 66828"/>
                <a:gd name="connsiteY5" fmla="*/ 91574 h 24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828" h="245346">
                  <a:moveTo>
                    <a:pt x="-2892" y="91574"/>
                  </a:moveTo>
                  <a:lnTo>
                    <a:pt x="56081" y="7778"/>
                  </a:lnTo>
                  <a:lnTo>
                    <a:pt x="63937" y="-218"/>
                  </a:lnTo>
                  <a:lnTo>
                    <a:pt x="62553" y="245129"/>
                  </a:lnTo>
                  <a:lnTo>
                    <a:pt x="54837" y="225727"/>
                  </a:lnTo>
                  <a:lnTo>
                    <a:pt x="-2892" y="91574"/>
                  </a:lnTo>
                </a:path>
              </a:pathLst>
            </a:custGeom>
            <a:solidFill>
              <a:srgbClr val="C94C31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1" name="Vrije vorm 70">
              <a:extLst>
                <a:ext uri="{FF2B5EF4-FFF2-40B4-BE49-F238E27FC236}">
                  <a16:creationId xmlns:a16="http://schemas.microsoft.com/office/drawing/2014/main" id="{FBA330E9-0124-4DBF-F10B-05B3A54F3632}"/>
                </a:ext>
              </a:extLst>
            </p:cNvPr>
            <p:cNvSpPr/>
            <p:nvPr/>
          </p:nvSpPr>
          <p:spPr>
            <a:xfrm flipV="1">
              <a:off x="8076994" y="4067444"/>
              <a:ext cx="139558" cy="153555"/>
            </a:xfrm>
            <a:custGeom>
              <a:avLst/>
              <a:gdLst>
                <a:gd name="connsiteX0" fmla="*/ 71247 w 139558"/>
                <a:gd name="connsiteY0" fmla="*/ -259 h 153555"/>
                <a:gd name="connsiteX1" fmla="*/ 128976 w 139558"/>
                <a:gd name="connsiteY1" fmla="*/ 133895 h 153555"/>
                <a:gd name="connsiteX2" fmla="*/ 136692 w 139558"/>
                <a:gd name="connsiteY2" fmla="*/ 153297 h 153555"/>
                <a:gd name="connsiteX3" fmla="*/ -2866 w 139558"/>
                <a:gd name="connsiteY3" fmla="*/ 108261 h 153555"/>
                <a:gd name="connsiteX4" fmla="*/ 5015 w 139558"/>
                <a:gd name="connsiteY4" fmla="*/ 93914 h 153555"/>
                <a:gd name="connsiteX5" fmla="*/ 71247 w 139558"/>
                <a:gd name="connsiteY5" fmla="*/ -259 h 153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558" h="153555">
                  <a:moveTo>
                    <a:pt x="71247" y="-259"/>
                  </a:moveTo>
                  <a:lnTo>
                    <a:pt x="128976" y="133895"/>
                  </a:lnTo>
                  <a:lnTo>
                    <a:pt x="136692" y="153297"/>
                  </a:lnTo>
                  <a:lnTo>
                    <a:pt x="-2866" y="108261"/>
                  </a:lnTo>
                  <a:lnTo>
                    <a:pt x="5015" y="93914"/>
                  </a:lnTo>
                  <a:lnTo>
                    <a:pt x="71247" y="-259"/>
                  </a:lnTo>
                </a:path>
              </a:pathLst>
            </a:custGeom>
            <a:solidFill>
              <a:srgbClr val="592819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2" name="Vrije vorm 71">
              <a:extLst>
                <a:ext uri="{FF2B5EF4-FFF2-40B4-BE49-F238E27FC236}">
                  <a16:creationId xmlns:a16="http://schemas.microsoft.com/office/drawing/2014/main" id="{E5254B88-57C3-4410-4B7C-D50013240B1B}"/>
                </a:ext>
              </a:extLst>
            </p:cNvPr>
            <p:cNvSpPr/>
            <p:nvPr/>
          </p:nvSpPr>
          <p:spPr>
            <a:xfrm flipV="1">
              <a:off x="8076994" y="4220999"/>
              <a:ext cx="140941" cy="170686"/>
            </a:xfrm>
            <a:custGeom>
              <a:avLst/>
              <a:gdLst>
                <a:gd name="connsiteX0" fmla="*/ 130220 w 140941"/>
                <a:gd name="connsiteY0" fmla="*/ 86777 h 170686"/>
                <a:gd name="connsiteX1" fmla="*/ 71246 w 140941"/>
                <a:gd name="connsiteY1" fmla="*/ 170572 h 170686"/>
                <a:gd name="connsiteX2" fmla="*/ 5014 w 140941"/>
                <a:gd name="connsiteY2" fmla="*/ 16689 h 170686"/>
                <a:gd name="connsiteX3" fmla="*/ -2867 w 140941"/>
                <a:gd name="connsiteY3" fmla="*/ -114 h 170686"/>
                <a:gd name="connsiteX4" fmla="*/ 138075 w 140941"/>
                <a:gd name="connsiteY4" fmla="*/ 78781 h 170686"/>
                <a:gd name="connsiteX5" fmla="*/ 130220 w 140941"/>
                <a:gd name="connsiteY5" fmla="*/ 86777 h 17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0941" h="170686">
                  <a:moveTo>
                    <a:pt x="130220" y="86777"/>
                  </a:moveTo>
                  <a:lnTo>
                    <a:pt x="71246" y="170572"/>
                  </a:lnTo>
                  <a:lnTo>
                    <a:pt x="5014" y="16689"/>
                  </a:lnTo>
                  <a:lnTo>
                    <a:pt x="-2867" y="-114"/>
                  </a:lnTo>
                  <a:lnTo>
                    <a:pt x="138075" y="78781"/>
                  </a:lnTo>
                  <a:lnTo>
                    <a:pt x="130220" y="86777"/>
                  </a:lnTo>
                </a:path>
              </a:pathLst>
            </a:custGeom>
            <a:solidFill>
              <a:srgbClr val="E24F33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3" name="Vrije vorm 72">
              <a:extLst>
                <a:ext uri="{FF2B5EF4-FFF2-40B4-BE49-F238E27FC236}">
                  <a16:creationId xmlns:a16="http://schemas.microsoft.com/office/drawing/2014/main" id="{26F11F58-CB53-AD33-203E-408E6BF21EA4}"/>
                </a:ext>
              </a:extLst>
            </p:cNvPr>
            <p:cNvSpPr/>
            <p:nvPr/>
          </p:nvSpPr>
          <p:spPr>
            <a:xfrm flipV="1">
              <a:off x="8076994" y="4112480"/>
              <a:ext cx="74112" cy="279206"/>
            </a:xfrm>
            <a:custGeom>
              <a:avLst/>
              <a:gdLst>
                <a:gd name="connsiteX0" fmla="*/ 71269 w 74112"/>
                <a:gd name="connsiteY0" fmla="*/ 170524 h 279206"/>
                <a:gd name="connsiteX1" fmla="*/ 5037 w 74112"/>
                <a:gd name="connsiteY1" fmla="*/ 264697 h 279206"/>
                <a:gd name="connsiteX2" fmla="*/ -2844 w 74112"/>
                <a:gd name="connsiteY2" fmla="*/ 279044 h 279206"/>
                <a:gd name="connsiteX3" fmla="*/ -2844 w 74112"/>
                <a:gd name="connsiteY3" fmla="*/ -162 h 279206"/>
                <a:gd name="connsiteX4" fmla="*/ 5037 w 74112"/>
                <a:gd name="connsiteY4" fmla="*/ 16641 h 279206"/>
                <a:gd name="connsiteX5" fmla="*/ 71269 w 74112"/>
                <a:gd name="connsiteY5" fmla="*/ 170524 h 279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112" h="279206">
                  <a:moveTo>
                    <a:pt x="71269" y="170524"/>
                  </a:moveTo>
                  <a:lnTo>
                    <a:pt x="5037" y="264697"/>
                  </a:lnTo>
                  <a:lnTo>
                    <a:pt x="-2844" y="279044"/>
                  </a:lnTo>
                  <a:lnTo>
                    <a:pt x="-2844" y="-162"/>
                  </a:lnTo>
                  <a:lnTo>
                    <a:pt x="5037" y="16641"/>
                  </a:lnTo>
                  <a:lnTo>
                    <a:pt x="71269" y="170524"/>
                  </a:lnTo>
                </a:path>
              </a:pathLst>
            </a:custGeom>
            <a:solidFill>
              <a:srgbClr val="6E2F1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4" name="Vrije vorm 73">
              <a:extLst>
                <a:ext uri="{FF2B5EF4-FFF2-40B4-BE49-F238E27FC236}">
                  <a16:creationId xmlns:a16="http://schemas.microsoft.com/office/drawing/2014/main" id="{CCC5AE24-B178-7BCB-35C9-591AF0CB6D27}"/>
                </a:ext>
              </a:extLst>
            </p:cNvPr>
            <p:cNvSpPr/>
            <p:nvPr/>
          </p:nvSpPr>
          <p:spPr>
            <a:xfrm flipV="1">
              <a:off x="8082008" y="3596361"/>
              <a:ext cx="123250" cy="262001"/>
            </a:xfrm>
            <a:custGeom>
              <a:avLst/>
              <a:gdLst>
                <a:gd name="connsiteX0" fmla="*/ 119192 w 123250"/>
                <a:gd name="connsiteY0" fmla="*/ 222235 h 262001"/>
                <a:gd name="connsiteX1" fmla="*/ -2866 w 123250"/>
                <a:gd name="connsiteY1" fmla="*/ 261366 h 262001"/>
                <a:gd name="connsiteX2" fmla="*/ -2866 w 123250"/>
                <a:gd name="connsiteY2" fmla="*/ 962 h 262001"/>
                <a:gd name="connsiteX3" fmla="*/ 120385 w 123250"/>
                <a:gd name="connsiteY3" fmla="*/ -635 h 262001"/>
                <a:gd name="connsiteX4" fmla="*/ 119192 w 123250"/>
                <a:gd name="connsiteY4" fmla="*/ 222235 h 26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250" h="262001">
                  <a:moveTo>
                    <a:pt x="119192" y="222235"/>
                  </a:moveTo>
                  <a:lnTo>
                    <a:pt x="-2866" y="261366"/>
                  </a:lnTo>
                  <a:lnTo>
                    <a:pt x="-2866" y="962"/>
                  </a:lnTo>
                  <a:lnTo>
                    <a:pt x="120385" y="-635"/>
                  </a:lnTo>
                  <a:lnTo>
                    <a:pt x="119192" y="222235"/>
                  </a:lnTo>
                </a:path>
              </a:pathLst>
            </a:custGeom>
            <a:solidFill>
              <a:srgbClr val="B5462D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" name="Vrije vorm 74">
              <a:extLst>
                <a:ext uri="{FF2B5EF4-FFF2-40B4-BE49-F238E27FC236}">
                  <a16:creationId xmlns:a16="http://schemas.microsoft.com/office/drawing/2014/main" id="{571C963A-CD14-9EC2-FA98-E45EFEF434BC}"/>
                </a:ext>
              </a:extLst>
            </p:cNvPr>
            <p:cNvSpPr/>
            <p:nvPr/>
          </p:nvSpPr>
          <p:spPr>
            <a:xfrm flipV="1">
              <a:off x="8082249" y="4092066"/>
              <a:ext cx="125205" cy="288036"/>
            </a:xfrm>
            <a:custGeom>
              <a:avLst/>
              <a:gdLst>
                <a:gd name="connsiteX0" fmla="*/ -2867 w 125205"/>
                <a:gd name="connsiteY0" fmla="*/ -181 h 288036"/>
                <a:gd name="connsiteX1" fmla="*/ 122339 w 125205"/>
                <a:gd name="connsiteY1" fmla="*/ 69906 h 288036"/>
                <a:gd name="connsiteX2" fmla="*/ 121095 w 125205"/>
                <a:gd name="connsiteY2" fmla="*/ 287855 h 288036"/>
                <a:gd name="connsiteX3" fmla="*/ -2867 w 125205"/>
                <a:gd name="connsiteY3" fmla="*/ 247874 h 288036"/>
                <a:gd name="connsiteX4" fmla="*/ -2867 w 125205"/>
                <a:gd name="connsiteY4" fmla="*/ -181 h 28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205" h="288036">
                  <a:moveTo>
                    <a:pt x="-2867" y="-181"/>
                  </a:moveTo>
                  <a:lnTo>
                    <a:pt x="122339" y="69906"/>
                  </a:lnTo>
                  <a:lnTo>
                    <a:pt x="121095" y="287855"/>
                  </a:lnTo>
                  <a:lnTo>
                    <a:pt x="-2867" y="247874"/>
                  </a:lnTo>
                  <a:lnTo>
                    <a:pt x="-2867" y="-181"/>
                  </a:lnTo>
                </a:path>
              </a:pathLst>
            </a:custGeom>
            <a:solidFill>
              <a:srgbClr val="B5462D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" name="Vrije vorm 75">
              <a:extLst>
                <a:ext uri="{FF2B5EF4-FFF2-40B4-BE49-F238E27FC236}">
                  <a16:creationId xmlns:a16="http://schemas.microsoft.com/office/drawing/2014/main" id="{150034E2-9B92-F903-2251-35257A449D3C}"/>
                </a:ext>
              </a:extLst>
            </p:cNvPr>
            <p:cNvSpPr/>
            <p:nvPr/>
          </p:nvSpPr>
          <p:spPr>
            <a:xfrm flipV="1">
              <a:off x="8047907" y="3502866"/>
              <a:ext cx="192325" cy="978404"/>
            </a:xfrm>
            <a:custGeom>
              <a:avLst/>
              <a:gdLst>
                <a:gd name="connsiteX0" fmla="*/ -2864 w 192325"/>
                <a:gd name="connsiteY0" fmla="*/ -395 h 978404"/>
                <a:gd name="connsiteX1" fmla="*/ -2864 w 192325"/>
                <a:gd name="connsiteY1" fmla="*/ 978010 h 978404"/>
                <a:gd name="connsiteX2" fmla="*/ 189461 w 192325"/>
                <a:gd name="connsiteY2" fmla="*/ 907223 h 978404"/>
                <a:gd name="connsiteX3" fmla="*/ 1260 w 192325"/>
                <a:gd name="connsiteY3" fmla="*/ 971863 h 978404"/>
                <a:gd name="connsiteX4" fmla="*/ -2864 w 192325"/>
                <a:gd name="connsiteY4" fmla="*/ -395 h 97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325" h="978404">
                  <a:moveTo>
                    <a:pt x="-2864" y="-395"/>
                  </a:moveTo>
                  <a:lnTo>
                    <a:pt x="-2864" y="978010"/>
                  </a:lnTo>
                  <a:lnTo>
                    <a:pt x="189461" y="907223"/>
                  </a:lnTo>
                  <a:lnTo>
                    <a:pt x="1260" y="971863"/>
                  </a:lnTo>
                  <a:lnTo>
                    <a:pt x="-2864" y="-395"/>
                  </a:lnTo>
                </a:path>
              </a:pathLst>
            </a:custGeom>
            <a:solidFill>
              <a:srgbClr val="F6885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" name="Vrije vorm 76">
              <a:extLst>
                <a:ext uri="{FF2B5EF4-FFF2-40B4-BE49-F238E27FC236}">
                  <a16:creationId xmlns:a16="http://schemas.microsoft.com/office/drawing/2014/main" id="{FDBE1F53-5285-C668-64C1-AA9BEEB8BE3D}"/>
                </a:ext>
              </a:extLst>
            </p:cNvPr>
            <p:cNvSpPr/>
            <p:nvPr/>
          </p:nvSpPr>
          <p:spPr>
            <a:xfrm flipV="1">
              <a:off x="8059963" y="3918662"/>
              <a:ext cx="35051" cy="148082"/>
            </a:xfrm>
            <a:custGeom>
              <a:avLst/>
              <a:gdLst>
                <a:gd name="connsiteX0" fmla="*/ -2819 w 35051"/>
                <a:gd name="connsiteY0" fmla="*/ 146355 h 148082"/>
                <a:gd name="connsiteX1" fmla="*/ -2819 w 35051"/>
                <a:gd name="connsiteY1" fmla="*/ -394 h 148082"/>
                <a:gd name="connsiteX2" fmla="*/ 32232 w 35051"/>
                <a:gd name="connsiteY2" fmla="*/ 8814 h 148082"/>
                <a:gd name="connsiteX3" fmla="*/ 32232 w 35051"/>
                <a:gd name="connsiteY3" fmla="*/ 147689 h 148082"/>
                <a:gd name="connsiteX4" fmla="*/ -2819 w 35051"/>
                <a:gd name="connsiteY4" fmla="*/ 146355 h 148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51" h="148082">
                  <a:moveTo>
                    <a:pt x="-2819" y="146355"/>
                  </a:moveTo>
                  <a:lnTo>
                    <a:pt x="-2819" y="-394"/>
                  </a:lnTo>
                  <a:lnTo>
                    <a:pt x="32232" y="8814"/>
                  </a:lnTo>
                  <a:lnTo>
                    <a:pt x="32232" y="147689"/>
                  </a:lnTo>
                  <a:lnTo>
                    <a:pt x="-2819" y="146355"/>
                  </a:lnTo>
                </a:path>
              </a:pathLst>
            </a:custGeom>
            <a:solidFill>
              <a:srgbClr val="592819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" name="Vrije vorm 77">
              <a:extLst>
                <a:ext uri="{FF2B5EF4-FFF2-40B4-BE49-F238E27FC236}">
                  <a16:creationId xmlns:a16="http://schemas.microsoft.com/office/drawing/2014/main" id="{A1E2631D-9E4A-D710-8F3E-A67B4A7FFA9E}"/>
                </a:ext>
              </a:extLst>
            </p:cNvPr>
            <p:cNvSpPr/>
            <p:nvPr/>
          </p:nvSpPr>
          <p:spPr>
            <a:xfrm flipV="1">
              <a:off x="8061778" y="3920923"/>
              <a:ext cx="31498" cy="143574"/>
            </a:xfrm>
            <a:custGeom>
              <a:avLst/>
              <a:gdLst>
                <a:gd name="connsiteX0" fmla="*/ -2819 w 31498"/>
                <a:gd name="connsiteY0" fmla="*/ 141871 h 143574"/>
                <a:gd name="connsiteX1" fmla="*/ -2819 w 31498"/>
                <a:gd name="connsiteY1" fmla="*/ -394 h 143574"/>
                <a:gd name="connsiteX2" fmla="*/ 28679 w 31498"/>
                <a:gd name="connsiteY2" fmla="*/ 8546 h 143574"/>
                <a:gd name="connsiteX3" fmla="*/ 28679 w 31498"/>
                <a:gd name="connsiteY3" fmla="*/ 143180 h 143574"/>
                <a:gd name="connsiteX4" fmla="*/ -2819 w 31498"/>
                <a:gd name="connsiteY4" fmla="*/ 141871 h 143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98" h="143574">
                  <a:moveTo>
                    <a:pt x="-2819" y="141871"/>
                  </a:moveTo>
                  <a:lnTo>
                    <a:pt x="-2819" y="-394"/>
                  </a:lnTo>
                  <a:lnTo>
                    <a:pt x="28679" y="8546"/>
                  </a:lnTo>
                  <a:lnTo>
                    <a:pt x="28679" y="143180"/>
                  </a:lnTo>
                  <a:lnTo>
                    <a:pt x="-2819" y="141871"/>
                  </a:lnTo>
                </a:path>
              </a:pathLst>
            </a:custGeom>
            <a:solidFill>
              <a:srgbClr val="CBC9C7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" name="Vrije vorm 78">
              <a:extLst>
                <a:ext uri="{FF2B5EF4-FFF2-40B4-BE49-F238E27FC236}">
                  <a16:creationId xmlns:a16="http://schemas.microsoft.com/office/drawing/2014/main" id="{BBB6E865-76E7-7567-CC09-EF0DA6D06761}"/>
                </a:ext>
              </a:extLst>
            </p:cNvPr>
            <p:cNvSpPr/>
            <p:nvPr/>
          </p:nvSpPr>
          <p:spPr>
            <a:xfrm flipV="1">
              <a:off x="8062096" y="3930245"/>
              <a:ext cx="28553" cy="135344"/>
            </a:xfrm>
            <a:custGeom>
              <a:avLst/>
              <a:gdLst>
                <a:gd name="connsiteX0" fmla="*/ -2820 w 28553"/>
                <a:gd name="connsiteY0" fmla="*/ 133730 h 135344"/>
                <a:gd name="connsiteX1" fmla="*/ -2820 w 28553"/>
                <a:gd name="connsiteY1" fmla="*/ -394 h 135344"/>
                <a:gd name="connsiteX2" fmla="*/ 25734 w 28553"/>
                <a:gd name="connsiteY2" fmla="*/ 8015 h 135344"/>
                <a:gd name="connsiteX3" fmla="*/ 25734 w 28553"/>
                <a:gd name="connsiteY3" fmla="*/ 134951 h 135344"/>
                <a:gd name="connsiteX4" fmla="*/ -2820 w 28553"/>
                <a:gd name="connsiteY4" fmla="*/ 133730 h 13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53" h="135344">
                  <a:moveTo>
                    <a:pt x="-2820" y="133730"/>
                  </a:moveTo>
                  <a:lnTo>
                    <a:pt x="-2820" y="-394"/>
                  </a:lnTo>
                  <a:lnTo>
                    <a:pt x="25734" y="8015"/>
                  </a:lnTo>
                  <a:lnTo>
                    <a:pt x="25734" y="134951"/>
                  </a:lnTo>
                  <a:lnTo>
                    <a:pt x="-2820" y="133730"/>
                  </a:lnTo>
                </a:path>
              </a:pathLst>
            </a:custGeom>
            <a:solidFill>
              <a:schemeClr val="bg1">
                <a:lumMod val="50000"/>
              </a:schemeClr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" name="Vrije vorm 79">
              <a:extLst>
                <a:ext uri="{FF2B5EF4-FFF2-40B4-BE49-F238E27FC236}">
                  <a16:creationId xmlns:a16="http://schemas.microsoft.com/office/drawing/2014/main" id="{4F3B1FE5-CE0D-08D3-3C4A-0B4410FF3E22}"/>
                </a:ext>
              </a:extLst>
            </p:cNvPr>
            <p:cNvSpPr/>
            <p:nvPr/>
          </p:nvSpPr>
          <p:spPr>
            <a:xfrm flipV="1">
              <a:off x="8064722" y="3925025"/>
              <a:ext cx="28553" cy="135344"/>
            </a:xfrm>
            <a:custGeom>
              <a:avLst/>
              <a:gdLst>
                <a:gd name="connsiteX0" fmla="*/ -2820 w 28553"/>
                <a:gd name="connsiteY0" fmla="*/ -394 h 135344"/>
                <a:gd name="connsiteX1" fmla="*/ -2820 w 28553"/>
                <a:gd name="connsiteY1" fmla="*/ 133730 h 135344"/>
                <a:gd name="connsiteX2" fmla="*/ 25734 w 28553"/>
                <a:gd name="connsiteY2" fmla="*/ 134951 h 135344"/>
                <a:gd name="connsiteX3" fmla="*/ 188 w 28553"/>
                <a:gd name="connsiteY3" fmla="*/ 129985 h 135344"/>
                <a:gd name="connsiteX4" fmla="*/ -2820 w 28553"/>
                <a:gd name="connsiteY4" fmla="*/ -394 h 13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53" h="135344">
                  <a:moveTo>
                    <a:pt x="-2820" y="-394"/>
                  </a:moveTo>
                  <a:lnTo>
                    <a:pt x="-2820" y="133730"/>
                  </a:lnTo>
                  <a:lnTo>
                    <a:pt x="25734" y="134951"/>
                  </a:lnTo>
                  <a:lnTo>
                    <a:pt x="188" y="129985"/>
                  </a:lnTo>
                  <a:lnTo>
                    <a:pt x="-2820" y="-394"/>
                  </a:lnTo>
                </a:path>
              </a:pathLst>
            </a:custGeom>
            <a:solidFill>
              <a:srgbClr val="FFFFF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1" name="Vrije vorm 80">
              <a:extLst>
                <a:ext uri="{FF2B5EF4-FFF2-40B4-BE49-F238E27FC236}">
                  <a16:creationId xmlns:a16="http://schemas.microsoft.com/office/drawing/2014/main" id="{98B4C0B5-48AD-7406-F197-EC8C874FEEE7}"/>
                </a:ext>
              </a:extLst>
            </p:cNvPr>
            <p:cNvSpPr/>
            <p:nvPr/>
          </p:nvSpPr>
          <p:spPr>
            <a:xfrm flipV="1">
              <a:off x="8095015" y="3984031"/>
              <a:ext cx="22906" cy="27557"/>
            </a:xfrm>
            <a:custGeom>
              <a:avLst/>
              <a:gdLst>
                <a:gd name="connsiteX0" fmla="*/ -2839 w 22906"/>
                <a:gd name="connsiteY0" fmla="*/ -389 h 27557"/>
                <a:gd name="connsiteX1" fmla="*/ -2839 w 22906"/>
                <a:gd name="connsiteY1" fmla="*/ 4070 h 27557"/>
                <a:gd name="connsiteX2" fmla="*/ 14103 w 22906"/>
                <a:gd name="connsiteY2" fmla="*/ 7815 h 27557"/>
                <a:gd name="connsiteX3" fmla="*/ 18354 w 22906"/>
                <a:gd name="connsiteY3" fmla="*/ 19205 h 27557"/>
                <a:gd name="connsiteX4" fmla="*/ 16565 w 22906"/>
                <a:gd name="connsiteY4" fmla="*/ 26458 h 27557"/>
                <a:gd name="connsiteX5" fmla="*/ 16184 w 22906"/>
                <a:gd name="connsiteY5" fmla="*/ 27168 h 27557"/>
                <a:gd name="connsiteX6" fmla="*/ 20068 w 22906"/>
                <a:gd name="connsiteY6" fmla="*/ 15752 h 27557"/>
                <a:gd name="connsiteX7" fmla="*/ 14915 w 22906"/>
                <a:gd name="connsiteY7" fmla="*/ 2607 h 27557"/>
                <a:gd name="connsiteX8" fmla="*/ -2839 w 22906"/>
                <a:gd name="connsiteY8" fmla="*/ -389 h 2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906" h="27557">
                  <a:moveTo>
                    <a:pt x="-2839" y="-389"/>
                  </a:moveTo>
                  <a:lnTo>
                    <a:pt x="-2839" y="4070"/>
                  </a:lnTo>
                  <a:cubicBezTo>
                    <a:pt x="2415" y="5261"/>
                    <a:pt x="7288" y="6328"/>
                    <a:pt x="14103" y="7815"/>
                  </a:cubicBezTo>
                  <a:cubicBezTo>
                    <a:pt x="16718" y="8361"/>
                    <a:pt x="18621" y="13466"/>
                    <a:pt x="18354" y="19205"/>
                  </a:cubicBezTo>
                  <a:cubicBezTo>
                    <a:pt x="18228" y="22167"/>
                    <a:pt x="17555" y="24732"/>
                    <a:pt x="16565" y="26458"/>
                  </a:cubicBezTo>
                  <a:cubicBezTo>
                    <a:pt x="16451" y="26702"/>
                    <a:pt x="16324" y="26940"/>
                    <a:pt x="16184" y="27168"/>
                  </a:cubicBezTo>
                  <a:cubicBezTo>
                    <a:pt x="18431" y="26216"/>
                    <a:pt x="20093" y="21568"/>
                    <a:pt x="20068" y="15752"/>
                  </a:cubicBezTo>
                  <a:cubicBezTo>
                    <a:pt x="20017" y="8972"/>
                    <a:pt x="17707" y="3093"/>
                    <a:pt x="14915" y="2607"/>
                  </a:cubicBezTo>
                  <a:cubicBezTo>
                    <a:pt x="7783" y="1425"/>
                    <a:pt x="2618" y="563"/>
                    <a:pt x="-2839" y="-389"/>
                  </a:cubicBezTo>
                </a:path>
              </a:pathLst>
            </a:custGeom>
            <a:solidFill>
              <a:srgbClr val="682B1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2" name="Vrije vorm 81">
              <a:extLst>
                <a:ext uri="{FF2B5EF4-FFF2-40B4-BE49-F238E27FC236}">
                  <a16:creationId xmlns:a16="http://schemas.microsoft.com/office/drawing/2014/main" id="{F7506971-5998-10D6-D582-DA80B39DE28A}"/>
                </a:ext>
              </a:extLst>
            </p:cNvPr>
            <p:cNvSpPr/>
            <p:nvPr/>
          </p:nvSpPr>
          <p:spPr>
            <a:xfrm flipV="1">
              <a:off x="8093276" y="4007129"/>
              <a:ext cx="1738" cy="4762"/>
            </a:xfrm>
            <a:custGeom>
              <a:avLst/>
              <a:gdLst>
                <a:gd name="connsiteX0" fmla="*/ -2830 w 1738"/>
                <a:gd name="connsiteY0" fmla="*/ -379 h 4762"/>
                <a:gd name="connsiteX1" fmla="*/ -2830 w 1738"/>
                <a:gd name="connsiteY1" fmla="*/ 3987 h 4762"/>
                <a:gd name="connsiteX2" fmla="*/ -1092 w 1738"/>
                <a:gd name="connsiteY2" fmla="*/ 4384 h 4762"/>
                <a:gd name="connsiteX3" fmla="*/ -1092 w 1738"/>
                <a:gd name="connsiteY3" fmla="*/ -75 h 4762"/>
                <a:gd name="connsiteX4" fmla="*/ -2830 w 1738"/>
                <a:gd name="connsiteY4" fmla="*/ -379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8" h="4762">
                  <a:moveTo>
                    <a:pt x="-2830" y="-379"/>
                  </a:moveTo>
                  <a:lnTo>
                    <a:pt x="-2830" y="3987"/>
                  </a:lnTo>
                  <a:cubicBezTo>
                    <a:pt x="-2247" y="4116"/>
                    <a:pt x="-1663" y="4255"/>
                    <a:pt x="-1092" y="4384"/>
                  </a:cubicBezTo>
                  <a:lnTo>
                    <a:pt x="-1092" y="-75"/>
                  </a:lnTo>
                  <a:cubicBezTo>
                    <a:pt x="-1663" y="-176"/>
                    <a:pt x="-2247" y="-280"/>
                    <a:pt x="-2830" y="-379"/>
                  </a:cubicBezTo>
                </a:path>
              </a:pathLst>
            </a:custGeom>
            <a:solidFill>
              <a:srgbClr val="321B1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" name="Vrije vorm 82">
              <a:extLst>
                <a:ext uri="{FF2B5EF4-FFF2-40B4-BE49-F238E27FC236}">
                  <a16:creationId xmlns:a16="http://schemas.microsoft.com/office/drawing/2014/main" id="{C012CE50-D4BF-0BDB-4B44-231A733A7FFA}"/>
                </a:ext>
              </a:extLst>
            </p:cNvPr>
            <p:cNvSpPr/>
            <p:nvPr/>
          </p:nvSpPr>
          <p:spPr>
            <a:xfrm flipV="1">
              <a:off x="8075255" y="4004069"/>
              <a:ext cx="18020" cy="10149"/>
            </a:xfrm>
            <a:custGeom>
              <a:avLst/>
              <a:gdLst>
                <a:gd name="connsiteX0" fmla="*/ 1948 w 18020"/>
                <a:gd name="connsiteY0" fmla="*/ -379 h 10149"/>
                <a:gd name="connsiteX1" fmla="*/ -2824 w 18020"/>
                <a:gd name="connsiteY1" fmla="*/ 9771 h 10149"/>
                <a:gd name="connsiteX2" fmla="*/ 3103 w 18020"/>
                <a:gd name="connsiteY2" fmla="*/ 3584 h 10149"/>
                <a:gd name="connsiteX3" fmla="*/ 3331 w 18020"/>
                <a:gd name="connsiteY3" fmla="*/ 3649 h 10149"/>
                <a:gd name="connsiteX4" fmla="*/ 3395 w 18020"/>
                <a:gd name="connsiteY4" fmla="*/ 3649 h 10149"/>
                <a:gd name="connsiteX5" fmla="*/ 3902 w 18020"/>
                <a:gd name="connsiteY5" fmla="*/ 3699 h 10149"/>
                <a:gd name="connsiteX6" fmla="*/ 15197 w 18020"/>
                <a:gd name="connsiteY6" fmla="*/ 6314 h 10149"/>
                <a:gd name="connsiteX7" fmla="*/ 15197 w 18020"/>
                <a:gd name="connsiteY7" fmla="*/ 1947 h 10149"/>
                <a:gd name="connsiteX8" fmla="*/ 2329 w 18020"/>
                <a:gd name="connsiteY8" fmla="*/ -340 h 10149"/>
                <a:gd name="connsiteX9" fmla="*/ 1948 w 18020"/>
                <a:gd name="connsiteY9" fmla="*/ -379 h 10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020" h="10149">
                  <a:moveTo>
                    <a:pt x="1948" y="-379"/>
                  </a:moveTo>
                  <a:cubicBezTo>
                    <a:pt x="-527" y="-379"/>
                    <a:pt x="-2519" y="3902"/>
                    <a:pt x="-2824" y="9771"/>
                  </a:cubicBezTo>
                  <a:cubicBezTo>
                    <a:pt x="-1618" y="6467"/>
                    <a:pt x="425" y="3992"/>
                    <a:pt x="3103" y="3584"/>
                  </a:cubicBezTo>
                  <a:cubicBezTo>
                    <a:pt x="3179" y="3610"/>
                    <a:pt x="3255" y="3625"/>
                    <a:pt x="3331" y="3649"/>
                  </a:cubicBezTo>
                  <a:cubicBezTo>
                    <a:pt x="3357" y="3649"/>
                    <a:pt x="3370" y="3649"/>
                    <a:pt x="3395" y="3649"/>
                  </a:cubicBezTo>
                  <a:cubicBezTo>
                    <a:pt x="3560" y="3649"/>
                    <a:pt x="3725" y="3659"/>
                    <a:pt x="3902" y="3699"/>
                  </a:cubicBezTo>
                  <a:cubicBezTo>
                    <a:pt x="8281" y="4726"/>
                    <a:pt x="11860" y="5554"/>
                    <a:pt x="15197" y="6314"/>
                  </a:cubicBezTo>
                  <a:lnTo>
                    <a:pt x="15197" y="1947"/>
                  </a:lnTo>
                  <a:cubicBezTo>
                    <a:pt x="11390" y="1273"/>
                    <a:pt x="7354" y="563"/>
                    <a:pt x="2329" y="-340"/>
                  </a:cubicBezTo>
                  <a:cubicBezTo>
                    <a:pt x="2202" y="-364"/>
                    <a:pt x="2075" y="-379"/>
                    <a:pt x="1948" y="-379"/>
                  </a:cubicBezTo>
                </a:path>
              </a:pathLst>
            </a:custGeom>
            <a:solidFill>
              <a:srgbClr val="807F81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" name="Vrije vorm 83">
              <a:extLst>
                <a:ext uri="{FF2B5EF4-FFF2-40B4-BE49-F238E27FC236}">
                  <a16:creationId xmlns:a16="http://schemas.microsoft.com/office/drawing/2014/main" id="{9EB03BCE-4F76-A26E-DBF3-A07F585E5E6E}"/>
                </a:ext>
              </a:extLst>
            </p:cNvPr>
            <p:cNvSpPr/>
            <p:nvPr/>
          </p:nvSpPr>
          <p:spPr>
            <a:xfrm flipV="1">
              <a:off x="8074026" y="3979876"/>
              <a:ext cx="41661" cy="30379"/>
            </a:xfrm>
            <a:custGeom>
              <a:avLst/>
              <a:gdLst>
                <a:gd name="connsiteX0" fmla="*/ -2807 w 41661"/>
                <a:gd name="connsiteY0" fmla="*/ 12066 h 30379"/>
                <a:gd name="connsiteX1" fmla="*/ 4325 w 41661"/>
                <a:gd name="connsiteY1" fmla="*/ -392 h 30379"/>
                <a:gd name="connsiteX2" fmla="*/ 32524 w 41661"/>
                <a:gd name="connsiteY2" fmla="*/ 8979 h 30379"/>
                <a:gd name="connsiteX3" fmla="*/ 37752 w 41661"/>
                <a:gd name="connsiteY3" fmla="*/ 22077 h 30379"/>
                <a:gd name="connsiteX4" fmla="*/ 38831 w 41661"/>
                <a:gd name="connsiteY4" fmla="*/ 20246 h 30379"/>
                <a:gd name="connsiteX5" fmla="*/ 31585 w 41661"/>
                <a:gd name="connsiteY5" fmla="*/ 29950 h 30379"/>
                <a:gd name="connsiteX6" fmla="*/ 1571 w 41661"/>
                <a:gd name="connsiteY6" fmla="*/ 23992 h 30379"/>
                <a:gd name="connsiteX7" fmla="*/ -2807 w 41661"/>
                <a:gd name="connsiteY7" fmla="*/ 12066 h 3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661" h="30379">
                  <a:moveTo>
                    <a:pt x="-2807" y="12066"/>
                  </a:moveTo>
                  <a:cubicBezTo>
                    <a:pt x="-2540" y="6023"/>
                    <a:pt x="99" y="258"/>
                    <a:pt x="4325" y="-392"/>
                  </a:cubicBezTo>
                  <a:cubicBezTo>
                    <a:pt x="16508" y="2452"/>
                    <a:pt x="20696" y="6455"/>
                    <a:pt x="32524" y="8979"/>
                  </a:cubicBezTo>
                  <a:cubicBezTo>
                    <a:pt x="35138" y="9550"/>
                    <a:pt x="38019" y="16307"/>
                    <a:pt x="37752" y="22077"/>
                  </a:cubicBezTo>
                  <a:lnTo>
                    <a:pt x="38831" y="20246"/>
                  </a:lnTo>
                  <a:cubicBezTo>
                    <a:pt x="38565" y="25986"/>
                    <a:pt x="34186" y="30446"/>
                    <a:pt x="31585" y="29950"/>
                  </a:cubicBezTo>
                  <a:cubicBezTo>
                    <a:pt x="19732" y="27702"/>
                    <a:pt x="13754" y="26507"/>
                    <a:pt x="1571" y="23992"/>
                  </a:cubicBezTo>
                  <a:cubicBezTo>
                    <a:pt x="-1093" y="23446"/>
                    <a:pt x="-3073" y="18088"/>
                    <a:pt x="-2807" y="12066"/>
                  </a:cubicBezTo>
                </a:path>
              </a:pathLst>
            </a:custGeom>
            <a:solidFill>
              <a:srgbClr val="36454E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" name="Vrije vorm 84">
              <a:extLst>
                <a:ext uri="{FF2B5EF4-FFF2-40B4-BE49-F238E27FC236}">
                  <a16:creationId xmlns:a16="http://schemas.microsoft.com/office/drawing/2014/main" id="{58FA958A-C738-CD49-E42B-2B5F6DDCABF4}"/>
                </a:ext>
              </a:extLst>
            </p:cNvPr>
            <p:cNvSpPr/>
            <p:nvPr/>
          </p:nvSpPr>
          <p:spPr>
            <a:xfrm flipV="1">
              <a:off x="8076633" y="3982436"/>
              <a:ext cx="39599" cy="27763"/>
            </a:xfrm>
            <a:custGeom>
              <a:avLst/>
              <a:gdLst>
                <a:gd name="connsiteX0" fmla="*/ -2801 w 39599"/>
                <a:gd name="connsiteY0" fmla="*/ 9437 h 27763"/>
                <a:gd name="connsiteX1" fmla="*/ 2516 w 39599"/>
                <a:gd name="connsiteY1" fmla="*/ -332 h 27763"/>
                <a:gd name="connsiteX2" fmla="*/ 32492 w 39599"/>
                <a:gd name="connsiteY2" fmla="*/ 6424 h 27763"/>
                <a:gd name="connsiteX3" fmla="*/ 36743 w 39599"/>
                <a:gd name="connsiteY3" fmla="*/ 17815 h 27763"/>
                <a:gd name="connsiteX4" fmla="*/ 31565 w 39599"/>
                <a:gd name="connsiteY4" fmla="*/ 27330 h 27763"/>
                <a:gd name="connsiteX5" fmla="*/ 1552 w 39599"/>
                <a:gd name="connsiteY5" fmla="*/ 21333 h 27763"/>
                <a:gd name="connsiteX6" fmla="*/ -2801 w 39599"/>
                <a:gd name="connsiteY6" fmla="*/ 9437 h 27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599" h="27763">
                  <a:moveTo>
                    <a:pt x="-2801" y="9437"/>
                  </a:moveTo>
                  <a:cubicBezTo>
                    <a:pt x="-2560" y="3413"/>
                    <a:pt x="-161" y="-952"/>
                    <a:pt x="2516" y="-332"/>
                  </a:cubicBezTo>
                  <a:cubicBezTo>
                    <a:pt x="14687" y="2510"/>
                    <a:pt x="20677" y="3860"/>
                    <a:pt x="32492" y="6424"/>
                  </a:cubicBezTo>
                  <a:cubicBezTo>
                    <a:pt x="35106" y="6970"/>
                    <a:pt x="37010" y="12076"/>
                    <a:pt x="36743" y="17815"/>
                  </a:cubicBezTo>
                  <a:cubicBezTo>
                    <a:pt x="36502" y="23555"/>
                    <a:pt x="34167" y="27852"/>
                    <a:pt x="31565" y="27330"/>
                  </a:cubicBezTo>
                  <a:cubicBezTo>
                    <a:pt x="19712" y="25068"/>
                    <a:pt x="13735" y="23863"/>
                    <a:pt x="1552" y="21333"/>
                  </a:cubicBezTo>
                  <a:cubicBezTo>
                    <a:pt x="-1126" y="20777"/>
                    <a:pt x="-3106" y="15444"/>
                    <a:pt x="-2801" y="9437"/>
                  </a:cubicBezTo>
                </a:path>
              </a:pathLst>
            </a:custGeom>
            <a:solidFill>
              <a:srgbClr val="597584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" name="Vrije vorm 85">
              <a:extLst>
                <a:ext uri="{FF2B5EF4-FFF2-40B4-BE49-F238E27FC236}">
                  <a16:creationId xmlns:a16="http://schemas.microsoft.com/office/drawing/2014/main" id="{5C58C5A1-74F0-CA5A-6B57-3F7873D0EDFA}"/>
                </a:ext>
              </a:extLst>
            </p:cNvPr>
            <p:cNvSpPr/>
            <p:nvPr/>
          </p:nvSpPr>
          <p:spPr>
            <a:xfrm flipV="1">
              <a:off x="8077168" y="3989566"/>
              <a:ext cx="35508" cy="23346"/>
            </a:xfrm>
            <a:custGeom>
              <a:avLst/>
              <a:gdLst>
                <a:gd name="connsiteX0" fmla="*/ -2815 w 35508"/>
                <a:gd name="connsiteY0" fmla="*/ 7623 h 23346"/>
                <a:gd name="connsiteX1" fmla="*/ 1957 w 35508"/>
                <a:gd name="connsiteY1" fmla="*/ -338 h 23346"/>
                <a:gd name="connsiteX2" fmla="*/ 28823 w 35508"/>
                <a:gd name="connsiteY2" fmla="*/ 5619 h 23346"/>
                <a:gd name="connsiteX3" fmla="*/ 32655 w 35508"/>
                <a:gd name="connsiteY3" fmla="*/ 15130 h 23346"/>
                <a:gd name="connsiteX4" fmla="*/ 28023 w 35508"/>
                <a:gd name="connsiteY4" fmla="*/ 22918 h 23346"/>
                <a:gd name="connsiteX5" fmla="*/ 1132 w 35508"/>
                <a:gd name="connsiteY5" fmla="*/ 17496 h 23346"/>
                <a:gd name="connsiteX6" fmla="*/ -2815 w 35508"/>
                <a:gd name="connsiteY6" fmla="*/ 7623 h 23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08" h="23346">
                  <a:moveTo>
                    <a:pt x="-2815" y="7623"/>
                  </a:moveTo>
                  <a:cubicBezTo>
                    <a:pt x="-2574" y="2673"/>
                    <a:pt x="-454" y="-869"/>
                    <a:pt x="1957" y="-338"/>
                  </a:cubicBezTo>
                  <a:cubicBezTo>
                    <a:pt x="12820" y="2152"/>
                    <a:pt x="18201" y="3357"/>
                    <a:pt x="28823" y="5619"/>
                  </a:cubicBezTo>
                  <a:cubicBezTo>
                    <a:pt x="31170" y="6126"/>
                    <a:pt x="32884" y="10382"/>
                    <a:pt x="32655" y="15130"/>
                  </a:cubicBezTo>
                  <a:cubicBezTo>
                    <a:pt x="32439" y="19883"/>
                    <a:pt x="30371" y="23360"/>
                    <a:pt x="28023" y="22918"/>
                  </a:cubicBezTo>
                  <a:cubicBezTo>
                    <a:pt x="17414" y="20835"/>
                    <a:pt x="12033" y="19753"/>
                    <a:pt x="1132" y="17496"/>
                  </a:cubicBezTo>
                  <a:cubicBezTo>
                    <a:pt x="-1241" y="16986"/>
                    <a:pt x="-3031" y="12580"/>
                    <a:pt x="-2815" y="7623"/>
                  </a:cubicBezTo>
                </a:path>
              </a:pathLst>
            </a:custGeom>
            <a:solidFill>
              <a:srgbClr val="859CA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" name="Vrije vorm 86">
              <a:extLst>
                <a:ext uri="{FF2B5EF4-FFF2-40B4-BE49-F238E27FC236}">
                  <a16:creationId xmlns:a16="http://schemas.microsoft.com/office/drawing/2014/main" id="{18847EA3-FEDF-5CB6-3342-A5D466C9EE6E}"/>
                </a:ext>
              </a:extLst>
            </p:cNvPr>
            <p:cNvSpPr/>
            <p:nvPr/>
          </p:nvSpPr>
          <p:spPr>
            <a:xfrm flipV="1">
              <a:off x="8114875" y="3996806"/>
              <a:ext cx="9517" cy="24"/>
            </a:xfrm>
            <a:custGeom>
              <a:avLst/>
              <a:gdLst>
                <a:gd name="connsiteX0" fmla="*/ -2844 w 9517"/>
                <a:gd name="connsiteY0" fmla="*/ -390 h 24"/>
                <a:gd name="connsiteX1" fmla="*/ -2844 w 9517"/>
                <a:gd name="connsiteY1" fmla="*/ -381 h 24"/>
                <a:gd name="connsiteX2" fmla="*/ -2844 w 9517"/>
                <a:gd name="connsiteY2" fmla="*/ -366 h 24"/>
                <a:gd name="connsiteX3" fmla="*/ -2844 w 9517"/>
                <a:gd name="connsiteY3" fmla="*/ -390 h 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17" h="24">
                  <a:moveTo>
                    <a:pt x="-2844" y="-390"/>
                  </a:moveTo>
                  <a:lnTo>
                    <a:pt x="-2844" y="-381"/>
                  </a:lnTo>
                  <a:cubicBezTo>
                    <a:pt x="-2844" y="-381"/>
                    <a:pt x="-2844" y="-381"/>
                    <a:pt x="-2844" y="-366"/>
                  </a:cubicBezTo>
                  <a:cubicBezTo>
                    <a:pt x="-2844" y="-381"/>
                    <a:pt x="-2844" y="-390"/>
                    <a:pt x="-2844" y="-390"/>
                  </a:cubicBezTo>
                </a:path>
              </a:pathLst>
            </a:custGeom>
            <a:solidFill>
              <a:srgbClr val="EEF0F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" name="Vrije vorm 87">
              <a:extLst>
                <a:ext uri="{FF2B5EF4-FFF2-40B4-BE49-F238E27FC236}">
                  <a16:creationId xmlns:a16="http://schemas.microsoft.com/office/drawing/2014/main" id="{0DF4D862-4A27-4271-C369-65E9182C4ED3}"/>
                </a:ext>
              </a:extLst>
            </p:cNvPr>
            <p:cNvSpPr/>
            <p:nvPr/>
          </p:nvSpPr>
          <p:spPr>
            <a:xfrm flipV="1">
              <a:off x="8083669" y="3984577"/>
              <a:ext cx="31240" cy="12244"/>
            </a:xfrm>
            <a:custGeom>
              <a:avLst/>
              <a:gdLst>
                <a:gd name="connsiteX0" fmla="*/ 28372 w 31240"/>
                <a:gd name="connsiteY0" fmla="*/ -396 h 12244"/>
                <a:gd name="connsiteX1" fmla="*/ 24603 w 31240"/>
                <a:gd name="connsiteY1" fmla="*/ 10341 h 12244"/>
                <a:gd name="connsiteX2" fmla="*/ -2834 w 31240"/>
                <a:gd name="connsiteY2" fmla="*/ 5017 h 12244"/>
                <a:gd name="connsiteX3" fmla="*/ 24451 w 31240"/>
                <a:gd name="connsiteY3" fmla="*/ 11848 h 12244"/>
                <a:gd name="connsiteX4" fmla="*/ 28372 w 31240"/>
                <a:gd name="connsiteY4" fmla="*/ -381 h 12244"/>
                <a:gd name="connsiteX5" fmla="*/ 28372 w 31240"/>
                <a:gd name="connsiteY5" fmla="*/ -396 h 12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40" h="12244">
                  <a:moveTo>
                    <a:pt x="28372" y="-396"/>
                  </a:moveTo>
                  <a:cubicBezTo>
                    <a:pt x="28309" y="7914"/>
                    <a:pt x="24603" y="10341"/>
                    <a:pt x="24603" y="10341"/>
                  </a:cubicBezTo>
                  <a:cubicBezTo>
                    <a:pt x="13753" y="8322"/>
                    <a:pt x="8283" y="7239"/>
                    <a:pt x="-2834" y="5017"/>
                  </a:cubicBezTo>
                  <a:cubicBezTo>
                    <a:pt x="8232" y="7859"/>
                    <a:pt x="13664" y="9243"/>
                    <a:pt x="24451" y="11848"/>
                  </a:cubicBezTo>
                  <a:cubicBezTo>
                    <a:pt x="28956" y="11328"/>
                    <a:pt x="28398" y="150"/>
                    <a:pt x="28372" y="-381"/>
                  </a:cubicBezTo>
                  <a:cubicBezTo>
                    <a:pt x="28372" y="-396"/>
                    <a:pt x="28372" y="-396"/>
                    <a:pt x="28372" y="-396"/>
                  </a:cubicBezTo>
                </a:path>
              </a:pathLst>
            </a:custGeom>
            <a:solidFill>
              <a:srgbClr val="F4F6F7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9" name="Vrije vorm 88">
              <a:extLst>
                <a:ext uri="{FF2B5EF4-FFF2-40B4-BE49-F238E27FC236}">
                  <a16:creationId xmlns:a16="http://schemas.microsoft.com/office/drawing/2014/main" id="{948C89E7-F73D-5001-C543-8C975F3A2258}"/>
                </a:ext>
              </a:extLst>
            </p:cNvPr>
            <p:cNvSpPr/>
            <p:nvPr/>
          </p:nvSpPr>
          <p:spPr>
            <a:xfrm flipV="1">
              <a:off x="8238139" y="3723806"/>
              <a:ext cx="3896" cy="59510"/>
            </a:xfrm>
            <a:custGeom>
              <a:avLst/>
              <a:gdLst>
                <a:gd name="connsiteX0" fmla="*/ 966 w 3896"/>
                <a:gd name="connsiteY0" fmla="*/ 127 h 59510"/>
                <a:gd name="connsiteX1" fmla="*/ -950 w 3896"/>
                <a:gd name="connsiteY1" fmla="*/ -607 h 59510"/>
                <a:gd name="connsiteX2" fmla="*/ -2917 w 3896"/>
                <a:gd name="connsiteY2" fmla="*/ 2284 h 59510"/>
                <a:gd name="connsiteX3" fmla="*/ -2930 w 3896"/>
                <a:gd name="connsiteY3" fmla="*/ 58204 h 59510"/>
                <a:gd name="connsiteX4" fmla="*/ -976 w 3896"/>
                <a:gd name="connsiteY4" fmla="*/ 58903 h 59510"/>
                <a:gd name="connsiteX5" fmla="*/ 966 w 3896"/>
                <a:gd name="connsiteY5" fmla="*/ 55942 h 59510"/>
                <a:gd name="connsiteX6" fmla="*/ 966 w 3896"/>
                <a:gd name="connsiteY6" fmla="*/ 127 h 59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6" h="59510">
                  <a:moveTo>
                    <a:pt x="966" y="127"/>
                  </a:moveTo>
                  <a:lnTo>
                    <a:pt x="-950" y="-607"/>
                  </a:lnTo>
                  <a:lnTo>
                    <a:pt x="-2917" y="2284"/>
                  </a:lnTo>
                  <a:cubicBezTo>
                    <a:pt x="-2917" y="20942"/>
                    <a:pt x="-2917" y="39570"/>
                    <a:pt x="-2930" y="58204"/>
                  </a:cubicBezTo>
                  <a:lnTo>
                    <a:pt x="-976" y="58903"/>
                  </a:lnTo>
                  <a:lnTo>
                    <a:pt x="966" y="55942"/>
                  </a:lnTo>
                  <a:cubicBezTo>
                    <a:pt x="966" y="37339"/>
                    <a:pt x="966" y="18745"/>
                    <a:pt x="966" y="127"/>
                  </a:cubicBezTo>
                </a:path>
              </a:pathLst>
            </a:custGeom>
            <a:solidFill>
              <a:srgbClr val="7F818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0" name="Vrije vorm 89">
              <a:extLst>
                <a:ext uri="{FF2B5EF4-FFF2-40B4-BE49-F238E27FC236}">
                  <a16:creationId xmlns:a16="http://schemas.microsoft.com/office/drawing/2014/main" id="{02ED8290-2997-F056-D471-49D2463C5498}"/>
                </a:ext>
              </a:extLst>
            </p:cNvPr>
            <p:cNvSpPr/>
            <p:nvPr/>
          </p:nvSpPr>
          <p:spPr>
            <a:xfrm flipV="1">
              <a:off x="8239941" y="3723741"/>
              <a:ext cx="2094" cy="59575"/>
            </a:xfrm>
            <a:custGeom>
              <a:avLst/>
              <a:gdLst>
                <a:gd name="connsiteX0" fmla="*/ -2778 w 2094"/>
                <a:gd name="connsiteY0" fmla="*/ 58903 h 59575"/>
                <a:gd name="connsiteX1" fmla="*/ -2931 w 2094"/>
                <a:gd name="connsiteY1" fmla="*/ 58968 h 59575"/>
                <a:gd name="connsiteX2" fmla="*/ -2918 w 2094"/>
                <a:gd name="connsiteY2" fmla="*/ -508 h 59575"/>
                <a:gd name="connsiteX3" fmla="*/ -2753 w 2094"/>
                <a:gd name="connsiteY3" fmla="*/ -607 h 59575"/>
                <a:gd name="connsiteX4" fmla="*/ -836 w 2094"/>
                <a:gd name="connsiteY4" fmla="*/ 127 h 59575"/>
                <a:gd name="connsiteX5" fmla="*/ -836 w 2094"/>
                <a:gd name="connsiteY5" fmla="*/ 55942 h 59575"/>
                <a:gd name="connsiteX6" fmla="*/ -2778 w 2094"/>
                <a:gd name="connsiteY6" fmla="*/ 58903 h 5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4" h="59575">
                  <a:moveTo>
                    <a:pt x="-2778" y="58903"/>
                  </a:moveTo>
                  <a:lnTo>
                    <a:pt x="-2931" y="58968"/>
                  </a:lnTo>
                  <a:cubicBezTo>
                    <a:pt x="-2931" y="39130"/>
                    <a:pt x="-2931" y="19315"/>
                    <a:pt x="-2918" y="-508"/>
                  </a:cubicBezTo>
                  <a:lnTo>
                    <a:pt x="-2753" y="-607"/>
                  </a:lnTo>
                  <a:lnTo>
                    <a:pt x="-836" y="127"/>
                  </a:lnTo>
                  <a:cubicBezTo>
                    <a:pt x="-836" y="18745"/>
                    <a:pt x="-836" y="37339"/>
                    <a:pt x="-836" y="55942"/>
                  </a:cubicBezTo>
                  <a:lnTo>
                    <a:pt x="-2778" y="58903"/>
                  </a:lnTo>
                </a:path>
              </a:pathLst>
            </a:custGeom>
            <a:solidFill>
              <a:srgbClr val="4F505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" name="Vrije vorm 90">
              <a:extLst>
                <a:ext uri="{FF2B5EF4-FFF2-40B4-BE49-F238E27FC236}">
                  <a16:creationId xmlns:a16="http://schemas.microsoft.com/office/drawing/2014/main" id="{F2003B00-9276-7BE3-BBF4-6101C4DD2F23}"/>
                </a:ext>
              </a:extLst>
            </p:cNvPr>
            <p:cNvSpPr/>
            <p:nvPr/>
          </p:nvSpPr>
          <p:spPr>
            <a:xfrm flipV="1">
              <a:off x="8238139" y="4149627"/>
              <a:ext cx="3896" cy="59520"/>
            </a:xfrm>
            <a:custGeom>
              <a:avLst/>
              <a:gdLst>
                <a:gd name="connsiteX0" fmla="*/ 966 w 3896"/>
                <a:gd name="connsiteY0" fmla="*/ 532 h 59520"/>
                <a:gd name="connsiteX1" fmla="*/ -950 w 3896"/>
                <a:gd name="connsiteY1" fmla="*/ -227 h 59520"/>
                <a:gd name="connsiteX2" fmla="*/ -2917 w 3896"/>
                <a:gd name="connsiteY2" fmla="*/ 2680 h 59520"/>
                <a:gd name="connsiteX3" fmla="*/ -2930 w 3896"/>
                <a:gd name="connsiteY3" fmla="*/ 58599 h 59520"/>
                <a:gd name="connsiteX4" fmla="*/ -976 w 3896"/>
                <a:gd name="connsiteY4" fmla="*/ 59294 h 59520"/>
                <a:gd name="connsiteX5" fmla="*/ 966 w 3896"/>
                <a:gd name="connsiteY5" fmla="*/ 56312 h 59520"/>
                <a:gd name="connsiteX6" fmla="*/ 966 w 3896"/>
                <a:gd name="connsiteY6" fmla="*/ 532 h 5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6" h="59520">
                  <a:moveTo>
                    <a:pt x="966" y="532"/>
                  </a:moveTo>
                  <a:lnTo>
                    <a:pt x="-950" y="-227"/>
                  </a:lnTo>
                  <a:lnTo>
                    <a:pt x="-2917" y="2680"/>
                  </a:lnTo>
                  <a:cubicBezTo>
                    <a:pt x="-2917" y="21337"/>
                    <a:pt x="-2917" y="39966"/>
                    <a:pt x="-2930" y="58599"/>
                  </a:cubicBezTo>
                  <a:lnTo>
                    <a:pt x="-976" y="59294"/>
                  </a:lnTo>
                  <a:lnTo>
                    <a:pt x="966" y="56312"/>
                  </a:lnTo>
                  <a:cubicBezTo>
                    <a:pt x="966" y="37734"/>
                    <a:pt x="966" y="19140"/>
                    <a:pt x="966" y="532"/>
                  </a:cubicBezTo>
                </a:path>
              </a:pathLst>
            </a:custGeom>
            <a:solidFill>
              <a:srgbClr val="7F818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" name="Vrije vorm 91">
              <a:extLst>
                <a:ext uri="{FF2B5EF4-FFF2-40B4-BE49-F238E27FC236}">
                  <a16:creationId xmlns:a16="http://schemas.microsoft.com/office/drawing/2014/main" id="{0F8820E2-9DB9-F367-0191-3D1DF0118164}"/>
                </a:ext>
              </a:extLst>
            </p:cNvPr>
            <p:cNvSpPr/>
            <p:nvPr/>
          </p:nvSpPr>
          <p:spPr>
            <a:xfrm flipV="1">
              <a:off x="8239941" y="4149572"/>
              <a:ext cx="2094" cy="59575"/>
            </a:xfrm>
            <a:custGeom>
              <a:avLst/>
              <a:gdLst>
                <a:gd name="connsiteX0" fmla="*/ -2778 w 2094"/>
                <a:gd name="connsiteY0" fmla="*/ 59294 h 59575"/>
                <a:gd name="connsiteX1" fmla="*/ -2931 w 2094"/>
                <a:gd name="connsiteY1" fmla="*/ 59348 h 59575"/>
                <a:gd name="connsiteX2" fmla="*/ -2918 w 2094"/>
                <a:gd name="connsiteY2" fmla="*/ -113 h 59575"/>
                <a:gd name="connsiteX3" fmla="*/ -2753 w 2094"/>
                <a:gd name="connsiteY3" fmla="*/ -227 h 59575"/>
                <a:gd name="connsiteX4" fmla="*/ -836 w 2094"/>
                <a:gd name="connsiteY4" fmla="*/ 532 h 59575"/>
                <a:gd name="connsiteX5" fmla="*/ -836 w 2094"/>
                <a:gd name="connsiteY5" fmla="*/ 56312 h 59575"/>
                <a:gd name="connsiteX6" fmla="*/ -2778 w 2094"/>
                <a:gd name="connsiteY6" fmla="*/ 59294 h 5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4" h="59575">
                  <a:moveTo>
                    <a:pt x="-2778" y="59294"/>
                  </a:moveTo>
                  <a:lnTo>
                    <a:pt x="-2931" y="59348"/>
                  </a:lnTo>
                  <a:cubicBezTo>
                    <a:pt x="-2931" y="39535"/>
                    <a:pt x="-2931" y="19710"/>
                    <a:pt x="-2918" y="-113"/>
                  </a:cubicBezTo>
                  <a:lnTo>
                    <a:pt x="-2753" y="-227"/>
                  </a:lnTo>
                  <a:lnTo>
                    <a:pt x="-836" y="532"/>
                  </a:lnTo>
                  <a:cubicBezTo>
                    <a:pt x="-836" y="19140"/>
                    <a:pt x="-836" y="37734"/>
                    <a:pt x="-836" y="56312"/>
                  </a:cubicBezTo>
                  <a:lnTo>
                    <a:pt x="-2778" y="59294"/>
                  </a:lnTo>
                </a:path>
              </a:pathLst>
            </a:custGeom>
            <a:solidFill>
              <a:srgbClr val="4F505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" name="Vrije vorm 92">
              <a:extLst>
                <a:ext uri="{FF2B5EF4-FFF2-40B4-BE49-F238E27FC236}">
                  <a16:creationId xmlns:a16="http://schemas.microsoft.com/office/drawing/2014/main" id="{70EC71C5-379B-F3A2-89AB-157FABD03252}"/>
                </a:ext>
              </a:extLst>
            </p:cNvPr>
            <p:cNvSpPr/>
            <p:nvPr/>
          </p:nvSpPr>
          <p:spPr>
            <a:xfrm flipV="1">
              <a:off x="6517816" y="3563979"/>
              <a:ext cx="1225047" cy="572169"/>
            </a:xfrm>
            <a:custGeom>
              <a:avLst/>
              <a:gdLst>
                <a:gd name="connsiteX0" fmla="*/ 666533 w 1225047"/>
                <a:gd name="connsiteY0" fmla="*/ -521 h 572169"/>
                <a:gd name="connsiteX1" fmla="*/ 442709 w 1225047"/>
                <a:gd name="connsiteY1" fmla="*/ 20027 h 572169"/>
                <a:gd name="connsiteX2" fmla="*/ 166981 w 1225047"/>
                <a:gd name="connsiteY2" fmla="*/ 103009 h 572169"/>
                <a:gd name="connsiteX3" fmla="*/ -2172 w 1225047"/>
                <a:gd name="connsiteY3" fmla="*/ 199831 h 572169"/>
                <a:gd name="connsiteX4" fmla="*/ -2172 w 1225047"/>
                <a:gd name="connsiteY4" fmla="*/ 571648 h 572169"/>
                <a:gd name="connsiteX5" fmla="*/ 1222875 w 1225047"/>
                <a:gd name="connsiteY5" fmla="*/ 571648 h 572169"/>
                <a:gd name="connsiteX6" fmla="*/ 1222875 w 1225047"/>
                <a:gd name="connsiteY6" fmla="*/ 124266 h 572169"/>
                <a:gd name="connsiteX7" fmla="*/ 733019 w 1225047"/>
                <a:gd name="connsiteY7" fmla="*/ 1255 h 572169"/>
                <a:gd name="connsiteX8" fmla="*/ 666533 w 1225047"/>
                <a:gd name="connsiteY8" fmla="*/ -521 h 572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25047" h="572169">
                  <a:moveTo>
                    <a:pt x="666533" y="-521"/>
                  </a:moveTo>
                  <a:cubicBezTo>
                    <a:pt x="591252" y="-521"/>
                    <a:pt x="516111" y="6310"/>
                    <a:pt x="442709" y="20027"/>
                  </a:cubicBezTo>
                  <a:cubicBezTo>
                    <a:pt x="347288" y="37842"/>
                    <a:pt x="252122" y="64136"/>
                    <a:pt x="166981" y="103009"/>
                  </a:cubicBezTo>
                  <a:cubicBezTo>
                    <a:pt x="106662" y="130551"/>
                    <a:pt x="50189" y="163269"/>
                    <a:pt x="-2172" y="199831"/>
                  </a:cubicBezTo>
                  <a:lnTo>
                    <a:pt x="-2172" y="571648"/>
                  </a:lnTo>
                  <a:lnTo>
                    <a:pt x="1222875" y="571648"/>
                  </a:lnTo>
                  <a:lnTo>
                    <a:pt x="1222875" y="124266"/>
                  </a:lnTo>
                  <a:cubicBezTo>
                    <a:pt x="1071083" y="59511"/>
                    <a:pt x="905776" y="10528"/>
                    <a:pt x="733019" y="1255"/>
                  </a:cubicBezTo>
                  <a:cubicBezTo>
                    <a:pt x="710874" y="74"/>
                    <a:pt x="688691" y="-521"/>
                    <a:pt x="666533" y="-521"/>
                  </a:cubicBezTo>
                </a:path>
              </a:pathLst>
            </a:custGeom>
            <a:solidFill>
              <a:srgbClr val="9BB692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" name="Vrije vorm 93">
              <a:extLst>
                <a:ext uri="{FF2B5EF4-FFF2-40B4-BE49-F238E27FC236}">
                  <a16:creationId xmlns:a16="http://schemas.microsoft.com/office/drawing/2014/main" id="{6D3407D9-2608-932D-F39F-B3D9D1E927D3}"/>
                </a:ext>
              </a:extLst>
            </p:cNvPr>
            <p:cNvSpPr/>
            <p:nvPr/>
          </p:nvSpPr>
          <p:spPr>
            <a:xfrm flipV="1">
              <a:off x="6517816" y="3935796"/>
              <a:ext cx="1225047" cy="269884"/>
            </a:xfrm>
            <a:custGeom>
              <a:avLst/>
              <a:gdLst>
                <a:gd name="connsiteX0" fmla="*/ 1222875 w 1225047"/>
                <a:gd name="connsiteY0" fmla="*/ -324 h 269884"/>
                <a:gd name="connsiteX1" fmla="*/ -2172 w 1225047"/>
                <a:gd name="connsiteY1" fmla="*/ -324 h 269884"/>
                <a:gd name="connsiteX2" fmla="*/ -2172 w 1225047"/>
                <a:gd name="connsiteY2" fmla="*/ 269560 h 269884"/>
                <a:gd name="connsiteX3" fmla="*/ 166981 w 1225047"/>
                <a:gd name="connsiteY3" fmla="*/ 172738 h 269884"/>
                <a:gd name="connsiteX4" fmla="*/ 442709 w 1225047"/>
                <a:gd name="connsiteY4" fmla="*/ 89757 h 269884"/>
                <a:gd name="connsiteX5" fmla="*/ 666533 w 1225047"/>
                <a:gd name="connsiteY5" fmla="*/ 69208 h 269884"/>
                <a:gd name="connsiteX6" fmla="*/ 733019 w 1225047"/>
                <a:gd name="connsiteY6" fmla="*/ 70985 h 269884"/>
                <a:gd name="connsiteX7" fmla="*/ 1222875 w 1225047"/>
                <a:gd name="connsiteY7" fmla="*/ 193995 h 269884"/>
                <a:gd name="connsiteX8" fmla="*/ 1222875 w 1225047"/>
                <a:gd name="connsiteY8" fmla="*/ -324 h 269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25047" h="269884">
                  <a:moveTo>
                    <a:pt x="1222875" y="-324"/>
                  </a:moveTo>
                  <a:lnTo>
                    <a:pt x="-2172" y="-324"/>
                  </a:lnTo>
                  <a:lnTo>
                    <a:pt x="-2172" y="269560"/>
                  </a:lnTo>
                  <a:cubicBezTo>
                    <a:pt x="50189" y="232998"/>
                    <a:pt x="106662" y="200281"/>
                    <a:pt x="166981" y="172738"/>
                  </a:cubicBezTo>
                  <a:cubicBezTo>
                    <a:pt x="252122" y="133865"/>
                    <a:pt x="347288" y="107571"/>
                    <a:pt x="442709" y="89757"/>
                  </a:cubicBezTo>
                  <a:cubicBezTo>
                    <a:pt x="516111" y="76039"/>
                    <a:pt x="591252" y="69208"/>
                    <a:pt x="666533" y="69208"/>
                  </a:cubicBezTo>
                  <a:cubicBezTo>
                    <a:pt x="688691" y="69208"/>
                    <a:pt x="710874" y="69804"/>
                    <a:pt x="733019" y="70985"/>
                  </a:cubicBezTo>
                  <a:cubicBezTo>
                    <a:pt x="905776" y="80257"/>
                    <a:pt x="1071083" y="129241"/>
                    <a:pt x="1222875" y="193995"/>
                  </a:cubicBezTo>
                  <a:lnTo>
                    <a:pt x="1222875" y="-324"/>
                  </a:lnTo>
                </a:path>
              </a:pathLst>
            </a:custGeom>
            <a:solidFill>
              <a:srgbClr val="79A78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5" name="Vrije vorm 94">
              <a:extLst>
                <a:ext uri="{FF2B5EF4-FFF2-40B4-BE49-F238E27FC236}">
                  <a16:creationId xmlns:a16="http://schemas.microsoft.com/office/drawing/2014/main" id="{A135E86C-164E-2B41-EB9C-D1FAC8DACD30}"/>
                </a:ext>
              </a:extLst>
            </p:cNvPr>
            <p:cNvSpPr/>
            <p:nvPr/>
          </p:nvSpPr>
          <p:spPr>
            <a:xfrm flipV="1">
              <a:off x="6509568" y="3553512"/>
              <a:ext cx="1225047" cy="641691"/>
            </a:xfrm>
            <a:custGeom>
              <a:avLst/>
              <a:gdLst>
                <a:gd name="connsiteX0" fmla="*/ 1222881 w 1225047"/>
                <a:gd name="connsiteY0" fmla="*/ -500 h 641691"/>
                <a:gd name="connsiteX1" fmla="*/ -2166 w 1225047"/>
                <a:gd name="connsiteY1" fmla="*/ -500 h 641691"/>
                <a:gd name="connsiteX2" fmla="*/ -2166 w 1225047"/>
                <a:gd name="connsiteY2" fmla="*/ 641192 h 641691"/>
                <a:gd name="connsiteX3" fmla="*/ 1222881 w 1225047"/>
                <a:gd name="connsiteY3" fmla="*/ 641192 h 641691"/>
                <a:gd name="connsiteX4" fmla="*/ 1222881 w 1225047"/>
                <a:gd name="connsiteY4" fmla="*/ -500 h 641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5047" h="641691">
                  <a:moveTo>
                    <a:pt x="1222881" y="-500"/>
                  </a:moveTo>
                  <a:lnTo>
                    <a:pt x="-2166" y="-500"/>
                  </a:lnTo>
                  <a:lnTo>
                    <a:pt x="-2166" y="641192"/>
                  </a:lnTo>
                  <a:lnTo>
                    <a:pt x="1222881" y="641192"/>
                  </a:lnTo>
                  <a:lnTo>
                    <a:pt x="1222881" y="-500"/>
                  </a:lnTo>
                </a:path>
              </a:pathLst>
            </a:custGeom>
            <a:solidFill>
              <a:srgbClr val="FFFFF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6" name="Vrije vorm 95">
              <a:extLst>
                <a:ext uri="{FF2B5EF4-FFF2-40B4-BE49-F238E27FC236}">
                  <a16:creationId xmlns:a16="http://schemas.microsoft.com/office/drawing/2014/main" id="{A57DF789-C9AF-EB3D-03C0-39E0A47B84ED}"/>
                </a:ext>
              </a:extLst>
            </p:cNvPr>
            <p:cNvSpPr/>
            <p:nvPr/>
          </p:nvSpPr>
          <p:spPr>
            <a:xfrm flipV="1">
              <a:off x="6527778" y="3578699"/>
              <a:ext cx="1188600" cy="591322"/>
            </a:xfrm>
            <a:custGeom>
              <a:avLst/>
              <a:gdLst>
                <a:gd name="connsiteX0" fmla="*/ 1186434 w 1188600"/>
                <a:gd name="connsiteY0" fmla="*/ -500 h 591322"/>
                <a:gd name="connsiteX1" fmla="*/ -2166 w 1188600"/>
                <a:gd name="connsiteY1" fmla="*/ -500 h 591322"/>
                <a:gd name="connsiteX2" fmla="*/ -2166 w 1188600"/>
                <a:gd name="connsiteY2" fmla="*/ 590822 h 591322"/>
                <a:gd name="connsiteX3" fmla="*/ 1186434 w 1188600"/>
                <a:gd name="connsiteY3" fmla="*/ 590822 h 591322"/>
                <a:gd name="connsiteX4" fmla="*/ 1186434 w 1188600"/>
                <a:gd name="connsiteY4" fmla="*/ -500 h 591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8600" h="591322">
                  <a:moveTo>
                    <a:pt x="1186434" y="-500"/>
                  </a:moveTo>
                  <a:lnTo>
                    <a:pt x="-2166" y="-500"/>
                  </a:lnTo>
                  <a:lnTo>
                    <a:pt x="-2166" y="590822"/>
                  </a:lnTo>
                  <a:lnTo>
                    <a:pt x="1186434" y="590822"/>
                  </a:lnTo>
                  <a:lnTo>
                    <a:pt x="1186434" y="-500"/>
                  </a:lnTo>
                </a:path>
              </a:pathLst>
            </a:custGeom>
            <a:solidFill>
              <a:srgbClr val="1A2518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7" name="Vrije vorm 96">
              <a:extLst>
                <a:ext uri="{FF2B5EF4-FFF2-40B4-BE49-F238E27FC236}">
                  <a16:creationId xmlns:a16="http://schemas.microsoft.com/office/drawing/2014/main" id="{996FB0C3-04EC-9B8F-8A9C-3454A362C802}"/>
                </a:ext>
              </a:extLst>
            </p:cNvPr>
            <p:cNvSpPr/>
            <p:nvPr/>
          </p:nvSpPr>
          <p:spPr>
            <a:xfrm flipV="1">
              <a:off x="6535012" y="3585455"/>
              <a:ext cx="1174119" cy="575333"/>
            </a:xfrm>
            <a:custGeom>
              <a:avLst/>
              <a:gdLst>
                <a:gd name="connsiteX0" fmla="*/ 1171953 w 1174119"/>
                <a:gd name="connsiteY0" fmla="*/ -501 h 575333"/>
                <a:gd name="connsiteX1" fmla="*/ -2166 w 1174119"/>
                <a:gd name="connsiteY1" fmla="*/ -501 h 575333"/>
                <a:gd name="connsiteX2" fmla="*/ -2166 w 1174119"/>
                <a:gd name="connsiteY2" fmla="*/ 574833 h 575333"/>
                <a:gd name="connsiteX3" fmla="*/ 1171953 w 1174119"/>
                <a:gd name="connsiteY3" fmla="*/ 574833 h 575333"/>
                <a:gd name="connsiteX4" fmla="*/ 1171953 w 1174119"/>
                <a:gd name="connsiteY4" fmla="*/ -501 h 575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19" h="575333">
                  <a:moveTo>
                    <a:pt x="1171953" y="-501"/>
                  </a:moveTo>
                  <a:lnTo>
                    <a:pt x="-2166" y="-501"/>
                  </a:lnTo>
                  <a:lnTo>
                    <a:pt x="-2166" y="574833"/>
                  </a:lnTo>
                  <a:lnTo>
                    <a:pt x="1171953" y="574833"/>
                  </a:lnTo>
                  <a:lnTo>
                    <a:pt x="1171953" y="-501"/>
                  </a:lnTo>
                </a:path>
              </a:pathLst>
            </a:custGeom>
            <a:solidFill>
              <a:srgbClr val="36363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8" name="Vrije vorm 97">
              <a:extLst>
                <a:ext uri="{FF2B5EF4-FFF2-40B4-BE49-F238E27FC236}">
                  <a16:creationId xmlns:a16="http://schemas.microsoft.com/office/drawing/2014/main" id="{9EB67BC7-B648-3749-0216-A399450E3487}"/>
                </a:ext>
              </a:extLst>
            </p:cNvPr>
            <p:cNvSpPr/>
            <p:nvPr/>
          </p:nvSpPr>
          <p:spPr>
            <a:xfrm flipV="1">
              <a:off x="6535012" y="3585455"/>
              <a:ext cx="1174119" cy="333749"/>
            </a:xfrm>
            <a:custGeom>
              <a:avLst/>
              <a:gdLst>
                <a:gd name="connsiteX0" fmla="*/ 52555 w 1174119"/>
                <a:gd name="connsiteY0" fmla="*/ 157335 h 333749"/>
                <a:gd name="connsiteX1" fmla="*/ 139004 w 1174119"/>
                <a:gd name="connsiteY1" fmla="*/ 77960 h 333749"/>
                <a:gd name="connsiteX2" fmla="*/ 339477 w 1174119"/>
                <a:gd name="connsiteY2" fmla="*/ 2232 h 333749"/>
                <a:gd name="connsiteX3" fmla="*/ 808736 w 1174119"/>
                <a:gd name="connsiteY3" fmla="*/ 15705 h 333749"/>
                <a:gd name="connsiteX4" fmla="*/ 1008283 w 1174119"/>
                <a:gd name="connsiteY4" fmla="*/ 85416 h 333749"/>
                <a:gd name="connsiteX5" fmla="*/ 1102295 w 1174119"/>
                <a:gd name="connsiteY5" fmla="*/ 143290 h 333749"/>
                <a:gd name="connsiteX6" fmla="*/ 1171953 w 1174119"/>
                <a:gd name="connsiteY6" fmla="*/ 195286 h 333749"/>
                <a:gd name="connsiteX7" fmla="*/ 1171953 w 1174119"/>
                <a:gd name="connsiteY7" fmla="*/ 333141 h 333749"/>
                <a:gd name="connsiteX8" fmla="*/ -2166 w 1174119"/>
                <a:gd name="connsiteY8" fmla="*/ 333141 h 333749"/>
                <a:gd name="connsiteX9" fmla="*/ -2166 w 1174119"/>
                <a:gd name="connsiteY9" fmla="*/ 226157 h 333749"/>
                <a:gd name="connsiteX10" fmla="*/ 52555 w 1174119"/>
                <a:gd name="connsiteY10" fmla="*/ 157335 h 333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74119" h="333749">
                  <a:moveTo>
                    <a:pt x="52555" y="157335"/>
                  </a:moveTo>
                  <a:cubicBezTo>
                    <a:pt x="79764" y="127719"/>
                    <a:pt x="108622" y="100899"/>
                    <a:pt x="139004" y="77960"/>
                  </a:cubicBezTo>
                  <a:cubicBezTo>
                    <a:pt x="200401" y="31645"/>
                    <a:pt x="270110" y="9355"/>
                    <a:pt x="339477" y="2232"/>
                  </a:cubicBezTo>
                  <a:cubicBezTo>
                    <a:pt x="408729" y="-4868"/>
                    <a:pt x="740131" y="1979"/>
                    <a:pt x="808736" y="15705"/>
                  </a:cubicBezTo>
                  <a:cubicBezTo>
                    <a:pt x="876707" y="29318"/>
                    <a:pt x="944221" y="50590"/>
                    <a:pt x="1008283" y="85416"/>
                  </a:cubicBezTo>
                  <a:cubicBezTo>
                    <a:pt x="1040111" y="102749"/>
                    <a:pt x="1071469" y="122752"/>
                    <a:pt x="1102295" y="143290"/>
                  </a:cubicBezTo>
                  <a:cubicBezTo>
                    <a:pt x="1126052" y="159126"/>
                    <a:pt x="1149517" y="176067"/>
                    <a:pt x="1171953" y="195286"/>
                  </a:cubicBezTo>
                  <a:lnTo>
                    <a:pt x="1171953" y="333141"/>
                  </a:lnTo>
                  <a:lnTo>
                    <a:pt x="-2166" y="333141"/>
                  </a:lnTo>
                  <a:lnTo>
                    <a:pt x="-2166" y="226157"/>
                  </a:lnTo>
                  <a:cubicBezTo>
                    <a:pt x="14661" y="201189"/>
                    <a:pt x="33075" y="178548"/>
                    <a:pt x="52555" y="157335"/>
                  </a:cubicBezTo>
                </a:path>
              </a:pathLst>
            </a:custGeom>
            <a:solidFill>
              <a:srgbClr val="4F5051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9" name="Vrije vorm 98">
              <a:extLst>
                <a:ext uri="{FF2B5EF4-FFF2-40B4-BE49-F238E27FC236}">
                  <a16:creationId xmlns:a16="http://schemas.microsoft.com/office/drawing/2014/main" id="{1A2297A4-B830-1AF1-E75E-A27908672622}"/>
                </a:ext>
              </a:extLst>
            </p:cNvPr>
            <p:cNvSpPr/>
            <p:nvPr/>
          </p:nvSpPr>
          <p:spPr>
            <a:xfrm flipV="1">
              <a:off x="6704266" y="4241140"/>
              <a:ext cx="855141" cy="103083"/>
            </a:xfrm>
            <a:custGeom>
              <a:avLst/>
              <a:gdLst>
                <a:gd name="connsiteX0" fmla="*/ 852969 w 855141"/>
                <a:gd name="connsiteY0" fmla="*/ -126 h 103083"/>
                <a:gd name="connsiteX1" fmla="*/ 800366 w 855141"/>
                <a:gd name="connsiteY1" fmla="*/ 102957 h 103083"/>
                <a:gd name="connsiteX2" fmla="*/ 51204 w 855141"/>
                <a:gd name="connsiteY2" fmla="*/ 102957 h 103083"/>
                <a:gd name="connsiteX3" fmla="*/ -2173 w 855141"/>
                <a:gd name="connsiteY3" fmla="*/ -126 h 103083"/>
                <a:gd name="connsiteX4" fmla="*/ 852969 w 855141"/>
                <a:gd name="connsiteY4" fmla="*/ -126 h 10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5141" h="103083">
                  <a:moveTo>
                    <a:pt x="852969" y="-126"/>
                  </a:moveTo>
                  <a:lnTo>
                    <a:pt x="800366" y="102957"/>
                  </a:lnTo>
                  <a:lnTo>
                    <a:pt x="51204" y="102957"/>
                  </a:lnTo>
                  <a:lnTo>
                    <a:pt x="-2173" y="-126"/>
                  </a:lnTo>
                  <a:lnTo>
                    <a:pt x="852969" y="-126"/>
                  </a:lnTo>
                </a:path>
              </a:pathLst>
            </a:custGeom>
            <a:solidFill>
              <a:srgbClr val="F0F0E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0" name="Vrije vorm 99">
              <a:extLst>
                <a:ext uri="{FF2B5EF4-FFF2-40B4-BE49-F238E27FC236}">
                  <a16:creationId xmlns:a16="http://schemas.microsoft.com/office/drawing/2014/main" id="{86599567-032E-C0B3-F89A-BC218A5EB5FE}"/>
                </a:ext>
              </a:extLst>
            </p:cNvPr>
            <p:cNvSpPr/>
            <p:nvPr/>
          </p:nvSpPr>
          <p:spPr>
            <a:xfrm flipV="1">
              <a:off x="6749762" y="4241140"/>
              <a:ext cx="809646" cy="103083"/>
            </a:xfrm>
            <a:custGeom>
              <a:avLst/>
              <a:gdLst>
                <a:gd name="connsiteX0" fmla="*/ 807458 w 809646"/>
                <a:gd name="connsiteY0" fmla="*/ -126 h 103083"/>
                <a:gd name="connsiteX1" fmla="*/ 416487 w 809646"/>
                <a:gd name="connsiteY1" fmla="*/ -126 h 103083"/>
                <a:gd name="connsiteX2" fmla="*/ -2189 w 809646"/>
                <a:gd name="connsiteY2" fmla="*/ 87707 h 103083"/>
                <a:gd name="connsiteX3" fmla="*/ 5692 w 809646"/>
                <a:gd name="connsiteY3" fmla="*/ 102957 h 103083"/>
                <a:gd name="connsiteX4" fmla="*/ 754855 w 809646"/>
                <a:gd name="connsiteY4" fmla="*/ 102957 h 103083"/>
                <a:gd name="connsiteX5" fmla="*/ 807458 w 809646"/>
                <a:gd name="connsiteY5" fmla="*/ -126 h 10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9646" h="103083">
                  <a:moveTo>
                    <a:pt x="807458" y="-126"/>
                  </a:moveTo>
                  <a:lnTo>
                    <a:pt x="416487" y="-126"/>
                  </a:lnTo>
                  <a:cubicBezTo>
                    <a:pt x="314111" y="74763"/>
                    <a:pt x="122953" y="85534"/>
                    <a:pt x="-2189" y="87707"/>
                  </a:cubicBezTo>
                  <a:lnTo>
                    <a:pt x="5692" y="102957"/>
                  </a:lnTo>
                  <a:lnTo>
                    <a:pt x="754855" y="102957"/>
                  </a:lnTo>
                  <a:lnTo>
                    <a:pt x="807458" y="-126"/>
                  </a:lnTo>
                </a:path>
              </a:pathLst>
            </a:custGeom>
            <a:solidFill>
              <a:srgbClr val="DEDED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1" name="Vrije vorm 100">
              <a:extLst>
                <a:ext uri="{FF2B5EF4-FFF2-40B4-BE49-F238E27FC236}">
                  <a16:creationId xmlns:a16="http://schemas.microsoft.com/office/drawing/2014/main" id="{283F5D96-2969-FD7C-2878-2FECC765AF76}"/>
                </a:ext>
              </a:extLst>
            </p:cNvPr>
            <p:cNvSpPr/>
            <p:nvPr/>
          </p:nvSpPr>
          <p:spPr>
            <a:xfrm flipV="1">
              <a:off x="6704266" y="4344225"/>
              <a:ext cx="855141" cy="225682"/>
            </a:xfrm>
            <a:custGeom>
              <a:avLst/>
              <a:gdLst>
                <a:gd name="connsiteX0" fmla="*/ -2173 w 855141"/>
                <a:gd name="connsiteY0" fmla="*/ 20 h 225682"/>
                <a:gd name="connsiteX1" fmla="*/ 852969 w 855141"/>
                <a:gd name="connsiteY1" fmla="*/ 20 h 225682"/>
                <a:gd name="connsiteX2" fmla="*/ 852969 w 855141"/>
                <a:gd name="connsiteY2" fmla="*/ 225703 h 225682"/>
                <a:gd name="connsiteX3" fmla="*/ -2173 w 855141"/>
                <a:gd name="connsiteY3" fmla="*/ 225703 h 225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5141" h="225682">
                  <a:moveTo>
                    <a:pt x="-2173" y="20"/>
                  </a:moveTo>
                  <a:lnTo>
                    <a:pt x="852969" y="20"/>
                  </a:lnTo>
                  <a:lnTo>
                    <a:pt x="852969" y="225703"/>
                  </a:lnTo>
                  <a:lnTo>
                    <a:pt x="-2173" y="225703"/>
                  </a:lnTo>
                  <a:close/>
                </a:path>
              </a:pathLst>
            </a:custGeom>
            <a:solidFill>
              <a:srgbClr val="C6C5C3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2" name="Vrije vorm 101">
              <a:extLst>
                <a:ext uri="{FF2B5EF4-FFF2-40B4-BE49-F238E27FC236}">
                  <a16:creationId xmlns:a16="http://schemas.microsoft.com/office/drawing/2014/main" id="{C7ACAFDE-1D92-5B16-1BE2-E2E41A121CE7}"/>
                </a:ext>
              </a:extLst>
            </p:cNvPr>
            <p:cNvSpPr/>
            <p:nvPr/>
          </p:nvSpPr>
          <p:spPr>
            <a:xfrm flipV="1">
              <a:off x="6704266" y="4344223"/>
              <a:ext cx="855141" cy="225683"/>
            </a:xfrm>
            <a:custGeom>
              <a:avLst/>
              <a:gdLst>
                <a:gd name="connsiteX0" fmla="*/ 787320 w 855141"/>
                <a:gd name="connsiteY0" fmla="*/ 20 h 225683"/>
                <a:gd name="connsiteX1" fmla="*/ 787320 w 855141"/>
                <a:gd name="connsiteY1" fmla="*/ 20 h 225683"/>
                <a:gd name="connsiteX2" fmla="*/ 770391 w 855141"/>
                <a:gd name="connsiteY2" fmla="*/ 65466 h 225683"/>
                <a:gd name="connsiteX3" fmla="*/ 770391 w 855141"/>
                <a:gd name="connsiteY3" fmla="*/ 20 h 225683"/>
                <a:gd name="connsiteX4" fmla="*/ 708702 w 855141"/>
                <a:gd name="connsiteY4" fmla="*/ 20 h 225683"/>
                <a:gd name="connsiteX5" fmla="*/ 675935 w 855141"/>
                <a:gd name="connsiteY5" fmla="*/ 64245 h 225683"/>
                <a:gd name="connsiteX6" fmla="*/ 373519 w 855141"/>
                <a:gd name="connsiteY6" fmla="*/ 64245 h 225683"/>
                <a:gd name="connsiteX7" fmla="*/ 327541 w 855141"/>
                <a:gd name="connsiteY7" fmla="*/ 86585 h 225683"/>
                <a:gd name="connsiteX8" fmla="*/ 188274 w 855141"/>
                <a:gd name="connsiteY8" fmla="*/ 144994 h 225683"/>
                <a:gd name="connsiteX9" fmla="*/ 27320 w 855141"/>
                <a:gd name="connsiteY9" fmla="*/ 173479 h 225683"/>
                <a:gd name="connsiteX10" fmla="*/ -2173 w 855141"/>
                <a:gd name="connsiteY10" fmla="*/ 172235 h 225683"/>
                <a:gd name="connsiteX11" fmla="*/ -2173 w 855141"/>
                <a:gd name="connsiteY11" fmla="*/ 225704 h 225683"/>
                <a:gd name="connsiteX12" fmla="*/ 852969 w 855141"/>
                <a:gd name="connsiteY12" fmla="*/ 225704 h 225683"/>
                <a:gd name="connsiteX13" fmla="*/ 852969 w 855141"/>
                <a:gd name="connsiteY13" fmla="*/ 65466 h 225683"/>
                <a:gd name="connsiteX14" fmla="*/ 770391 w 855141"/>
                <a:gd name="connsiteY14" fmla="*/ 65466 h 225683"/>
                <a:gd name="connsiteX15" fmla="*/ 787320 w 855141"/>
                <a:gd name="connsiteY15" fmla="*/ 20 h 225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55141" h="225683">
                  <a:moveTo>
                    <a:pt x="787320" y="20"/>
                  </a:moveTo>
                  <a:lnTo>
                    <a:pt x="787320" y="20"/>
                  </a:lnTo>
                  <a:lnTo>
                    <a:pt x="770391" y="65466"/>
                  </a:lnTo>
                  <a:lnTo>
                    <a:pt x="770391" y="20"/>
                  </a:lnTo>
                  <a:lnTo>
                    <a:pt x="708702" y="20"/>
                  </a:lnTo>
                  <a:lnTo>
                    <a:pt x="675935" y="64245"/>
                  </a:lnTo>
                  <a:lnTo>
                    <a:pt x="373519" y="64245"/>
                  </a:lnTo>
                  <a:cubicBezTo>
                    <a:pt x="355574" y="72297"/>
                    <a:pt x="339102" y="79728"/>
                    <a:pt x="327541" y="86585"/>
                  </a:cubicBezTo>
                  <a:cubicBezTo>
                    <a:pt x="283987" y="112456"/>
                    <a:pt x="236498" y="130096"/>
                    <a:pt x="188274" y="144994"/>
                  </a:cubicBezTo>
                  <a:cubicBezTo>
                    <a:pt x="136002" y="161147"/>
                    <a:pt x="81838" y="173479"/>
                    <a:pt x="27320" y="173479"/>
                  </a:cubicBezTo>
                  <a:cubicBezTo>
                    <a:pt x="17497" y="173479"/>
                    <a:pt x="7662" y="173088"/>
                    <a:pt x="-2173" y="172235"/>
                  </a:cubicBezTo>
                  <a:lnTo>
                    <a:pt x="-2173" y="225704"/>
                  </a:lnTo>
                  <a:lnTo>
                    <a:pt x="852969" y="225704"/>
                  </a:lnTo>
                  <a:lnTo>
                    <a:pt x="852969" y="65466"/>
                  </a:lnTo>
                  <a:lnTo>
                    <a:pt x="770391" y="65466"/>
                  </a:lnTo>
                  <a:lnTo>
                    <a:pt x="787320" y="20"/>
                  </a:lnTo>
                </a:path>
              </a:pathLst>
            </a:custGeom>
            <a:solidFill>
              <a:srgbClr val="AEAEA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3" name="Vrije vorm 102">
              <a:extLst>
                <a:ext uri="{FF2B5EF4-FFF2-40B4-BE49-F238E27FC236}">
                  <a16:creationId xmlns:a16="http://schemas.microsoft.com/office/drawing/2014/main" id="{71321FFB-A402-99FC-547E-A7AC8DB2DC58}"/>
                </a:ext>
              </a:extLst>
            </p:cNvPr>
            <p:cNvSpPr/>
            <p:nvPr/>
          </p:nvSpPr>
          <p:spPr>
            <a:xfrm flipV="1">
              <a:off x="6704266" y="4344223"/>
              <a:ext cx="855141" cy="22315"/>
            </a:xfrm>
            <a:custGeom>
              <a:avLst/>
              <a:gdLst>
                <a:gd name="connsiteX0" fmla="*/ -2173 w 855141"/>
                <a:gd name="connsiteY0" fmla="*/ 22245 h 22315"/>
                <a:gd name="connsiteX1" fmla="*/ -2173 w 855141"/>
                <a:gd name="connsiteY1" fmla="*/ -70 h 22315"/>
                <a:gd name="connsiteX2" fmla="*/ 852969 w 855141"/>
                <a:gd name="connsiteY2" fmla="*/ -70 h 22315"/>
                <a:gd name="connsiteX3" fmla="*/ 852969 w 855141"/>
                <a:gd name="connsiteY3" fmla="*/ 22245 h 22315"/>
                <a:gd name="connsiteX4" fmla="*/ -2173 w 855141"/>
                <a:gd name="connsiteY4" fmla="*/ 22245 h 22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5141" h="22315">
                  <a:moveTo>
                    <a:pt x="-2173" y="22245"/>
                  </a:moveTo>
                  <a:lnTo>
                    <a:pt x="-2173" y="-70"/>
                  </a:lnTo>
                  <a:lnTo>
                    <a:pt x="852969" y="-70"/>
                  </a:lnTo>
                  <a:lnTo>
                    <a:pt x="852969" y="22245"/>
                  </a:lnTo>
                  <a:lnTo>
                    <a:pt x="-2173" y="22245"/>
                  </a:lnTo>
                </a:path>
              </a:pathLst>
            </a:custGeom>
            <a:solidFill>
              <a:srgbClr val="FFFFF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4" name="Vrije vorm 103">
              <a:extLst>
                <a:ext uri="{FF2B5EF4-FFF2-40B4-BE49-F238E27FC236}">
                  <a16:creationId xmlns:a16="http://schemas.microsoft.com/office/drawing/2014/main" id="{B47203C9-A7F2-86B6-8D29-59677766EA1C}"/>
                </a:ext>
              </a:extLst>
            </p:cNvPr>
            <p:cNvSpPr/>
            <p:nvPr/>
          </p:nvSpPr>
          <p:spPr>
            <a:xfrm flipV="1">
              <a:off x="6831249" y="4505682"/>
              <a:ext cx="610492" cy="116319"/>
            </a:xfrm>
            <a:custGeom>
              <a:avLst/>
              <a:gdLst>
                <a:gd name="connsiteX0" fmla="*/ 608317 w 610492"/>
                <a:gd name="connsiteY0" fmla="*/ 116 h 116319"/>
                <a:gd name="connsiteX1" fmla="*/ 548950 w 610492"/>
                <a:gd name="connsiteY1" fmla="*/ 116435 h 116319"/>
                <a:gd name="connsiteX2" fmla="*/ 58053 w 610492"/>
                <a:gd name="connsiteY2" fmla="*/ 116435 h 116319"/>
                <a:gd name="connsiteX3" fmla="*/ -2176 w 610492"/>
                <a:gd name="connsiteY3" fmla="*/ 116 h 116319"/>
                <a:gd name="connsiteX4" fmla="*/ 608317 w 610492"/>
                <a:gd name="connsiteY4" fmla="*/ 116 h 1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492" h="116319">
                  <a:moveTo>
                    <a:pt x="608317" y="116"/>
                  </a:moveTo>
                  <a:lnTo>
                    <a:pt x="548950" y="116435"/>
                  </a:lnTo>
                  <a:lnTo>
                    <a:pt x="58053" y="116435"/>
                  </a:lnTo>
                  <a:lnTo>
                    <a:pt x="-2176" y="116"/>
                  </a:lnTo>
                  <a:lnTo>
                    <a:pt x="608317" y="116"/>
                  </a:lnTo>
                </a:path>
              </a:pathLst>
            </a:custGeom>
            <a:solidFill>
              <a:srgbClr val="F0F0E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5" name="Vrije vorm 104">
              <a:extLst>
                <a:ext uri="{FF2B5EF4-FFF2-40B4-BE49-F238E27FC236}">
                  <a16:creationId xmlns:a16="http://schemas.microsoft.com/office/drawing/2014/main" id="{1A26B5CF-1895-84D4-B605-BE2162E74631}"/>
                </a:ext>
              </a:extLst>
            </p:cNvPr>
            <p:cNvSpPr/>
            <p:nvPr/>
          </p:nvSpPr>
          <p:spPr>
            <a:xfrm flipV="1">
              <a:off x="6882569" y="4505682"/>
              <a:ext cx="8908" cy="17194"/>
            </a:xfrm>
            <a:custGeom>
              <a:avLst/>
              <a:gdLst>
                <a:gd name="connsiteX0" fmla="*/ -2006 w 8908"/>
                <a:gd name="connsiteY0" fmla="*/ 71 h 17194"/>
                <a:gd name="connsiteX1" fmla="*/ -2006 w 8908"/>
                <a:gd name="connsiteY1" fmla="*/ 71 h 17194"/>
                <a:gd name="connsiteX2" fmla="*/ 6903 w 8908"/>
                <a:gd name="connsiteY2" fmla="*/ 17266 h 17194"/>
                <a:gd name="connsiteX3" fmla="*/ -1993 w 8908"/>
                <a:gd name="connsiteY3" fmla="*/ 71 h 17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8" h="17194">
                  <a:moveTo>
                    <a:pt x="-2006" y="71"/>
                  </a:moveTo>
                  <a:lnTo>
                    <a:pt x="-2006" y="71"/>
                  </a:lnTo>
                  <a:lnTo>
                    <a:pt x="6903" y="17266"/>
                  </a:lnTo>
                  <a:lnTo>
                    <a:pt x="-1993" y="71"/>
                  </a:lnTo>
                </a:path>
              </a:pathLst>
            </a:custGeom>
            <a:solidFill>
              <a:srgbClr val="B7B6B5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6" name="Vrije vorm 105">
              <a:extLst>
                <a:ext uri="{FF2B5EF4-FFF2-40B4-BE49-F238E27FC236}">
                  <a16:creationId xmlns:a16="http://schemas.microsoft.com/office/drawing/2014/main" id="{EF0210C9-41E0-9C17-3D03-30C7B1958794}"/>
                </a:ext>
              </a:extLst>
            </p:cNvPr>
            <p:cNvSpPr/>
            <p:nvPr/>
          </p:nvSpPr>
          <p:spPr>
            <a:xfrm flipV="1">
              <a:off x="6882569" y="4505682"/>
              <a:ext cx="559172" cy="116319"/>
            </a:xfrm>
            <a:custGeom>
              <a:avLst/>
              <a:gdLst>
                <a:gd name="connsiteX0" fmla="*/ 556978 w 559172"/>
                <a:gd name="connsiteY0" fmla="*/ 116 h 116319"/>
                <a:gd name="connsiteX1" fmla="*/ 411202 w 559172"/>
                <a:gd name="connsiteY1" fmla="*/ 116 h 116319"/>
                <a:gd name="connsiteX2" fmla="*/ -2194 w 559172"/>
                <a:gd name="connsiteY2" fmla="*/ 99240 h 116319"/>
                <a:gd name="connsiteX3" fmla="*/ 6715 w 559172"/>
                <a:gd name="connsiteY3" fmla="*/ 116435 h 116319"/>
                <a:gd name="connsiteX4" fmla="*/ 497612 w 559172"/>
                <a:gd name="connsiteY4" fmla="*/ 116435 h 116319"/>
                <a:gd name="connsiteX5" fmla="*/ 556978 w 559172"/>
                <a:gd name="connsiteY5" fmla="*/ 116 h 1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9172" h="116319">
                  <a:moveTo>
                    <a:pt x="556978" y="116"/>
                  </a:moveTo>
                  <a:lnTo>
                    <a:pt x="411202" y="116"/>
                  </a:lnTo>
                  <a:cubicBezTo>
                    <a:pt x="295679" y="84625"/>
                    <a:pt x="139027" y="96789"/>
                    <a:pt x="-2194" y="99240"/>
                  </a:cubicBezTo>
                  <a:lnTo>
                    <a:pt x="6715" y="116435"/>
                  </a:lnTo>
                  <a:lnTo>
                    <a:pt x="497612" y="116435"/>
                  </a:lnTo>
                  <a:lnTo>
                    <a:pt x="556978" y="116"/>
                  </a:lnTo>
                </a:path>
              </a:pathLst>
            </a:custGeom>
            <a:solidFill>
              <a:srgbClr val="DEDED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7" name="Vrije vorm 106">
              <a:extLst>
                <a:ext uri="{FF2B5EF4-FFF2-40B4-BE49-F238E27FC236}">
                  <a16:creationId xmlns:a16="http://schemas.microsoft.com/office/drawing/2014/main" id="{81A7E2EC-CF59-33AA-3899-573F21B5AFAA}"/>
                </a:ext>
              </a:extLst>
            </p:cNvPr>
            <p:cNvSpPr/>
            <p:nvPr/>
          </p:nvSpPr>
          <p:spPr>
            <a:xfrm flipV="1">
              <a:off x="6831249" y="4622001"/>
              <a:ext cx="610492" cy="254683"/>
            </a:xfrm>
            <a:custGeom>
              <a:avLst/>
              <a:gdLst>
                <a:gd name="connsiteX0" fmla="*/ -2176 w 610492"/>
                <a:gd name="connsiteY0" fmla="*/ 281 h 254683"/>
                <a:gd name="connsiteX1" fmla="*/ 608317 w 610492"/>
                <a:gd name="connsiteY1" fmla="*/ 281 h 254683"/>
                <a:gd name="connsiteX2" fmla="*/ 608317 w 610492"/>
                <a:gd name="connsiteY2" fmla="*/ 254965 h 254683"/>
                <a:gd name="connsiteX3" fmla="*/ -2176 w 610492"/>
                <a:gd name="connsiteY3" fmla="*/ 254965 h 254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492" h="254683">
                  <a:moveTo>
                    <a:pt x="-2176" y="281"/>
                  </a:moveTo>
                  <a:lnTo>
                    <a:pt x="608317" y="281"/>
                  </a:lnTo>
                  <a:lnTo>
                    <a:pt x="608317" y="254965"/>
                  </a:lnTo>
                  <a:lnTo>
                    <a:pt x="-2176" y="254965"/>
                  </a:lnTo>
                  <a:close/>
                </a:path>
              </a:pathLst>
            </a:custGeom>
            <a:solidFill>
              <a:srgbClr val="C6C5C3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8" name="Vrije vorm 107">
              <a:extLst>
                <a:ext uri="{FF2B5EF4-FFF2-40B4-BE49-F238E27FC236}">
                  <a16:creationId xmlns:a16="http://schemas.microsoft.com/office/drawing/2014/main" id="{FE596649-D551-7E3F-7C99-D39266705FB5}"/>
                </a:ext>
              </a:extLst>
            </p:cNvPr>
            <p:cNvSpPr/>
            <p:nvPr/>
          </p:nvSpPr>
          <p:spPr>
            <a:xfrm flipV="1">
              <a:off x="6831249" y="4622001"/>
              <a:ext cx="610492" cy="121448"/>
            </a:xfrm>
            <a:custGeom>
              <a:avLst/>
              <a:gdLst>
                <a:gd name="connsiteX0" fmla="*/ 608317 w 610492"/>
                <a:gd name="connsiteY0" fmla="*/ 222 h 121448"/>
                <a:gd name="connsiteX1" fmla="*/ 298273 w 610492"/>
                <a:gd name="connsiteY1" fmla="*/ 222 h 121448"/>
                <a:gd name="connsiteX2" fmla="*/ 212738 w 610492"/>
                <a:gd name="connsiteY2" fmla="*/ 30603 h 121448"/>
                <a:gd name="connsiteX3" fmla="*/ 31098 w 610492"/>
                <a:gd name="connsiteY3" fmla="*/ 62730 h 121448"/>
                <a:gd name="connsiteX4" fmla="*/ -2176 w 610492"/>
                <a:gd name="connsiteY4" fmla="*/ 61321 h 121448"/>
                <a:gd name="connsiteX5" fmla="*/ -2176 w 610492"/>
                <a:gd name="connsiteY5" fmla="*/ 121670 h 121448"/>
                <a:gd name="connsiteX6" fmla="*/ 608317 w 610492"/>
                <a:gd name="connsiteY6" fmla="*/ 121670 h 121448"/>
                <a:gd name="connsiteX7" fmla="*/ 608317 w 610492"/>
                <a:gd name="connsiteY7" fmla="*/ 222 h 121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0492" h="121448">
                  <a:moveTo>
                    <a:pt x="608317" y="222"/>
                  </a:moveTo>
                  <a:lnTo>
                    <a:pt x="298273" y="222"/>
                  </a:lnTo>
                  <a:cubicBezTo>
                    <a:pt x="270354" y="11840"/>
                    <a:pt x="241660" y="21658"/>
                    <a:pt x="212738" y="30603"/>
                  </a:cubicBezTo>
                  <a:cubicBezTo>
                    <a:pt x="153727" y="48814"/>
                    <a:pt x="92610" y="62730"/>
                    <a:pt x="31098" y="62730"/>
                  </a:cubicBezTo>
                  <a:cubicBezTo>
                    <a:pt x="20019" y="62730"/>
                    <a:pt x="8928" y="62273"/>
                    <a:pt x="-2176" y="61321"/>
                  </a:cubicBezTo>
                  <a:lnTo>
                    <a:pt x="-2176" y="121670"/>
                  </a:lnTo>
                  <a:lnTo>
                    <a:pt x="608317" y="121670"/>
                  </a:lnTo>
                  <a:lnTo>
                    <a:pt x="608317" y="222"/>
                  </a:lnTo>
                </a:path>
              </a:pathLst>
            </a:custGeom>
            <a:solidFill>
              <a:srgbClr val="AEAEA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9" name="Vrije vorm 108">
              <a:extLst>
                <a:ext uri="{FF2B5EF4-FFF2-40B4-BE49-F238E27FC236}">
                  <a16:creationId xmlns:a16="http://schemas.microsoft.com/office/drawing/2014/main" id="{94EA67C9-669F-D84A-C2EA-5C83945F9187}"/>
                </a:ext>
              </a:extLst>
            </p:cNvPr>
            <p:cNvSpPr/>
            <p:nvPr/>
          </p:nvSpPr>
          <p:spPr>
            <a:xfrm flipV="1">
              <a:off x="6831249" y="4622011"/>
              <a:ext cx="610492" cy="25196"/>
            </a:xfrm>
            <a:custGeom>
              <a:avLst/>
              <a:gdLst>
                <a:gd name="connsiteX0" fmla="*/ -2176 w 610492"/>
                <a:gd name="connsiteY0" fmla="*/ 25375 h 25196"/>
                <a:gd name="connsiteX1" fmla="*/ -2176 w 610492"/>
                <a:gd name="connsiteY1" fmla="*/ 179 h 25196"/>
                <a:gd name="connsiteX2" fmla="*/ 608317 w 610492"/>
                <a:gd name="connsiteY2" fmla="*/ 179 h 25196"/>
                <a:gd name="connsiteX3" fmla="*/ 608317 w 610492"/>
                <a:gd name="connsiteY3" fmla="*/ 25375 h 25196"/>
                <a:gd name="connsiteX4" fmla="*/ -2176 w 610492"/>
                <a:gd name="connsiteY4" fmla="*/ 25375 h 25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492" h="25196">
                  <a:moveTo>
                    <a:pt x="-2176" y="25375"/>
                  </a:moveTo>
                  <a:lnTo>
                    <a:pt x="-2176" y="179"/>
                  </a:lnTo>
                  <a:lnTo>
                    <a:pt x="608317" y="179"/>
                  </a:lnTo>
                  <a:lnTo>
                    <a:pt x="608317" y="25375"/>
                  </a:lnTo>
                  <a:lnTo>
                    <a:pt x="-2176" y="25375"/>
                  </a:lnTo>
                </a:path>
              </a:pathLst>
            </a:custGeom>
            <a:solidFill>
              <a:srgbClr val="FFFFF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0" name="Vrije vorm 109">
              <a:extLst>
                <a:ext uri="{FF2B5EF4-FFF2-40B4-BE49-F238E27FC236}">
                  <a16:creationId xmlns:a16="http://schemas.microsoft.com/office/drawing/2014/main" id="{1A6E0807-E769-95F6-6E67-D65A19CF0CFB}"/>
                </a:ext>
              </a:extLst>
            </p:cNvPr>
            <p:cNvSpPr/>
            <p:nvPr/>
          </p:nvSpPr>
          <p:spPr>
            <a:xfrm flipV="1">
              <a:off x="6276543" y="4504462"/>
              <a:ext cx="512077" cy="128433"/>
            </a:xfrm>
            <a:custGeom>
              <a:avLst/>
              <a:gdLst>
                <a:gd name="connsiteX0" fmla="*/ -1764 w 512077"/>
                <a:gd name="connsiteY0" fmla="*/ 120 h 128433"/>
                <a:gd name="connsiteX1" fmla="*/ 477115 w 512077"/>
                <a:gd name="connsiteY1" fmla="*/ 120 h 128433"/>
                <a:gd name="connsiteX2" fmla="*/ 510314 w 512077"/>
                <a:gd name="connsiteY2" fmla="*/ 128554 h 128433"/>
                <a:gd name="connsiteX3" fmla="*/ 98936 w 512077"/>
                <a:gd name="connsiteY3" fmla="*/ 128554 h 128433"/>
                <a:gd name="connsiteX4" fmla="*/ -1764 w 512077"/>
                <a:gd name="connsiteY4" fmla="*/ 120 h 12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2077" h="128433">
                  <a:moveTo>
                    <a:pt x="-1764" y="120"/>
                  </a:moveTo>
                  <a:lnTo>
                    <a:pt x="477115" y="120"/>
                  </a:lnTo>
                  <a:lnTo>
                    <a:pt x="510314" y="128554"/>
                  </a:lnTo>
                  <a:lnTo>
                    <a:pt x="98936" y="128554"/>
                  </a:lnTo>
                  <a:lnTo>
                    <a:pt x="-1764" y="120"/>
                  </a:lnTo>
                </a:path>
              </a:pathLst>
            </a:custGeom>
            <a:solidFill>
              <a:srgbClr val="F0F0E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1" name="Vrije vorm 110">
              <a:extLst>
                <a:ext uri="{FF2B5EF4-FFF2-40B4-BE49-F238E27FC236}">
                  <a16:creationId xmlns:a16="http://schemas.microsoft.com/office/drawing/2014/main" id="{F22BBEE8-710C-5B41-F789-8830E96D350A}"/>
                </a:ext>
              </a:extLst>
            </p:cNvPr>
            <p:cNvSpPr/>
            <p:nvPr/>
          </p:nvSpPr>
          <p:spPr>
            <a:xfrm flipV="1">
              <a:off x="6359641" y="4504462"/>
              <a:ext cx="17601" cy="22428"/>
            </a:xfrm>
            <a:custGeom>
              <a:avLst/>
              <a:gdLst>
                <a:gd name="connsiteX0" fmla="*/ -1639 w 17601"/>
                <a:gd name="connsiteY0" fmla="*/ 73 h 22428"/>
                <a:gd name="connsiteX1" fmla="*/ -1652 w 17601"/>
                <a:gd name="connsiteY1" fmla="*/ 73 h 22428"/>
                <a:gd name="connsiteX2" fmla="*/ 15950 w 17601"/>
                <a:gd name="connsiteY2" fmla="*/ 22501 h 22428"/>
                <a:gd name="connsiteX3" fmla="*/ -1639 w 17601"/>
                <a:gd name="connsiteY3" fmla="*/ 73 h 2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01" h="22428">
                  <a:moveTo>
                    <a:pt x="-1639" y="73"/>
                  </a:moveTo>
                  <a:lnTo>
                    <a:pt x="-1652" y="73"/>
                  </a:lnTo>
                  <a:lnTo>
                    <a:pt x="15950" y="22501"/>
                  </a:lnTo>
                  <a:lnTo>
                    <a:pt x="-1639" y="73"/>
                  </a:lnTo>
                </a:path>
              </a:pathLst>
            </a:custGeom>
            <a:solidFill>
              <a:srgbClr val="4FA8C6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2" name="Vrije vorm 111">
              <a:extLst>
                <a:ext uri="{FF2B5EF4-FFF2-40B4-BE49-F238E27FC236}">
                  <a16:creationId xmlns:a16="http://schemas.microsoft.com/office/drawing/2014/main" id="{C91636EA-CE00-6E0C-3073-791D3160CB27}"/>
                </a:ext>
              </a:extLst>
            </p:cNvPr>
            <p:cNvSpPr/>
            <p:nvPr/>
          </p:nvSpPr>
          <p:spPr>
            <a:xfrm flipV="1">
              <a:off x="6359654" y="4504462"/>
              <a:ext cx="428967" cy="128433"/>
            </a:xfrm>
            <a:custGeom>
              <a:avLst/>
              <a:gdLst>
                <a:gd name="connsiteX0" fmla="*/ 393976 w 428967"/>
                <a:gd name="connsiteY0" fmla="*/ 120 h 128433"/>
                <a:gd name="connsiteX1" fmla="*/ 348810 w 428967"/>
                <a:gd name="connsiteY1" fmla="*/ 120 h 128433"/>
                <a:gd name="connsiteX2" fmla="*/ 221067 w 428967"/>
                <a:gd name="connsiteY2" fmla="*/ 77908 h 128433"/>
                <a:gd name="connsiteX3" fmla="*/ 117778 w 428967"/>
                <a:gd name="connsiteY3" fmla="*/ 99076 h 128433"/>
                <a:gd name="connsiteX4" fmla="*/ 56978 w 428967"/>
                <a:gd name="connsiteY4" fmla="*/ 104195 h 128433"/>
                <a:gd name="connsiteX5" fmla="*/ -1792 w 428967"/>
                <a:gd name="connsiteY5" fmla="*/ 106126 h 128433"/>
                <a:gd name="connsiteX6" fmla="*/ 15797 w 428967"/>
                <a:gd name="connsiteY6" fmla="*/ 128554 h 128433"/>
                <a:gd name="connsiteX7" fmla="*/ 427175 w 428967"/>
                <a:gd name="connsiteY7" fmla="*/ 128554 h 128433"/>
                <a:gd name="connsiteX8" fmla="*/ 410258 w 428967"/>
                <a:gd name="connsiteY8" fmla="*/ 63108 h 128433"/>
                <a:gd name="connsiteX9" fmla="*/ 393976 w 428967"/>
                <a:gd name="connsiteY9" fmla="*/ 120 h 12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8967" h="128433">
                  <a:moveTo>
                    <a:pt x="393976" y="120"/>
                  </a:moveTo>
                  <a:lnTo>
                    <a:pt x="348810" y="120"/>
                  </a:lnTo>
                  <a:cubicBezTo>
                    <a:pt x="320104" y="40800"/>
                    <a:pt x="267844" y="63798"/>
                    <a:pt x="221067" y="77908"/>
                  </a:cubicBezTo>
                  <a:cubicBezTo>
                    <a:pt x="187386" y="88068"/>
                    <a:pt x="152614" y="94482"/>
                    <a:pt x="117778" y="99076"/>
                  </a:cubicBezTo>
                  <a:cubicBezTo>
                    <a:pt x="97575" y="101744"/>
                    <a:pt x="77346" y="103635"/>
                    <a:pt x="56978" y="104195"/>
                  </a:cubicBezTo>
                  <a:cubicBezTo>
                    <a:pt x="37384" y="104731"/>
                    <a:pt x="17739" y="104588"/>
                    <a:pt x="-1792" y="106126"/>
                  </a:cubicBezTo>
                  <a:lnTo>
                    <a:pt x="15797" y="128554"/>
                  </a:lnTo>
                  <a:lnTo>
                    <a:pt x="427175" y="128554"/>
                  </a:lnTo>
                  <a:lnTo>
                    <a:pt x="410258" y="63108"/>
                  </a:lnTo>
                  <a:lnTo>
                    <a:pt x="393976" y="120"/>
                  </a:lnTo>
                </a:path>
              </a:pathLst>
            </a:custGeom>
            <a:solidFill>
              <a:srgbClr val="DEDED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3" name="Vrije vorm 112">
              <a:extLst>
                <a:ext uri="{FF2B5EF4-FFF2-40B4-BE49-F238E27FC236}">
                  <a16:creationId xmlns:a16="http://schemas.microsoft.com/office/drawing/2014/main" id="{88C481D1-053E-71D1-573A-E53387175B83}"/>
                </a:ext>
              </a:extLst>
            </p:cNvPr>
            <p:cNvSpPr/>
            <p:nvPr/>
          </p:nvSpPr>
          <p:spPr>
            <a:xfrm flipV="1">
              <a:off x="6755422" y="4504462"/>
              <a:ext cx="33198" cy="372223"/>
            </a:xfrm>
            <a:custGeom>
              <a:avLst/>
              <a:gdLst>
                <a:gd name="connsiteX0" fmla="*/ 31271 w 33198"/>
                <a:gd name="connsiteY0" fmla="*/ 110823 h 372223"/>
                <a:gd name="connsiteX1" fmla="*/ 31271 w 33198"/>
                <a:gd name="connsiteY1" fmla="*/ 372452 h 372223"/>
                <a:gd name="connsiteX2" fmla="*/ -1927 w 33198"/>
                <a:gd name="connsiteY2" fmla="*/ 244018 h 372223"/>
                <a:gd name="connsiteX3" fmla="*/ -1927 w 33198"/>
                <a:gd name="connsiteY3" fmla="*/ 229 h 372223"/>
                <a:gd name="connsiteX4" fmla="*/ 31271 w 33198"/>
                <a:gd name="connsiteY4" fmla="*/ 110823 h 372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98" h="372223">
                  <a:moveTo>
                    <a:pt x="31271" y="110823"/>
                  </a:moveTo>
                  <a:lnTo>
                    <a:pt x="31271" y="372452"/>
                  </a:lnTo>
                  <a:lnTo>
                    <a:pt x="-1927" y="244018"/>
                  </a:lnTo>
                  <a:lnTo>
                    <a:pt x="-1927" y="229"/>
                  </a:lnTo>
                  <a:lnTo>
                    <a:pt x="31271" y="110823"/>
                  </a:lnTo>
                </a:path>
              </a:pathLst>
            </a:custGeom>
            <a:solidFill>
              <a:srgbClr val="989997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4" name="Vrije vorm 113">
              <a:extLst>
                <a:ext uri="{FF2B5EF4-FFF2-40B4-BE49-F238E27FC236}">
                  <a16:creationId xmlns:a16="http://schemas.microsoft.com/office/drawing/2014/main" id="{3333D937-5FD9-1DE7-3C84-7DA766716D06}"/>
                </a:ext>
              </a:extLst>
            </p:cNvPr>
            <p:cNvSpPr/>
            <p:nvPr/>
          </p:nvSpPr>
          <p:spPr>
            <a:xfrm flipV="1">
              <a:off x="6276543" y="4632895"/>
              <a:ext cx="478879" cy="243789"/>
            </a:xfrm>
            <a:custGeom>
              <a:avLst/>
              <a:gdLst>
                <a:gd name="connsiteX0" fmla="*/ -1753 w 478879"/>
                <a:gd name="connsiteY0" fmla="*/ 286 h 243789"/>
                <a:gd name="connsiteX1" fmla="*/ 477127 w 478879"/>
                <a:gd name="connsiteY1" fmla="*/ 286 h 243789"/>
                <a:gd name="connsiteX2" fmla="*/ 477127 w 478879"/>
                <a:gd name="connsiteY2" fmla="*/ 244076 h 243789"/>
                <a:gd name="connsiteX3" fmla="*/ -1753 w 478879"/>
                <a:gd name="connsiteY3" fmla="*/ 244076 h 243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879" h="243789">
                  <a:moveTo>
                    <a:pt x="-1753" y="286"/>
                  </a:moveTo>
                  <a:lnTo>
                    <a:pt x="477127" y="286"/>
                  </a:lnTo>
                  <a:lnTo>
                    <a:pt x="477127" y="244076"/>
                  </a:lnTo>
                  <a:lnTo>
                    <a:pt x="-1753" y="244076"/>
                  </a:lnTo>
                  <a:close/>
                </a:path>
              </a:pathLst>
            </a:custGeom>
            <a:solidFill>
              <a:srgbClr val="C6C5C3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5" name="Vrije vorm 114">
              <a:extLst>
                <a:ext uri="{FF2B5EF4-FFF2-40B4-BE49-F238E27FC236}">
                  <a16:creationId xmlns:a16="http://schemas.microsoft.com/office/drawing/2014/main" id="{1DE195A9-3810-A021-C10C-90537469DE50}"/>
                </a:ext>
              </a:extLst>
            </p:cNvPr>
            <p:cNvSpPr/>
            <p:nvPr/>
          </p:nvSpPr>
          <p:spPr>
            <a:xfrm flipV="1">
              <a:off x="6276543" y="4632895"/>
              <a:ext cx="478879" cy="110554"/>
            </a:xfrm>
            <a:custGeom>
              <a:avLst/>
              <a:gdLst>
                <a:gd name="connsiteX0" fmla="*/ 477127 w 478879"/>
                <a:gd name="connsiteY0" fmla="*/ 227 h 110554"/>
                <a:gd name="connsiteX1" fmla="*/ 240371 w 478879"/>
                <a:gd name="connsiteY1" fmla="*/ 227 h 110554"/>
                <a:gd name="connsiteX2" fmla="*/ 146423 w 478879"/>
                <a:gd name="connsiteY2" fmla="*/ 44260 h 110554"/>
                <a:gd name="connsiteX3" fmla="*/ 66878 w 478879"/>
                <a:gd name="connsiteY3" fmla="*/ 63766 h 110554"/>
                <a:gd name="connsiteX4" fmla="*/ 6649 w 478879"/>
                <a:gd name="connsiteY4" fmla="*/ 69824 h 110554"/>
                <a:gd name="connsiteX5" fmla="*/ -1753 w 478879"/>
                <a:gd name="connsiteY5" fmla="*/ 69670 h 110554"/>
                <a:gd name="connsiteX6" fmla="*/ -1753 w 478879"/>
                <a:gd name="connsiteY6" fmla="*/ 110781 h 110554"/>
                <a:gd name="connsiteX7" fmla="*/ 477127 w 478879"/>
                <a:gd name="connsiteY7" fmla="*/ 110781 h 110554"/>
                <a:gd name="connsiteX8" fmla="*/ 477127 w 478879"/>
                <a:gd name="connsiteY8" fmla="*/ 227 h 110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8879" h="110554">
                  <a:moveTo>
                    <a:pt x="477127" y="227"/>
                  </a:moveTo>
                  <a:lnTo>
                    <a:pt x="240371" y="227"/>
                  </a:lnTo>
                  <a:cubicBezTo>
                    <a:pt x="211183" y="18885"/>
                    <a:pt x="179329" y="33321"/>
                    <a:pt x="146423" y="44260"/>
                  </a:cubicBezTo>
                  <a:cubicBezTo>
                    <a:pt x="120483" y="52867"/>
                    <a:pt x="93795" y="58989"/>
                    <a:pt x="66878" y="63766"/>
                  </a:cubicBezTo>
                  <a:cubicBezTo>
                    <a:pt x="46967" y="67293"/>
                    <a:pt x="26827" y="69824"/>
                    <a:pt x="6649" y="69824"/>
                  </a:cubicBezTo>
                  <a:cubicBezTo>
                    <a:pt x="3857" y="69824"/>
                    <a:pt x="1052" y="69774"/>
                    <a:pt x="-1753" y="69670"/>
                  </a:cubicBezTo>
                  <a:lnTo>
                    <a:pt x="-1753" y="110781"/>
                  </a:lnTo>
                  <a:lnTo>
                    <a:pt x="477127" y="110781"/>
                  </a:lnTo>
                  <a:lnTo>
                    <a:pt x="477127" y="227"/>
                  </a:lnTo>
                </a:path>
              </a:pathLst>
            </a:custGeom>
            <a:solidFill>
              <a:srgbClr val="AEAEA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6" name="Vrije vorm 115">
              <a:extLst>
                <a:ext uri="{FF2B5EF4-FFF2-40B4-BE49-F238E27FC236}">
                  <a16:creationId xmlns:a16="http://schemas.microsoft.com/office/drawing/2014/main" id="{46C45168-CED8-F9B3-62E2-FF35248C9EBA}"/>
                </a:ext>
              </a:extLst>
            </p:cNvPr>
            <p:cNvSpPr/>
            <p:nvPr/>
          </p:nvSpPr>
          <p:spPr>
            <a:xfrm flipV="1">
              <a:off x="6276543" y="4632895"/>
              <a:ext cx="478879" cy="20612"/>
            </a:xfrm>
            <a:custGeom>
              <a:avLst/>
              <a:gdLst>
                <a:gd name="connsiteX0" fmla="*/ 477127 w 478879"/>
                <a:gd name="connsiteY0" fmla="*/ 20799 h 20612"/>
                <a:gd name="connsiteX1" fmla="*/ 477127 w 478879"/>
                <a:gd name="connsiteY1" fmla="*/ 187 h 20612"/>
                <a:gd name="connsiteX2" fmla="*/ -1753 w 478879"/>
                <a:gd name="connsiteY2" fmla="*/ 187 h 20612"/>
                <a:gd name="connsiteX3" fmla="*/ -1753 w 478879"/>
                <a:gd name="connsiteY3" fmla="*/ 20799 h 20612"/>
                <a:gd name="connsiteX4" fmla="*/ 477127 w 478879"/>
                <a:gd name="connsiteY4" fmla="*/ 20799 h 20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8879" h="20612">
                  <a:moveTo>
                    <a:pt x="477127" y="20799"/>
                  </a:moveTo>
                  <a:lnTo>
                    <a:pt x="477127" y="187"/>
                  </a:lnTo>
                  <a:lnTo>
                    <a:pt x="-1753" y="187"/>
                  </a:lnTo>
                  <a:lnTo>
                    <a:pt x="-1753" y="20799"/>
                  </a:lnTo>
                  <a:lnTo>
                    <a:pt x="477127" y="20799"/>
                  </a:lnTo>
                </a:path>
              </a:pathLst>
            </a:custGeom>
            <a:solidFill>
              <a:srgbClr val="FFFFF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7" name="Vrije vorm 116">
              <a:extLst>
                <a:ext uri="{FF2B5EF4-FFF2-40B4-BE49-F238E27FC236}">
                  <a16:creationId xmlns:a16="http://schemas.microsoft.com/office/drawing/2014/main" id="{EC68E8C5-8F80-21D8-E8B6-2FBD0BD9DEA8}"/>
                </a:ext>
              </a:extLst>
            </p:cNvPr>
            <p:cNvSpPr/>
            <p:nvPr/>
          </p:nvSpPr>
          <p:spPr>
            <a:xfrm flipV="1">
              <a:off x="7476831" y="4504462"/>
              <a:ext cx="512077" cy="128433"/>
            </a:xfrm>
            <a:custGeom>
              <a:avLst/>
              <a:gdLst>
                <a:gd name="connsiteX0" fmla="*/ 509494 w 512077"/>
                <a:gd name="connsiteY0" fmla="*/ 120 h 128433"/>
                <a:gd name="connsiteX1" fmla="*/ 30628 w 512077"/>
                <a:gd name="connsiteY1" fmla="*/ 120 h 128433"/>
                <a:gd name="connsiteX2" fmla="*/ -2584 w 512077"/>
                <a:gd name="connsiteY2" fmla="*/ 128554 h 128433"/>
                <a:gd name="connsiteX3" fmla="*/ 408794 w 512077"/>
                <a:gd name="connsiteY3" fmla="*/ 128554 h 128433"/>
                <a:gd name="connsiteX4" fmla="*/ 509494 w 512077"/>
                <a:gd name="connsiteY4" fmla="*/ 120 h 12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2077" h="128433">
                  <a:moveTo>
                    <a:pt x="509494" y="120"/>
                  </a:moveTo>
                  <a:lnTo>
                    <a:pt x="30628" y="120"/>
                  </a:lnTo>
                  <a:lnTo>
                    <a:pt x="-2584" y="128554"/>
                  </a:lnTo>
                  <a:lnTo>
                    <a:pt x="408794" y="128554"/>
                  </a:lnTo>
                  <a:lnTo>
                    <a:pt x="509494" y="120"/>
                  </a:lnTo>
                </a:path>
              </a:pathLst>
            </a:custGeom>
            <a:solidFill>
              <a:srgbClr val="F0F0E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8" name="Vrije vorm 117">
              <a:extLst>
                <a:ext uri="{FF2B5EF4-FFF2-40B4-BE49-F238E27FC236}">
                  <a16:creationId xmlns:a16="http://schemas.microsoft.com/office/drawing/2014/main" id="{D38A30DA-6C1C-D4F2-5C02-59611646C8F0}"/>
                </a:ext>
              </a:extLst>
            </p:cNvPr>
            <p:cNvSpPr/>
            <p:nvPr/>
          </p:nvSpPr>
          <p:spPr>
            <a:xfrm flipV="1">
              <a:off x="7476831" y="4504462"/>
              <a:ext cx="512077" cy="128433"/>
            </a:xfrm>
            <a:custGeom>
              <a:avLst/>
              <a:gdLst>
                <a:gd name="connsiteX0" fmla="*/ 509494 w 512077"/>
                <a:gd name="connsiteY0" fmla="*/ 120 h 128433"/>
                <a:gd name="connsiteX1" fmla="*/ 391573 w 512077"/>
                <a:gd name="connsiteY1" fmla="*/ 120 h 128433"/>
                <a:gd name="connsiteX2" fmla="*/ 254172 w 512077"/>
                <a:gd name="connsiteY2" fmla="*/ 82720 h 128433"/>
                <a:gd name="connsiteX3" fmla="*/ 54169 w 512077"/>
                <a:gd name="connsiteY3" fmla="*/ 115323 h 128433"/>
                <a:gd name="connsiteX4" fmla="*/ 1896 w 512077"/>
                <a:gd name="connsiteY4" fmla="*/ 113135 h 128433"/>
                <a:gd name="connsiteX5" fmla="*/ -2584 w 512077"/>
                <a:gd name="connsiteY5" fmla="*/ 128554 h 128433"/>
                <a:gd name="connsiteX6" fmla="*/ 408794 w 512077"/>
                <a:gd name="connsiteY6" fmla="*/ 128554 h 128433"/>
                <a:gd name="connsiteX7" fmla="*/ 509494 w 512077"/>
                <a:gd name="connsiteY7" fmla="*/ 120 h 12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2077" h="128433">
                  <a:moveTo>
                    <a:pt x="509494" y="120"/>
                  </a:moveTo>
                  <a:lnTo>
                    <a:pt x="391573" y="120"/>
                  </a:lnTo>
                  <a:cubicBezTo>
                    <a:pt x="352131" y="36697"/>
                    <a:pt x="305975" y="65307"/>
                    <a:pt x="254172" y="82720"/>
                  </a:cubicBezTo>
                  <a:cubicBezTo>
                    <a:pt x="189564" y="104438"/>
                    <a:pt x="121632" y="115323"/>
                    <a:pt x="54169" y="115323"/>
                  </a:cubicBezTo>
                  <a:cubicBezTo>
                    <a:pt x="36694" y="115323"/>
                    <a:pt x="19231" y="114598"/>
                    <a:pt x="1896" y="113135"/>
                  </a:cubicBezTo>
                  <a:lnTo>
                    <a:pt x="-2584" y="128554"/>
                  </a:lnTo>
                  <a:lnTo>
                    <a:pt x="408794" y="128554"/>
                  </a:lnTo>
                  <a:lnTo>
                    <a:pt x="509494" y="120"/>
                  </a:lnTo>
                </a:path>
              </a:pathLst>
            </a:custGeom>
            <a:solidFill>
              <a:srgbClr val="DEDED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9" name="Vrije vorm 118">
              <a:extLst>
                <a:ext uri="{FF2B5EF4-FFF2-40B4-BE49-F238E27FC236}">
                  <a16:creationId xmlns:a16="http://schemas.microsoft.com/office/drawing/2014/main" id="{68ACC523-CC5A-5908-B64B-26E0F40BCCFB}"/>
                </a:ext>
              </a:extLst>
            </p:cNvPr>
            <p:cNvSpPr/>
            <p:nvPr/>
          </p:nvSpPr>
          <p:spPr>
            <a:xfrm flipV="1">
              <a:off x="7476831" y="4504462"/>
              <a:ext cx="33211" cy="372223"/>
            </a:xfrm>
            <a:custGeom>
              <a:avLst/>
              <a:gdLst>
                <a:gd name="connsiteX0" fmla="*/ -2420 w 33211"/>
                <a:gd name="connsiteY0" fmla="*/ 110823 h 372223"/>
                <a:gd name="connsiteX1" fmla="*/ -2420 w 33211"/>
                <a:gd name="connsiteY1" fmla="*/ 372452 h 372223"/>
                <a:gd name="connsiteX2" fmla="*/ 30791 w 33211"/>
                <a:gd name="connsiteY2" fmla="*/ 244018 h 372223"/>
                <a:gd name="connsiteX3" fmla="*/ 30791 w 33211"/>
                <a:gd name="connsiteY3" fmla="*/ 229 h 372223"/>
                <a:gd name="connsiteX4" fmla="*/ -2420 w 33211"/>
                <a:gd name="connsiteY4" fmla="*/ 110823 h 372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211" h="372223">
                  <a:moveTo>
                    <a:pt x="-2420" y="110823"/>
                  </a:moveTo>
                  <a:lnTo>
                    <a:pt x="-2420" y="372452"/>
                  </a:lnTo>
                  <a:lnTo>
                    <a:pt x="30791" y="244018"/>
                  </a:lnTo>
                  <a:lnTo>
                    <a:pt x="30791" y="229"/>
                  </a:lnTo>
                  <a:lnTo>
                    <a:pt x="-2420" y="110823"/>
                  </a:lnTo>
                </a:path>
              </a:pathLst>
            </a:custGeom>
            <a:solidFill>
              <a:srgbClr val="989997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0" name="Vrije vorm 119">
              <a:extLst>
                <a:ext uri="{FF2B5EF4-FFF2-40B4-BE49-F238E27FC236}">
                  <a16:creationId xmlns:a16="http://schemas.microsoft.com/office/drawing/2014/main" id="{C5009A1F-0F04-D364-AACE-D99D967BCA31}"/>
                </a:ext>
              </a:extLst>
            </p:cNvPr>
            <p:cNvSpPr/>
            <p:nvPr/>
          </p:nvSpPr>
          <p:spPr>
            <a:xfrm flipV="1">
              <a:off x="7510042" y="4632895"/>
              <a:ext cx="478866" cy="243789"/>
            </a:xfrm>
            <a:custGeom>
              <a:avLst/>
              <a:gdLst>
                <a:gd name="connsiteX0" fmla="*/ -2595 w 478866"/>
                <a:gd name="connsiteY0" fmla="*/ 286 h 243789"/>
                <a:gd name="connsiteX1" fmla="*/ 476272 w 478866"/>
                <a:gd name="connsiteY1" fmla="*/ 286 h 243789"/>
                <a:gd name="connsiteX2" fmla="*/ 476272 w 478866"/>
                <a:gd name="connsiteY2" fmla="*/ 244076 h 243789"/>
                <a:gd name="connsiteX3" fmla="*/ -2595 w 478866"/>
                <a:gd name="connsiteY3" fmla="*/ 244076 h 243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866" h="243789">
                  <a:moveTo>
                    <a:pt x="-2595" y="286"/>
                  </a:moveTo>
                  <a:lnTo>
                    <a:pt x="476272" y="286"/>
                  </a:lnTo>
                  <a:lnTo>
                    <a:pt x="476272" y="244076"/>
                  </a:lnTo>
                  <a:lnTo>
                    <a:pt x="-2595" y="244076"/>
                  </a:lnTo>
                  <a:close/>
                </a:path>
              </a:pathLst>
            </a:custGeom>
            <a:solidFill>
              <a:srgbClr val="C6C5C3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1" name="Vrije vorm 120">
              <a:extLst>
                <a:ext uri="{FF2B5EF4-FFF2-40B4-BE49-F238E27FC236}">
                  <a16:creationId xmlns:a16="http://schemas.microsoft.com/office/drawing/2014/main" id="{EEDCBDBC-690C-5872-00E7-C916E664131B}"/>
                </a:ext>
              </a:extLst>
            </p:cNvPr>
            <p:cNvSpPr/>
            <p:nvPr/>
          </p:nvSpPr>
          <p:spPr>
            <a:xfrm flipV="1">
              <a:off x="7510042" y="4632895"/>
              <a:ext cx="478866" cy="110554"/>
            </a:xfrm>
            <a:custGeom>
              <a:avLst/>
              <a:gdLst>
                <a:gd name="connsiteX0" fmla="*/ 476272 w 478866"/>
                <a:gd name="connsiteY0" fmla="*/ 227 h 110554"/>
                <a:gd name="connsiteX1" fmla="*/ 306015 w 478866"/>
                <a:gd name="connsiteY1" fmla="*/ 227 h 110554"/>
                <a:gd name="connsiteX2" fmla="*/ 30312 w 478866"/>
                <a:gd name="connsiteY2" fmla="*/ 67348 h 110554"/>
                <a:gd name="connsiteX3" fmla="*/ -2595 w 478866"/>
                <a:gd name="connsiteY3" fmla="*/ 66544 h 110554"/>
                <a:gd name="connsiteX4" fmla="*/ -2595 w 478866"/>
                <a:gd name="connsiteY4" fmla="*/ 110781 h 110554"/>
                <a:gd name="connsiteX5" fmla="*/ 476272 w 478866"/>
                <a:gd name="connsiteY5" fmla="*/ 110781 h 110554"/>
                <a:gd name="connsiteX6" fmla="*/ 476272 w 478866"/>
                <a:gd name="connsiteY6" fmla="*/ 90471 h 110554"/>
                <a:gd name="connsiteX7" fmla="*/ 476272 w 478866"/>
                <a:gd name="connsiteY7" fmla="*/ 227 h 110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8866" h="110554">
                  <a:moveTo>
                    <a:pt x="476272" y="227"/>
                  </a:moveTo>
                  <a:lnTo>
                    <a:pt x="306015" y="227"/>
                  </a:lnTo>
                  <a:cubicBezTo>
                    <a:pt x="216318" y="58517"/>
                    <a:pt x="95313" y="67348"/>
                    <a:pt x="30312" y="67348"/>
                  </a:cubicBezTo>
                  <a:cubicBezTo>
                    <a:pt x="16568" y="67348"/>
                    <a:pt x="5324" y="66951"/>
                    <a:pt x="-2595" y="66544"/>
                  </a:cubicBezTo>
                  <a:lnTo>
                    <a:pt x="-2595" y="110781"/>
                  </a:lnTo>
                  <a:lnTo>
                    <a:pt x="476272" y="110781"/>
                  </a:lnTo>
                  <a:lnTo>
                    <a:pt x="476272" y="90471"/>
                  </a:lnTo>
                  <a:lnTo>
                    <a:pt x="476272" y="227"/>
                  </a:lnTo>
                </a:path>
              </a:pathLst>
            </a:custGeom>
            <a:solidFill>
              <a:srgbClr val="AEAEAC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2" name="Vrije vorm 121">
              <a:extLst>
                <a:ext uri="{FF2B5EF4-FFF2-40B4-BE49-F238E27FC236}">
                  <a16:creationId xmlns:a16="http://schemas.microsoft.com/office/drawing/2014/main" id="{BA9031AB-BDC7-DE91-22FA-D780A0F1453B}"/>
                </a:ext>
              </a:extLst>
            </p:cNvPr>
            <p:cNvSpPr/>
            <p:nvPr/>
          </p:nvSpPr>
          <p:spPr>
            <a:xfrm flipV="1">
              <a:off x="7510042" y="4632895"/>
              <a:ext cx="478866" cy="20994"/>
            </a:xfrm>
            <a:custGeom>
              <a:avLst/>
              <a:gdLst>
                <a:gd name="connsiteX0" fmla="*/ -2595 w 478866"/>
                <a:gd name="connsiteY0" fmla="*/ 21181 h 20994"/>
                <a:gd name="connsiteX1" fmla="*/ -2595 w 478866"/>
                <a:gd name="connsiteY1" fmla="*/ 187 h 20994"/>
                <a:gd name="connsiteX2" fmla="*/ 476272 w 478866"/>
                <a:gd name="connsiteY2" fmla="*/ 187 h 20994"/>
                <a:gd name="connsiteX3" fmla="*/ 476272 w 478866"/>
                <a:gd name="connsiteY3" fmla="*/ 21181 h 20994"/>
                <a:gd name="connsiteX4" fmla="*/ -2595 w 478866"/>
                <a:gd name="connsiteY4" fmla="*/ 21181 h 20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8866" h="20994">
                  <a:moveTo>
                    <a:pt x="-2595" y="21181"/>
                  </a:moveTo>
                  <a:lnTo>
                    <a:pt x="-2595" y="187"/>
                  </a:lnTo>
                  <a:lnTo>
                    <a:pt x="476272" y="187"/>
                  </a:lnTo>
                  <a:lnTo>
                    <a:pt x="476272" y="21181"/>
                  </a:lnTo>
                  <a:lnTo>
                    <a:pt x="-2595" y="21181"/>
                  </a:lnTo>
                </a:path>
              </a:pathLst>
            </a:custGeom>
            <a:solidFill>
              <a:srgbClr val="FFFFFF"/>
            </a:solidFill>
            <a:ln w="1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grpSp>
        <p:nvGrpSpPr>
          <p:cNvPr id="224" name="Groep 223">
            <a:extLst>
              <a:ext uri="{FF2B5EF4-FFF2-40B4-BE49-F238E27FC236}">
                <a16:creationId xmlns:a16="http://schemas.microsoft.com/office/drawing/2014/main" id="{F8D64066-2EFB-B8E1-2261-8236658D3614}"/>
              </a:ext>
            </a:extLst>
          </p:cNvPr>
          <p:cNvGrpSpPr/>
          <p:nvPr/>
        </p:nvGrpSpPr>
        <p:grpSpPr>
          <a:xfrm>
            <a:off x="8207141" y="1671150"/>
            <a:ext cx="1815756" cy="3404725"/>
            <a:chOff x="8207141" y="1671150"/>
            <a:chExt cx="1815756" cy="3404725"/>
          </a:xfrm>
        </p:grpSpPr>
        <p:grpSp>
          <p:nvGrpSpPr>
            <p:cNvPr id="218" name="Groep 217">
              <a:extLst>
                <a:ext uri="{FF2B5EF4-FFF2-40B4-BE49-F238E27FC236}">
                  <a16:creationId xmlns:a16="http://schemas.microsoft.com/office/drawing/2014/main" id="{97344127-117A-1DD5-0967-9E09F4C39D18}"/>
                </a:ext>
              </a:extLst>
            </p:cNvPr>
            <p:cNvGrpSpPr/>
            <p:nvPr/>
          </p:nvGrpSpPr>
          <p:grpSpPr>
            <a:xfrm>
              <a:off x="8207141" y="1671150"/>
              <a:ext cx="1815756" cy="3404725"/>
              <a:chOff x="8236571" y="1538465"/>
              <a:chExt cx="1815756" cy="3404725"/>
            </a:xfrm>
          </p:grpSpPr>
          <p:grpSp>
            <p:nvGrpSpPr>
              <p:cNvPr id="123" name="Groep 122">
                <a:extLst>
                  <a:ext uri="{FF2B5EF4-FFF2-40B4-BE49-F238E27FC236}">
                    <a16:creationId xmlns:a16="http://schemas.microsoft.com/office/drawing/2014/main" id="{9A54966B-E701-BB8E-BB1A-AD173F536331}"/>
                  </a:ext>
                </a:extLst>
              </p:cNvPr>
              <p:cNvGrpSpPr/>
              <p:nvPr/>
            </p:nvGrpSpPr>
            <p:grpSpPr>
              <a:xfrm>
                <a:off x="8236571" y="1609848"/>
                <a:ext cx="1815756" cy="3333342"/>
                <a:chOff x="4504620" y="2926951"/>
                <a:chExt cx="737149" cy="1475461"/>
              </a:xfrm>
            </p:grpSpPr>
            <p:sp>
              <p:nvSpPr>
                <p:cNvPr id="124" name="Vrije vorm 123">
                  <a:extLst>
                    <a:ext uri="{FF2B5EF4-FFF2-40B4-BE49-F238E27FC236}">
                      <a16:creationId xmlns:a16="http://schemas.microsoft.com/office/drawing/2014/main" id="{A8751C88-8086-8CF7-FC9A-FCAE85341EFF}"/>
                    </a:ext>
                  </a:extLst>
                </p:cNvPr>
                <p:cNvSpPr/>
                <p:nvPr/>
              </p:nvSpPr>
              <p:spPr>
                <a:xfrm flipV="1">
                  <a:off x="5030628" y="3422743"/>
                  <a:ext cx="211141" cy="117842"/>
                </a:xfrm>
                <a:custGeom>
                  <a:avLst/>
                  <a:gdLst>
                    <a:gd name="connsiteX0" fmla="*/ 10244 w 190781"/>
                    <a:gd name="connsiteY0" fmla="*/ -1468 h 117842"/>
                    <a:gd name="connsiteX1" fmla="*/ 187610 w 190781"/>
                    <a:gd name="connsiteY1" fmla="*/ 103520 h 117842"/>
                    <a:gd name="connsiteX2" fmla="*/ 153028 w 190781"/>
                    <a:gd name="connsiteY2" fmla="*/ 116375 h 117842"/>
                    <a:gd name="connsiteX3" fmla="*/ 36463 w 190781"/>
                    <a:gd name="connsiteY3" fmla="*/ 69101 h 117842"/>
                    <a:gd name="connsiteX4" fmla="*/ 10244 w 190781"/>
                    <a:gd name="connsiteY4" fmla="*/ -1468 h 117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0781" h="117842">
                      <a:moveTo>
                        <a:pt x="10244" y="-1468"/>
                      </a:moveTo>
                      <a:cubicBezTo>
                        <a:pt x="10244" y="-1468"/>
                        <a:pt x="141504" y="36608"/>
                        <a:pt x="187610" y="103520"/>
                      </a:cubicBezTo>
                      <a:lnTo>
                        <a:pt x="153028" y="116375"/>
                      </a:lnTo>
                      <a:cubicBezTo>
                        <a:pt x="153028" y="116375"/>
                        <a:pt x="106218" y="87124"/>
                        <a:pt x="36463" y="69101"/>
                      </a:cubicBezTo>
                      <a:cubicBezTo>
                        <a:pt x="-33281" y="51098"/>
                        <a:pt x="10244" y="-1468"/>
                        <a:pt x="10244" y="-1468"/>
                      </a:cubicBezTo>
                    </a:path>
                  </a:pathLst>
                </a:custGeom>
                <a:solidFill>
                  <a:srgbClr val="F9AA8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 dirty="0"/>
                </a:p>
              </p:txBody>
            </p:sp>
            <p:sp>
              <p:nvSpPr>
                <p:cNvPr id="126" name="Vrije vorm 125">
                  <a:extLst>
                    <a:ext uri="{FF2B5EF4-FFF2-40B4-BE49-F238E27FC236}">
                      <a16:creationId xmlns:a16="http://schemas.microsoft.com/office/drawing/2014/main" id="{B84C8F38-1FD5-05AC-DE2F-7B2F46569BF2}"/>
                    </a:ext>
                  </a:extLst>
                </p:cNvPr>
                <p:cNvSpPr/>
                <p:nvPr/>
              </p:nvSpPr>
              <p:spPr>
                <a:xfrm flipV="1">
                  <a:off x="4733574" y="4274315"/>
                  <a:ext cx="46282" cy="90715"/>
                </a:xfrm>
                <a:custGeom>
                  <a:avLst/>
                  <a:gdLst>
                    <a:gd name="connsiteX0" fmla="*/ 43419 w 46282"/>
                    <a:gd name="connsiteY0" fmla="*/ 82851 h 90715"/>
                    <a:gd name="connsiteX1" fmla="*/ 29532 w 46282"/>
                    <a:gd name="connsiteY1" fmla="*/ -552 h 90715"/>
                    <a:gd name="connsiteX2" fmla="*/ -2863 w 46282"/>
                    <a:gd name="connsiteY2" fmla="*/ -552 h 90715"/>
                    <a:gd name="connsiteX3" fmla="*/ 7967 w 46282"/>
                    <a:gd name="connsiteY3" fmla="*/ 90164 h 90715"/>
                    <a:gd name="connsiteX4" fmla="*/ 43419 w 46282"/>
                    <a:gd name="connsiteY4" fmla="*/ 82851 h 90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282" h="90715">
                      <a:moveTo>
                        <a:pt x="43419" y="82851"/>
                      </a:moveTo>
                      <a:lnTo>
                        <a:pt x="29532" y="-552"/>
                      </a:lnTo>
                      <a:lnTo>
                        <a:pt x="-2863" y="-552"/>
                      </a:lnTo>
                      <a:lnTo>
                        <a:pt x="7967" y="90164"/>
                      </a:lnTo>
                      <a:lnTo>
                        <a:pt x="43419" y="82851"/>
                      </a:lnTo>
                    </a:path>
                  </a:pathLst>
                </a:custGeom>
                <a:solidFill>
                  <a:srgbClr val="172D36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27" name="Vrije vorm 126">
                  <a:extLst>
                    <a:ext uri="{FF2B5EF4-FFF2-40B4-BE49-F238E27FC236}">
                      <a16:creationId xmlns:a16="http://schemas.microsoft.com/office/drawing/2014/main" id="{01AE7743-C33D-FC0E-6386-BCA12A6C09A7}"/>
                    </a:ext>
                  </a:extLst>
                </p:cNvPr>
                <p:cNvSpPr/>
                <p:nvPr/>
              </p:nvSpPr>
              <p:spPr>
                <a:xfrm flipV="1">
                  <a:off x="4625784" y="4325494"/>
                  <a:ext cx="154071" cy="76918"/>
                </a:xfrm>
                <a:custGeom>
                  <a:avLst/>
                  <a:gdLst>
                    <a:gd name="connsiteX0" fmla="*/ 95158 w 154071"/>
                    <a:gd name="connsiteY0" fmla="*/ 76416 h 76918"/>
                    <a:gd name="connsiteX1" fmla="*/ 48628 w 154071"/>
                    <a:gd name="connsiteY1" fmla="*/ 43964 h 76918"/>
                    <a:gd name="connsiteX2" fmla="*/ -2701 w 154071"/>
                    <a:gd name="connsiteY2" fmla="*/ 7929 h 76918"/>
                    <a:gd name="connsiteX3" fmla="*/ 106786 w 154071"/>
                    <a:gd name="connsiteY3" fmla="*/ 10218 h 76918"/>
                    <a:gd name="connsiteX4" fmla="*/ 106786 w 154071"/>
                    <a:gd name="connsiteY4" fmla="*/ 3071 h 76918"/>
                    <a:gd name="connsiteX5" fmla="*/ 151254 w 154071"/>
                    <a:gd name="connsiteY5" fmla="*/ 5028 h 76918"/>
                    <a:gd name="connsiteX6" fmla="*/ 151254 w 154071"/>
                    <a:gd name="connsiteY6" fmla="*/ 64079 h 76918"/>
                    <a:gd name="connsiteX7" fmla="*/ 114309 w 154071"/>
                    <a:gd name="connsiteY7" fmla="*/ 61479 h 76918"/>
                    <a:gd name="connsiteX8" fmla="*/ 117045 w 154071"/>
                    <a:gd name="connsiteY8" fmla="*/ 67321 h 76918"/>
                    <a:gd name="connsiteX9" fmla="*/ 95158 w 154071"/>
                    <a:gd name="connsiteY9" fmla="*/ 76416 h 76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4071" h="76918">
                      <a:moveTo>
                        <a:pt x="95158" y="76416"/>
                      </a:moveTo>
                      <a:cubicBezTo>
                        <a:pt x="95158" y="76416"/>
                        <a:pt x="76681" y="52395"/>
                        <a:pt x="48628" y="43964"/>
                      </a:cubicBezTo>
                      <a:cubicBezTo>
                        <a:pt x="20585" y="35522"/>
                        <a:pt x="-4753" y="24791"/>
                        <a:pt x="-2701" y="7929"/>
                      </a:cubicBezTo>
                      <a:cubicBezTo>
                        <a:pt x="-2701" y="7929"/>
                        <a:pt x="39052" y="-12487"/>
                        <a:pt x="106786" y="10218"/>
                      </a:cubicBezTo>
                      <a:lnTo>
                        <a:pt x="106786" y="3071"/>
                      </a:lnTo>
                      <a:lnTo>
                        <a:pt x="151254" y="5028"/>
                      </a:lnTo>
                      <a:lnTo>
                        <a:pt x="151254" y="64079"/>
                      </a:lnTo>
                      <a:lnTo>
                        <a:pt x="114309" y="61479"/>
                      </a:lnTo>
                      <a:lnTo>
                        <a:pt x="117045" y="67321"/>
                      </a:lnTo>
                      <a:lnTo>
                        <a:pt x="95158" y="76416"/>
                      </a:lnTo>
                    </a:path>
                  </a:pathLst>
                </a:custGeom>
                <a:solidFill>
                  <a:srgbClr val="A24027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28" name="Vrije vorm 127">
                  <a:extLst>
                    <a:ext uri="{FF2B5EF4-FFF2-40B4-BE49-F238E27FC236}">
                      <a16:creationId xmlns:a16="http://schemas.microsoft.com/office/drawing/2014/main" id="{9325D5B0-704F-7485-8AA7-40425DDDFBC9}"/>
                    </a:ext>
                  </a:extLst>
                </p:cNvPr>
                <p:cNvSpPr/>
                <p:nvPr/>
              </p:nvSpPr>
              <p:spPr>
                <a:xfrm flipV="1">
                  <a:off x="4625825" y="4384803"/>
                  <a:ext cx="154031" cy="17609"/>
                </a:xfrm>
                <a:custGeom>
                  <a:avLst/>
                  <a:gdLst>
                    <a:gd name="connsiteX0" fmla="*/ 77272 w 154031"/>
                    <a:gd name="connsiteY0" fmla="*/ 9432 h 17609"/>
                    <a:gd name="connsiteX1" fmla="*/ -2389 w 154031"/>
                    <a:gd name="connsiteY1" fmla="*/ 12353 h 17609"/>
                    <a:gd name="connsiteX2" fmla="*/ -2742 w 154031"/>
                    <a:gd name="connsiteY2" fmla="*/ 7961 h 17609"/>
                    <a:gd name="connsiteX3" fmla="*/ 106745 w 154031"/>
                    <a:gd name="connsiteY3" fmla="*/ 10250 h 17609"/>
                    <a:gd name="connsiteX4" fmla="*/ 106745 w 154031"/>
                    <a:gd name="connsiteY4" fmla="*/ 3103 h 17609"/>
                    <a:gd name="connsiteX5" fmla="*/ 151214 w 154031"/>
                    <a:gd name="connsiteY5" fmla="*/ 5061 h 17609"/>
                    <a:gd name="connsiteX6" fmla="*/ 151214 w 154031"/>
                    <a:gd name="connsiteY6" fmla="*/ 16838 h 17609"/>
                    <a:gd name="connsiteX7" fmla="*/ 77272 w 154031"/>
                    <a:gd name="connsiteY7" fmla="*/ 9432 h 176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4031" h="17609">
                      <a:moveTo>
                        <a:pt x="77272" y="9432"/>
                      </a:moveTo>
                      <a:cubicBezTo>
                        <a:pt x="16575" y="-6167"/>
                        <a:pt x="1155" y="11151"/>
                        <a:pt x="-2389" y="12353"/>
                      </a:cubicBezTo>
                      <a:cubicBezTo>
                        <a:pt x="-2783" y="10882"/>
                        <a:pt x="-2918" y="9421"/>
                        <a:pt x="-2742" y="7961"/>
                      </a:cubicBezTo>
                      <a:cubicBezTo>
                        <a:pt x="-2742" y="7961"/>
                        <a:pt x="39012" y="-12455"/>
                        <a:pt x="106745" y="10250"/>
                      </a:cubicBezTo>
                      <a:lnTo>
                        <a:pt x="106745" y="3103"/>
                      </a:lnTo>
                      <a:lnTo>
                        <a:pt x="151214" y="5061"/>
                      </a:lnTo>
                      <a:lnTo>
                        <a:pt x="151214" y="16838"/>
                      </a:lnTo>
                      <a:cubicBezTo>
                        <a:pt x="135337" y="15874"/>
                        <a:pt x="122020" y="20929"/>
                        <a:pt x="77272" y="9432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29" name="Vrije vorm 128">
                  <a:extLst>
                    <a:ext uri="{FF2B5EF4-FFF2-40B4-BE49-F238E27FC236}">
                      <a16:creationId xmlns:a16="http://schemas.microsoft.com/office/drawing/2014/main" id="{F236175E-1AAA-B854-B6C7-7D008881839F}"/>
                    </a:ext>
                  </a:extLst>
                </p:cNvPr>
                <p:cNvSpPr/>
                <p:nvPr/>
              </p:nvSpPr>
              <p:spPr>
                <a:xfrm flipV="1">
                  <a:off x="4707602" y="4337839"/>
                  <a:ext cx="23930" cy="22064"/>
                </a:xfrm>
                <a:custGeom>
                  <a:avLst/>
                  <a:gdLst>
                    <a:gd name="connsiteX0" fmla="*/ 19482 w 23930"/>
                    <a:gd name="connsiteY0" fmla="*/ -520 h 22064"/>
                    <a:gd name="connsiteX1" fmla="*/ 17855 w 23930"/>
                    <a:gd name="connsiteY1" fmla="*/ 340 h 22064"/>
                    <a:gd name="connsiteX2" fmla="*/ -1545 w 23930"/>
                    <a:gd name="connsiteY2" fmla="*/ 17762 h 22064"/>
                    <a:gd name="connsiteX3" fmla="*/ -2716 w 23930"/>
                    <a:gd name="connsiteY3" fmla="*/ 20259 h 22064"/>
                    <a:gd name="connsiteX4" fmla="*/ -219 w 23930"/>
                    <a:gd name="connsiteY4" fmla="*/ 21429 h 22064"/>
                    <a:gd name="connsiteX5" fmla="*/ 21098 w 23930"/>
                    <a:gd name="connsiteY5" fmla="*/ 2515 h 22064"/>
                    <a:gd name="connsiteX6" fmla="*/ 20559 w 23930"/>
                    <a:gd name="connsiteY6" fmla="*/ -188 h 22064"/>
                    <a:gd name="connsiteX7" fmla="*/ 19482 w 23930"/>
                    <a:gd name="connsiteY7" fmla="*/ -520 h 22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30" h="22064">
                      <a:moveTo>
                        <a:pt x="19482" y="-520"/>
                      </a:moveTo>
                      <a:lnTo>
                        <a:pt x="17855" y="340"/>
                      </a:lnTo>
                      <a:cubicBezTo>
                        <a:pt x="8746" y="13940"/>
                        <a:pt x="-1442" y="17721"/>
                        <a:pt x="-1545" y="17762"/>
                      </a:cubicBezTo>
                      <a:cubicBezTo>
                        <a:pt x="-2561" y="18125"/>
                        <a:pt x="-3079" y="19243"/>
                        <a:pt x="-2716" y="20259"/>
                      </a:cubicBezTo>
                      <a:cubicBezTo>
                        <a:pt x="-2353" y="21274"/>
                        <a:pt x="-1234" y="21792"/>
                        <a:pt x="-219" y="21429"/>
                      </a:cubicBezTo>
                      <a:cubicBezTo>
                        <a:pt x="248" y="21263"/>
                        <a:pt x="11274" y="17151"/>
                        <a:pt x="21098" y="2515"/>
                      </a:cubicBezTo>
                      <a:lnTo>
                        <a:pt x="20559" y="-188"/>
                      </a:lnTo>
                      <a:lnTo>
                        <a:pt x="19482" y="-520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0" name="Vrije vorm 129">
                  <a:extLst>
                    <a:ext uri="{FF2B5EF4-FFF2-40B4-BE49-F238E27FC236}">
                      <a16:creationId xmlns:a16="http://schemas.microsoft.com/office/drawing/2014/main" id="{D8976980-6830-A595-7C92-952764AD82AA}"/>
                    </a:ext>
                  </a:extLst>
                </p:cNvPr>
                <p:cNvSpPr/>
                <p:nvPr/>
              </p:nvSpPr>
              <p:spPr>
                <a:xfrm flipV="1">
                  <a:off x="4697416" y="4342408"/>
                  <a:ext cx="23939" cy="22063"/>
                </a:xfrm>
                <a:custGeom>
                  <a:avLst/>
                  <a:gdLst>
                    <a:gd name="connsiteX0" fmla="*/ 19489 w 23939"/>
                    <a:gd name="connsiteY0" fmla="*/ -515 h 22063"/>
                    <a:gd name="connsiteX1" fmla="*/ 17872 w 23939"/>
                    <a:gd name="connsiteY1" fmla="*/ 355 h 22063"/>
                    <a:gd name="connsiteX2" fmla="*/ -1527 w 23939"/>
                    <a:gd name="connsiteY2" fmla="*/ 17757 h 22063"/>
                    <a:gd name="connsiteX3" fmla="*/ -2709 w 23939"/>
                    <a:gd name="connsiteY3" fmla="*/ 20264 h 22063"/>
                    <a:gd name="connsiteX4" fmla="*/ -201 w 23939"/>
                    <a:gd name="connsiteY4" fmla="*/ 21434 h 22063"/>
                    <a:gd name="connsiteX5" fmla="*/ 21116 w 23939"/>
                    <a:gd name="connsiteY5" fmla="*/ 2531 h 22063"/>
                    <a:gd name="connsiteX6" fmla="*/ 20577 w 23939"/>
                    <a:gd name="connsiteY6" fmla="*/ -183 h 22063"/>
                    <a:gd name="connsiteX7" fmla="*/ 19489 w 23939"/>
                    <a:gd name="connsiteY7" fmla="*/ -515 h 220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39" h="22063">
                      <a:moveTo>
                        <a:pt x="19489" y="-515"/>
                      </a:moveTo>
                      <a:lnTo>
                        <a:pt x="17872" y="355"/>
                      </a:lnTo>
                      <a:cubicBezTo>
                        <a:pt x="8753" y="13935"/>
                        <a:pt x="-1424" y="17726"/>
                        <a:pt x="-1527" y="17757"/>
                      </a:cubicBezTo>
                      <a:cubicBezTo>
                        <a:pt x="-2543" y="18130"/>
                        <a:pt x="-3071" y="19248"/>
                        <a:pt x="-2709" y="20264"/>
                      </a:cubicBezTo>
                      <a:cubicBezTo>
                        <a:pt x="-2336" y="21268"/>
                        <a:pt x="-1216" y="21797"/>
                        <a:pt x="-201" y="21434"/>
                      </a:cubicBezTo>
                      <a:cubicBezTo>
                        <a:pt x="265" y="21258"/>
                        <a:pt x="11292" y="17167"/>
                        <a:pt x="21116" y="2531"/>
                      </a:cubicBezTo>
                      <a:lnTo>
                        <a:pt x="20577" y="-183"/>
                      </a:lnTo>
                      <a:lnTo>
                        <a:pt x="19489" y="-515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1" name="Vrije vorm 130">
                  <a:extLst>
                    <a:ext uri="{FF2B5EF4-FFF2-40B4-BE49-F238E27FC236}">
                      <a16:creationId xmlns:a16="http://schemas.microsoft.com/office/drawing/2014/main" id="{75BC12A3-2644-7311-1CBC-A2070F422820}"/>
                    </a:ext>
                  </a:extLst>
                </p:cNvPr>
                <p:cNvSpPr/>
                <p:nvPr/>
              </p:nvSpPr>
              <p:spPr>
                <a:xfrm flipV="1">
                  <a:off x="4687240" y="4346919"/>
                  <a:ext cx="23939" cy="22068"/>
                </a:xfrm>
                <a:custGeom>
                  <a:avLst/>
                  <a:gdLst>
                    <a:gd name="connsiteX0" fmla="*/ 19498 w 23939"/>
                    <a:gd name="connsiteY0" fmla="*/ -510 h 22068"/>
                    <a:gd name="connsiteX1" fmla="*/ 17881 w 23939"/>
                    <a:gd name="connsiteY1" fmla="*/ 360 h 22068"/>
                    <a:gd name="connsiteX2" fmla="*/ -1529 w 23939"/>
                    <a:gd name="connsiteY2" fmla="*/ 17772 h 22068"/>
                    <a:gd name="connsiteX3" fmla="*/ -2700 w 23939"/>
                    <a:gd name="connsiteY3" fmla="*/ 20279 h 22068"/>
                    <a:gd name="connsiteX4" fmla="*/ -192 w 23939"/>
                    <a:gd name="connsiteY4" fmla="*/ 21439 h 22068"/>
                    <a:gd name="connsiteX5" fmla="*/ 21125 w 23939"/>
                    <a:gd name="connsiteY5" fmla="*/ 2536 h 22068"/>
                    <a:gd name="connsiteX6" fmla="*/ 20586 w 23939"/>
                    <a:gd name="connsiteY6" fmla="*/ -168 h 22068"/>
                    <a:gd name="connsiteX7" fmla="*/ 19498 w 23939"/>
                    <a:gd name="connsiteY7" fmla="*/ -510 h 2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39" h="22068">
                      <a:moveTo>
                        <a:pt x="19498" y="-510"/>
                      </a:moveTo>
                      <a:lnTo>
                        <a:pt x="17881" y="360"/>
                      </a:lnTo>
                      <a:cubicBezTo>
                        <a:pt x="8824" y="13857"/>
                        <a:pt x="-1426" y="17741"/>
                        <a:pt x="-1529" y="17772"/>
                      </a:cubicBezTo>
                      <a:cubicBezTo>
                        <a:pt x="-2534" y="18145"/>
                        <a:pt x="-3063" y="19264"/>
                        <a:pt x="-2700" y="20279"/>
                      </a:cubicBezTo>
                      <a:cubicBezTo>
                        <a:pt x="-2317" y="21284"/>
                        <a:pt x="-1208" y="21812"/>
                        <a:pt x="-192" y="21439"/>
                      </a:cubicBezTo>
                      <a:cubicBezTo>
                        <a:pt x="274" y="21284"/>
                        <a:pt x="11300" y="17171"/>
                        <a:pt x="21125" y="2536"/>
                      </a:cubicBezTo>
                      <a:lnTo>
                        <a:pt x="20586" y="-168"/>
                      </a:lnTo>
                      <a:lnTo>
                        <a:pt x="19498" y="-510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2" name="Vrije vorm 131">
                  <a:extLst>
                    <a:ext uri="{FF2B5EF4-FFF2-40B4-BE49-F238E27FC236}">
                      <a16:creationId xmlns:a16="http://schemas.microsoft.com/office/drawing/2014/main" id="{2391CCB9-1656-84DD-5852-A430CB4FAADD}"/>
                    </a:ext>
                  </a:extLst>
                </p:cNvPr>
                <p:cNvSpPr/>
                <p:nvPr/>
              </p:nvSpPr>
              <p:spPr>
                <a:xfrm flipV="1">
                  <a:off x="4931158" y="4274315"/>
                  <a:ext cx="46281" cy="90715"/>
                </a:xfrm>
                <a:custGeom>
                  <a:avLst/>
                  <a:gdLst>
                    <a:gd name="connsiteX0" fmla="*/ -3028 w 46281"/>
                    <a:gd name="connsiteY0" fmla="*/ 82851 h 90715"/>
                    <a:gd name="connsiteX1" fmla="*/ 10858 w 46281"/>
                    <a:gd name="connsiteY1" fmla="*/ -552 h 90715"/>
                    <a:gd name="connsiteX2" fmla="*/ 43254 w 46281"/>
                    <a:gd name="connsiteY2" fmla="*/ -552 h 90715"/>
                    <a:gd name="connsiteX3" fmla="*/ 32424 w 46281"/>
                    <a:gd name="connsiteY3" fmla="*/ 90164 h 90715"/>
                    <a:gd name="connsiteX4" fmla="*/ -3028 w 46281"/>
                    <a:gd name="connsiteY4" fmla="*/ 82851 h 90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281" h="90715">
                      <a:moveTo>
                        <a:pt x="-3028" y="82851"/>
                      </a:moveTo>
                      <a:lnTo>
                        <a:pt x="10858" y="-552"/>
                      </a:lnTo>
                      <a:lnTo>
                        <a:pt x="43254" y="-552"/>
                      </a:lnTo>
                      <a:lnTo>
                        <a:pt x="32424" y="90164"/>
                      </a:lnTo>
                      <a:lnTo>
                        <a:pt x="-3028" y="82851"/>
                      </a:lnTo>
                    </a:path>
                  </a:pathLst>
                </a:custGeom>
                <a:solidFill>
                  <a:srgbClr val="172D36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3" name="Vrije vorm 132">
                  <a:extLst>
                    <a:ext uri="{FF2B5EF4-FFF2-40B4-BE49-F238E27FC236}">
                      <a16:creationId xmlns:a16="http://schemas.microsoft.com/office/drawing/2014/main" id="{66D13254-2983-44F8-504F-9FEAAE9F78A0}"/>
                    </a:ext>
                  </a:extLst>
                </p:cNvPr>
                <p:cNvSpPr/>
                <p:nvPr/>
              </p:nvSpPr>
              <p:spPr>
                <a:xfrm flipV="1">
                  <a:off x="4931158" y="4325494"/>
                  <a:ext cx="157138" cy="76918"/>
                </a:xfrm>
                <a:custGeom>
                  <a:avLst/>
                  <a:gdLst>
                    <a:gd name="connsiteX0" fmla="*/ 53032 w 157138"/>
                    <a:gd name="connsiteY0" fmla="*/ 76416 h 76918"/>
                    <a:gd name="connsiteX1" fmla="*/ 99552 w 157138"/>
                    <a:gd name="connsiteY1" fmla="*/ 43964 h 76918"/>
                    <a:gd name="connsiteX2" fmla="*/ 153959 w 157138"/>
                    <a:gd name="connsiteY2" fmla="*/ 7929 h 76918"/>
                    <a:gd name="connsiteX3" fmla="*/ 41394 w 157138"/>
                    <a:gd name="connsiteY3" fmla="*/ 10218 h 76918"/>
                    <a:gd name="connsiteX4" fmla="*/ 41394 w 157138"/>
                    <a:gd name="connsiteY4" fmla="*/ 3071 h 76918"/>
                    <a:gd name="connsiteX5" fmla="*/ -3074 w 157138"/>
                    <a:gd name="connsiteY5" fmla="*/ 5028 h 76918"/>
                    <a:gd name="connsiteX6" fmla="*/ -3074 w 157138"/>
                    <a:gd name="connsiteY6" fmla="*/ 64079 h 76918"/>
                    <a:gd name="connsiteX7" fmla="*/ 33870 w 157138"/>
                    <a:gd name="connsiteY7" fmla="*/ 61479 h 76918"/>
                    <a:gd name="connsiteX8" fmla="*/ 31134 w 157138"/>
                    <a:gd name="connsiteY8" fmla="*/ 67321 h 76918"/>
                    <a:gd name="connsiteX9" fmla="*/ 53032 w 157138"/>
                    <a:gd name="connsiteY9" fmla="*/ 76416 h 76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7138" h="76918">
                      <a:moveTo>
                        <a:pt x="53032" y="76416"/>
                      </a:moveTo>
                      <a:cubicBezTo>
                        <a:pt x="53032" y="76416"/>
                        <a:pt x="71499" y="52395"/>
                        <a:pt x="99552" y="43964"/>
                      </a:cubicBezTo>
                      <a:cubicBezTo>
                        <a:pt x="127605" y="35522"/>
                        <a:pt x="156011" y="24791"/>
                        <a:pt x="153959" y="7929"/>
                      </a:cubicBezTo>
                      <a:cubicBezTo>
                        <a:pt x="153959" y="7929"/>
                        <a:pt x="109128" y="-12487"/>
                        <a:pt x="41394" y="10218"/>
                      </a:cubicBezTo>
                      <a:lnTo>
                        <a:pt x="41394" y="3071"/>
                      </a:lnTo>
                      <a:lnTo>
                        <a:pt x="-3074" y="5028"/>
                      </a:lnTo>
                      <a:lnTo>
                        <a:pt x="-3074" y="64079"/>
                      </a:lnTo>
                      <a:lnTo>
                        <a:pt x="33870" y="61479"/>
                      </a:lnTo>
                      <a:lnTo>
                        <a:pt x="31134" y="67321"/>
                      </a:lnTo>
                      <a:lnTo>
                        <a:pt x="53032" y="76416"/>
                      </a:lnTo>
                    </a:path>
                  </a:pathLst>
                </a:custGeom>
                <a:solidFill>
                  <a:srgbClr val="A24027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4" name="Vrije vorm 133">
                  <a:extLst>
                    <a:ext uri="{FF2B5EF4-FFF2-40B4-BE49-F238E27FC236}">
                      <a16:creationId xmlns:a16="http://schemas.microsoft.com/office/drawing/2014/main" id="{3D7CBDFA-AB16-FAC7-5408-3F4517A24425}"/>
                    </a:ext>
                  </a:extLst>
                </p:cNvPr>
                <p:cNvSpPr/>
                <p:nvPr/>
              </p:nvSpPr>
              <p:spPr>
                <a:xfrm flipV="1">
                  <a:off x="4931158" y="4382028"/>
                  <a:ext cx="157109" cy="20384"/>
                </a:xfrm>
                <a:custGeom>
                  <a:avLst/>
                  <a:gdLst>
                    <a:gd name="connsiteX0" fmla="*/ 80100 w 157109"/>
                    <a:gd name="connsiteY0" fmla="*/ 6354 h 20384"/>
                    <a:gd name="connsiteX1" fmla="*/ 153606 w 157109"/>
                    <a:gd name="connsiteY1" fmla="*/ 12351 h 20384"/>
                    <a:gd name="connsiteX2" fmla="*/ 153959 w 157109"/>
                    <a:gd name="connsiteY2" fmla="*/ 7959 h 20384"/>
                    <a:gd name="connsiteX3" fmla="*/ 41394 w 157109"/>
                    <a:gd name="connsiteY3" fmla="*/ 10249 h 20384"/>
                    <a:gd name="connsiteX4" fmla="*/ 41394 w 157109"/>
                    <a:gd name="connsiteY4" fmla="*/ 3102 h 20384"/>
                    <a:gd name="connsiteX5" fmla="*/ -3074 w 157109"/>
                    <a:gd name="connsiteY5" fmla="*/ 5059 h 20384"/>
                    <a:gd name="connsiteX6" fmla="*/ -3074 w 157109"/>
                    <a:gd name="connsiteY6" fmla="*/ 19913 h 20384"/>
                    <a:gd name="connsiteX7" fmla="*/ 80100 w 157109"/>
                    <a:gd name="connsiteY7" fmla="*/ 6354 h 203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7109" h="20384">
                      <a:moveTo>
                        <a:pt x="80100" y="6354"/>
                      </a:moveTo>
                      <a:cubicBezTo>
                        <a:pt x="122714" y="-346"/>
                        <a:pt x="150062" y="11150"/>
                        <a:pt x="153606" y="12351"/>
                      </a:cubicBezTo>
                      <a:cubicBezTo>
                        <a:pt x="154000" y="10880"/>
                        <a:pt x="154135" y="9420"/>
                        <a:pt x="153959" y="7959"/>
                      </a:cubicBezTo>
                      <a:cubicBezTo>
                        <a:pt x="153959" y="7959"/>
                        <a:pt x="109128" y="-12456"/>
                        <a:pt x="41394" y="10249"/>
                      </a:cubicBezTo>
                      <a:lnTo>
                        <a:pt x="41394" y="3102"/>
                      </a:lnTo>
                      <a:lnTo>
                        <a:pt x="-3074" y="5059"/>
                      </a:lnTo>
                      <a:lnTo>
                        <a:pt x="-3074" y="19913"/>
                      </a:lnTo>
                      <a:cubicBezTo>
                        <a:pt x="12802" y="18949"/>
                        <a:pt x="39187" y="12786"/>
                        <a:pt x="80100" y="6354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5" name="Vrije vorm 134">
                  <a:extLst>
                    <a:ext uri="{FF2B5EF4-FFF2-40B4-BE49-F238E27FC236}">
                      <a16:creationId xmlns:a16="http://schemas.microsoft.com/office/drawing/2014/main" id="{C7913A95-E947-3E94-26AD-9D64AF655278}"/>
                    </a:ext>
                  </a:extLst>
                </p:cNvPr>
                <p:cNvSpPr/>
                <p:nvPr/>
              </p:nvSpPr>
              <p:spPr>
                <a:xfrm flipV="1">
                  <a:off x="4979482" y="4337839"/>
                  <a:ext cx="23939" cy="22064"/>
                </a:xfrm>
                <a:custGeom>
                  <a:avLst/>
                  <a:gdLst>
                    <a:gd name="connsiteX0" fmla="*/ -1432 w 23939"/>
                    <a:gd name="connsiteY0" fmla="*/ -520 h 22064"/>
                    <a:gd name="connsiteX1" fmla="*/ 185 w 23939"/>
                    <a:gd name="connsiteY1" fmla="*/ 340 h 22064"/>
                    <a:gd name="connsiteX2" fmla="*/ 19585 w 23939"/>
                    <a:gd name="connsiteY2" fmla="*/ 17762 h 22064"/>
                    <a:gd name="connsiteX3" fmla="*/ 20766 w 23939"/>
                    <a:gd name="connsiteY3" fmla="*/ 20259 h 22064"/>
                    <a:gd name="connsiteX4" fmla="*/ 18268 w 23939"/>
                    <a:gd name="connsiteY4" fmla="*/ 21429 h 22064"/>
                    <a:gd name="connsiteX5" fmla="*/ -3059 w 23939"/>
                    <a:gd name="connsiteY5" fmla="*/ 2515 h 22064"/>
                    <a:gd name="connsiteX6" fmla="*/ -2520 w 23939"/>
                    <a:gd name="connsiteY6" fmla="*/ -188 h 22064"/>
                    <a:gd name="connsiteX7" fmla="*/ -1432 w 23939"/>
                    <a:gd name="connsiteY7" fmla="*/ -520 h 22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39" h="22064">
                      <a:moveTo>
                        <a:pt x="-1432" y="-520"/>
                      </a:moveTo>
                      <a:lnTo>
                        <a:pt x="185" y="340"/>
                      </a:lnTo>
                      <a:cubicBezTo>
                        <a:pt x="9304" y="13940"/>
                        <a:pt x="19481" y="17721"/>
                        <a:pt x="19585" y="17762"/>
                      </a:cubicBezTo>
                      <a:cubicBezTo>
                        <a:pt x="20600" y="18125"/>
                        <a:pt x="21129" y="19243"/>
                        <a:pt x="20766" y="20259"/>
                      </a:cubicBezTo>
                      <a:cubicBezTo>
                        <a:pt x="20393" y="21274"/>
                        <a:pt x="19274" y="21792"/>
                        <a:pt x="18268" y="21429"/>
                      </a:cubicBezTo>
                      <a:cubicBezTo>
                        <a:pt x="17802" y="21263"/>
                        <a:pt x="6765" y="17151"/>
                        <a:pt x="-3059" y="2515"/>
                      </a:cubicBezTo>
                      <a:lnTo>
                        <a:pt x="-2520" y="-188"/>
                      </a:lnTo>
                      <a:lnTo>
                        <a:pt x="-1432" y="-520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6" name="Vrije vorm 135">
                  <a:extLst>
                    <a:ext uri="{FF2B5EF4-FFF2-40B4-BE49-F238E27FC236}">
                      <a16:creationId xmlns:a16="http://schemas.microsoft.com/office/drawing/2014/main" id="{964F6F62-3AF3-C09D-AA4C-E99BB5721534}"/>
                    </a:ext>
                  </a:extLst>
                </p:cNvPr>
                <p:cNvSpPr/>
                <p:nvPr/>
              </p:nvSpPr>
              <p:spPr>
                <a:xfrm flipV="1">
                  <a:off x="4989658" y="4342408"/>
                  <a:ext cx="23940" cy="22063"/>
                </a:xfrm>
                <a:custGeom>
                  <a:avLst/>
                  <a:gdLst>
                    <a:gd name="connsiteX0" fmla="*/ -1441 w 23940"/>
                    <a:gd name="connsiteY0" fmla="*/ -515 h 22063"/>
                    <a:gd name="connsiteX1" fmla="*/ 176 w 23940"/>
                    <a:gd name="connsiteY1" fmla="*/ 355 h 22063"/>
                    <a:gd name="connsiteX2" fmla="*/ 19576 w 23940"/>
                    <a:gd name="connsiteY2" fmla="*/ 17757 h 22063"/>
                    <a:gd name="connsiteX3" fmla="*/ 20757 w 23940"/>
                    <a:gd name="connsiteY3" fmla="*/ 20264 h 22063"/>
                    <a:gd name="connsiteX4" fmla="*/ 18260 w 23940"/>
                    <a:gd name="connsiteY4" fmla="*/ 21434 h 22063"/>
                    <a:gd name="connsiteX5" fmla="*/ -3068 w 23940"/>
                    <a:gd name="connsiteY5" fmla="*/ 2531 h 22063"/>
                    <a:gd name="connsiteX6" fmla="*/ -2529 w 23940"/>
                    <a:gd name="connsiteY6" fmla="*/ -183 h 22063"/>
                    <a:gd name="connsiteX7" fmla="*/ -1441 w 23940"/>
                    <a:gd name="connsiteY7" fmla="*/ -515 h 220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40" h="22063">
                      <a:moveTo>
                        <a:pt x="-1441" y="-515"/>
                      </a:moveTo>
                      <a:lnTo>
                        <a:pt x="176" y="355"/>
                      </a:lnTo>
                      <a:cubicBezTo>
                        <a:pt x="9296" y="13935"/>
                        <a:pt x="19483" y="17726"/>
                        <a:pt x="19576" y="17757"/>
                      </a:cubicBezTo>
                      <a:cubicBezTo>
                        <a:pt x="20602" y="18130"/>
                        <a:pt x="21120" y="19248"/>
                        <a:pt x="20757" y="20264"/>
                      </a:cubicBezTo>
                      <a:cubicBezTo>
                        <a:pt x="20394" y="21268"/>
                        <a:pt x="19265" y="21797"/>
                        <a:pt x="18260" y="21434"/>
                      </a:cubicBezTo>
                      <a:cubicBezTo>
                        <a:pt x="17793" y="21258"/>
                        <a:pt x="6757" y="17167"/>
                        <a:pt x="-3068" y="2531"/>
                      </a:cubicBezTo>
                      <a:lnTo>
                        <a:pt x="-2529" y="-183"/>
                      </a:lnTo>
                      <a:lnTo>
                        <a:pt x="-1441" y="-515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7" name="Vrije vorm 136">
                  <a:extLst>
                    <a:ext uri="{FF2B5EF4-FFF2-40B4-BE49-F238E27FC236}">
                      <a16:creationId xmlns:a16="http://schemas.microsoft.com/office/drawing/2014/main" id="{D3A2748A-AB76-C651-9708-6FED5344700A}"/>
                    </a:ext>
                  </a:extLst>
                </p:cNvPr>
                <p:cNvSpPr/>
                <p:nvPr/>
              </p:nvSpPr>
              <p:spPr>
                <a:xfrm flipV="1">
                  <a:off x="4999846" y="4346919"/>
                  <a:ext cx="23930" cy="22068"/>
                </a:xfrm>
                <a:custGeom>
                  <a:avLst/>
                  <a:gdLst>
                    <a:gd name="connsiteX0" fmla="*/ -1460 w 23930"/>
                    <a:gd name="connsiteY0" fmla="*/ -510 h 22068"/>
                    <a:gd name="connsiteX1" fmla="*/ 167 w 23930"/>
                    <a:gd name="connsiteY1" fmla="*/ 360 h 22068"/>
                    <a:gd name="connsiteX2" fmla="*/ 19567 w 23930"/>
                    <a:gd name="connsiteY2" fmla="*/ 17772 h 22068"/>
                    <a:gd name="connsiteX3" fmla="*/ 20738 w 23930"/>
                    <a:gd name="connsiteY3" fmla="*/ 20279 h 22068"/>
                    <a:gd name="connsiteX4" fmla="*/ 18241 w 23930"/>
                    <a:gd name="connsiteY4" fmla="*/ 21439 h 22068"/>
                    <a:gd name="connsiteX5" fmla="*/ -3076 w 23930"/>
                    <a:gd name="connsiteY5" fmla="*/ 2536 h 22068"/>
                    <a:gd name="connsiteX6" fmla="*/ -2538 w 23930"/>
                    <a:gd name="connsiteY6" fmla="*/ -168 h 22068"/>
                    <a:gd name="connsiteX7" fmla="*/ -1460 w 23930"/>
                    <a:gd name="connsiteY7" fmla="*/ -510 h 2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30" h="22068">
                      <a:moveTo>
                        <a:pt x="-1460" y="-510"/>
                      </a:moveTo>
                      <a:lnTo>
                        <a:pt x="167" y="360"/>
                      </a:lnTo>
                      <a:cubicBezTo>
                        <a:pt x="9225" y="13857"/>
                        <a:pt x="19464" y="17741"/>
                        <a:pt x="19567" y="17772"/>
                      </a:cubicBezTo>
                      <a:cubicBezTo>
                        <a:pt x="20583" y="18145"/>
                        <a:pt x="21101" y="19264"/>
                        <a:pt x="20738" y="20279"/>
                      </a:cubicBezTo>
                      <a:cubicBezTo>
                        <a:pt x="20365" y="21284"/>
                        <a:pt x="19246" y="21812"/>
                        <a:pt x="18241" y="21439"/>
                      </a:cubicBezTo>
                      <a:cubicBezTo>
                        <a:pt x="17774" y="21284"/>
                        <a:pt x="6748" y="17171"/>
                        <a:pt x="-3076" y="2536"/>
                      </a:cubicBezTo>
                      <a:lnTo>
                        <a:pt x="-2538" y="-168"/>
                      </a:lnTo>
                      <a:lnTo>
                        <a:pt x="-1460" y="-510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8" name="Vrije vorm 137">
                  <a:extLst>
                    <a:ext uri="{FF2B5EF4-FFF2-40B4-BE49-F238E27FC236}">
                      <a16:creationId xmlns:a16="http://schemas.microsoft.com/office/drawing/2014/main" id="{06B8DB7A-72D9-2832-E362-27A47FC1FEA0}"/>
                    </a:ext>
                  </a:extLst>
                </p:cNvPr>
                <p:cNvSpPr/>
                <p:nvPr/>
              </p:nvSpPr>
              <p:spPr>
                <a:xfrm flipV="1">
                  <a:off x="4720206" y="3602165"/>
                  <a:ext cx="274603" cy="732774"/>
                </a:xfrm>
                <a:custGeom>
                  <a:avLst/>
                  <a:gdLst>
                    <a:gd name="connsiteX0" fmla="*/ 64600 w 274603"/>
                    <a:gd name="connsiteY0" fmla="*/ 718757 h 732774"/>
                    <a:gd name="connsiteX1" fmla="*/ 30868 w 274603"/>
                    <a:gd name="connsiteY1" fmla="*/ 316049 h 732774"/>
                    <a:gd name="connsiteX2" fmla="*/ -2947 w 274603"/>
                    <a:gd name="connsiteY2" fmla="*/ 21094 h 732774"/>
                    <a:gd name="connsiteX3" fmla="*/ 74932 w 274603"/>
                    <a:gd name="connsiteY3" fmla="*/ 8810 h 732774"/>
                    <a:gd name="connsiteX4" fmla="*/ 121038 w 274603"/>
                    <a:gd name="connsiteY4" fmla="*/ 297611 h 732774"/>
                    <a:gd name="connsiteX5" fmla="*/ 157920 w 274603"/>
                    <a:gd name="connsiteY5" fmla="*/ 572077 h 732774"/>
                    <a:gd name="connsiteX6" fmla="*/ 178408 w 274603"/>
                    <a:gd name="connsiteY6" fmla="*/ 572077 h 732774"/>
                    <a:gd name="connsiteX7" fmla="*/ 195829 w 274603"/>
                    <a:gd name="connsiteY7" fmla="*/ 8810 h 732774"/>
                    <a:gd name="connsiteX8" fmla="*/ 271656 w 274603"/>
                    <a:gd name="connsiteY8" fmla="*/ 6759 h 732774"/>
                    <a:gd name="connsiteX9" fmla="*/ 265511 w 274603"/>
                    <a:gd name="connsiteY9" fmla="*/ 731839 h 732774"/>
                    <a:gd name="connsiteX10" fmla="*/ 64600 w 274603"/>
                    <a:gd name="connsiteY10" fmla="*/ 718757 h 732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74603" h="732774">
                      <a:moveTo>
                        <a:pt x="64600" y="718757"/>
                      </a:moveTo>
                      <a:lnTo>
                        <a:pt x="30868" y="316049"/>
                      </a:lnTo>
                      <a:lnTo>
                        <a:pt x="-2947" y="21094"/>
                      </a:lnTo>
                      <a:cubicBezTo>
                        <a:pt x="-2947" y="21094"/>
                        <a:pt x="13448" y="-1434"/>
                        <a:pt x="74932" y="8810"/>
                      </a:cubicBezTo>
                      <a:lnTo>
                        <a:pt x="121038" y="297611"/>
                      </a:lnTo>
                      <a:lnTo>
                        <a:pt x="157920" y="572077"/>
                      </a:lnTo>
                      <a:lnTo>
                        <a:pt x="178408" y="572077"/>
                      </a:lnTo>
                      <a:lnTo>
                        <a:pt x="195829" y="8810"/>
                      </a:lnTo>
                      <a:cubicBezTo>
                        <a:pt x="195829" y="8810"/>
                        <a:pt x="222473" y="-11679"/>
                        <a:pt x="271656" y="6759"/>
                      </a:cubicBezTo>
                      <a:lnTo>
                        <a:pt x="265511" y="731839"/>
                      </a:lnTo>
                      <a:lnTo>
                        <a:pt x="64600" y="718757"/>
                      </a:lnTo>
                    </a:path>
                  </a:pathLst>
                </a:custGeom>
                <a:solidFill>
                  <a:schemeClr val="tx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39" name="Vrije vorm 138">
                  <a:extLst>
                    <a:ext uri="{FF2B5EF4-FFF2-40B4-BE49-F238E27FC236}">
                      <a16:creationId xmlns:a16="http://schemas.microsoft.com/office/drawing/2014/main" id="{A76A3AD2-241E-19BC-A324-DB525FF58CD3}"/>
                    </a:ext>
                  </a:extLst>
                </p:cNvPr>
                <p:cNvSpPr/>
                <p:nvPr/>
              </p:nvSpPr>
              <p:spPr>
                <a:xfrm flipV="1">
                  <a:off x="4829817" y="3182780"/>
                  <a:ext cx="71744" cy="148626"/>
                </a:xfrm>
                <a:custGeom>
                  <a:avLst/>
                  <a:gdLst>
                    <a:gd name="connsiteX0" fmla="*/ 68790 w 71744"/>
                    <a:gd name="connsiteY0" fmla="*/ 112679 h 148626"/>
                    <a:gd name="connsiteX1" fmla="*/ 66034 w 71744"/>
                    <a:gd name="connsiteY1" fmla="*/ -1714 h 148626"/>
                    <a:gd name="connsiteX2" fmla="*/ -2954 w 71744"/>
                    <a:gd name="connsiteY2" fmla="*/ 29122 h 148626"/>
                    <a:gd name="connsiteX3" fmla="*/ -778 w 71744"/>
                    <a:gd name="connsiteY3" fmla="*/ 146913 h 148626"/>
                    <a:gd name="connsiteX4" fmla="*/ 68790 w 71744"/>
                    <a:gd name="connsiteY4" fmla="*/ 112679 h 1486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744" h="148626">
                      <a:moveTo>
                        <a:pt x="68790" y="112679"/>
                      </a:moveTo>
                      <a:lnTo>
                        <a:pt x="66034" y="-1714"/>
                      </a:lnTo>
                      <a:lnTo>
                        <a:pt x="-2954" y="29122"/>
                      </a:lnTo>
                      <a:lnTo>
                        <a:pt x="-778" y="146913"/>
                      </a:lnTo>
                      <a:lnTo>
                        <a:pt x="68790" y="112679"/>
                      </a:lnTo>
                    </a:path>
                  </a:pathLst>
                </a:custGeom>
                <a:solidFill>
                  <a:srgbClr val="CF8D7C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0" name="Vrije vorm 139">
                  <a:extLst>
                    <a:ext uri="{FF2B5EF4-FFF2-40B4-BE49-F238E27FC236}">
                      <a16:creationId xmlns:a16="http://schemas.microsoft.com/office/drawing/2014/main" id="{F412AE92-8A86-DBD4-D65E-3C82EA88CE99}"/>
                    </a:ext>
                  </a:extLst>
                </p:cNvPr>
                <p:cNvSpPr/>
                <p:nvPr/>
              </p:nvSpPr>
              <p:spPr>
                <a:xfrm flipV="1">
                  <a:off x="4694557" y="3258827"/>
                  <a:ext cx="319175" cy="371266"/>
                </a:xfrm>
                <a:custGeom>
                  <a:avLst/>
                  <a:gdLst>
                    <a:gd name="connsiteX0" fmla="*/ 315164 w 319175"/>
                    <a:gd name="connsiteY0" fmla="*/ 326781 h 371266"/>
                    <a:gd name="connsiteX1" fmla="*/ 295256 w 319175"/>
                    <a:gd name="connsiteY1" fmla="*/ 18227 h 371266"/>
                    <a:gd name="connsiteX2" fmla="*/ 163758 w 319175"/>
                    <a:gd name="connsiteY2" fmla="*/ -1184 h 371266"/>
                    <a:gd name="connsiteX3" fmla="*/ 90252 w 319175"/>
                    <a:gd name="connsiteY3" fmla="*/ 13337 h 371266"/>
                    <a:gd name="connsiteX4" fmla="*/ -2944 w 319175"/>
                    <a:gd name="connsiteY4" fmla="*/ 358963 h 371266"/>
                    <a:gd name="connsiteX5" fmla="*/ 136544 w 319175"/>
                    <a:gd name="connsiteY5" fmla="*/ 369756 h 371266"/>
                    <a:gd name="connsiteX6" fmla="*/ 176867 w 319175"/>
                    <a:gd name="connsiteY6" fmla="*/ 332405 h 371266"/>
                    <a:gd name="connsiteX7" fmla="*/ 209449 w 319175"/>
                    <a:gd name="connsiteY7" fmla="*/ 367177 h 371266"/>
                    <a:gd name="connsiteX8" fmla="*/ 316231 w 319175"/>
                    <a:gd name="connsiteY8" fmla="*/ 354696 h 371266"/>
                    <a:gd name="connsiteX9" fmla="*/ 315164 w 319175"/>
                    <a:gd name="connsiteY9" fmla="*/ 326781 h 371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19175" h="371266">
                      <a:moveTo>
                        <a:pt x="315164" y="326781"/>
                      </a:moveTo>
                      <a:cubicBezTo>
                        <a:pt x="315164" y="326781"/>
                        <a:pt x="308500" y="122107"/>
                        <a:pt x="295256" y="18227"/>
                      </a:cubicBezTo>
                      <a:cubicBezTo>
                        <a:pt x="295256" y="18227"/>
                        <a:pt x="244549" y="-4468"/>
                        <a:pt x="163758" y="-1184"/>
                      </a:cubicBezTo>
                      <a:cubicBezTo>
                        <a:pt x="106698" y="1146"/>
                        <a:pt x="90252" y="13337"/>
                        <a:pt x="90252" y="13337"/>
                      </a:cubicBezTo>
                      <a:lnTo>
                        <a:pt x="-2944" y="358963"/>
                      </a:lnTo>
                      <a:cubicBezTo>
                        <a:pt x="-2944" y="358963"/>
                        <a:pt x="49576" y="369860"/>
                        <a:pt x="136544" y="369756"/>
                      </a:cubicBezTo>
                      <a:lnTo>
                        <a:pt x="176867" y="332405"/>
                      </a:lnTo>
                      <a:cubicBezTo>
                        <a:pt x="176867" y="332405"/>
                        <a:pt x="187821" y="361397"/>
                        <a:pt x="209449" y="367177"/>
                      </a:cubicBezTo>
                      <a:cubicBezTo>
                        <a:pt x="242228" y="364909"/>
                        <a:pt x="278022" y="360983"/>
                        <a:pt x="316231" y="354696"/>
                      </a:cubicBezTo>
                      <a:lnTo>
                        <a:pt x="315164" y="326781"/>
                      </a:lnTo>
                    </a:path>
                  </a:pathLst>
                </a:custGeom>
                <a:solidFill>
                  <a:srgbClr val="E1F5F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1" name="Vrije vorm 140">
                  <a:extLst>
                    <a:ext uri="{FF2B5EF4-FFF2-40B4-BE49-F238E27FC236}">
                      <a16:creationId xmlns:a16="http://schemas.microsoft.com/office/drawing/2014/main" id="{9C729851-2F38-EEA8-CC9E-374C8A86F123}"/>
                    </a:ext>
                  </a:extLst>
                </p:cNvPr>
                <p:cNvSpPr/>
                <p:nvPr/>
              </p:nvSpPr>
              <p:spPr>
                <a:xfrm flipV="1">
                  <a:off x="4944962" y="3274966"/>
                  <a:ext cx="146897" cy="253542"/>
                </a:xfrm>
                <a:custGeom>
                  <a:avLst/>
                  <a:gdLst>
                    <a:gd name="connsiteX0" fmla="*/ 143816 w 146897"/>
                    <a:gd name="connsiteY0" fmla="*/ 64145 h 253542"/>
                    <a:gd name="connsiteX1" fmla="*/ 64279 w 146897"/>
                    <a:gd name="connsiteY1" fmla="*/ 251987 h 253542"/>
                    <a:gd name="connsiteX2" fmla="*/ -3082 w 146897"/>
                    <a:gd name="connsiteY2" fmla="*/ 220333 h 253542"/>
                    <a:gd name="connsiteX3" fmla="*/ 96177 w 146897"/>
                    <a:gd name="connsiteY3" fmla="*/ -1556 h 253542"/>
                    <a:gd name="connsiteX4" fmla="*/ 143816 w 146897"/>
                    <a:gd name="connsiteY4" fmla="*/ 64145 h 25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897" h="253542">
                      <a:moveTo>
                        <a:pt x="143816" y="64145"/>
                      </a:moveTo>
                      <a:lnTo>
                        <a:pt x="64279" y="251987"/>
                      </a:lnTo>
                      <a:lnTo>
                        <a:pt x="-3082" y="220333"/>
                      </a:lnTo>
                      <a:lnTo>
                        <a:pt x="96177" y="-1556"/>
                      </a:lnTo>
                      <a:lnTo>
                        <a:pt x="143816" y="64145"/>
                      </a:lnTo>
                    </a:path>
                  </a:pathLst>
                </a:custGeom>
                <a:solidFill>
                  <a:srgbClr val="E1F5F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2" name="Vrije vorm 141">
                  <a:extLst>
                    <a:ext uri="{FF2B5EF4-FFF2-40B4-BE49-F238E27FC236}">
                      <a16:creationId xmlns:a16="http://schemas.microsoft.com/office/drawing/2014/main" id="{B3EBF2AD-569D-AFE1-0687-81C4EAD5E4D3}"/>
                    </a:ext>
                  </a:extLst>
                </p:cNvPr>
                <p:cNvSpPr/>
                <p:nvPr/>
              </p:nvSpPr>
              <p:spPr>
                <a:xfrm flipV="1">
                  <a:off x="4962693" y="3621034"/>
                  <a:ext cx="31176" cy="29357"/>
                </a:xfrm>
                <a:custGeom>
                  <a:avLst/>
                  <a:gdLst>
                    <a:gd name="connsiteX0" fmla="*/ -3048 w 31176"/>
                    <a:gd name="connsiteY0" fmla="*/ 19002 h 29357"/>
                    <a:gd name="connsiteX1" fmla="*/ 22922 w 31176"/>
                    <a:gd name="connsiteY1" fmla="*/ 27723 h 29357"/>
                    <a:gd name="connsiteX2" fmla="*/ 27917 w 31176"/>
                    <a:gd name="connsiteY2" fmla="*/ 19281 h 29357"/>
                    <a:gd name="connsiteX3" fmla="*/ 22922 w 31176"/>
                    <a:gd name="connsiteY3" fmla="*/ 7308 h 29357"/>
                    <a:gd name="connsiteX4" fmla="*/ 797 w 31176"/>
                    <a:gd name="connsiteY4" fmla="*/ -1300 h 29357"/>
                    <a:gd name="connsiteX5" fmla="*/ -3048 w 31176"/>
                    <a:gd name="connsiteY5" fmla="*/ 19002 h 293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1176" h="29357">
                      <a:moveTo>
                        <a:pt x="-3048" y="19002"/>
                      </a:moveTo>
                      <a:cubicBezTo>
                        <a:pt x="14310" y="22741"/>
                        <a:pt x="22725" y="27661"/>
                        <a:pt x="22922" y="27723"/>
                      </a:cubicBezTo>
                      <a:cubicBezTo>
                        <a:pt x="28000" y="29401"/>
                        <a:pt x="27337" y="24481"/>
                        <a:pt x="27917" y="19281"/>
                      </a:cubicBezTo>
                      <a:cubicBezTo>
                        <a:pt x="28674" y="12393"/>
                        <a:pt x="27492" y="8716"/>
                        <a:pt x="22922" y="7308"/>
                      </a:cubicBezTo>
                      <a:cubicBezTo>
                        <a:pt x="22093" y="7049"/>
                        <a:pt x="18072" y="2864"/>
                        <a:pt x="797" y="-1300"/>
                      </a:cubicBezTo>
                      <a:cubicBezTo>
                        <a:pt x="-499" y="5474"/>
                        <a:pt x="-1784" y="12238"/>
                        <a:pt x="-3048" y="19002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3" name="Vrije vorm 142">
                  <a:extLst>
                    <a:ext uri="{FF2B5EF4-FFF2-40B4-BE49-F238E27FC236}">
                      <a16:creationId xmlns:a16="http://schemas.microsoft.com/office/drawing/2014/main" id="{990EF46E-6F5B-DC35-A9E4-EF3E56B3EC54}"/>
                    </a:ext>
                  </a:extLst>
                </p:cNvPr>
                <p:cNvSpPr/>
                <p:nvPr/>
              </p:nvSpPr>
              <p:spPr>
                <a:xfrm flipV="1">
                  <a:off x="4835745" y="3632803"/>
                  <a:ext cx="114326" cy="26003"/>
                </a:xfrm>
                <a:custGeom>
                  <a:avLst/>
                  <a:gdLst>
                    <a:gd name="connsiteX0" fmla="*/ -427 w 114326"/>
                    <a:gd name="connsiteY0" fmla="*/ 21897 h 26003"/>
                    <a:gd name="connsiteX1" fmla="*/ 62892 w 114326"/>
                    <a:gd name="connsiteY1" fmla="*/ 20229 h 26003"/>
                    <a:gd name="connsiteX2" fmla="*/ 109650 w 114326"/>
                    <a:gd name="connsiteY2" fmla="*/ 24714 h 26003"/>
                    <a:gd name="connsiteX3" fmla="*/ 111350 w 114326"/>
                    <a:gd name="connsiteY3" fmla="*/ 3688 h 26003"/>
                    <a:gd name="connsiteX4" fmla="*/ 63316 w 114326"/>
                    <a:gd name="connsiteY4" fmla="*/ -1139 h 26003"/>
                    <a:gd name="connsiteX5" fmla="*/ 41460 w 114326"/>
                    <a:gd name="connsiteY5" fmla="*/ -1201 h 26003"/>
                    <a:gd name="connsiteX6" fmla="*/ -2977 w 114326"/>
                    <a:gd name="connsiteY6" fmla="*/ 1554 h 26003"/>
                    <a:gd name="connsiteX7" fmla="*/ -427 w 114326"/>
                    <a:gd name="connsiteY7" fmla="*/ 21897 h 26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4326" h="26003">
                      <a:moveTo>
                        <a:pt x="-427" y="21897"/>
                      </a:moveTo>
                      <a:cubicBezTo>
                        <a:pt x="18879" y="20053"/>
                        <a:pt x="39999" y="19680"/>
                        <a:pt x="62892" y="20229"/>
                      </a:cubicBezTo>
                      <a:cubicBezTo>
                        <a:pt x="80540" y="20644"/>
                        <a:pt x="96365" y="22477"/>
                        <a:pt x="109650" y="24714"/>
                      </a:cubicBezTo>
                      <a:cubicBezTo>
                        <a:pt x="109225" y="17661"/>
                        <a:pt x="110158" y="10669"/>
                        <a:pt x="111350" y="3688"/>
                      </a:cubicBezTo>
                      <a:cubicBezTo>
                        <a:pt x="97805" y="1254"/>
                        <a:pt x="81639" y="-704"/>
                        <a:pt x="63316" y="-1139"/>
                      </a:cubicBezTo>
                      <a:cubicBezTo>
                        <a:pt x="55865" y="-1315"/>
                        <a:pt x="48580" y="-1336"/>
                        <a:pt x="41460" y="-1201"/>
                      </a:cubicBezTo>
                      <a:cubicBezTo>
                        <a:pt x="25512" y="-911"/>
                        <a:pt x="10817" y="-31"/>
                        <a:pt x="-2977" y="1554"/>
                      </a:cubicBezTo>
                      <a:cubicBezTo>
                        <a:pt x="-1464" y="8235"/>
                        <a:pt x="-562" y="14999"/>
                        <a:pt x="-427" y="21897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4" name="Vrije vorm 143">
                  <a:extLst>
                    <a:ext uri="{FF2B5EF4-FFF2-40B4-BE49-F238E27FC236}">
                      <a16:creationId xmlns:a16="http://schemas.microsoft.com/office/drawing/2014/main" id="{912E3BA6-E226-C5AE-41DA-9753B950CB04}"/>
                    </a:ext>
                  </a:extLst>
                </p:cNvPr>
                <p:cNvSpPr/>
                <p:nvPr/>
              </p:nvSpPr>
              <p:spPr>
                <a:xfrm flipV="1">
                  <a:off x="4781079" y="3625485"/>
                  <a:ext cx="44560" cy="28790"/>
                </a:xfrm>
                <a:custGeom>
                  <a:avLst/>
                  <a:gdLst>
                    <a:gd name="connsiteX0" fmla="*/ -2291 w 44560"/>
                    <a:gd name="connsiteY0" fmla="*/ 19100 h 28790"/>
                    <a:gd name="connsiteX1" fmla="*/ 4383 w 44560"/>
                    <a:gd name="connsiteY1" fmla="*/ 27127 h 28790"/>
                    <a:gd name="connsiteX2" fmla="*/ 41659 w 44560"/>
                    <a:gd name="connsiteY2" fmla="*/ 18768 h 28790"/>
                    <a:gd name="connsiteX3" fmla="*/ 39203 w 44560"/>
                    <a:gd name="connsiteY3" fmla="*/ -1295 h 28790"/>
                    <a:gd name="connsiteX4" fmla="*/ 92 w 44560"/>
                    <a:gd name="connsiteY4" fmla="*/ 8514 h 28790"/>
                    <a:gd name="connsiteX5" fmla="*/ -2291 w 44560"/>
                    <a:gd name="connsiteY5" fmla="*/ 19100 h 28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560" h="28790">
                      <a:moveTo>
                        <a:pt x="-2291" y="19100"/>
                      </a:moveTo>
                      <a:cubicBezTo>
                        <a:pt x="-1317" y="24268"/>
                        <a:pt x="-695" y="28846"/>
                        <a:pt x="4383" y="27127"/>
                      </a:cubicBezTo>
                      <a:cubicBezTo>
                        <a:pt x="15762" y="23315"/>
                        <a:pt x="28208" y="20612"/>
                        <a:pt x="41659" y="18768"/>
                      </a:cubicBezTo>
                      <a:cubicBezTo>
                        <a:pt x="41203" y="12035"/>
                        <a:pt x="40219" y="5375"/>
                        <a:pt x="39203" y="-1295"/>
                      </a:cubicBezTo>
                      <a:cubicBezTo>
                        <a:pt x="25244" y="921"/>
                        <a:pt x="12238" y="4049"/>
                        <a:pt x="92" y="8514"/>
                      </a:cubicBezTo>
                      <a:cubicBezTo>
                        <a:pt x="-3441" y="9808"/>
                        <a:pt x="-3276" y="13890"/>
                        <a:pt x="-2291" y="19100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5" name="Vrije vorm 144">
                  <a:extLst>
                    <a:ext uri="{FF2B5EF4-FFF2-40B4-BE49-F238E27FC236}">
                      <a16:creationId xmlns:a16="http://schemas.microsoft.com/office/drawing/2014/main" id="{0CFCA28C-4E17-298C-2E9A-5FBA7A651993}"/>
                    </a:ext>
                  </a:extLst>
                </p:cNvPr>
                <p:cNvSpPr/>
                <p:nvPr/>
              </p:nvSpPr>
              <p:spPr>
                <a:xfrm flipV="1">
                  <a:off x="4869497" y="3633953"/>
                  <a:ext cx="45370" cy="27676"/>
                </a:xfrm>
                <a:custGeom>
                  <a:avLst/>
                  <a:gdLst>
                    <a:gd name="connsiteX0" fmla="*/ 5055 w 45370"/>
                    <a:gd name="connsiteY0" fmla="*/ 21501 h 27676"/>
                    <a:gd name="connsiteX1" fmla="*/ 34704 w 45370"/>
                    <a:gd name="connsiteY1" fmla="*/ 21698 h 27676"/>
                    <a:gd name="connsiteX2" fmla="*/ 34393 w 45370"/>
                    <a:gd name="connsiteY2" fmla="*/ 4907 h 27676"/>
                    <a:gd name="connsiteX3" fmla="*/ 4713 w 45370"/>
                    <a:gd name="connsiteY3" fmla="*/ 3405 h 27676"/>
                    <a:gd name="connsiteX4" fmla="*/ -2468 w 45370"/>
                    <a:gd name="connsiteY4" fmla="*/ 26100 h 27676"/>
                    <a:gd name="connsiteX5" fmla="*/ -2976 w 45370"/>
                    <a:gd name="connsiteY5" fmla="*/ -1287 h 27676"/>
                    <a:gd name="connsiteX6" fmla="*/ 41927 w 45370"/>
                    <a:gd name="connsiteY6" fmla="*/ 992 h 27676"/>
                    <a:gd name="connsiteX7" fmla="*/ 42394 w 45370"/>
                    <a:gd name="connsiteY7" fmla="*/ 26390 h 27676"/>
                    <a:gd name="connsiteX8" fmla="*/ -2468 w 45370"/>
                    <a:gd name="connsiteY8" fmla="*/ 26100 h 27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5370" h="27676">
                      <a:moveTo>
                        <a:pt x="5055" y="21501"/>
                      </a:moveTo>
                      <a:lnTo>
                        <a:pt x="34704" y="21698"/>
                      </a:lnTo>
                      <a:lnTo>
                        <a:pt x="34393" y="4907"/>
                      </a:lnTo>
                      <a:lnTo>
                        <a:pt x="4713" y="3405"/>
                      </a:lnTo>
                      <a:close/>
                      <a:moveTo>
                        <a:pt x="-2468" y="26100"/>
                      </a:moveTo>
                      <a:lnTo>
                        <a:pt x="-2976" y="-1287"/>
                      </a:lnTo>
                      <a:lnTo>
                        <a:pt x="41927" y="992"/>
                      </a:lnTo>
                      <a:lnTo>
                        <a:pt x="42394" y="26390"/>
                      </a:lnTo>
                      <a:lnTo>
                        <a:pt x="-2468" y="26100"/>
                      </a:lnTo>
                    </a:path>
                  </a:pathLst>
                </a:custGeom>
                <a:solidFill>
                  <a:srgbClr val="9FA2A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6" name="Vrije vorm 145">
                  <a:extLst>
                    <a:ext uri="{FF2B5EF4-FFF2-40B4-BE49-F238E27FC236}">
                      <a16:creationId xmlns:a16="http://schemas.microsoft.com/office/drawing/2014/main" id="{330191B7-2E38-E4EA-6014-E394618B3C2B}"/>
                    </a:ext>
                  </a:extLst>
                </p:cNvPr>
                <p:cNvSpPr/>
                <p:nvPr/>
              </p:nvSpPr>
              <p:spPr>
                <a:xfrm flipV="1">
                  <a:off x="4840709" y="3259833"/>
                  <a:ext cx="33659" cy="36346"/>
                </a:xfrm>
                <a:custGeom>
                  <a:avLst/>
                  <a:gdLst>
                    <a:gd name="connsiteX0" fmla="*/ 30712 w 33659"/>
                    <a:gd name="connsiteY0" fmla="*/ -1691 h 36346"/>
                    <a:gd name="connsiteX1" fmla="*/ 20256 w 33659"/>
                    <a:gd name="connsiteY1" fmla="*/ 34655 h 36346"/>
                    <a:gd name="connsiteX2" fmla="*/ -2947 w 33659"/>
                    <a:gd name="connsiteY2" fmla="*/ 24038 h 36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659" h="36346">
                      <a:moveTo>
                        <a:pt x="30712" y="-1691"/>
                      </a:moveTo>
                      <a:lnTo>
                        <a:pt x="20256" y="34655"/>
                      </a:lnTo>
                      <a:lnTo>
                        <a:pt x="-2947" y="24038"/>
                      </a:lnTo>
                      <a:close/>
                    </a:path>
                  </a:pathLst>
                </a:custGeom>
                <a:solidFill>
                  <a:srgbClr val="D0BEBB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7" name="Vrije vorm 146">
                  <a:extLst>
                    <a:ext uri="{FF2B5EF4-FFF2-40B4-BE49-F238E27FC236}">
                      <a16:creationId xmlns:a16="http://schemas.microsoft.com/office/drawing/2014/main" id="{6128784F-C167-7AFC-B980-7AEBD50F9812}"/>
                    </a:ext>
                  </a:extLst>
                </p:cNvPr>
                <p:cNvSpPr/>
                <p:nvPr/>
              </p:nvSpPr>
              <p:spPr>
                <a:xfrm flipV="1">
                  <a:off x="4874368" y="3262982"/>
                  <a:ext cx="18995" cy="33197"/>
                </a:xfrm>
                <a:custGeom>
                  <a:avLst/>
                  <a:gdLst>
                    <a:gd name="connsiteX0" fmla="*/ 15 w 18995"/>
                    <a:gd name="connsiteY0" fmla="*/ 31508 h 33197"/>
                    <a:gd name="connsiteX1" fmla="*/ -2969 w 18995"/>
                    <a:gd name="connsiteY1" fmla="*/ -1690 h 33197"/>
                    <a:gd name="connsiteX2" fmla="*/ 16027 w 18995"/>
                    <a:gd name="connsiteY2" fmla="*/ 21802 h 33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8995" h="33197">
                      <a:moveTo>
                        <a:pt x="15" y="31508"/>
                      </a:moveTo>
                      <a:lnTo>
                        <a:pt x="-2969" y="-1690"/>
                      </a:lnTo>
                      <a:lnTo>
                        <a:pt x="16027" y="21802"/>
                      </a:lnTo>
                      <a:close/>
                    </a:path>
                  </a:pathLst>
                </a:custGeom>
                <a:solidFill>
                  <a:srgbClr val="D0BEBB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49" name="Vrije vorm 148">
                  <a:extLst>
                    <a:ext uri="{FF2B5EF4-FFF2-40B4-BE49-F238E27FC236}">
                      <a16:creationId xmlns:a16="http://schemas.microsoft.com/office/drawing/2014/main" id="{1870F94A-4CC9-973D-DECA-37BA9F0DEE7E}"/>
                    </a:ext>
                  </a:extLst>
                </p:cNvPr>
                <p:cNvSpPr/>
                <p:nvPr/>
              </p:nvSpPr>
              <p:spPr>
                <a:xfrm flipV="1">
                  <a:off x="4877353" y="3237936"/>
                  <a:ext cx="52354" cy="61184"/>
                </a:xfrm>
                <a:custGeom>
                  <a:avLst/>
                  <a:gdLst>
                    <a:gd name="connsiteX0" fmla="*/ 49369 w 52354"/>
                    <a:gd name="connsiteY0" fmla="*/ 36623 h 61184"/>
                    <a:gd name="connsiteX1" fmla="*/ 20953 w 52354"/>
                    <a:gd name="connsiteY1" fmla="*/ -1702 h 61184"/>
                    <a:gd name="connsiteX2" fmla="*/ -2986 w 52354"/>
                    <a:gd name="connsiteY2" fmla="*/ 34438 h 61184"/>
                    <a:gd name="connsiteX3" fmla="*/ 34664 w 52354"/>
                    <a:gd name="connsiteY3" fmla="*/ 59483 h 61184"/>
                    <a:gd name="connsiteX4" fmla="*/ 49369 w 52354"/>
                    <a:gd name="connsiteY4" fmla="*/ 36623 h 611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54" h="61184">
                      <a:moveTo>
                        <a:pt x="49369" y="36623"/>
                      </a:moveTo>
                      <a:lnTo>
                        <a:pt x="20953" y="-1702"/>
                      </a:lnTo>
                      <a:lnTo>
                        <a:pt x="-2986" y="34438"/>
                      </a:lnTo>
                      <a:lnTo>
                        <a:pt x="34664" y="59483"/>
                      </a:lnTo>
                      <a:lnTo>
                        <a:pt x="49369" y="36623"/>
                      </a:lnTo>
                    </a:path>
                  </a:pathLst>
                </a:custGeom>
                <a:solidFill>
                  <a:srgbClr val="D0EBEA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0" name="Vrije vorm 149">
                  <a:extLst>
                    <a:ext uri="{FF2B5EF4-FFF2-40B4-BE49-F238E27FC236}">
                      <a16:creationId xmlns:a16="http://schemas.microsoft.com/office/drawing/2014/main" id="{9DCE9A8D-B45B-2135-B13D-CEB50FEB1A1D}"/>
                    </a:ext>
                  </a:extLst>
                </p:cNvPr>
                <p:cNvSpPr/>
                <p:nvPr/>
              </p:nvSpPr>
              <p:spPr>
                <a:xfrm flipV="1">
                  <a:off x="4807816" y="3232881"/>
                  <a:ext cx="56095" cy="64126"/>
                </a:xfrm>
                <a:custGeom>
                  <a:avLst/>
                  <a:gdLst>
                    <a:gd name="connsiteX0" fmla="*/ -2929 w 56095"/>
                    <a:gd name="connsiteY0" fmla="*/ 39602 h 64126"/>
                    <a:gd name="connsiteX1" fmla="*/ 33166 w 56095"/>
                    <a:gd name="connsiteY1" fmla="*/ -1706 h 64126"/>
                    <a:gd name="connsiteX2" fmla="*/ 53167 w 56095"/>
                    <a:gd name="connsiteY2" fmla="*/ 35469 h 64126"/>
                    <a:gd name="connsiteX3" fmla="*/ 11559 w 56095"/>
                    <a:gd name="connsiteY3" fmla="*/ 62421 h 64126"/>
                    <a:gd name="connsiteX4" fmla="*/ -2929 w 56095"/>
                    <a:gd name="connsiteY4" fmla="*/ 39602 h 641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095" h="64126">
                      <a:moveTo>
                        <a:pt x="-2929" y="39602"/>
                      </a:moveTo>
                      <a:lnTo>
                        <a:pt x="33166" y="-1706"/>
                      </a:lnTo>
                      <a:lnTo>
                        <a:pt x="53167" y="35469"/>
                      </a:lnTo>
                      <a:lnTo>
                        <a:pt x="11559" y="62421"/>
                      </a:lnTo>
                      <a:lnTo>
                        <a:pt x="-2929" y="39602"/>
                      </a:lnTo>
                    </a:path>
                  </a:pathLst>
                </a:custGeom>
                <a:solidFill>
                  <a:srgbClr val="D0EBEA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1" name="Vrije vorm 150">
                  <a:extLst>
                    <a:ext uri="{FF2B5EF4-FFF2-40B4-BE49-F238E27FC236}">
                      <a16:creationId xmlns:a16="http://schemas.microsoft.com/office/drawing/2014/main" id="{64157356-88F2-764A-D75D-47B64283B40D}"/>
                    </a:ext>
                  </a:extLst>
                </p:cNvPr>
                <p:cNvSpPr/>
                <p:nvPr/>
              </p:nvSpPr>
              <p:spPr>
                <a:xfrm flipV="1">
                  <a:off x="5022945" y="3454180"/>
                  <a:ext cx="77972" cy="84552"/>
                </a:xfrm>
                <a:custGeom>
                  <a:avLst/>
                  <a:gdLst>
                    <a:gd name="connsiteX0" fmla="*/ 70284 w 77972"/>
                    <a:gd name="connsiteY0" fmla="*/ 83100 h 84552"/>
                    <a:gd name="connsiteX1" fmla="*/ -3118 w 77972"/>
                    <a:gd name="connsiteY1" fmla="*/ 33951 h 84552"/>
                    <a:gd name="connsiteX2" fmla="*/ 11183 w 77972"/>
                    <a:gd name="connsiteY2" fmla="*/ -1452 h 84552"/>
                    <a:gd name="connsiteX3" fmla="*/ 74854 w 77972"/>
                    <a:gd name="connsiteY3" fmla="*/ 77496 h 84552"/>
                    <a:gd name="connsiteX4" fmla="*/ 70284 w 77972"/>
                    <a:gd name="connsiteY4" fmla="*/ 83100 h 84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972" h="84552">
                      <a:moveTo>
                        <a:pt x="70284" y="83100"/>
                      </a:moveTo>
                      <a:lnTo>
                        <a:pt x="-3118" y="33951"/>
                      </a:lnTo>
                      <a:lnTo>
                        <a:pt x="11183" y="-1452"/>
                      </a:lnTo>
                      <a:lnTo>
                        <a:pt x="74854" y="77496"/>
                      </a:lnTo>
                      <a:lnTo>
                        <a:pt x="70284" y="83100"/>
                      </a:lnTo>
                    </a:path>
                  </a:pathLst>
                </a:custGeom>
                <a:solidFill>
                  <a:srgbClr val="D0EBEA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2" name="Vrije vorm 151">
                  <a:extLst>
                    <a:ext uri="{FF2B5EF4-FFF2-40B4-BE49-F238E27FC236}">
                      <a16:creationId xmlns:a16="http://schemas.microsoft.com/office/drawing/2014/main" id="{6F53406C-1435-6A55-CF34-006279D76BCF}"/>
                    </a:ext>
                  </a:extLst>
                </p:cNvPr>
                <p:cNvSpPr/>
                <p:nvPr/>
              </p:nvSpPr>
              <p:spPr>
                <a:xfrm flipV="1">
                  <a:off x="4622387" y="3674069"/>
                  <a:ext cx="97455" cy="41805"/>
                </a:xfrm>
                <a:custGeom>
                  <a:avLst/>
                  <a:gdLst>
                    <a:gd name="connsiteX0" fmla="*/ 93897 w 97455"/>
                    <a:gd name="connsiteY0" fmla="*/ -1235 h 41805"/>
                    <a:gd name="connsiteX1" fmla="*/ 94664 w 97455"/>
                    <a:gd name="connsiteY1" fmla="*/ 4648 h 41805"/>
                    <a:gd name="connsiteX2" fmla="*/ 88840 w 97455"/>
                    <a:gd name="connsiteY2" fmla="*/ 21107 h 41805"/>
                    <a:gd name="connsiteX3" fmla="*/ 63378 w 97455"/>
                    <a:gd name="connsiteY3" fmla="*/ 36831 h 41805"/>
                    <a:gd name="connsiteX4" fmla="*/ 41159 w 97455"/>
                    <a:gd name="connsiteY4" fmla="*/ 40570 h 41805"/>
                    <a:gd name="connsiteX5" fmla="*/ 12173 w 97455"/>
                    <a:gd name="connsiteY5" fmla="*/ 30233 h 41805"/>
                    <a:gd name="connsiteX6" fmla="*/ -2791 w 97455"/>
                    <a:gd name="connsiteY6" fmla="*/ 3809 h 41805"/>
                    <a:gd name="connsiteX7" fmla="*/ 7251 w 97455"/>
                    <a:gd name="connsiteY7" fmla="*/ 1272 h 41805"/>
                    <a:gd name="connsiteX8" fmla="*/ 19065 w 97455"/>
                    <a:gd name="connsiteY8" fmla="*/ 22495 h 41805"/>
                    <a:gd name="connsiteX9" fmla="*/ 41159 w 97455"/>
                    <a:gd name="connsiteY9" fmla="*/ 30212 h 41805"/>
                    <a:gd name="connsiteX10" fmla="*/ 60279 w 97455"/>
                    <a:gd name="connsiteY10" fmla="*/ 26949 h 41805"/>
                    <a:gd name="connsiteX11" fmla="*/ 80643 w 97455"/>
                    <a:gd name="connsiteY11" fmla="*/ 14768 h 41805"/>
                    <a:gd name="connsiteX12" fmla="*/ 84301 w 97455"/>
                    <a:gd name="connsiteY12" fmla="*/ 4648 h 41805"/>
                    <a:gd name="connsiteX13" fmla="*/ 84114 w 97455"/>
                    <a:gd name="connsiteY13" fmla="*/ 2401 h 41805"/>
                    <a:gd name="connsiteX14" fmla="*/ 84011 w 97455"/>
                    <a:gd name="connsiteY14" fmla="*/ 1893 h 41805"/>
                    <a:gd name="connsiteX15" fmla="*/ 84042 w 97455"/>
                    <a:gd name="connsiteY15" fmla="*/ 1893 h 41805"/>
                    <a:gd name="connsiteX16" fmla="*/ 84011 w 97455"/>
                    <a:gd name="connsiteY16" fmla="*/ 1893 h 41805"/>
                    <a:gd name="connsiteX17" fmla="*/ 84011 w 97455"/>
                    <a:gd name="connsiteY17" fmla="*/ 1893 h 41805"/>
                    <a:gd name="connsiteX18" fmla="*/ 84042 w 97455"/>
                    <a:gd name="connsiteY18" fmla="*/ 1893 h 41805"/>
                    <a:gd name="connsiteX19" fmla="*/ 84011 w 97455"/>
                    <a:gd name="connsiteY19" fmla="*/ 1893 h 41805"/>
                    <a:gd name="connsiteX20" fmla="*/ 93897 w 97455"/>
                    <a:gd name="connsiteY20" fmla="*/ -1235 h 418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97455" h="41805">
                      <a:moveTo>
                        <a:pt x="93897" y="-1235"/>
                      </a:moveTo>
                      <a:cubicBezTo>
                        <a:pt x="94011" y="-862"/>
                        <a:pt x="94664" y="1313"/>
                        <a:pt x="94664" y="4648"/>
                      </a:cubicBezTo>
                      <a:cubicBezTo>
                        <a:pt x="94685" y="8864"/>
                        <a:pt x="93535" y="15068"/>
                        <a:pt x="88840" y="21107"/>
                      </a:cubicBezTo>
                      <a:cubicBezTo>
                        <a:pt x="84166" y="27156"/>
                        <a:pt x="76207" y="32822"/>
                        <a:pt x="63378" y="36831"/>
                      </a:cubicBezTo>
                      <a:cubicBezTo>
                        <a:pt x="55357" y="39348"/>
                        <a:pt x="47957" y="40570"/>
                        <a:pt x="41159" y="40570"/>
                      </a:cubicBezTo>
                      <a:cubicBezTo>
                        <a:pt x="29511" y="40601"/>
                        <a:pt x="19583" y="36862"/>
                        <a:pt x="12173" y="30233"/>
                      </a:cubicBezTo>
                      <a:cubicBezTo>
                        <a:pt x="4753" y="23614"/>
                        <a:pt x="-117" y="14406"/>
                        <a:pt x="-2791" y="3809"/>
                      </a:cubicBezTo>
                      <a:lnTo>
                        <a:pt x="7251" y="1272"/>
                      </a:lnTo>
                      <a:cubicBezTo>
                        <a:pt x="9562" y="10397"/>
                        <a:pt x="13572" y="17606"/>
                        <a:pt x="19065" y="22495"/>
                      </a:cubicBezTo>
                      <a:cubicBezTo>
                        <a:pt x="24578" y="27363"/>
                        <a:pt x="31625" y="30181"/>
                        <a:pt x="41159" y="30212"/>
                      </a:cubicBezTo>
                      <a:cubicBezTo>
                        <a:pt x="46703" y="30212"/>
                        <a:pt x="53077" y="29207"/>
                        <a:pt x="60279" y="26949"/>
                      </a:cubicBezTo>
                      <a:cubicBezTo>
                        <a:pt x="71679" y="23365"/>
                        <a:pt x="77554" y="18766"/>
                        <a:pt x="80643" y="14768"/>
                      </a:cubicBezTo>
                      <a:cubicBezTo>
                        <a:pt x="83721" y="10759"/>
                        <a:pt x="84280" y="7145"/>
                        <a:pt x="84301" y="4648"/>
                      </a:cubicBezTo>
                      <a:cubicBezTo>
                        <a:pt x="84301" y="3675"/>
                        <a:pt x="84208" y="2898"/>
                        <a:pt x="84114" y="2401"/>
                      </a:cubicBezTo>
                      <a:lnTo>
                        <a:pt x="84011" y="1893"/>
                      </a:lnTo>
                      <a:lnTo>
                        <a:pt x="84042" y="1893"/>
                      </a:lnTo>
                      <a:lnTo>
                        <a:pt x="84011" y="1893"/>
                      </a:lnTo>
                      <a:lnTo>
                        <a:pt x="84011" y="1893"/>
                      </a:lnTo>
                      <a:lnTo>
                        <a:pt x="84042" y="1893"/>
                      </a:lnTo>
                      <a:lnTo>
                        <a:pt x="84011" y="1893"/>
                      </a:lnTo>
                      <a:lnTo>
                        <a:pt x="93897" y="-1235"/>
                      </a:lnTo>
                    </a:path>
                  </a:pathLst>
                </a:custGeom>
                <a:solidFill>
                  <a:srgbClr val="111010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3" name="Vrije vorm 152">
                  <a:extLst>
                    <a:ext uri="{FF2B5EF4-FFF2-40B4-BE49-F238E27FC236}">
                      <a16:creationId xmlns:a16="http://schemas.microsoft.com/office/drawing/2014/main" id="{3D679C2C-365C-157B-476D-DA414525AF73}"/>
                    </a:ext>
                  </a:extLst>
                </p:cNvPr>
                <p:cNvSpPr/>
                <p:nvPr/>
              </p:nvSpPr>
              <p:spPr>
                <a:xfrm flipV="1">
                  <a:off x="4504620" y="3686945"/>
                  <a:ext cx="306366" cy="229938"/>
                </a:xfrm>
                <a:custGeom>
                  <a:avLst/>
                  <a:gdLst>
                    <a:gd name="connsiteX0" fmla="*/ 303587 w 306366"/>
                    <a:gd name="connsiteY0" fmla="*/ 189046 h 229938"/>
                    <a:gd name="connsiteX1" fmla="*/ 41543 w 306366"/>
                    <a:gd name="connsiteY1" fmla="*/ 228821 h 229938"/>
                    <a:gd name="connsiteX2" fmla="*/ -2780 w 306366"/>
                    <a:gd name="connsiteY2" fmla="*/ 42387 h 229938"/>
                    <a:gd name="connsiteX3" fmla="*/ 279699 w 306366"/>
                    <a:gd name="connsiteY3" fmla="*/ -495 h 229938"/>
                    <a:gd name="connsiteX4" fmla="*/ 303587 w 306366"/>
                    <a:gd name="connsiteY4" fmla="*/ 189046 h 2299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6366" h="229938">
                      <a:moveTo>
                        <a:pt x="303587" y="189046"/>
                      </a:moveTo>
                      <a:lnTo>
                        <a:pt x="41543" y="228821"/>
                      </a:lnTo>
                      <a:lnTo>
                        <a:pt x="-2780" y="42387"/>
                      </a:lnTo>
                      <a:cubicBezTo>
                        <a:pt x="-2780" y="42387"/>
                        <a:pt x="91514" y="-7197"/>
                        <a:pt x="279699" y="-495"/>
                      </a:cubicBezTo>
                      <a:lnTo>
                        <a:pt x="303587" y="189046"/>
                      </a:lnTo>
                    </a:path>
                  </a:pathLst>
                </a:custGeom>
                <a:solidFill>
                  <a:srgbClr val="282628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4" name="Vrije vorm 153">
                  <a:extLst>
                    <a:ext uri="{FF2B5EF4-FFF2-40B4-BE49-F238E27FC236}">
                      <a16:creationId xmlns:a16="http://schemas.microsoft.com/office/drawing/2014/main" id="{384E6646-6CD9-3E3F-5025-72B142FF59C2}"/>
                    </a:ext>
                  </a:extLst>
                </p:cNvPr>
                <p:cNvSpPr/>
                <p:nvPr/>
              </p:nvSpPr>
              <p:spPr>
                <a:xfrm flipV="1">
                  <a:off x="4525761" y="3774418"/>
                  <a:ext cx="226777" cy="47574"/>
                </a:xfrm>
                <a:custGeom>
                  <a:avLst/>
                  <a:gdLst>
                    <a:gd name="connsiteX0" fmla="*/ 222210 w 226777"/>
                    <a:gd name="connsiteY0" fmla="*/ -1122 h 47574"/>
                    <a:gd name="connsiteX1" fmla="*/ -2764 w 226777"/>
                    <a:gd name="connsiteY1" fmla="*/ 36395 h 47574"/>
                    <a:gd name="connsiteX2" fmla="*/ -381 w 226777"/>
                    <a:gd name="connsiteY2" fmla="*/ 46452 h 47574"/>
                    <a:gd name="connsiteX3" fmla="*/ 224013 w 226777"/>
                    <a:gd name="connsiteY3" fmla="*/ 7330 h 47574"/>
                    <a:gd name="connsiteX4" fmla="*/ 222210 w 226777"/>
                    <a:gd name="connsiteY4" fmla="*/ -1122 h 47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6777" h="47574">
                      <a:moveTo>
                        <a:pt x="222210" y="-1122"/>
                      </a:moveTo>
                      <a:cubicBezTo>
                        <a:pt x="222210" y="-1122"/>
                        <a:pt x="74680" y="11774"/>
                        <a:pt x="-2764" y="36395"/>
                      </a:cubicBezTo>
                      <a:lnTo>
                        <a:pt x="-381" y="46452"/>
                      </a:lnTo>
                      <a:cubicBezTo>
                        <a:pt x="-381" y="46452"/>
                        <a:pt x="67715" y="20205"/>
                        <a:pt x="224013" y="7330"/>
                      </a:cubicBezTo>
                      <a:lnTo>
                        <a:pt x="222210" y="-1122"/>
                      </a:lnTo>
                    </a:path>
                  </a:pathLst>
                </a:custGeom>
                <a:solidFill>
                  <a:srgbClr val="111010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5" name="Vrije vorm 154">
                  <a:extLst>
                    <a:ext uri="{FF2B5EF4-FFF2-40B4-BE49-F238E27FC236}">
                      <a16:creationId xmlns:a16="http://schemas.microsoft.com/office/drawing/2014/main" id="{AB5C1C76-7FBE-8E7E-F4B8-96F317C651B0}"/>
                    </a:ext>
                  </a:extLst>
                </p:cNvPr>
                <p:cNvSpPr/>
                <p:nvPr/>
              </p:nvSpPr>
              <p:spPr>
                <a:xfrm flipV="1">
                  <a:off x="4679831" y="3802540"/>
                  <a:ext cx="37732" cy="26796"/>
                </a:xfrm>
                <a:custGeom>
                  <a:avLst/>
                  <a:gdLst>
                    <a:gd name="connsiteX0" fmla="*/ 34918 w 37732"/>
                    <a:gd name="connsiteY0" fmla="*/ 23632 h 26796"/>
                    <a:gd name="connsiteX1" fmla="*/ 30565 w 37732"/>
                    <a:gd name="connsiteY1" fmla="*/ -1103 h 26796"/>
                    <a:gd name="connsiteX2" fmla="*/ -2814 w 37732"/>
                    <a:gd name="connsiteY2" fmla="*/ 4573 h 26796"/>
                    <a:gd name="connsiteX3" fmla="*/ 906 w 37732"/>
                    <a:gd name="connsiteY3" fmla="*/ 25693 h 26796"/>
                    <a:gd name="connsiteX4" fmla="*/ 34918 w 37732"/>
                    <a:gd name="connsiteY4" fmla="*/ 23632 h 267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732" h="26796">
                      <a:moveTo>
                        <a:pt x="34918" y="23632"/>
                      </a:moveTo>
                      <a:lnTo>
                        <a:pt x="30565" y="-1103"/>
                      </a:lnTo>
                      <a:lnTo>
                        <a:pt x="-2814" y="4573"/>
                      </a:lnTo>
                      <a:lnTo>
                        <a:pt x="906" y="25693"/>
                      </a:lnTo>
                      <a:lnTo>
                        <a:pt x="34918" y="23632"/>
                      </a:lnTo>
                    </a:path>
                  </a:pathLst>
                </a:custGeom>
                <a:solidFill>
                  <a:srgbClr val="9FA2A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6" name="Vrije vorm 155">
                  <a:extLst>
                    <a:ext uri="{FF2B5EF4-FFF2-40B4-BE49-F238E27FC236}">
                      <a16:creationId xmlns:a16="http://schemas.microsoft.com/office/drawing/2014/main" id="{C32CB65A-E83E-ABE0-84F9-37EF76A6C502}"/>
                    </a:ext>
                  </a:extLst>
                </p:cNvPr>
                <p:cNvSpPr/>
                <p:nvPr/>
              </p:nvSpPr>
              <p:spPr>
                <a:xfrm flipV="1">
                  <a:off x="4559058" y="3780032"/>
                  <a:ext cx="39265" cy="26796"/>
                </a:xfrm>
                <a:custGeom>
                  <a:avLst/>
                  <a:gdLst>
                    <a:gd name="connsiteX0" fmla="*/ 36552 w 39265"/>
                    <a:gd name="connsiteY0" fmla="*/ 18108 h 26796"/>
                    <a:gd name="connsiteX1" fmla="*/ 30655 w 39265"/>
                    <a:gd name="connsiteY1" fmla="*/ -1127 h 26796"/>
                    <a:gd name="connsiteX2" fmla="*/ -2714 w 39265"/>
                    <a:gd name="connsiteY2" fmla="*/ 4549 h 26796"/>
                    <a:gd name="connsiteX3" fmla="*/ 986 w 39265"/>
                    <a:gd name="connsiteY3" fmla="*/ 25669 h 26796"/>
                    <a:gd name="connsiteX4" fmla="*/ 36552 w 39265"/>
                    <a:gd name="connsiteY4" fmla="*/ 18108 h 267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265" h="26796">
                      <a:moveTo>
                        <a:pt x="36552" y="18108"/>
                      </a:moveTo>
                      <a:lnTo>
                        <a:pt x="30655" y="-1127"/>
                      </a:lnTo>
                      <a:lnTo>
                        <a:pt x="-2714" y="4549"/>
                      </a:lnTo>
                      <a:lnTo>
                        <a:pt x="986" y="25669"/>
                      </a:lnTo>
                      <a:lnTo>
                        <a:pt x="36552" y="18108"/>
                      </a:lnTo>
                    </a:path>
                  </a:pathLst>
                </a:custGeom>
                <a:solidFill>
                  <a:srgbClr val="9FA2A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7" name="Vrije vorm 156">
                  <a:extLst>
                    <a:ext uri="{FF2B5EF4-FFF2-40B4-BE49-F238E27FC236}">
                      <a16:creationId xmlns:a16="http://schemas.microsoft.com/office/drawing/2014/main" id="{2582096B-16C8-46A0-C19D-E54503623F61}"/>
                    </a:ext>
                  </a:extLst>
                </p:cNvPr>
                <p:cNvSpPr/>
                <p:nvPr/>
              </p:nvSpPr>
              <p:spPr>
                <a:xfrm flipV="1">
                  <a:off x="4647168" y="3466009"/>
                  <a:ext cx="82198" cy="237218"/>
                </a:xfrm>
                <a:custGeom>
                  <a:avLst/>
                  <a:gdLst>
                    <a:gd name="connsiteX0" fmla="*/ -1347 w 82198"/>
                    <a:gd name="connsiteY0" fmla="*/ 13362 h 237218"/>
                    <a:gd name="connsiteX1" fmla="*/ -1523 w 82198"/>
                    <a:gd name="connsiteY1" fmla="*/ 13953 h 237218"/>
                    <a:gd name="connsiteX2" fmla="*/ 8446 w 82198"/>
                    <a:gd name="connsiteY2" fmla="*/ 48486 h 237218"/>
                    <a:gd name="connsiteX3" fmla="*/ 23773 w 82198"/>
                    <a:gd name="connsiteY3" fmla="*/ 235862 h 237218"/>
                    <a:gd name="connsiteX4" fmla="*/ 79393 w 82198"/>
                    <a:gd name="connsiteY4" fmla="*/ 187397 h 237218"/>
                    <a:gd name="connsiteX5" fmla="*/ 72553 w 82198"/>
                    <a:gd name="connsiteY5" fmla="*/ 189914 h 237218"/>
                    <a:gd name="connsiteX6" fmla="*/ 50562 w 82198"/>
                    <a:gd name="connsiteY6" fmla="*/ 51459 h 237218"/>
                    <a:gd name="connsiteX7" fmla="*/ 61278 w 82198"/>
                    <a:gd name="connsiteY7" fmla="*/ 11726 h 237218"/>
                    <a:gd name="connsiteX8" fmla="*/ 48231 w 82198"/>
                    <a:gd name="connsiteY8" fmla="*/ 20033 h 237218"/>
                    <a:gd name="connsiteX9" fmla="*/ 46863 w 82198"/>
                    <a:gd name="connsiteY9" fmla="*/ 9105 h 237218"/>
                    <a:gd name="connsiteX10" fmla="*/ 53993 w 82198"/>
                    <a:gd name="connsiteY10" fmla="*/ 3667 h 237218"/>
                    <a:gd name="connsiteX11" fmla="*/ 37173 w 82198"/>
                    <a:gd name="connsiteY11" fmla="*/ 1906 h 237218"/>
                    <a:gd name="connsiteX12" fmla="*/ 21183 w 82198"/>
                    <a:gd name="connsiteY12" fmla="*/ 2020 h 237218"/>
                    <a:gd name="connsiteX13" fmla="*/ -217 w 82198"/>
                    <a:gd name="connsiteY13" fmla="*/ 10700 h 237218"/>
                    <a:gd name="connsiteX14" fmla="*/ -259 w 82198"/>
                    <a:gd name="connsiteY14" fmla="*/ 10752 h 237218"/>
                    <a:gd name="connsiteX15" fmla="*/ -259 w 82198"/>
                    <a:gd name="connsiteY15" fmla="*/ 10762 h 237218"/>
                    <a:gd name="connsiteX16" fmla="*/ -269 w 82198"/>
                    <a:gd name="connsiteY16" fmla="*/ 10783 h 237218"/>
                    <a:gd name="connsiteX17" fmla="*/ -1243 w 82198"/>
                    <a:gd name="connsiteY17" fmla="*/ 13021 h 237218"/>
                    <a:gd name="connsiteX18" fmla="*/ -1347 w 82198"/>
                    <a:gd name="connsiteY18" fmla="*/ 13362 h 237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82198" h="237218">
                      <a:moveTo>
                        <a:pt x="-1347" y="13362"/>
                      </a:moveTo>
                      <a:lnTo>
                        <a:pt x="-1523" y="13953"/>
                      </a:lnTo>
                      <a:cubicBezTo>
                        <a:pt x="-7326" y="41422"/>
                        <a:pt x="8446" y="48486"/>
                        <a:pt x="8446" y="48486"/>
                      </a:cubicBezTo>
                      <a:lnTo>
                        <a:pt x="23773" y="235862"/>
                      </a:lnTo>
                      <a:lnTo>
                        <a:pt x="79393" y="187397"/>
                      </a:lnTo>
                      <a:lnTo>
                        <a:pt x="72553" y="189914"/>
                      </a:lnTo>
                      <a:lnTo>
                        <a:pt x="50562" y="51459"/>
                      </a:lnTo>
                      <a:cubicBezTo>
                        <a:pt x="50562" y="51459"/>
                        <a:pt x="75475" y="37434"/>
                        <a:pt x="61278" y="11726"/>
                      </a:cubicBezTo>
                      <a:lnTo>
                        <a:pt x="48231" y="20033"/>
                      </a:lnTo>
                      <a:cubicBezTo>
                        <a:pt x="48231" y="20033"/>
                        <a:pt x="42583" y="14958"/>
                        <a:pt x="46863" y="9105"/>
                      </a:cubicBezTo>
                      <a:cubicBezTo>
                        <a:pt x="46863" y="9105"/>
                        <a:pt x="51516" y="10338"/>
                        <a:pt x="53993" y="3667"/>
                      </a:cubicBezTo>
                      <a:cubicBezTo>
                        <a:pt x="53993" y="3667"/>
                        <a:pt x="47671" y="-6349"/>
                        <a:pt x="37173" y="1906"/>
                      </a:cubicBezTo>
                      <a:cubicBezTo>
                        <a:pt x="37163" y="1906"/>
                        <a:pt x="28903" y="-5406"/>
                        <a:pt x="21183" y="2020"/>
                      </a:cubicBezTo>
                      <a:cubicBezTo>
                        <a:pt x="21183" y="2020"/>
                        <a:pt x="7483" y="-3563"/>
                        <a:pt x="-217" y="10700"/>
                      </a:cubicBezTo>
                      <a:lnTo>
                        <a:pt x="-259" y="10752"/>
                      </a:lnTo>
                      <a:lnTo>
                        <a:pt x="-259" y="10762"/>
                      </a:lnTo>
                      <a:lnTo>
                        <a:pt x="-269" y="10783"/>
                      </a:lnTo>
                      <a:lnTo>
                        <a:pt x="-1243" y="13021"/>
                      </a:lnTo>
                      <a:lnTo>
                        <a:pt x="-1347" y="13362"/>
                      </a:lnTo>
                    </a:path>
                  </a:pathLst>
                </a:custGeom>
                <a:solidFill>
                  <a:srgbClr val="F9AA8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8" name="Vrije vorm 157">
                  <a:extLst>
                    <a:ext uri="{FF2B5EF4-FFF2-40B4-BE49-F238E27FC236}">
                      <a16:creationId xmlns:a16="http://schemas.microsoft.com/office/drawing/2014/main" id="{9412C1BF-A286-D54C-D997-9F5A04F9CA76}"/>
                    </a:ext>
                  </a:extLst>
                </p:cNvPr>
                <p:cNvSpPr/>
                <p:nvPr/>
              </p:nvSpPr>
              <p:spPr>
                <a:xfrm flipV="1">
                  <a:off x="4730434" y="3720867"/>
                  <a:ext cx="80553" cy="195997"/>
                </a:xfrm>
                <a:custGeom>
                  <a:avLst/>
                  <a:gdLst>
                    <a:gd name="connsiteX0" fmla="*/ 39117 w 80553"/>
                    <a:gd name="connsiteY0" fmla="*/ 194898 h 195997"/>
                    <a:gd name="connsiteX1" fmla="*/ 77679 w 80553"/>
                    <a:gd name="connsiteY1" fmla="*/ 189046 h 195997"/>
                    <a:gd name="connsiteX2" fmla="*/ 53791 w 80553"/>
                    <a:gd name="connsiteY2" fmla="*/ -495 h 195997"/>
                    <a:gd name="connsiteX3" fmla="*/ -2875 w 80553"/>
                    <a:gd name="connsiteY3" fmla="*/ -826 h 195997"/>
                    <a:gd name="connsiteX4" fmla="*/ 39117 w 80553"/>
                    <a:gd name="connsiteY4" fmla="*/ 194898 h 19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553" h="195997">
                      <a:moveTo>
                        <a:pt x="39117" y="194898"/>
                      </a:moveTo>
                      <a:lnTo>
                        <a:pt x="77679" y="189046"/>
                      </a:lnTo>
                      <a:lnTo>
                        <a:pt x="53791" y="-495"/>
                      </a:lnTo>
                      <a:cubicBezTo>
                        <a:pt x="33822" y="-1210"/>
                        <a:pt x="14981" y="-1251"/>
                        <a:pt x="-2875" y="-826"/>
                      </a:cubicBezTo>
                      <a:lnTo>
                        <a:pt x="39117" y="194898"/>
                      </a:lnTo>
                    </a:path>
                  </a:pathLst>
                </a:custGeom>
                <a:solidFill>
                  <a:srgbClr val="111010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59" name="Vrije vorm 158">
                  <a:extLst>
                    <a:ext uri="{FF2B5EF4-FFF2-40B4-BE49-F238E27FC236}">
                      <a16:creationId xmlns:a16="http://schemas.microsoft.com/office/drawing/2014/main" id="{A27D6F33-358A-7AC9-BFDA-94AF3B32D998}"/>
                    </a:ext>
                  </a:extLst>
                </p:cNvPr>
                <p:cNvSpPr/>
                <p:nvPr/>
              </p:nvSpPr>
              <p:spPr>
                <a:xfrm flipV="1">
                  <a:off x="4666794" y="3269818"/>
                  <a:ext cx="100895" cy="253056"/>
                </a:xfrm>
                <a:custGeom>
                  <a:avLst/>
                  <a:gdLst>
                    <a:gd name="connsiteX0" fmla="*/ -2830 w 100895"/>
                    <a:gd name="connsiteY0" fmla="*/ 49400 h 253056"/>
                    <a:gd name="connsiteX1" fmla="*/ 24767 w 100895"/>
                    <a:gd name="connsiteY1" fmla="*/ 251494 h 253056"/>
                    <a:gd name="connsiteX2" fmla="*/ 98066 w 100895"/>
                    <a:gd name="connsiteY2" fmla="*/ 238547 h 253056"/>
                    <a:gd name="connsiteX3" fmla="*/ 60354 w 100895"/>
                    <a:gd name="connsiteY3" fmla="*/ -1562 h 253056"/>
                    <a:gd name="connsiteX4" fmla="*/ -2830 w 100895"/>
                    <a:gd name="connsiteY4" fmla="*/ 49400 h 253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895" h="253056">
                      <a:moveTo>
                        <a:pt x="-2830" y="49400"/>
                      </a:moveTo>
                      <a:lnTo>
                        <a:pt x="24767" y="251494"/>
                      </a:lnTo>
                      <a:lnTo>
                        <a:pt x="98066" y="238547"/>
                      </a:lnTo>
                      <a:lnTo>
                        <a:pt x="60354" y="-1562"/>
                      </a:lnTo>
                      <a:lnTo>
                        <a:pt x="-2830" y="49400"/>
                      </a:lnTo>
                    </a:path>
                  </a:pathLst>
                </a:custGeom>
                <a:solidFill>
                  <a:srgbClr val="E1F5F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0" name="Vrije vorm 159">
                  <a:extLst>
                    <a:ext uri="{FF2B5EF4-FFF2-40B4-BE49-F238E27FC236}">
                      <a16:creationId xmlns:a16="http://schemas.microsoft.com/office/drawing/2014/main" id="{084ABDE7-D78E-6225-B1EE-411C7F4DE261}"/>
                    </a:ext>
                  </a:extLst>
                </p:cNvPr>
                <p:cNvSpPr/>
                <p:nvPr/>
              </p:nvSpPr>
              <p:spPr>
                <a:xfrm flipV="1">
                  <a:off x="4654938" y="3464766"/>
                  <a:ext cx="88967" cy="64354"/>
                </a:xfrm>
                <a:custGeom>
                  <a:avLst/>
                  <a:gdLst>
                    <a:gd name="connsiteX0" fmla="*/ 2450 w 88967"/>
                    <a:gd name="connsiteY0" fmla="*/ 62903 h 64354"/>
                    <a:gd name="connsiteX1" fmla="*/ 86153 w 88967"/>
                    <a:gd name="connsiteY1" fmla="*/ 34667 h 64354"/>
                    <a:gd name="connsiteX2" fmla="*/ 75437 w 88967"/>
                    <a:gd name="connsiteY2" fmla="*/ -1452 h 64354"/>
                    <a:gd name="connsiteX3" fmla="*/ -2815 w 88967"/>
                    <a:gd name="connsiteY3" fmla="*/ 38955 h 64354"/>
                    <a:gd name="connsiteX4" fmla="*/ 2450 w 88967"/>
                    <a:gd name="connsiteY4" fmla="*/ 62903 h 643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967" h="64354">
                      <a:moveTo>
                        <a:pt x="2450" y="62903"/>
                      </a:moveTo>
                      <a:lnTo>
                        <a:pt x="86153" y="34667"/>
                      </a:lnTo>
                      <a:lnTo>
                        <a:pt x="75437" y="-1452"/>
                      </a:lnTo>
                      <a:lnTo>
                        <a:pt x="-2815" y="38955"/>
                      </a:lnTo>
                      <a:lnTo>
                        <a:pt x="2450" y="62903"/>
                      </a:lnTo>
                    </a:path>
                  </a:pathLst>
                </a:custGeom>
                <a:solidFill>
                  <a:srgbClr val="D0EBEA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1" name="Vrije vorm 160">
                  <a:extLst>
                    <a:ext uri="{FF2B5EF4-FFF2-40B4-BE49-F238E27FC236}">
                      <a16:creationId xmlns:a16="http://schemas.microsoft.com/office/drawing/2014/main" id="{FD135A82-A625-B908-12DA-18B875825662}"/>
                    </a:ext>
                  </a:extLst>
                </p:cNvPr>
                <p:cNvSpPr/>
                <p:nvPr/>
              </p:nvSpPr>
              <p:spPr>
                <a:xfrm flipV="1">
                  <a:off x="4752637" y="2926951"/>
                  <a:ext cx="217466" cy="303571"/>
                </a:xfrm>
                <a:custGeom>
                  <a:avLst/>
                  <a:gdLst>
                    <a:gd name="connsiteX0" fmla="*/ 94552 w 217466"/>
                    <a:gd name="connsiteY0" fmla="*/ 296507 h 303571"/>
                    <a:gd name="connsiteX1" fmla="*/ 30777 w 217466"/>
                    <a:gd name="connsiteY1" fmla="*/ 236555 h 303571"/>
                    <a:gd name="connsiteX2" fmla="*/ 34104 w 217466"/>
                    <a:gd name="connsiteY2" fmla="*/ 160434 h 303571"/>
                    <a:gd name="connsiteX3" fmla="*/ 7253 w 217466"/>
                    <a:gd name="connsiteY3" fmla="*/ 167747 h 303571"/>
                    <a:gd name="connsiteX4" fmla="*/ 35347 w 217466"/>
                    <a:gd name="connsiteY4" fmla="*/ 94039 h 303571"/>
                    <a:gd name="connsiteX5" fmla="*/ 41244 w 217466"/>
                    <a:gd name="connsiteY5" fmla="*/ 53861 h 303571"/>
                    <a:gd name="connsiteX6" fmla="*/ 129776 w 217466"/>
                    <a:gd name="connsiteY6" fmla="*/ -1327 h 303571"/>
                    <a:gd name="connsiteX7" fmla="*/ 213563 w 217466"/>
                    <a:gd name="connsiteY7" fmla="*/ 62416 h 303571"/>
                    <a:gd name="connsiteX8" fmla="*/ 214516 w 217466"/>
                    <a:gd name="connsiteY8" fmla="*/ 248923 h 303571"/>
                    <a:gd name="connsiteX9" fmla="*/ 94552 w 217466"/>
                    <a:gd name="connsiteY9" fmla="*/ 296507 h 3035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17466" h="303571">
                      <a:moveTo>
                        <a:pt x="94552" y="296507"/>
                      </a:moveTo>
                      <a:cubicBezTo>
                        <a:pt x="29015" y="281571"/>
                        <a:pt x="30777" y="236555"/>
                        <a:pt x="30777" y="236555"/>
                      </a:cubicBezTo>
                      <a:cubicBezTo>
                        <a:pt x="30777" y="236555"/>
                        <a:pt x="32808" y="201814"/>
                        <a:pt x="34104" y="160434"/>
                      </a:cubicBezTo>
                      <a:cubicBezTo>
                        <a:pt x="28041" y="168772"/>
                        <a:pt x="17782" y="172253"/>
                        <a:pt x="7253" y="167747"/>
                      </a:cubicBezTo>
                      <a:cubicBezTo>
                        <a:pt x="-15059" y="158207"/>
                        <a:pt x="1429" y="87970"/>
                        <a:pt x="35347" y="94039"/>
                      </a:cubicBezTo>
                      <a:cubicBezTo>
                        <a:pt x="36808" y="74432"/>
                        <a:pt x="38726" y="59143"/>
                        <a:pt x="41244" y="53861"/>
                      </a:cubicBezTo>
                      <a:cubicBezTo>
                        <a:pt x="50757" y="33870"/>
                        <a:pt x="92656" y="3428"/>
                        <a:pt x="129776" y="-1327"/>
                      </a:cubicBezTo>
                      <a:cubicBezTo>
                        <a:pt x="166908" y="-6091"/>
                        <a:pt x="213563" y="18654"/>
                        <a:pt x="213563" y="62416"/>
                      </a:cubicBezTo>
                      <a:cubicBezTo>
                        <a:pt x="213563" y="106200"/>
                        <a:pt x="214516" y="248923"/>
                        <a:pt x="214516" y="248923"/>
                      </a:cubicBezTo>
                      <a:cubicBezTo>
                        <a:pt x="214516" y="248923"/>
                        <a:pt x="203085" y="321242"/>
                        <a:pt x="94552" y="296507"/>
                      </a:cubicBezTo>
                    </a:path>
                  </a:pathLst>
                </a:custGeom>
                <a:solidFill>
                  <a:srgbClr val="F9AA8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2" name="Vrije vorm 161">
                  <a:extLst>
                    <a:ext uri="{FF2B5EF4-FFF2-40B4-BE49-F238E27FC236}">
                      <a16:creationId xmlns:a16="http://schemas.microsoft.com/office/drawing/2014/main" id="{367FBDD8-8AD6-0655-51B7-E758CB509F91}"/>
                    </a:ext>
                  </a:extLst>
                </p:cNvPr>
                <p:cNvSpPr/>
                <p:nvPr/>
              </p:nvSpPr>
              <p:spPr>
                <a:xfrm flipV="1">
                  <a:off x="4904556" y="3058670"/>
                  <a:ext cx="33846" cy="82781"/>
                </a:xfrm>
                <a:custGeom>
                  <a:avLst/>
                  <a:gdLst>
                    <a:gd name="connsiteX0" fmla="*/ -3001 w 33846"/>
                    <a:gd name="connsiteY0" fmla="*/ 80895 h 82781"/>
                    <a:gd name="connsiteX1" fmla="*/ 10865 w 33846"/>
                    <a:gd name="connsiteY1" fmla="*/ 45087 h 82781"/>
                    <a:gd name="connsiteX2" fmla="*/ 29530 w 33846"/>
                    <a:gd name="connsiteY2" fmla="*/ 12667 h 82781"/>
                    <a:gd name="connsiteX3" fmla="*/ 30846 w 33846"/>
                    <a:gd name="connsiteY3" fmla="*/ 11248 h 82781"/>
                    <a:gd name="connsiteX4" fmla="*/ 29509 w 33846"/>
                    <a:gd name="connsiteY4" fmla="*/ 10191 h 82781"/>
                    <a:gd name="connsiteX5" fmla="*/ 13187 w 33846"/>
                    <a:gd name="connsiteY5" fmla="*/ -1886 h 82781"/>
                    <a:gd name="connsiteX6" fmla="*/ 27322 w 33846"/>
                    <a:gd name="connsiteY6" fmla="*/ 12677 h 82781"/>
                    <a:gd name="connsiteX7" fmla="*/ 27312 w 33846"/>
                    <a:gd name="connsiteY7" fmla="*/ 10202 h 82781"/>
                    <a:gd name="connsiteX8" fmla="*/ 14980 w 33846"/>
                    <a:gd name="connsiteY8" fmla="*/ 25718 h 82781"/>
                    <a:gd name="connsiteX9" fmla="*/ 6668 w 33846"/>
                    <a:gd name="connsiteY9" fmla="*/ 43399 h 82781"/>
                    <a:gd name="connsiteX10" fmla="*/ -3001 w 33846"/>
                    <a:gd name="connsiteY10" fmla="*/ 80895 h 82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3846" h="82781">
                      <a:moveTo>
                        <a:pt x="-3001" y="80895"/>
                      </a:moveTo>
                      <a:cubicBezTo>
                        <a:pt x="1518" y="68797"/>
                        <a:pt x="6026" y="56844"/>
                        <a:pt x="10865" y="45087"/>
                      </a:cubicBezTo>
                      <a:cubicBezTo>
                        <a:pt x="16016" y="33559"/>
                        <a:pt x="21146" y="21720"/>
                        <a:pt x="29530" y="12667"/>
                      </a:cubicBezTo>
                      <a:lnTo>
                        <a:pt x="30846" y="11248"/>
                      </a:lnTo>
                      <a:lnTo>
                        <a:pt x="29509" y="10191"/>
                      </a:lnTo>
                      <a:cubicBezTo>
                        <a:pt x="24223" y="5986"/>
                        <a:pt x="18793" y="1936"/>
                        <a:pt x="13187" y="-1886"/>
                      </a:cubicBezTo>
                      <a:cubicBezTo>
                        <a:pt x="17726" y="3169"/>
                        <a:pt x="22462" y="8006"/>
                        <a:pt x="27322" y="12677"/>
                      </a:cubicBezTo>
                      <a:lnTo>
                        <a:pt x="27312" y="10202"/>
                      </a:lnTo>
                      <a:cubicBezTo>
                        <a:pt x="21995" y="14459"/>
                        <a:pt x="18317" y="20104"/>
                        <a:pt x="14980" y="25718"/>
                      </a:cubicBezTo>
                      <a:cubicBezTo>
                        <a:pt x="11580" y="31342"/>
                        <a:pt x="8917" y="37309"/>
                        <a:pt x="6668" y="43399"/>
                      </a:cubicBezTo>
                      <a:cubicBezTo>
                        <a:pt x="1922" y="55476"/>
                        <a:pt x="-1259" y="68092"/>
                        <a:pt x="-3001" y="80895"/>
                      </a:cubicBezTo>
                    </a:path>
                  </a:pathLst>
                </a:custGeom>
                <a:solidFill>
                  <a:srgbClr val="CF8D7C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3" name="Vrije vorm 162">
                  <a:extLst>
                    <a:ext uri="{FF2B5EF4-FFF2-40B4-BE49-F238E27FC236}">
                      <a16:creationId xmlns:a16="http://schemas.microsoft.com/office/drawing/2014/main" id="{4A3C79CC-57AD-B7C4-A382-A54DC9A8C12E}"/>
                    </a:ext>
                  </a:extLst>
                </p:cNvPr>
                <p:cNvSpPr/>
                <p:nvPr/>
              </p:nvSpPr>
              <p:spPr>
                <a:xfrm flipV="1">
                  <a:off x="4845818" y="3047577"/>
                  <a:ext cx="18995" cy="34544"/>
                </a:xfrm>
                <a:custGeom>
                  <a:avLst/>
                  <a:gdLst>
                    <a:gd name="connsiteX0" fmla="*/ 16051 w 18995"/>
                    <a:gd name="connsiteY0" fmla="*/ 15353 h 34544"/>
                    <a:gd name="connsiteX1" fmla="*/ 6547 w 18995"/>
                    <a:gd name="connsiteY1" fmla="*/ -1924 h 34544"/>
                    <a:gd name="connsiteX2" fmla="*/ -2945 w 18995"/>
                    <a:gd name="connsiteY2" fmla="*/ 15353 h 34544"/>
                    <a:gd name="connsiteX3" fmla="*/ 6547 w 18995"/>
                    <a:gd name="connsiteY3" fmla="*/ 32620 h 34544"/>
                    <a:gd name="connsiteX4" fmla="*/ 16051 w 18995"/>
                    <a:gd name="connsiteY4" fmla="*/ 15353 h 34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95" h="34544">
                      <a:moveTo>
                        <a:pt x="16051" y="15353"/>
                      </a:moveTo>
                      <a:cubicBezTo>
                        <a:pt x="16051" y="5813"/>
                        <a:pt x="11802" y="-1924"/>
                        <a:pt x="6547" y="-1924"/>
                      </a:cubicBezTo>
                      <a:cubicBezTo>
                        <a:pt x="1314" y="-1924"/>
                        <a:pt x="-2945" y="5813"/>
                        <a:pt x="-2945" y="15353"/>
                      </a:cubicBezTo>
                      <a:cubicBezTo>
                        <a:pt x="-2945" y="24882"/>
                        <a:pt x="1314" y="32620"/>
                        <a:pt x="6547" y="32620"/>
                      </a:cubicBezTo>
                      <a:cubicBezTo>
                        <a:pt x="11802" y="32620"/>
                        <a:pt x="16051" y="24882"/>
                        <a:pt x="16051" y="15353"/>
                      </a:cubicBezTo>
                    </a:path>
                  </a:pathLst>
                </a:custGeom>
                <a:solidFill>
                  <a:srgbClr val="1A1B2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4" name="Vrije vorm 163">
                  <a:extLst>
                    <a:ext uri="{FF2B5EF4-FFF2-40B4-BE49-F238E27FC236}">
                      <a16:creationId xmlns:a16="http://schemas.microsoft.com/office/drawing/2014/main" id="{AFF43831-C94B-3E6F-AFA9-5DC24E7D878F}"/>
                    </a:ext>
                  </a:extLst>
                </p:cNvPr>
                <p:cNvSpPr/>
                <p:nvPr/>
              </p:nvSpPr>
              <p:spPr>
                <a:xfrm flipV="1">
                  <a:off x="4925790" y="3051388"/>
                  <a:ext cx="18995" cy="34544"/>
                </a:xfrm>
                <a:custGeom>
                  <a:avLst/>
                  <a:gdLst>
                    <a:gd name="connsiteX0" fmla="*/ 15984 w 18995"/>
                    <a:gd name="connsiteY0" fmla="*/ 15346 h 34544"/>
                    <a:gd name="connsiteX1" fmla="*/ 6481 w 18995"/>
                    <a:gd name="connsiteY1" fmla="*/ -1920 h 34544"/>
                    <a:gd name="connsiteX2" fmla="*/ -3012 w 18995"/>
                    <a:gd name="connsiteY2" fmla="*/ 15346 h 34544"/>
                    <a:gd name="connsiteX3" fmla="*/ 6481 w 18995"/>
                    <a:gd name="connsiteY3" fmla="*/ 32624 h 34544"/>
                    <a:gd name="connsiteX4" fmla="*/ 15984 w 18995"/>
                    <a:gd name="connsiteY4" fmla="*/ 15346 h 34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95" h="34544">
                      <a:moveTo>
                        <a:pt x="15984" y="15346"/>
                      </a:moveTo>
                      <a:cubicBezTo>
                        <a:pt x="15984" y="5807"/>
                        <a:pt x="11735" y="-1920"/>
                        <a:pt x="6481" y="-1920"/>
                      </a:cubicBezTo>
                      <a:cubicBezTo>
                        <a:pt x="1237" y="-1920"/>
                        <a:pt x="-3012" y="5807"/>
                        <a:pt x="-3012" y="15346"/>
                      </a:cubicBezTo>
                      <a:cubicBezTo>
                        <a:pt x="-3012" y="24897"/>
                        <a:pt x="1237" y="32624"/>
                        <a:pt x="6481" y="32624"/>
                      </a:cubicBezTo>
                      <a:cubicBezTo>
                        <a:pt x="11735" y="32624"/>
                        <a:pt x="15984" y="24897"/>
                        <a:pt x="15984" y="15346"/>
                      </a:cubicBezTo>
                    </a:path>
                  </a:pathLst>
                </a:custGeom>
                <a:solidFill>
                  <a:srgbClr val="1A1B2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5" name="Vrije vorm 164">
                  <a:extLst>
                    <a:ext uri="{FF2B5EF4-FFF2-40B4-BE49-F238E27FC236}">
                      <a16:creationId xmlns:a16="http://schemas.microsoft.com/office/drawing/2014/main" id="{34F4F2A5-84BA-A4FB-B8E9-ECBDA58F301B}"/>
                    </a:ext>
                  </a:extLst>
                </p:cNvPr>
                <p:cNvSpPr/>
                <p:nvPr/>
              </p:nvSpPr>
              <p:spPr>
                <a:xfrm flipV="1">
                  <a:off x="4828749" y="3001014"/>
                  <a:ext cx="51536" cy="19476"/>
                </a:xfrm>
                <a:custGeom>
                  <a:avLst/>
                  <a:gdLst>
                    <a:gd name="connsiteX0" fmla="*/ 48591 w 51536"/>
                    <a:gd name="connsiteY0" fmla="*/ 4801 h 19476"/>
                    <a:gd name="connsiteX1" fmla="*/ 21025 w 51536"/>
                    <a:gd name="connsiteY1" fmla="*/ 7691 h 19476"/>
                    <a:gd name="connsiteX2" fmla="*/ 9046 w 51536"/>
                    <a:gd name="connsiteY2" fmla="*/ 5226 h 19476"/>
                    <a:gd name="connsiteX3" fmla="*/ -2945 w 51536"/>
                    <a:gd name="connsiteY3" fmla="*/ -1984 h 19476"/>
                    <a:gd name="connsiteX4" fmla="*/ 5004 w 51536"/>
                    <a:gd name="connsiteY4" fmla="*/ 11720 h 19476"/>
                    <a:gd name="connsiteX5" fmla="*/ 20642 w 51536"/>
                    <a:gd name="connsiteY5" fmla="*/ 17489 h 19476"/>
                    <a:gd name="connsiteX6" fmla="*/ 36301 w 51536"/>
                    <a:gd name="connsiteY6" fmla="*/ 14185 h 19476"/>
                    <a:gd name="connsiteX7" fmla="*/ 48591 w 51536"/>
                    <a:gd name="connsiteY7" fmla="*/ 4801 h 19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1536" h="19476">
                      <a:moveTo>
                        <a:pt x="48591" y="4801"/>
                      </a:moveTo>
                      <a:cubicBezTo>
                        <a:pt x="38311" y="6158"/>
                        <a:pt x="29451" y="8012"/>
                        <a:pt x="21025" y="7691"/>
                      </a:cubicBezTo>
                      <a:cubicBezTo>
                        <a:pt x="16839" y="7577"/>
                        <a:pt x="12973" y="6696"/>
                        <a:pt x="9046" y="5226"/>
                      </a:cubicBezTo>
                      <a:cubicBezTo>
                        <a:pt x="4983" y="3827"/>
                        <a:pt x="1543" y="948"/>
                        <a:pt x="-2945" y="-1984"/>
                      </a:cubicBezTo>
                      <a:cubicBezTo>
                        <a:pt x="-1981" y="3030"/>
                        <a:pt x="434" y="8323"/>
                        <a:pt x="5004" y="11720"/>
                      </a:cubicBezTo>
                      <a:cubicBezTo>
                        <a:pt x="9356" y="15335"/>
                        <a:pt x="15098" y="17179"/>
                        <a:pt x="20642" y="17489"/>
                      </a:cubicBezTo>
                      <a:cubicBezTo>
                        <a:pt x="26207" y="17562"/>
                        <a:pt x="31544" y="16391"/>
                        <a:pt x="36301" y="14185"/>
                      </a:cubicBezTo>
                      <a:cubicBezTo>
                        <a:pt x="41037" y="12000"/>
                        <a:pt x="45379" y="9017"/>
                        <a:pt x="48591" y="4801"/>
                      </a:cubicBezTo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6" name="Vrije vorm 165">
                  <a:extLst>
                    <a:ext uri="{FF2B5EF4-FFF2-40B4-BE49-F238E27FC236}">
                      <a16:creationId xmlns:a16="http://schemas.microsoft.com/office/drawing/2014/main" id="{B992D490-1968-6291-2AE4-272031E38BB2}"/>
                    </a:ext>
                  </a:extLst>
                </p:cNvPr>
                <p:cNvSpPr/>
                <p:nvPr/>
              </p:nvSpPr>
              <p:spPr>
                <a:xfrm flipV="1">
                  <a:off x="4919313" y="3013689"/>
                  <a:ext cx="40934" cy="19282"/>
                </a:xfrm>
                <a:custGeom>
                  <a:avLst/>
                  <a:gdLst>
                    <a:gd name="connsiteX0" fmla="*/ -3016 w 40934"/>
                    <a:gd name="connsiteY0" fmla="*/ 5643 h 19282"/>
                    <a:gd name="connsiteX1" fmla="*/ 6757 w 40934"/>
                    <a:gd name="connsiteY1" fmla="*/ 14427 h 19282"/>
                    <a:gd name="connsiteX2" fmla="*/ 20363 w 40934"/>
                    <a:gd name="connsiteY2" fmla="*/ 17234 h 19282"/>
                    <a:gd name="connsiteX3" fmla="*/ 33162 w 40934"/>
                    <a:gd name="connsiteY3" fmla="*/ 10511 h 19282"/>
                    <a:gd name="connsiteX4" fmla="*/ 37919 w 40934"/>
                    <a:gd name="connsiteY4" fmla="*/ -1970 h 19282"/>
                    <a:gd name="connsiteX5" fmla="*/ 28623 w 40934"/>
                    <a:gd name="connsiteY5" fmla="*/ 5415 h 19282"/>
                    <a:gd name="connsiteX6" fmla="*/ 19462 w 40934"/>
                    <a:gd name="connsiteY6" fmla="*/ 8533 h 19282"/>
                    <a:gd name="connsiteX7" fmla="*/ -3016 w 40934"/>
                    <a:gd name="connsiteY7" fmla="*/ 5643 h 19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0934" h="19282">
                      <a:moveTo>
                        <a:pt x="-3016" y="5643"/>
                      </a:moveTo>
                      <a:cubicBezTo>
                        <a:pt x="-695" y="9496"/>
                        <a:pt x="2788" y="12345"/>
                        <a:pt x="6757" y="14427"/>
                      </a:cubicBezTo>
                      <a:cubicBezTo>
                        <a:pt x="10726" y="16529"/>
                        <a:pt x="15441" y="17627"/>
                        <a:pt x="20363" y="17234"/>
                      </a:cubicBezTo>
                      <a:cubicBezTo>
                        <a:pt x="25286" y="16799"/>
                        <a:pt x="30188" y="14240"/>
                        <a:pt x="33162" y="10511"/>
                      </a:cubicBezTo>
                      <a:cubicBezTo>
                        <a:pt x="36385" y="6938"/>
                        <a:pt x="37711" y="2401"/>
                        <a:pt x="37919" y="-1970"/>
                      </a:cubicBezTo>
                      <a:cubicBezTo>
                        <a:pt x="34416" y="889"/>
                        <a:pt x="31732" y="3686"/>
                        <a:pt x="28623" y="5415"/>
                      </a:cubicBezTo>
                      <a:cubicBezTo>
                        <a:pt x="25638" y="7197"/>
                        <a:pt x="22726" y="8357"/>
                        <a:pt x="19462" y="8533"/>
                      </a:cubicBezTo>
                      <a:cubicBezTo>
                        <a:pt x="12923" y="9248"/>
                        <a:pt x="5575" y="7342"/>
                        <a:pt x="-3016" y="5643"/>
                      </a:cubicBezTo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8" name="Vrije vorm 167">
                  <a:extLst>
                    <a:ext uri="{FF2B5EF4-FFF2-40B4-BE49-F238E27FC236}">
                      <a16:creationId xmlns:a16="http://schemas.microsoft.com/office/drawing/2014/main" id="{02981F16-CD3A-3C1F-D444-D7F457CC0710}"/>
                    </a:ext>
                  </a:extLst>
                </p:cNvPr>
                <p:cNvSpPr/>
                <p:nvPr/>
              </p:nvSpPr>
              <p:spPr>
                <a:xfrm flipV="1">
                  <a:off x="4754389" y="3071852"/>
                  <a:ext cx="27830" cy="51637"/>
                </a:xfrm>
                <a:custGeom>
                  <a:avLst/>
                  <a:gdLst>
                    <a:gd name="connsiteX0" fmla="*/ 2563 w 27830"/>
                    <a:gd name="connsiteY0" fmla="*/ 48647 h 51637"/>
                    <a:gd name="connsiteX1" fmla="*/ 24958 w 27830"/>
                    <a:gd name="connsiteY1" fmla="*/ 15833 h 51637"/>
                    <a:gd name="connsiteX2" fmla="*/ 19133 w 27830"/>
                    <a:gd name="connsiteY2" fmla="*/ -1652 h 51637"/>
                    <a:gd name="connsiteX3" fmla="*/ 2563 w 27830"/>
                    <a:gd name="connsiteY3" fmla="*/ 48647 h 516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830" h="51637">
                      <a:moveTo>
                        <a:pt x="2563" y="48647"/>
                      </a:moveTo>
                      <a:cubicBezTo>
                        <a:pt x="14200" y="54541"/>
                        <a:pt x="24481" y="35814"/>
                        <a:pt x="24958" y="15833"/>
                      </a:cubicBezTo>
                      <a:cubicBezTo>
                        <a:pt x="15444" y="17262"/>
                        <a:pt x="13838" y="6190"/>
                        <a:pt x="19133" y="-1652"/>
                      </a:cubicBezTo>
                      <a:cubicBezTo>
                        <a:pt x="241" y="-5660"/>
                        <a:pt x="-9780" y="42411"/>
                        <a:pt x="2563" y="48647"/>
                      </a:cubicBezTo>
                    </a:path>
                  </a:pathLst>
                </a:custGeom>
                <a:solidFill>
                  <a:srgbClr val="CF8D7C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69" name="Vrije vorm 168">
                  <a:extLst>
                    <a:ext uri="{FF2B5EF4-FFF2-40B4-BE49-F238E27FC236}">
                      <a16:creationId xmlns:a16="http://schemas.microsoft.com/office/drawing/2014/main" id="{E033044D-69CB-EE59-74B0-9B8A8829B311}"/>
                    </a:ext>
                  </a:extLst>
                </p:cNvPr>
                <p:cNvSpPr/>
                <p:nvPr/>
              </p:nvSpPr>
              <p:spPr>
                <a:xfrm flipV="1">
                  <a:off x="4857663" y="3153332"/>
                  <a:ext cx="74200" cy="18388"/>
                </a:xfrm>
                <a:custGeom>
                  <a:avLst/>
                  <a:gdLst>
                    <a:gd name="connsiteX0" fmla="*/ -2978 w 74200"/>
                    <a:gd name="connsiteY0" fmla="*/ 16571 h 18388"/>
                    <a:gd name="connsiteX1" fmla="*/ 71222 w 74200"/>
                    <a:gd name="connsiteY1" fmla="*/ 9269 h 18388"/>
                    <a:gd name="connsiteX2" fmla="*/ -2978 w 74200"/>
                    <a:gd name="connsiteY2" fmla="*/ 16571 h 183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4200" h="18388">
                      <a:moveTo>
                        <a:pt x="-2978" y="16571"/>
                      </a:moveTo>
                      <a:cubicBezTo>
                        <a:pt x="-2978" y="16571"/>
                        <a:pt x="35003" y="-19392"/>
                        <a:pt x="71222" y="9269"/>
                      </a:cubicBezTo>
                      <a:lnTo>
                        <a:pt x="-2978" y="16571"/>
                      </a:lnTo>
                    </a:path>
                  </a:pathLst>
                </a:custGeom>
                <a:solidFill>
                  <a:srgbClr val="FFFFF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</p:grpSp>
          <p:sp>
            <p:nvSpPr>
              <p:cNvPr id="171" name="Vrije vorm 170">
                <a:extLst>
                  <a:ext uri="{FF2B5EF4-FFF2-40B4-BE49-F238E27FC236}">
                    <a16:creationId xmlns:a16="http://schemas.microsoft.com/office/drawing/2014/main" id="{8796B9B2-9C80-8755-6BD5-3BFD86D35135}"/>
                  </a:ext>
                </a:extLst>
              </p:cNvPr>
              <p:cNvSpPr/>
              <p:nvPr/>
            </p:nvSpPr>
            <p:spPr>
              <a:xfrm flipV="1">
                <a:off x="8828788" y="1538465"/>
                <a:ext cx="627625" cy="421057"/>
              </a:xfrm>
              <a:custGeom>
                <a:avLst/>
                <a:gdLst>
                  <a:gd name="connsiteX0" fmla="*/ 7576 w 467845"/>
                  <a:gd name="connsiteY0" fmla="*/ 18404 h 298152"/>
                  <a:gd name="connsiteX1" fmla="*/ 88440 w 467845"/>
                  <a:gd name="connsiteY1" fmla="*/ -4021 h 298152"/>
                  <a:gd name="connsiteX2" fmla="*/ 117187 w 467845"/>
                  <a:gd name="connsiteY2" fmla="*/ -4021 h 298152"/>
                  <a:gd name="connsiteX3" fmla="*/ 129509 w 467845"/>
                  <a:gd name="connsiteY3" fmla="*/ 87036 h 298152"/>
                  <a:gd name="connsiteX4" fmla="*/ 206736 w 467845"/>
                  <a:gd name="connsiteY4" fmla="*/ 156010 h 298152"/>
                  <a:gd name="connsiteX5" fmla="*/ 418963 w 467845"/>
                  <a:gd name="connsiteY5" fmla="*/ 132508 h 298152"/>
                  <a:gd name="connsiteX6" fmla="*/ 91165 w 467845"/>
                  <a:gd name="connsiteY6" fmla="*/ 270352 h 298152"/>
                  <a:gd name="connsiteX7" fmla="*/ 7576 w 467845"/>
                  <a:gd name="connsiteY7" fmla="*/ 18404 h 29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7845" h="298152">
                    <a:moveTo>
                      <a:pt x="7576" y="18404"/>
                    </a:moveTo>
                    <a:cubicBezTo>
                      <a:pt x="7576" y="18404"/>
                      <a:pt x="51464" y="46971"/>
                      <a:pt x="88440" y="-4021"/>
                    </a:cubicBezTo>
                    <a:lnTo>
                      <a:pt x="117187" y="-4021"/>
                    </a:lnTo>
                    <a:cubicBezTo>
                      <a:pt x="117187" y="-4021"/>
                      <a:pt x="115550" y="55020"/>
                      <a:pt x="129509" y="87036"/>
                    </a:cubicBezTo>
                    <a:cubicBezTo>
                      <a:pt x="143468" y="119063"/>
                      <a:pt x="198517" y="118235"/>
                      <a:pt x="206736" y="156010"/>
                    </a:cubicBezTo>
                    <a:cubicBezTo>
                      <a:pt x="206736" y="156010"/>
                      <a:pt x="341467" y="91180"/>
                      <a:pt x="418963" y="132508"/>
                    </a:cubicBezTo>
                    <a:cubicBezTo>
                      <a:pt x="594173" y="225927"/>
                      <a:pt x="225969" y="345758"/>
                      <a:pt x="91165" y="270352"/>
                    </a:cubicBezTo>
                    <a:cubicBezTo>
                      <a:pt x="-8984" y="214346"/>
                      <a:pt x="-13316" y="118918"/>
                      <a:pt x="7576" y="18404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220" name="Vrije vorm 219">
              <a:extLst>
                <a:ext uri="{FF2B5EF4-FFF2-40B4-BE49-F238E27FC236}">
                  <a16:creationId xmlns:a16="http://schemas.microsoft.com/office/drawing/2014/main" id="{0338BB83-4117-5CE2-C157-2D47A36103B3}"/>
                </a:ext>
              </a:extLst>
            </p:cNvPr>
            <p:cNvSpPr/>
            <p:nvPr/>
          </p:nvSpPr>
          <p:spPr>
            <a:xfrm flipV="1">
              <a:off x="8991176" y="1981595"/>
              <a:ext cx="144000" cy="144000"/>
            </a:xfrm>
            <a:custGeom>
              <a:avLst/>
              <a:gdLst>
                <a:gd name="connsiteX0" fmla="*/ 56246 w 117549"/>
                <a:gd name="connsiteY0" fmla="*/ 103954 h 117480"/>
                <a:gd name="connsiteX1" fmla="*/ 7156 w 117549"/>
                <a:gd name="connsiteY1" fmla="*/ 54888 h 117480"/>
                <a:gd name="connsiteX2" fmla="*/ 56246 w 117549"/>
                <a:gd name="connsiteY2" fmla="*/ 5822 h 117480"/>
                <a:gd name="connsiteX3" fmla="*/ 105347 w 117549"/>
                <a:gd name="connsiteY3" fmla="*/ 54888 h 117480"/>
                <a:gd name="connsiteX4" fmla="*/ 56246 w 117549"/>
                <a:gd name="connsiteY4" fmla="*/ 103954 h 117480"/>
                <a:gd name="connsiteX5" fmla="*/ 56246 w 117549"/>
                <a:gd name="connsiteY5" fmla="*/ -3852 h 117480"/>
                <a:gd name="connsiteX6" fmla="*/ -2534 w 117549"/>
                <a:gd name="connsiteY6" fmla="*/ 54888 h 117480"/>
                <a:gd name="connsiteX7" fmla="*/ 56246 w 117549"/>
                <a:gd name="connsiteY7" fmla="*/ 113628 h 117480"/>
                <a:gd name="connsiteX8" fmla="*/ 115015 w 117549"/>
                <a:gd name="connsiteY8" fmla="*/ 54888 h 117480"/>
                <a:gd name="connsiteX9" fmla="*/ 56246 w 11754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49" h="117480">
                  <a:moveTo>
                    <a:pt x="56246" y="103954"/>
                  </a:moveTo>
                  <a:cubicBezTo>
                    <a:pt x="29177" y="103954"/>
                    <a:pt x="7156" y="81943"/>
                    <a:pt x="7156" y="54888"/>
                  </a:cubicBezTo>
                  <a:cubicBezTo>
                    <a:pt x="7156" y="27833"/>
                    <a:pt x="29177" y="5822"/>
                    <a:pt x="56246" y="5822"/>
                  </a:cubicBezTo>
                  <a:cubicBezTo>
                    <a:pt x="83315" y="5822"/>
                    <a:pt x="105347" y="27833"/>
                    <a:pt x="105347" y="54888"/>
                  </a:cubicBezTo>
                  <a:cubicBezTo>
                    <a:pt x="105347" y="81943"/>
                    <a:pt x="83315" y="103954"/>
                    <a:pt x="56246" y="103954"/>
                  </a:cubicBezTo>
                  <a:close/>
                  <a:moveTo>
                    <a:pt x="56246" y="-3852"/>
                  </a:moveTo>
                  <a:cubicBezTo>
                    <a:pt x="23830" y="-3852"/>
                    <a:pt x="-2534" y="22499"/>
                    <a:pt x="-2534" y="54888"/>
                  </a:cubicBezTo>
                  <a:cubicBezTo>
                    <a:pt x="-2534" y="87288"/>
                    <a:pt x="23830" y="113628"/>
                    <a:pt x="56246" y="113628"/>
                  </a:cubicBezTo>
                  <a:cubicBezTo>
                    <a:pt x="88651" y="113628"/>
                    <a:pt x="115015" y="87288"/>
                    <a:pt x="115015" y="54888"/>
                  </a:cubicBezTo>
                  <a:cubicBezTo>
                    <a:pt x="115015" y="22499"/>
                    <a:pt x="88651" y="-3852"/>
                    <a:pt x="56246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1" name="Vrije vorm 220">
              <a:extLst>
                <a:ext uri="{FF2B5EF4-FFF2-40B4-BE49-F238E27FC236}">
                  <a16:creationId xmlns:a16="http://schemas.microsoft.com/office/drawing/2014/main" id="{553139CF-AB99-40B6-C1B4-BB8AF50F4EDC}"/>
                </a:ext>
              </a:extLst>
            </p:cNvPr>
            <p:cNvSpPr/>
            <p:nvPr/>
          </p:nvSpPr>
          <p:spPr>
            <a:xfrm flipV="1">
              <a:off x="9196090" y="1991230"/>
              <a:ext cx="144000" cy="144000"/>
            </a:xfrm>
            <a:custGeom>
              <a:avLst/>
              <a:gdLst>
                <a:gd name="connsiteX0" fmla="*/ 56107 w 117539"/>
                <a:gd name="connsiteY0" fmla="*/ 103954 h 117480"/>
                <a:gd name="connsiteX1" fmla="*/ 7017 w 117539"/>
                <a:gd name="connsiteY1" fmla="*/ 54888 h 117480"/>
                <a:gd name="connsiteX2" fmla="*/ 56107 w 117539"/>
                <a:gd name="connsiteY2" fmla="*/ 5822 h 117480"/>
                <a:gd name="connsiteX3" fmla="*/ 105198 w 117539"/>
                <a:gd name="connsiteY3" fmla="*/ 54888 h 117480"/>
                <a:gd name="connsiteX4" fmla="*/ 56107 w 117539"/>
                <a:gd name="connsiteY4" fmla="*/ 103954 h 117480"/>
                <a:gd name="connsiteX5" fmla="*/ 56107 w 117539"/>
                <a:gd name="connsiteY5" fmla="*/ -3852 h 117480"/>
                <a:gd name="connsiteX6" fmla="*/ -2662 w 117539"/>
                <a:gd name="connsiteY6" fmla="*/ 54888 h 117480"/>
                <a:gd name="connsiteX7" fmla="*/ 56107 w 117539"/>
                <a:gd name="connsiteY7" fmla="*/ 113628 h 117480"/>
                <a:gd name="connsiteX8" fmla="*/ 114877 w 117539"/>
                <a:gd name="connsiteY8" fmla="*/ 54888 h 117480"/>
                <a:gd name="connsiteX9" fmla="*/ 56107 w 11753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39" h="117480">
                  <a:moveTo>
                    <a:pt x="56107" y="103954"/>
                  </a:moveTo>
                  <a:cubicBezTo>
                    <a:pt x="29039" y="103954"/>
                    <a:pt x="7017" y="81943"/>
                    <a:pt x="7017" y="54888"/>
                  </a:cubicBezTo>
                  <a:cubicBezTo>
                    <a:pt x="7017" y="27833"/>
                    <a:pt x="29039" y="5822"/>
                    <a:pt x="56107" y="5822"/>
                  </a:cubicBezTo>
                  <a:cubicBezTo>
                    <a:pt x="83176" y="5822"/>
                    <a:pt x="105198" y="27833"/>
                    <a:pt x="105198" y="54888"/>
                  </a:cubicBezTo>
                  <a:cubicBezTo>
                    <a:pt x="105198" y="81943"/>
                    <a:pt x="83176" y="103954"/>
                    <a:pt x="56107" y="103954"/>
                  </a:cubicBezTo>
                  <a:close/>
                  <a:moveTo>
                    <a:pt x="56107" y="-3852"/>
                  </a:moveTo>
                  <a:cubicBezTo>
                    <a:pt x="23702" y="-3852"/>
                    <a:pt x="-2662" y="22499"/>
                    <a:pt x="-2662" y="54888"/>
                  </a:cubicBezTo>
                  <a:cubicBezTo>
                    <a:pt x="-2662" y="87288"/>
                    <a:pt x="23702" y="113628"/>
                    <a:pt x="56107" y="113628"/>
                  </a:cubicBezTo>
                  <a:cubicBezTo>
                    <a:pt x="88513" y="113628"/>
                    <a:pt x="114877" y="87288"/>
                    <a:pt x="114877" y="54888"/>
                  </a:cubicBezTo>
                  <a:cubicBezTo>
                    <a:pt x="114877" y="22499"/>
                    <a:pt x="88513" y="-3852"/>
                    <a:pt x="56107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2" name="Vrije vorm 221">
              <a:extLst>
                <a:ext uri="{FF2B5EF4-FFF2-40B4-BE49-F238E27FC236}">
                  <a16:creationId xmlns:a16="http://schemas.microsoft.com/office/drawing/2014/main" id="{A512A882-CEB0-4BDC-B0FF-DE520C230882}"/>
                </a:ext>
              </a:extLst>
            </p:cNvPr>
            <p:cNvSpPr/>
            <p:nvPr/>
          </p:nvSpPr>
          <p:spPr>
            <a:xfrm flipV="1">
              <a:off x="8890926" y="2031939"/>
              <a:ext cx="104773" cy="16442"/>
            </a:xfrm>
            <a:custGeom>
              <a:avLst/>
              <a:gdLst>
                <a:gd name="connsiteX0" fmla="*/ 108369 w 111559"/>
                <a:gd name="connsiteY0" fmla="*/ -3873 h 18230"/>
                <a:gd name="connsiteX1" fmla="*/ -2444 w 111559"/>
                <a:gd name="connsiteY1" fmla="*/ 4714 h 18230"/>
                <a:gd name="connsiteX2" fmla="*/ -1698 w 111559"/>
                <a:gd name="connsiteY2" fmla="*/ 14357 h 18230"/>
                <a:gd name="connsiteX3" fmla="*/ 109115 w 111559"/>
                <a:gd name="connsiteY3" fmla="*/ 5770 h 18230"/>
                <a:gd name="connsiteX4" fmla="*/ 108369 w 111559"/>
                <a:gd name="connsiteY4" fmla="*/ -3873 h 18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559" h="18230">
                  <a:moveTo>
                    <a:pt x="108369" y="-3873"/>
                  </a:moveTo>
                  <a:lnTo>
                    <a:pt x="-2444" y="4714"/>
                  </a:lnTo>
                  <a:lnTo>
                    <a:pt x="-1698" y="14357"/>
                  </a:lnTo>
                  <a:lnTo>
                    <a:pt x="109115" y="5770"/>
                  </a:lnTo>
                  <a:lnTo>
                    <a:pt x="108369" y="-3873"/>
                  </a:ln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3" name="Vrije vorm 222">
              <a:extLst>
                <a:ext uri="{FF2B5EF4-FFF2-40B4-BE49-F238E27FC236}">
                  <a16:creationId xmlns:a16="http://schemas.microsoft.com/office/drawing/2014/main" id="{D995F1D4-3DDA-1E00-FC49-3B2D4BF6EB61}"/>
                </a:ext>
              </a:extLst>
            </p:cNvPr>
            <p:cNvSpPr/>
            <p:nvPr/>
          </p:nvSpPr>
          <p:spPr>
            <a:xfrm flipV="1">
              <a:off x="9128731" y="2042639"/>
              <a:ext cx="72000" cy="14758"/>
            </a:xfrm>
            <a:custGeom>
              <a:avLst/>
              <a:gdLst>
                <a:gd name="connsiteX0" fmla="*/ 3008 w 52302"/>
                <a:gd name="connsiteY0" fmla="*/ -3866 h 16363"/>
                <a:gd name="connsiteX1" fmla="*/ -2598 w 52302"/>
                <a:gd name="connsiteY1" fmla="*/ 4027 h 16363"/>
                <a:gd name="connsiteX2" fmla="*/ 49705 w 52302"/>
                <a:gd name="connsiteY2" fmla="*/ 3923 h 16363"/>
                <a:gd name="connsiteX3" fmla="*/ 43819 w 52302"/>
                <a:gd name="connsiteY3" fmla="*/ -3752 h 16363"/>
                <a:gd name="connsiteX4" fmla="*/ 3008 w 52302"/>
                <a:gd name="connsiteY4" fmla="*/ -3866 h 1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02" h="16363">
                  <a:moveTo>
                    <a:pt x="3008" y="-3866"/>
                  </a:moveTo>
                  <a:lnTo>
                    <a:pt x="-2598" y="4027"/>
                  </a:lnTo>
                  <a:cubicBezTo>
                    <a:pt x="6760" y="10687"/>
                    <a:pt x="29735" y="19233"/>
                    <a:pt x="49705" y="3923"/>
                  </a:cubicBezTo>
                  <a:lnTo>
                    <a:pt x="43819" y="-3752"/>
                  </a:lnTo>
                  <a:cubicBezTo>
                    <a:pt x="24584" y="10977"/>
                    <a:pt x="3879" y="-3255"/>
                    <a:pt x="3008" y="-3866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sp>
        <p:nvSpPr>
          <p:cNvPr id="225" name="Vrije vorm 224">
            <a:extLst>
              <a:ext uri="{FF2B5EF4-FFF2-40B4-BE49-F238E27FC236}">
                <a16:creationId xmlns:a16="http://schemas.microsoft.com/office/drawing/2014/main" id="{65F189E0-C00C-274A-5719-2B95BA7723C2}"/>
              </a:ext>
            </a:extLst>
          </p:cNvPr>
          <p:cNvSpPr/>
          <p:nvPr/>
        </p:nvSpPr>
        <p:spPr>
          <a:xfrm rot="19374521" flipV="1">
            <a:off x="1068583" y="1254459"/>
            <a:ext cx="83114" cy="288000"/>
          </a:xfrm>
          <a:custGeom>
            <a:avLst/>
            <a:gdLst>
              <a:gd name="connsiteX0" fmla="*/ 27796 w 30273"/>
              <a:gd name="connsiteY0" fmla="*/ 125267 h 145367"/>
              <a:gd name="connsiteX1" fmla="*/ 24125 w 30273"/>
              <a:gd name="connsiteY1" fmla="*/ 124764 h 145367"/>
              <a:gd name="connsiteX2" fmla="*/ 21360 w 30273"/>
              <a:gd name="connsiteY2" fmla="*/ 123953 h 145367"/>
              <a:gd name="connsiteX3" fmla="*/ 20645 w 30273"/>
              <a:gd name="connsiteY3" fmla="*/ 118633 h 145367"/>
              <a:gd name="connsiteX4" fmla="*/ 20025 w 30273"/>
              <a:gd name="connsiteY4" fmla="*/ 113237 h 145367"/>
              <a:gd name="connsiteX5" fmla="*/ 18023 w 30273"/>
              <a:gd name="connsiteY5" fmla="*/ 783 h 145367"/>
              <a:gd name="connsiteX6" fmla="*/ 17689 w 30273"/>
              <a:gd name="connsiteY6" fmla="*/ -689 h 145367"/>
              <a:gd name="connsiteX7" fmla="*/ 15139 w 30273"/>
              <a:gd name="connsiteY7" fmla="*/ 29 h 145367"/>
              <a:gd name="connsiteX8" fmla="*/ 9775 w 30273"/>
              <a:gd name="connsiteY8" fmla="*/ -167 h 145367"/>
              <a:gd name="connsiteX9" fmla="*/ 7845 w 30273"/>
              <a:gd name="connsiteY9" fmla="*/ 430 h 145367"/>
              <a:gd name="connsiteX10" fmla="*/ 5675 w 30273"/>
              <a:gd name="connsiteY10" fmla="*/ 82040 h 145367"/>
              <a:gd name="connsiteX11" fmla="*/ 4960 w 30273"/>
              <a:gd name="connsiteY11" fmla="*/ 112500 h 145367"/>
              <a:gd name="connsiteX12" fmla="*/ 4770 w 30273"/>
              <a:gd name="connsiteY12" fmla="*/ 118633 h 145367"/>
              <a:gd name="connsiteX13" fmla="*/ 4746 w 30273"/>
              <a:gd name="connsiteY13" fmla="*/ 120990 h 145367"/>
              <a:gd name="connsiteX14" fmla="*/ 4841 w 30273"/>
              <a:gd name="connsiteY14" fmla="*/ 120990 h 145367"/>
              <a:gd name="connsiteX15" fmla="*/ 4817 w 30273"/>
              <a:gd name="connsiteY15" fmla="*/ 122760 h 145367"/>
              <a:gd name="connsiteX16" fmla="*/ 1980 w 30273"/>
              <a:gd name="connsiteY16" fmla="*/ 122638 h 145367"/>
              <a:gd name="connsiteX17" fmla="*/ -1595 w 30273"/>
              <a:gd name="connsiteY17" fmla="*/ 122183 h 145367"/>
              <a:gd name="connsiteX18" fmla="*/ -1619 w 30273"/>
              <a:gd name="connsiteY18" fmla="*/ 122183 h 145367"/>
              <a:gd name="connsiteX19" fmla="*/ 5961 w 30273"/>
              <a:gd name="connsiteY19" fmla="*/ 133729 h 145367"/>
              <a:gd name="connsiteX20" fmla="*/ 10228 w 30273"/>
              <a:gd name="connsiteY20" fmla="*/ 140055 h 145367"/>
              <a:gd name="connsiteX21" fmla="*/ 13756 w 30273"/>
              <a:gd name="connsiteY21" fmla="*/ 144678 h 145367"/>
              <a:gd name="connsiteX22" fmla="*/ 19263 w 30273"/>
              <a:gd name="connsiteY22" fmla="*/ 138359 h 145367"/>
              <a:gd name="connsiteX23" fmla="*/ 28655 w 30273"/>
              <a:gd name="connsiteY23" fmla="*/ 125379 h 145367"/>
              <a:gd name="connsiteX24" fmla="*/ 27796 w 30273"/>
              <a:gd name="connsiteY24" fmla="*/ 125267 h 145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0273" h="145367">
                <a:moveTo>
                  <a:pt x="27796" y="125267"/>
                </a:moveTo>
                <a:lnTo>
                  <a:pt x="24125" y="124764"/>
                </a:lnTo>
                <a:lnTo>
                  <a:pt x="21360" y="123953"/>
                </a:lnTo>
                <a:lnTo>
                  <a:pt x="20645" y="118633"/>
                </a:lnTo>
                <a:lnTo>
                  <a:pt x="20025" y="113237"/>
                </a:lnTo>
                <a:cubicBezTo>
                  <a:pt x="19572" y="107347"/>
                  <a:pt x="18404" y="15413"/>
                  <a:pt x="18023" y="783"/>
                </a:cubicBezTo>
                <a:lnTo>
                  <a:pt x="17689" y="-689"/>
                </a:lnTo>
                <a:lnTo>
                  <a:pt x="15139" y="29"/>
                </a:lnTo>
                <a:lnTo>
                  <a:pt x="9775" y="-167"/>
                </a:lnTo>
                <a:lnTo>
                  <a:pt x="7845" y="430"/>
                </a:lnTo>
                <a:cubicBezTo>
                  <a:pt x="7845" y="9786"/>
                  <a:pt x="6009" y="73857"/>
                  <a:pt x="5675" y="82040"/>
                </a:cubicBezTo>
                <a:cubicBezTo>
                  <a:pt x="5509" y="86522"/>
                  <a:pt x="5365" y="108085"/>
                  <a:pt x="4960" y="112500"/>
                </a:cubicBezTo>
                <a:lnTo>
                  <a:pt x="4770" y="118633"/>
                </a:lnTo>
                <a:lnTo>
                  <a:pt x="4746" y="120990"/>
                </a:lnTo>
                <a:lnTo>
                  <a:pt x="4841" y="120990"/>
                </a:lnTo>
                <a:lnTo>
                  <a:pt x="4817" y="122760"/>
                </a:lnTo>
                <a:lnTo>
                  <a:pt x="1980" y="122638"/>
                </a:lnTo>
                <a:lnTo>
                  <a:pt x="-1595" y="122183"/>
                </a:lnTo>
                <a:lnTo>
                  <a:pt x="-1619" y="122183"/>
                </a:lnTo>
                <a:cubicBezTo>
                  <a:pt x="1480" y="125527"/>
                  <a:pt x="3578" y="129888"/>
                  <a:pt x="5961" y="133729"/>
                </a:cubicBezTo>
                <a:lnTo>
                  <a:pt x="10228" y="140055"/>
                </a:lnTo>
                <a:lnTo>
                  <a:pt x="13756" y="144678"/>
                </a:lnTo>
                <a:cubicBezTo>
                  <a:pt x="15258" y="142460"/>
                  <a:pt x="17499" y="140456"/>
                  <a:pt x="19263" y="138359"/>
                </a:cubicBezTo>
                <a:cubicBezTo>
                  <a:pt x="22671" y="134258"/>
                  <a:pt x="25174" y="129385"/>
                  <a:pt x="28655" y="125379"/>
                </a:cubicBezTo>
                <a:lnTo>
                  <a:pt x="27796" y="125267"/>
                </a:lnTo>
              </a:path>
            </a:pathLst>
          </a:custGeom>
          <a:solidFill>
            <a:srgbClr val="4376C4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26" name="Vrije vorm 225">
            <a:extLst>
              <a:ext uri="{FF2B5EF4-FFF2-40B4-BE49-F238E27FC236}">
                <a16:creationId xmlns:a16="http://schemas.microsoft.com/office/drawing/2014/main" id="{0B47AB4A-7DD6-7ECE-6777-95273E3C2012}"/>
              </a:ext>
            </a:extLst>
          </p:cNvPr>
          <p:cNvSpPr/>
          <p:nvPr/>
        </p:nvSpPr>
        <p:spPr>
          <a:xfrm rot="19985079" flipH="1" flipV="1">
            <a:off x="9897266" y="2836083"/>
            <a:ext cx="186319" cy="98201"/>
          </a:xfrm>
          <a:custGeom>
            <a:avLst/>
            <a:gdLst>
              <a:gd name="connsiteX0" fmla="*/ -4533 w 106299"/>
              <a:gd name="connsiteY0" fmla="*/ 67245 h 85375"/>
              <a:gd name="connsiteX1" fmla="*/ 93140 w 106299"/>
              <a:gd name="connsiteY1" fmla="*/ 76298 h 85375"/>
              <a:gd name="connsiteX2" fmla="*/ 76642 w 106299"/>
              <a:gd name="connsiteY2" fmla="*/ 46146 h 85375"/>
              <a:gd name="connsiteX3" fmla="*/ 65948 w 106299"/>
              <a:gd name="connsiteY3" fmla="*/ 43090 h 85375"/>
              <a:gd name="connsiteX4" fmla="*/ 43801 w 106299"/>
              <a:gd name="connsiteY4" fmla="*/ 50133 h 85375"/>
              <a:gd name="connsiteX5" fmla="*/ 26671 w 106299"/>
              <a:gd name="connsiteY5" fmla="*/ 47119 h 85375"/>
              <a:gd name="connsiteX6" fmla="*/ 10567 w 106299"/>
              <a:gd name="connsiteY6" fmla="*/ 53158 h 85375"/>
              <a:gd name="connsiteX7" fmla="*/ -4533 w 106299"/>
              <a:gd name="connsiteY7" fmla="*/ 67245 h 8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6299" h="85375">
                <a:moveTo>
                  <a:pt x="-4533" y="67245"/>
                </a:moveTo>
                <a:cubicBezTo>
                  <a:pt x="-2522" y="99458"/>
                  <a:pt x="93140" y="76298"/>
                  <a:pt x="93140" y="76298"/>
                </a:cubicBezTo>
                <a:cubicBezTo>
                  <a:pt x="93140" y="76298"/>
                  <a:pt x="117929" y="59238"/>
                  <a:pt x="76642" y="46146"/>
                </a:cubicBezTo>
                <a:cubicBezTo>
                  <a:pt x="72321" y="44778"/>
                  <a:pt x="68828" y="43794"/>
                  <a:pt x="65948" y="43090"/>
                </a:cubicBezTo>
                <a:cubicBezTo>
                  <a:pt x="67627" y="-18499"/>
                  <a:pt x="43801" y="50133"/>
                  <a:pt x="43801" y="50133"/>
                </a:cubicBezTo>
                <a:cubicBezTo>
                  <a:pt x="35739" y="-51530"/>
                  <a:pt x="26671" y="47119"/>
                  <a:pt x="26671" y="47119"/>
                </a:cubicBezTo>
                <a:cubicBezTo>
                  <a:pt x="7551" y="-64612"/>
                  <a:pt x="10567" y="53158"/>
                  <a:pt x="10567" y="53158"/>
                </a:cubicBezTo>
                <a:cubicBezTo>
                  <a:pt x="-8563" y="-35424"/>
                  <a:pt x="-6553" y="35042"/>
                  <a:pt x="-4533" y="67245"/>
                </a:cubicBezTo>
              </a:path>
            </a:pathLst>
          </a:custGeom>
          <a:solidFill>
            <a:srgbClr val="F9AA8F"/>
          </a:solidFill>
          <a:ln w="10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822240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>
            <a:extLst>
              <a:ext uri="{FF2B5EF4-FFF2-40B4-BE49-F238E27FC236}">
                <a16:creationId xmlns:a16="http://schemas.microsoft.com/office/drawing/2014/main" id="{8CE4E29A-1E37-4A7B-8AC1-50523B9796EE}"/>
              </a:ext>
            </a:extLst>
          </p:cNvPr>
          <p:cNvGrpSpPr/>
          <p:nvPr/>
        </p:nvGrpSpPr>
        <p:grpSpPr>
          <a:xfrm>
            <a:off x="9263117" y="5216014"/>
            <a:ext cx="1922673" cy="1625277"/>
            <a:chOff x="9263117" y="5216014"/>
            <a:chExt cx="1922673" cy="1625277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5008581-E2C4-4567-B322-906365EBB53F}"/>
                </a:ext>
              </a:extLst>
            </p:cNvPr>
            <p:cNvGrpSpPr/>
            <p:nvPr/>
          </p:nvGrpSpPr>
          <p:grpSpPr>
            <a:xfrm>
              <a:off x="9263117" y="5216014"/>
              <a:ext cx="1646007" cy="1188720"/>
              <a:chOff x="9263117" y="5216014"/>
              <a:chExt cx="1646007" cy="1188720"/>
            </a:xfrm>
          </p:grpSpPr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9CB79F1B-0823-419A-95DD-D10AEC301E31}"/>
                  </a:ext>
                </a:extLst>
              </p:cNvPr>
              <p:cNvSpPr/>
              <p:nvPr/>
            </p:nvSpPr>
            <p:spPr>
              <a:xfrm>
                <a:off x="10877040" y="5216014"/>
                <a:ext cx="32084" cy="1188720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17D6D510-224C-478A-8FE4-84325288DD9F}"/>
                  </a:ext>
                </a:extLst>
              </p:cNvPr>
              <p:cNvSpPr txBox="1"/>
              <p:nvPr/>
            </p:nvSpPr>
            <p:spPr>
              <a:xfrm>
                <a:off x="9263117" y="5968321"/>
                <a:ext cx="158088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Sustainability</a:t>
                </a:r>
              </a:p>
            </p:txBody>
          </p:sp>
        </p:grp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578914BC-96EF-4628-BEFA-42D885F1225D}"/>
                </a:ext>
              </a:extLst>
            </p:cNvPr>
            <p:cNvSpPr txBox="1"/>
            <p:nvPr/>
          </p:nvSpPr>
          <p:spPr>
            <a:xfrm>
              <a:off x="10600373" y="63180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5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A5DDC21-4BA9-459F-8091-073BF69D008B}"/>
              </a:ext>
            </a:extLst>
          </p:cNvPr>
          <p:cNvGrpSpPr/>
          <p:nvPr/>
        </p:nvGrpSpPr>
        <p:grpSpPr>
          <a:xfrm>
            <a:off x="9411694" y="102199"/>
            <a:ext cx="965744" cy="1958177"/>
            <a:chOff x="9411694" y="102199"/>
            <a:chExt cx="965744" cy="195817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16FD78F-E843-4FDF-A1BA-6B279EC01DAE}"/>
                </a:ext>
              </a:extLst>
            </p:cNvPr>
            <p:cNvGrpSpPr/>
            <p:nvPr/>
          </p:nvGrpSpPr>
          <p:grpSpPr>
            <a:xfrm>
              <a:off x="9688361" y="600544"/>
              <a:ext cx="689077" cy="1459832"/>
              <a:chOff x="9688361" y="600544"/>
              <a:chExt cx="689077" cy="1459832"/>
            </a:xfrm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CE21B7C-B21C-4180-BC2B-F53AAFC90D52}"/>
                  </a:ext>
                </a:extLst>
              </p:cNvPr>
              <p:cNvSpPr/>
              <p:nvPr/>
            </p:nvSpPr>
            <p:spPr>
              <a:xfrm>
                <a:off x="9688361" y="60054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39D290A5-76B4-4019-8C18-F440EFCBD52B}"/>
                  </a:ext>
                </a:extLst>
              </p:cNvPr>
              <p:cNvSpPr txBox="1"/>
              <p:nvPr/>
            </p:nvSpPr>
            <p:spPr>
              <a:xfrm>
                <a:off x="9708665" y="606803"/>
                <a:ext cx="66877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SaaS</a:t>
                </a:r>
              </a:p>
            </p:txBody>
          </p:sp>
        </p:grp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5B8325B-3BA7-4EAD-96E0-B97FF05BCFF6}"/>
                </a:ext>
              </a:extLst>
            </p:cNvPr>
            <p:cNvSpPr txBox="1"/>
            <p:nvPr/>
          </p:nvSpPr>
          <p:spPr>
            <a:xfrm>
              <a:off x="9411694" y="102199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4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EF3B726-0569-4447-ADCD-FD67DED395DE}"/>
              </a:ext>
            </a:extLst>
          </p:cNvPr>
          <p:cNvGrpSpPr/>
          <p:nvPr/>
        </p:nvGrpSpPr>
        <p:grpSpPr>
          <a:xfrm>
            <a:off x="6629415" y="4873974"/>
            <a:ext cx="1222008" cy="1950517"/>
            <a:chOff x="6629415" y="4873974"/>
            <a:chExt cx="1222008" cy="1950517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2D40F0B-5941-4079-B600-374266F5CA71}"/>
                </a:ext>
              </a:extLst>
            </p:cNvPr>
            <p:cNvGrpSpPr/>
            <p:nvPr/>
          </p:nvGrpSpPr>
          <p:grpSpPr>
            <a:xfrm>
              <a:off x="6895712" y="4873974"/>
              <a:ext cx="955711" cy="1459832"/>
              <a:chOff x="6895712" y="4873974"/>
              <a:chExt cx="955711" cy="1459832"/>
            </a:xfrm>
          </p:grpSpPr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38E9B2-D40D-4AE2-9F05-776932742519}"/>
                  </a:ext>
                </a:extLst>
              </p:cNvPr>
              <p:cNvSpPr/>
              <p:nvPr/>
            </p:nvSpPr>
            <p:spPr>
              <a:xfrm>
                <a:off x="6903892" y="487397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1FF18895-3D38-4D05-B13F-B47A99799D0A}"/>
                  </a:ext>
                </a:extLst>
              </p:cNvPr>
              <p:cNvSpPr txBox="1"/>
              <p:nvPr/>
            </p:nvSpPr>
            <p:spPr>
              <a:xfrm>
                <a:off x="6895712" y="5708802"/>
                <a:ext cx="955711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Fintech</a:t>
                </a:r>
              </a:p>
            </p:txBody>
          </p:sp>
        </p:grp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E5BB32E2-60BB-4AD4-BC10-5A227FDEFB66}"/>
                </a:ext>
              </a:extLst>
            </p:cNvPr>
            <p:cNvSpPr txBox="1"/>
            <p:nvPr/>
          </p:nvSpPr>
          <p:spPr>
            <a:xfrm>
              <a:off x="6629415" y="63012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3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E774DFE-E359-41B5-AADF-C722A3F55601}"/>
              </a:ext>
            </a:extLst>
          </p:cNvPr>
          <p:cNvGrpSpPr/>
          <p:nvPr/>
        </p:nvGrpSpPr>
        <p:grpSpPr>
          <a:xfrm>
            <a:off x="4455315" y="-12708"/>
            <a:ext cx="1298754" cy="1946969"/>
            <a:chOff x="4455315" y="-12708"/>
            <a:chExt cx="1298754" cy="194696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1A015ED-B512-4324-BF80-21B4EFD3C1DC}"/>
                </a:ext>
              </a:extLst>
            </p:cNvPr>
            <p:cNvGrpSpPr/>
            <p:nvPr/>
          </p:nvGrpSpPr>
          <p:grpSpPr>
            <a:xfrm>
              <a:off x="4715940" y="448931"/>
              <a:ext cx="1038129" cy="1485330"/>
              <a:chOff x="4715940" y="448931"/>
              <a:chExt cx="1038129" cy="1485330"/>
            </a:xfrm>
          </p:grpSpPr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A2150354-29C9-4ABC-8786-FB7E17DA2625}"/>
                  </a:ext>
                </a:extLst>
              </p:cNvPr>
              <p:cNvSpPr/>
              <p:nvPr/>
            </p:nvSpPr>
            <p:spPr>
              <a:xfrm>
                <a:off x="4715940" y="474429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9F9DAFB7-461D-424B-AC6E-CD5074E73931}"/>
                  </a:ext>
                </a:extLst>
              </p:cNvPr>
              <p:cNvSpPr txBox="1"/>
              <p:nvPr/>
            </p:nvSpPr>
            <p:spPr>
              <a:xfrm>
                <a:off x="4819198" y="448931"/>
                <a:ext cx="934871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AI-tech</a:t>
                </a:r>
                <a:endParaRPr lang="en-US" sz="1400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756E5FDF-246F-4839-A1D7-280ED5D5C03C}"/>
                </a:ext>
              </a:extLst>
            </p:cNvPr>
            <p:cNvSpPr txBox="1"/>
            <p:nvPr/>
          </p:nvSpPr>
          <p:spPr>
            <a:xfrm>
              <a:off x="4455315" y="-12708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2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27C3DDB-FF19-463A-A49A-F6F82EE98E70}"/>
              </a:ext>
            </a:extLst>
          </p:cNvPr>
          <p:cNvGrpSpPr/>
          <p:nvPr/>
        </p:nvGrpSpPr>
        <p:grpSpPr>
          <a:xfrm>
            <a:off x="1505477" y="4865671"/>
            <a:ext cx="1776483" cy="2004148"/>
            <a:chOff x="1505477" y="4865671"/>
            <a:chExt cx="1776483" cy="200414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F5C8679-8E08-4502-BFAF-82B08E388D80}"/>
                </a:ext>
              </a:extLst>
            </p:cNvPr>
            <p:cNvGrpSpPr/>
            <p:nvPr/>
          </p:nvGrpSpPr>
          <p:grpSpPr>
            <a:xfrm>
              <a:off x="1813276" y="4865671"/>
              <a:ext cx="1468684" cy="1459832"/>
              <a:chOff x="1813276" y="4865671"/>
              <a:chExt cx="1468684" cy="1459832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7AA05556-615D-475A-891F-53AB4302E4DE}"/>
                  </a:ext>
                </a:extLst>
              </p:cNvPr>
              <p:cNvSpPr/>
              <p:nvPr/>
            </p:nvSpPr>
            <p:spPr>
              <a:xfrm>
                <a:off x="1813276" y="4865671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7405149F-2887-40F2-A189-9E9739D99A91}"/>
                  </a:ext>
                </a:extLst>
              </p:cNvPr>
              <p:cNvSpPr txBox="1"/>
              <p:nvPr/>
            </p:nvSpPr>
            <p:spPr>
              <a:xfrm>
                <a:off x="1829318" y="5710633"/>
                <a:ext cx="145264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Bio-industry</a:t>
                </a: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F01A26F-99B4-40EC-A4B1-C24A24160A61}"/>
                </a:ext>
              </a:extLst>
            </p:cNvPr>
            <p:cNvSpPr txBox="1"/>
            <p:nvPr/>
          </p:nvSpPr>
          <p:spPr>
            <a:xfrm>
              <a:off x="1505477" y="6346599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1</a:t>
              </a:r>
            </a:p>
          </p:txBody>
        </p:sp>
      </p:grp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52223E5-6289-4470-850A-E92D4445D56E}"/>
              </a:ext>
            </a:extLst>
          </p:cNvPr>
          <p:cNvSpPr/>
          <p:nvPr/>
        </p:nvSpPr>
        <p:spPr>
          <a:xfrm>
            <a:off x="-14067" y="2553902"/>
            <a:ext cx="1232329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71274"/>
              <a:gd name="connsiteY0" fmla="*/ 1547446 h 2321169"/>
              <a:gd name="connsiteX1" fmla="*/ 1026942 w 11071274"/>
              <a:gd name="connsiteY1" fmla="*/ 2321169 h 2321169"/>
              <a:gd name="connsiteX2" fmla="*/ 4825219 w 11071274"/>
              <a:gd name="connsiteY2" fmla="*/ 0 h 2321169"/>
              <a:gd name="connsiteX3" fmla="*/ 6935373 w 11071274"/>
              <a:gd name="connsiteY3" fmla="*/ 1505243 h 2321169"/>
              <a:gd name="connsiteX4" fmla="*/ 9214339 w 11071274"/>
              <a:gd name="connsiteY4" fmla="*/ 422031 h 2321169"/>
              <a:gd name="connsiteX5" fmla="*/ 11029071 w 11071274"/>
              <a:gd name="connsiteY5" fmla="*/ 1603717 h 2321169"/>
              <a:gd name="connsiteX6" fmla="*/ 11029071 w 11071274"/>
              <a:gd name="connsiteY6" fmla="*/ 1589649 h 2321169"/>
              <a:gd name="connsiteX7" fmla="*/ 11071274 w 11071274"/>
              <a:gd name="connsiteY7" fmla="*/ 1617785 h 2321169"/>
              <a:gd name="connsiteX0" fmla="*/ 0 w 12323299"/>
              <a:gd name="connsiteY0" fmla="*/ 1547446 h 2321169"/>
              <a:gd name="connsiteX1" fmla="*/ 1026942 w 12323299"/>
              <a:gd name="connsiteY1" fmla="*/ 2321169 h 2321169"/>
              <a:gd name="connsiteX2" fmla="*/ 4825219 w 12323299"/>
              <a:gd name="connsiteY2" fmla="*/ 0 h 2321169"/>
              <a:gd name="connsiteX3" fmla="*/ 6935373 w 12323299"/>
              <a:gd name="connsiteY3" fmla="*/ 1505243 h 2321169"/>
              <a:gd name="connsiteX4" fmla="*/ 9214339 w 12323299"/>
              <a:gd name="connsiteY4" fmla="*/ 422031 h 2321169"/>
              <a:gd name="connsiteX5" fmla="*/ 11029071 w 12323299"/>
              <a:gd name="connsiteY5" fmla="*/ 1603717 h 2321169"/>
              <a:gd name="connsiteX6" fmla="*/ 11029071 w 12323299"/>
              <a:gd name="connsiteY6" fmla="*/ 1589649 h 2321169"/>
              <a:gd name="connsiteX7" fmla="*/ 12323299 w 12323299"/>
              <a:gd name="connsiteY7" fmla="*/ 731520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2329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36105" y="1591994"/>
                  <a:pt x="12314507" y="725658"/>
                  <a:pt x="12323299" y="731520"/>
                </a:cubicBezTo>
              </a:path>
            </a:pathLst>
          </a:custGeom>
          <a:noFill/>
          <a:ln>
            <a:solidFill>
              <a:schemeClr val="bg1">
                <a:lumMod val="95000"/>
              </a:schemeClr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8ED9307-D43E-4E8D-BE20-7160BD35E43F}"/>
              </a:ext>
            </a:extLst>
          </p:cNvPr>
          <p:cNvSpPr/>
          <p:nvPr/>
        </p:nvSpPr>
        <p:spPr>
          <a:xfrm>
            <a:off x="-14069" y="2990000"/>
            <a:ext cx="122951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15004 w 11029071"/>
              <a:gd name="connsiteY7" fmla="*/ 1617785 h 2321169"/>
              <a:gd name="connsiteX0" fmla="*/ 0 w 12295169"/>
              <a:gd name="connsiteY0" fmla="*/ 1547446 h 2321169"/>
              <a:gd name="connsiteX1" fmla="*/ 1026942 w 12295169"/>
              <a:gd name="connsiteY1" fmla="*/ 2321169 h 2321169"/>
              <a:gd name="connsiteX2" fmla="*/ 4825219 w 12295169"/>
              <a:gd name="connsiteY2" fmla="*/ 0 h 2321169"/>
              <a:gd name="connsiteX3" fmla="*/ 6935373 w 12295169"/>
              <a:gd name="connsiteY3" fmla="*/ 1505243 h 2321169"/>
              <a:gd name="connsiteX4" fmla="*/ 9214339 w 12295169"/>
              <a:gd name="connsiteY4" fmla="*/ 422031 h 2321169"/>
              <a:gd name="connsiteX5" fmla="*/ 11029071 w 12295169"/>
              <a:gd name="connsiteY5" fmla="*/ 1603717 h 2321169"/>
              <a:gd name="connsiteX6" fmla="*/ 11029071 w 12295169"/>
              <a:gd name="connsiteY6" fmla="*/ 1589649 h 2321169"/>
              <a:gd name="connsiteX7" fmla="*/ 12295164 w 12295169"/>
              <a:gd name="connsiteY7" fmla="*/ 703385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951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6727" y="1591994"/>
                  <a:pt x="12298095" y="697523"/>
                  <a:pt x="12295164" y="703385"/>
                </a:cubicBezTo>
              </a:path>
            </a:pathLst>
          </a:custGeom>
          <a:noFill/>
          <a:ln>
            <a:solidFill>
              <a:schemeClr val="bg1">
                <a:alpha val="5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A57841C-05ED-414C-B831-058A13491405}"/>
              </a:ext>
            </a:extLst>
          </p:cNvPr>
          <p:cNvSpPr/>
          <p:nvPr/>
        </p:nvSpPr>
        <p:spPr>
          <a:xfrm>
            <a:off x="-77643" y="2060376"/>
            <a:ext cx="123024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22308 w 11029071"/>
              <a:gd name="connsiteY7" fmla="*/ 1604874 h 2321169"/>
              <a:gd name="connsiteX0" fmla="*/ 0 w 12302469"/>
              <a:gd name="connsiteY0" fmla="*/ 1547446 h 2321169"/>
              <a:gd name="connsiteX1" fmla="*/ 1026942 w 12302469"/>
              <a:gd name="connsiteY1" fmla="*/ 2321169 h 2321169"/>
              <a:gd name="connsiteX2" fmla="*/ 4825219 w 12302469"/>
              <a:gd name="connsiteY2" fmla="*/ 0 h 2321169"/>
              <a:gd name="connsiteX3" fmla="*/ 6935373 w 12302469"/>
              <a:gd name="connsiteY3" fmla="*/ 1505243 h 2321169"/>
              <a:gd name="connsiteX4" fmla="*/ 9214339 w 12302469"/>
              <a:gd name="connsiteY4" fmla="*/ 422031 h 2321169"/>
              <a:gd name="connsiteX5" fmla="*/ 11029071 w 12302469"/>
              <a:gd name="connsiteY5" fmla="*/ 1603717 h 2321169"/>
              <a:gd name="connsiteX6" fmla="*/ 11029071 w 12302469"/>
              <a:gd name="connsiteY6" fmla="*/ 1589649 h 2321169"/>
              <a:gd name="connsiteX7" fmla="*/ 12302468 w 12302469"/>
              <a:gd name="connsiteY7" fmla="*/ 648271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024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7944" y="1589842"/>
                  <a:pt x="12303877" y="645099"/>
                  <a:pt x="12302468" y="648271"/>
                </a:cubicBezTo>
              </a:path>
            </a:pathLst>
          </a:custGeom>
          <a:noFill/>
          <a:ln>
            <a:solidFill>
              <a:schemeClr val="bg1">
                <a:alpha val="5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51D23F8-31EB-42CA-955A-5448B953664E}"/>
              </a:ext>
            </a:extLst>
          </p:cNvPr>
          <p:cNvSpPr/>
          <p:nvPr/>
        </p:nvSpPr>
        <p:spPr>
          <a:xfrm rot="209413">
            <a:off x="3702147" y="2019325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CA715F9-7BD1-4D57-9DE7-F39213E921C1}"/>
              </a:ext>
            </a:extLst>
          </p:cNvPr>
          <p:cNvSpPr/>
          <p:nvPr/>
        </p:nvSpPr>
        <p:spPr>
          <a:xfrm rot="209413">
            <a:off x="3814688" y="1543326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C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6747925-92E7-4027-98EE-1A84FA0A4CC6}"/>
              </a:ext>
            </a:extLst>
          </p:cNvPr>
          <p:cNvSpPr/>
          <p:nvPr/>
        </p:nvSpPr>
        <p:spPr>
          <a:xfrm rot="209413">
            <a:off x="883786" y="3482367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B3F9EEF-AB03-4252-90CD-19BF30363B28}"/>
              </a:ext>
            </a:extLst>
          </p:cNvPr>
          <p:cNvSpPr/>
          <p:nvPr/>
        </p:nvSpPr>
        <p:spPr>
          <a:xfrm rot="209413">
            <a:off x="991682" y="3167064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834ECF7-7C55-4648-A579-92AB6E413225}"/>
              </a:ext>
            </a:extLst>
          </p:cNvPr>
          <p:cNvSpPr/>
          <p:nvPr/>
        </p:nvSpPr>
        <p:spPr>
          <a:xfrm rot="209413">
            <a:off x="5950628" y="3441604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CD3E479-CFEE-4B13-B101-A1632648B31C}"/>
              </a:ext>
            </a:extLst>
          </p:cNvPr>
          <p:cNvSpPr/>
          <p:nvPr/>
        </p:nvSpPr>
        <p:spPr>
          <a:xfrm rot="209413">
            <a:off x="6020969" y="3158820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00B0F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18B5160-B79E-4510-A199-074924A58A87}"/>
              </a:ext>
            </a:extLst>
          </p:cNvPr>
          <p:cNvSpPr/>
          <p:nvPr/>
        </p:nvSpPr>
        <p:spPr>
          <a:xfrm rot="209413">
            <a:off x="8730989" y="2241978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03C5B39-5C69-4156-99C8-61B030BA0AC8}"/>
              </a:ext>
            </a:extLst>
          </p:cNvPr>
          <p:cNvSpPr/>
          <p:nvPr/>
        </p:nvSpPr>
        <p:spPr>
          <a:xfrm rot="209413">
            <a:off x="8719663" y="1706959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0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9F6CD49-F839-4031-B8AB-A0A0428D73CD}"/>
              </a:ext>
            </a:extLst>
          </p:cNvPr>
          <p:cNvSpPr/>
          <p:nvPr/>
        </p:nvSpPr>
        <p:spPr>
          <a:xfrm rot="209413">
            <a:off x="9950367" y="4127191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B32FB03-8F78-4B2D-AC19-5D66D3DF723F}"/>
              </a:ext>
            </a:extLst>
          </p:cNvPr>
          <p:cNvSpPr/>
          <p:nvPr/>
        </p:nvSpPr>
        <p:spPr>
          <a:xfrm rot="209413">
            <a:off x="10020707" y="3722671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1B23954-4346-4F5E-8B63-A018EE5CED99}"/>
              </a:ext>
            </a:extLst>
          </p:cNvPr>
          <p:cNvSpPr/>
          <p:nvPr/>
        </p:nvSpPr>
        <p:spPr>
          <a:xfrm>
            <a:off x="2963502" y="333465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AD701F6-1A5F-4E2E-B854-32BD2F5023A3}"/>
              </a:ext>
            </a:extLst>
          </p:cNvPr>
          <p:cNvSpPr/>
          <p:nvPr/>
        </p:nvSpPr>
        <p:spPr>
          <a:xfrm>
            <a:off x="3104368" y="324321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787FE7B-66AB-4B0D-A9A4-F99C570DDED7}"/>
              </a:ext>
            </a:extLst>
          </p:cNvPr>
          <p:cNvSpPr/>
          <p:nvPr/>
        </p:nvSpPr>
        <p:spPr>
          <a:xfrm>
            <a:off x="3245234" y="315177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A61F31C-E3AA-40A7-82F7-4C5E1A07603D}"/>
              </a:ext>
            </a:extLst>
          </p:cNvPr>
          <p:cNvSpPr/>
          <p:nvPr/>
        </p:nvSpPr>
        <p:spPr>
          <a:xfrm>
            <a:off x="5857321" y="3069113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F023268-6988-43AA-94F3-79E93FCD986F}"/>
              </a:ext>
            </a:extLst>
          </p:cNvPr>
          <p:cNvSpPr/>
          <p:nvPr/>
        </p:nvSpPr>
        <p:spPr>
          <a:xfrm>
            <a:off x="5982151" y="3184514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6F94313-D5E7-4237-B323-1DA720698777}"/>
              </a:ext>
            </a:extLst>
          </p:cNvPr>
          <p:cNvSpPr/>
          <p:nvPr/>
        </p:nvSpPr>
        <p:spPr>
          <a:xfrm>
            <a:off x="6118321" y="3289536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9224E29-D25C-43AE-B932-57E846969B26}"/>
              </a:ext>
            </a:extLst>
          </p:cNvPr>
          <p:cNvSpPr/>
          <p:nvPr/>
        </p:nvSpPr>
        <p:spPr>
          <a:xfrm>
            <a:off x="7706884" y="3370743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F44AB35-A4EA-429C-A0DB-DD6C9A87BD26}"/>
              </a:ext>
            </a:extLst>
          </p:cNvPr>
          <p:cNvSpPr/>
          <p:nvPr/>
        </p:nvSpPr>
        <p:spPr>
          <a:xfrm>
            <a:off x="7872086" y="328893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0323F1E-68EB-4F19-84D7-93141FD8A8EE}"/>
              </a:ext>
            </a:extLst>
          </p:cNvPr>
          <p:cNvSpPr/>
          <p:nvPr/>
        </p:nvSpPr>
        <p:spPr>
          <a:xfrm>
            <a:off x="8020963" y="319749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62E8352-40FE-4CD1-9953-15260CDD312A}"/>
              </a:ext>
            </a:extLst>
          </p:cNvPr>
          <p:cNvSpPr/>
          <p:nvPr/>
        </p:nvSpPr>
        <p:spPr>
          <a:xfrm>
            <a:off x="10406758" y="3543989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807B40D-678E-4824-BBC4-B05E05A942DB}"/>
              </a:ext>
            </a:extLst>
          </p:cNvPr>
          <p:cNvSpPr/>
          <p:nvPr/>
        </p:nvSpPr>
        <p:spPr>
          <a:xfrm>
            <a:off x="10564523" y="366819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ACE9240-5BD2-4FEB-9B2C-D24494B916F4}"/>
              </a:ext>
            </a:extLst>
          </p:cNvPr>
          <p:cNvSpPr/>
          <p:nvPr/>
        </p:nvSpPr>
        <p:spPr>
          <a:xfrm>
            <a:off x="10728714" y="377258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BD356D73-B8DD-4586-834D-848670F3A0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3597" y="1452015"/>
            <a:ext cx="951058" cy="1013472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9C85DFA1-C240-4D49-83C1-7F2685F79430}"/>
              </a:ext>
            </a:extLst>
          </p:cNvPr>
          <p:cNvSpPr txBox="1"/>
          <p:nvPr/>
        </p:nvSpPr>
        <p:spPr>
          <a:xfrm>
            <a:off x="110410" y="439411"/>
            <a:ext cx="39982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spc="-150" dirty="0">
                <a:solidFill>
                  <a:schemeClr val="tx1"/>
                </a:solidFill>
                <a:latin typeface="+mn-lt"/>
              </a:rPr>
              <a:t>What do we see in start-ups?</a:t>
            </a:r>
          </a:p>
        </p:txBody>
      </p:sp>
      <p:pic>
        <p:nvPicPr>
          <p:cNvPr id="79" name="Picture 53">
            <a:extLst>
              <a:ext uri="{FF2B5EF4-FFF2-40B4-BE49-F238E27FC236}">
                <a16:creationId xmlns:a16="http://schemas.microsoft.com/office/drawing/2014/main" id="{6A3F9748-95D0-4FDC-8084-874F6C1B44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3563" y="1897859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0" name="Picture 58">
            <a:extLst>
              <a:ext uri="{FF2B5EF4-FFF2-40B4-BE49-F238E27FC236}">
                <a16:creationId xmlns:a16="http://schemas.microsoft.com/office/drawing/2014/main" id="{9928068E-0EE7-416A-AC33-ECF8607B8F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5227" y="1810008"/>
            <a:ext cx="951058" cy="1013472"/>
          </a:xfrm>
          <a:prstGeom prst="rect">
            <a:avLst/>
          </a:prstGeom>
        </p:spPr>
      </p:pic>
      <p:pic>
        <p:nvPicPr>
          <p:cNvPr id="82" name="Picture 53">
            <a:extLst>
              <a:ext uri="{FF2B5EF4-FFF2-40B4-BE49-F238E27FC236}">
                <a16:creationId xmlns:a16="http://schemas.microsoft.com/office/drawing/2014/main" id="{94D1F496-EB81-4F2A-801C-24427A17F8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5301" y="329372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7" name="Picture 53">
            <a:extLst>
              <a:ext uri="{FF2B5EF4-FFF2-40B4-BE49-F238E27FC236}">
                <a16:creationId xmlns:a16="http://schemas.microsoft.com/office/drawing/2014/main" id="{5E5E7257-C0E4-4621-BD69-50F74CF53B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26063" y="176263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8" name="Picture 53">
            <a:extLst>
              <a:ext uri="{FF2B5EF4-FFF2-40B4-BE49-F238E27FC236}">
                <a16:creationId xmlns:a16="http://schemas.microsoft.com/office/drawing/2014/main" id="{BE9A7A3C-118E-4FC0-ABC6-904BBE2F52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63250" y="1785245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9" name="Picture 53">
            <a:extLst>
              <a:ext uri="{FF2B5EF4-FFF2-40B4-BE49-F238E27FC236}">
                <a16:creationId xmlns:a16="http://schemas.microsoft.com/office/drawing/2014/main" id="{73B07F74-E653-40AB-85DE-80F1DC591C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6228" y="3247474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91" name="Picture 58">
            <a:extLst>
              <a:ext uri="{FF2B5EF4-FFF2-40B4-BE49-F238E27FC236}">
                <a16:creationId xmlns:a16="http://schemas.microsoft.com/office/drawing/2014/main" id="{A720967E-58CC-4503-B403-5D08F0D14B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3929" y="3257749"/>
            <a:ext cx="951058" cy="1013472"/>
          </a:xfrm>
          <a:prstGeom prst="rect">
            <a:avLst/>
          </a:prstGeom>
        </p:spPr>
      </p:pic>
      <p:sp>
        <p:nvSpPr>
          <p:cNvPr id="92" name="TextBox 65">
            <a:extLst>
              <a:ext uri="{FF2B5EF4-FFF2-40B4-BE49-F238E27FC236}">
                <a16:creationId xmlns:a16="http://schemas.microsoft.com/office/drawing/2014/main" id="{DEED63C7-4110-4676-88D2-9DD75C8D6254}"/>
              </a:ext>
            </a:extLst>
          </p:cNvPr>
          <p:cNvSpPr txBox="1"/>
          <p:nvPr/>
        </p:nvSpPr>
        <p:spPr>
          <a:xfrm>
            <a:off x="209688" y="6303005"/>
            <a:ext cx="1406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tart-up</a:t>
            </a:r>
          </a:p>
        </p:txBody>
      </p:sp>
      <p:sp>
        <p:nvSpPr>
          <p:cNvPr id="93" name="TextBox 65">
            <a:extLst>
              <a:ext uri="{FF2B5EF4-FFF2-40B4-BE49-F238E27FC236}">
                <a16:creationId xmlns:a16="http://schemas.microsoft.com/office/drawing/2014/main" id="{8FC69C91-8DDE-4E2A-83B8-70DBB7B7DF52}"/>
              </a:ext>
            </a:extLst>
          </p:cNvPr>
          <p:cNvSpPr txBox="1"/>
          <p:nvPr/>
        </p:nvSpPr>
        <p:spPr>
          <a:xfrm>
            <a:off x="3150088" y="-45356"/>
            <a:ext cx="1406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tart-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4" name="TextBox 65">
            <a:extLst>
              <a:ext uri="{FF2B5EF4-FFF2-40B4-BE49-F238E27FC236}">
                <a16:creationId xmlns:a16="http://schemas.microsoft.com/office/drawing/2014/main" id="{36C2BB96-4D4B-46E7-9ED9-12F44F8FAD6C}"/>
              </a:ext>
            </a:extLst>
          </p:cNvPr>
          <p:cNvSpPr txBox="1"/>
          <p:nvPr/>
        </p:nvSpPr>
        <p:spPr>
          <a:xfrm>
            <a:off x="5303392" y="6281954"/>
            <a:ext cx="1406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tart-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5" name="TextBox 65">
            <a:extLst>
              <a:ext uri="{FF2B5EF4-FFF2-40B4-BE49-F238E27FC236}">
                <a16:creationId xmlns:a16="http://schemas.microsoft.com/office/drawing/2014/main" id="{9ED5C8D1-990B-418A-9AA0-33598C093100}"/>
              </a:ext>
            </a:extLst>
          </p:cNvPr>
          <p:cNvSpPr txBox="1"/>
          <p:nvPr/>
        </p:nvSpPr>
        <p:spPr>
          <a:xfrm>
            <a:off x="8122986" y="103187"/>
            <a:ext cx="1406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tart-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6" name="TextBox 65">
            <a:extLst>
              <a:ext uri="{FF2B5EF4-FFF2-40B4-BE49-F238E27FC236}">
                <a16:creationId xmlns:a16="http://schemas.microsoft.com/office/drawing/2014/main" id="{5B6C317D-1E84-455D-ACF0-4A666AE1686A}"/>
              </a:ext>
            </a:extLst>
          </p:cNvPr>
          <p:cNvSpPr txBox="1"/>
          <p:nvPr/>
        </p:nvSpPr>
        <p:spPr>
          <a:xfrm>
            <a:off x="9309074" y="6301809"/>
            <a:ext cx="1406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tart-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0" name="TextBox 19">
            <a:extLst>
              <a:ext uri="{FF2B5EF4-FFF2-40B4-BE49-F238E27FC236}">
                <a16:creationId xmlns:a16="http://schemas.microsoft.com/office/drawing/2014/main" id="{6651C1AE-2D30-41CE-8522-8C196FC31A9B}"/>
              </a:ext>
            </a:extLst>
          </p:cNvPr>
          <p:cNvSpPr txBox="1"/>
          <p:nvPr/>
        </p:nvSpPr>
        <p:spPr>
          <a:xfrm rot="21310378">
            <a:off x="5720844" y="643301"/>
            <a:ext cx="3200183" cy="1831271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600" b="1" dirty="0"/>
              <a:t>European Startup Monitor report:</a:t>
            </a: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78%</a:t>
            </a:r>
            <a:r>
              <a:rPr lang="en-US" sz="1200" dirty="0"/>
              <a:t> of start-ups are </a:t>
            </a:r>
            <a:r>
              <a:rPr lang="en-US" sz="1200" b="1" dirty="0"/>
              <a:t>founded</a:t>
            </a:r>
            <a:r>
              <a:rPr lang="en-US" sz="1200" dirty="0"/>
              <a:t> by </a:t>
            </a:r>
            <a:r>
              <a:rPr lang="en-US" sz="1200" b="1" dirty="0"/>
              <a:t>multiple individuals</a:t>
            </a:r>
            <a:r>
              <a:rPr lang="en-US" sz="1200" dirty="0"/>
              <a:t>, with </a:t>
            </a:r>
            <a:r>
              <a:rPr lang="en-US" sz="1200" b="1" dirty="0"/>
              <a:t>35%</a:t>
            </a:r>
            <a:r>
              <a:rPr lang="en-US" sz="1200" dirty="0"/>
              <a:t> being </a:t>
            </a:r>
            <a:r>
              <a:rPr lang="en-US" sz="1200" b="1" dirty="0"/>
              <a:t>initiated by 2 co-founders</a:t>
            </a:r>
            <a:br>
              <a:rPr lang="en-US" sz="1200" b="1" dirty="0"/>
            </a:br>
            <a:endParaRPr lang="en-US" sz="12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Selecting the right co-founder </a:t>
            </a:r>
            <a:r>
              <a:rPr lang="en-US" sz="1200" dirty="0"/>
              <a:t>was the </a:t>
            </a:r>
            <a:r>
              <a:rPr lang="en-US" sz="1200" b="1" dirty="0"/>
              <a:t>most critical factor </a:t>
            </a:r>
            <a:r>
              <a:rPr lang="en-US" sz="1200" dirty="0"/>
              <a:t>for start-up success</a:t>
            </a:r>
          </a:p>
          <a:p>
            <a:endParaRPr lang="en-US" sz="900" dirty="0"/>
          </a:p>
        </p:txBody>
      </p:sp>
      <p:sp>
        <p:nvSpPr>
          <p:cNvPr id="132" name="Rectangle 21">
            <a:extLst>
              <a:ext uri="{FF2B5EF4-FFF2-40B4-BE49-F238E27FC236}">
                <a16:creationId xmlns:a16="http://schemas.microsoft.com/office/drawing/2014/main" id="{BC309A38-C5AC-43BC-8E2B-A4B03E50A2CA}"/>
              </a:ext>
            </a:extLst>
          </p:cNvPr>
          <p:cNvSpPr/>
          <p:nvPr/>
        </p:nvSpPr>
        <p:spPr>
          <a:xfrm rot="21324663">
            <a:off x="6463277" y="432603"/>
            <a:ext cx="881230" cy="318225"/>
          </a:xfrm>
          <a:custGeom>
            <a:avLst/>
            <a:gdLst>
              <a:gd name="connsiteX0" fmla="*/ 0 w 1152128"/>
              <a:gd name="connsiteY0" fmla="*/ 0 h 242604"/>
              <a:gd name="connsiteX1" fmla="*/ 1152128 w 1152128"/>
              <a:gd name="connsiteY1" fmla="*/ 0 h 242604"/>
              <a:gd name="connsiteX2" fmla="*/ 1152128 w 1152128"/>
              <a:gd name="connsiteY2" fmla="*/ 242604 h 242604"/>
              <a:gd name="connsiteX3" fmla="*/ 0 w 1152128"/>
              <a:gd name="connsiteY3" fmla="*/ 242604 h 242604"/>
              <a:gd name="connsiteX4" fmla="*/ 0 w 1152128"/>
              <a:gd name="connsiteY4" fmla="*/ 0 h 242604"/>
              <a:gd name="connsiteX0" fmla="*/ 1637 w 1153765"/>
              <a:gd name="connsiteY0" fmla="*/ 0 h 242604"/>
              <a:gd name="connsiteX1" fmla="*/ 1153765 w 1153765"/>
              <a:gd name="connsiteY1" fmla="*/ 0 h 242604"/>
              <a:gd name="connsiteX2" fmla="*/ 1153765 w 1153765"/>
              <a:gd name="connsiteY2" fmla="*/ 242604 h 242604"/>
              <a:gd name="connsiteX3" fmla="*/ 1637 w 1153765"/>
              <a:gd name="connsiteY3" fmla="*/ 242604 h 242604"/>
              <a:gd name="connsiteX4" fmla="*/ 0 w 1153765"/>
              <a:gd name="connsiteY4" fmla="*/ 57657 h 242604"/>
              <a:gd name="connsiteX5" fmla="*/ 1637 w 1153765"/>
              <a:gd name="connsiteY5" fmla="*/ 0 h 242604"/>
              <a:gd name="connsiteX0" fmla="*/ 85266 w 1237394"/>
              <a:gd name="connsiteY0" fmla="*/ 0 h 242604"/>
              <a:gd name="connsiteX1" fmla="*/ 1237394 w 1237394"/>
              <a:gd name="connsiteY1" fmla="*/ 0 h 242604"/>
              <a:gd name="connsiteX2" fmla="*/ 1237394 w 1237394"/>
              <a:gd name="connsiteY2" fmla="*/ 242604 h 242604"/>
              <a:gd name="connsiteX3" fmla="*/ 85266 w 1237394"/>
              <a:gd name="connsiteY3" fmla="*/ 242604 h 242604"/>
              <a:gd name="connsiteX4" fmla="*/ 85314 w 1237394"/>
              <a:gd name="connsiteY4" fmla="*/ 96385 h 242604"/>
              <a:gd name="connsiteX5" fmla="*/ 83629 w 1237394"/>
              <a:gd name="connsiteY5" fmla="*/ 57657 h 242604"/>
              <a:gd name="connsiteX6" fmla="*/ 85266 w 1237394"/>
              <a:gd name="connsiteY6" fmla="*/ 0 h 242604"/>
              <a:gd name="connsiteX0" fmla="*/ 105071 w 1257199"/>
              <a:gd name="connsiteY0" fmla="*/ 0 h 242604"/>
              <a:gd name="connsiteX1" fmla="*/ 1257199 w 1257199"/>
              <a:gd name="connsiteY1" fmla="*/ 0 h 242604"/>
              <a:gd name="connsiteX2" fmla="*/ 1257199 w 1257199"/>
              <a:gd name="connsiteY2" fmla="*/ 242604 h 242604"/>
              <a:gd name="connsiteX3" fmla="*/ 105071 w 1257199"/>
              <a:gd name="connsiteY3" fmla="*/ 242604 h 242604"/>
              <a:gd name="connsiteX4" fmla="*/ 52921 w 1257199"/>
              <a:gd name="connsiteY4" fmla="*/ 155317 h 242604"/>
              <a:gd name="connsiteX5" fmla="*/ 105119 w 1257199"/>
              <a:gd name="connsiteY5" fmla="*/ 96385 h 242604"/>
              <a:gd name="connsiteX6" fmla="*/ 103434 w 1257199"/>
              <a:gd name="connsiteY6" fmla="*/ 57657 h 242604"/>
              <a:gd name="connsiteX7" fmla="*/ 105071 w 1257199"/>
              <a:gd name="connsiteY7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22233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90242 w 1275998"/>
              <a:gd name="connsiteY5" fmla="*/ 150265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5998 w 1277318"/>
              <a:gd name="connsiteY3" fmla="*/ 242604 h 242604"/>
              <a:gd name="connsiteX4" fmla="*/ 123870 w 1277318"/>
              <a:gd name="connsiteY4" fmla="*/ 242604 h 242604"/>
              <a:gd name="connsiteX5" fmla="*/ 26256 w 1277318"/>
              <a:gd name="connsiteY5" fmla="*/ 197412 h 242604"/>
              <a:gd name="connsiteX6" fmla="*/ 90242 w 1277318"/>
              <a:gd name="connsiteY6" fmla="*/ 150265 h 242604"/>
              <a:gd name="connsiteX7" fmla="*/ 123918 w 1277318"/>
              <a:gd name="connsiteY7" fmla="*/ 96385 h 242604"/>
              <a:gd name="connsiteX8" fmla="*/ 199688 w 1277318"/>
              <a:gd name="connsiteY8" fmla="*/ 57657 h 242604"/>
              <a:gd name="connsiteX9" fmla="*/ 123870 w 1277318"/>
              <a:gd name="connsiteY9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8 w 1277318"/>
              <a:gd name="connsiteY3" fmla="*/ 175523 h 242604"/>
              <a:gd name="connsiteX4" fmla="*/ 1275998 w 1277318"/>
              <a:gd name="connsiteY4" fmla="*/ 242604 h 242604"/>
              <a:gd name="connsiteX5" fmla="*/ 123870 w 1277318"/>
              <a:gd name="connsiteY5" fmla="*/ 242604 h 242604"/>
              <a:gd name="connsiteX6" fmla="*/ 26256 w 1277318"/>
              <a:gd name="connsiteY6" fmla="*/ 197412 h 242604"/>
              <a:gd name="connsiteX7" fmla="*/ 90242 w 1277318"/>
              <a:gd name="connsiteY7" fmla="*/ 150265 h 242604"/>
              <a:gd name="connsiteX8" fmla="*/ 123918 w 1277318"/>
              <a:gd name="connsiteY8" fmla="*/ 96385 h 242604"/>
              <a:gd name="connsiteX9" fmla="*/ 199688 w 1277318"/>
              <a:gd name="connsiteY9" fmla="*/ 57657 h 242604"/>
              <a:gd name="connsiteX10" fmla="*/ 123870 w 1277318"/>
              <a:gd name="connsiteY10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48694 w 1277318"/>
              <a:gd name="connsiteY2" fmla="*/ 42503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95839"/>
              <a:gd name="connsiteY0" fmla="*/ 0 h 242604"/>
              <a:gd name="connsiteX1" fmla="*/ 1275998 w 1295839"/>
              <a:gd name="connsiteY1" fmla="*/ 0 h 242604"/>
              <a:gd name="connsiteX2" fmla="*/ 1248694 w 1295839"/>
              <a:gd name="connsiteY2" fmla="*/ 42503 h 242604"/>
              <a:gd name="connsiteX3" fmla="*/ 1295839 w 1295839"/>
              <a:gd name="connsiteY3" fmla="*/ 89650 h 242604"/>
              <a:gd name="connsiteX4" fmla="*/ 1277318 w 1295839"/>
              <a:gd name="connsiteY4" fmla="*/ 175523 h 242604"/>
              <a:gd name="connsiteX5" fmla="*/ 1275998 w 1295839"/>
              <a:gd name="connsiteY5" fmla="*/ 242604 h 242604"/>
              <a:gd name="connsiteX6" fmla="*/ 123870 w 1295839"/>
              <a:gd name="connsiteY6" fmla="*/ 242604 h 242604"/>
              <a:gd name="connsiteX7" fmla="*/ 26256 w 1295839"/>
              <a:gd name="connsiteY7" fmla="*/ 197412 h 242604"/>
              <a:gd name="connsiteX8" fmla="*/ 90242 w 1295839"/>
              <a:gd name="connsiteY8" fmla="*/ 150265 h 242604"/>
              <a:gd name="connsiteX9" fmla="*/ 123918 w 1295839"/>
              <a:gd name="connsiteY9" fmla="*/ 96385 h 242604"/>
              <a:gd name="connsiteX10" fmla="*/ 199688 w 1295839"/>
              <a:gd name="connsiteY10" fmla="*/ 57657 h 242604"/>
              <a:gd name="connsiteX11" fmla="*/ 123870 w 1295839"/>
              <a:gd name="connsiteY11" fmla="*/ 0 h 242604"/>
              <a:gd name="connsiteX0" fmla="*/ 123870 w 1296242"/>
              <a:gd name="connsiteY0" fmla="*/ 0 h 242604"/>
              <a:gd name="connsiteX1" fmla="*/ 1275998 w 1296242"/>
              <a:gd name="connsiteY1" fmla="*/ 0 h 242604"/>
              <a:gd name="connsiteX2" fmla="*/ 1248694 w 1296242"/>
              <a:gd name="connsiteY2" fmla="*/ 42503 h 242604"/>
              <a:gd name="connsiteX3" fmla="*/ 1295839 w 1296242"/>
              <a:gd name="connsiteY3" fmla="*/ 89650 h 242604"/>
              <a:gd name="connsiteX4" fmla="*/ 1243642 w 1296242"/>
              <a:gd name="connsiteY4" fmla="*/ 141847 h 242604"/>
              <a:gd name="connsiteX5" fmla="*/ 1277318 w 1296242"/>
              <a:gd name="connsiteY5" fmla="*/ 175523 h 242604"/>
              <a:gd name="connsiteX6" fmla="*/ 1275998 w 1296242"/>
              <a:gd name="connsiteY6" fmla="*/ 242604 h 242604"/>
              <a:gd name="connsiteX7" fmla="*/ 123870 w 1296242"/>
              <a:gd name="connsiteY7" fmla="*/ 242604 h 242604"/>
              <a:gd name="connsiteX8" fmla="*/ 26256 w 1296242"/>
              <a:gd name="connsiteY8" fmla="*/ 197412 h 242604"/>
              <a:gd name="connsiteX9" fmla="*/ 90242 w 1296242"/>
              <a:gd name="connsiteY9" fmla="*/ 150265 h 242604"/>
              <a:gd name="connsiteX10" fmla="*/ 123918 w 1296242"/>
              <a:gd name="connsiteY10" fmla="*/ 96385 h 242604"/>
              <a:gd name="connsiteX11" fmla="*/ 199688 w 1296242"/>
              <a:gd name="connsiteY11" fmla="*/ 57657 h 242604"/>
              <a:gd name="connsiteX12" fmla="*/ 123870 w 1296242"/>
              <a:gd name="connsiteY12" fmla="*/ 0 h 242604"/>
              <a:gd name="connsiteX0" fmla="*/ 123870 w 1307634"/>
              <a:gd name="connsiteY0" fmla="*/ 0 h 242604"/>
              <a:gd name="connsiteX1" fmla="*/ 1275998 w 1307634"/>
              <a:gd name="connsiteY1" fmla="*/ 0 h 242604"/>
              <a:gd name="connsiteX2" fmla="*/ 1248694 w 1307634"/>
              <a:gd name="connsiteY2" fmla="*/ 42503 h 242604"/>
              <a:gd name="connsiteX3" fmla="*/ 1295839 w 1307634"/>
              <a:gd name="connsiteY3" fmla="*/ 89650 h 242604"/>
              <a:gd name="connsiteX4" fmla="*/ 1243642 w 1307634"/>
              <a:gd name="connsiteY4" fmla="*/ 141847 h 242604"/>
              <a:gd name="connsiteX5" fmla="*/ 1277318 w 1307634"/>
              <a:gd name="connsiteY5" fmla="*/ 175523 h 242604"/>
              <a:gd name="connsiteX6" fmla="*/ 1307627 w 1307634"/>
              <a:gd name="connsiteY6" fmla="*/ 229404 h 242604"/>
              <a:gd name="connsiteX7" fmla="*/ 1275998 w 1307634"/>
              <a:gd name="connsiteY7" fmla="*/ 242604 h 242604"/>
              <a:gd name="connsiteX8" fmla="*/ 123870 w 1307634"/>
              <a:gd name="connsiteY8" fmla="*/ 242604 h 242604"/>
              <a:gd name="connsiteX9" fmla="*/ 26256 w 1307634"/>
              <a:gd name="connsiteY9" fmla="*/ 197412 h 242604"/>
              <a:gd name="connsiteX10" fmla="*/ 90242 w 1307634"/>
              <a:gd name="connsiteY10" fmla="*/ 150265 h 242604"/>
              <a:gd name="connsiteX11" fmla="*/ 123918 w 1307634"/>
              <a:gd name="connsiteY11" fmla="*/ 96385 h 242604"/>
              <a:gd name="connsiteX12" fmla="*/ 199688 w 1307634"/>
              <a:gd name="connsiteY12" fmla="*/ 57657 h 242604"/>
              <a:gd name="connsiteX13" fmla="*/ 123870 w 1307634"/>
              <a:gd name="connsiteY13" fmla="*/ 0 h 242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7634" h="242604">
                <a:moveTo>
                  <a:pt x="123870" y="0"/>
                </a:moveTo>
                <a:lnTo>
                  <a:pt x="1275998" y="0"/>
                </a:lnTo>
                <a:lnTo>
                  <a:pt x="1248694" y="42503"/>
                </a:lnTo>
                <a:cubicBezTo>
                  <a:pt x="1248694" y="59341"/>
                  <a:pt x="1295839" y="72812"/>
                  <a:pt x="1295839" y="89650"/>
                </a:cubicBezTo>
                <a:cubicBezTo>
                  <a:pt x="1301451" y="109856"/>
                  <a:pt x="1246729" y="127535"/>
                  <a:pt x="1243642" y="141847"/>
                </a:cubicBezTo>
                <a:cubicBezTo>
                  <a:pt x="1240555" y="156159"/>
                  <a:pt x="1271986" y="168507"/>
                  <a:pt x="1277318" y="175523"/>
                </a:cubicBezTo>
                <a:cubicBezTo>
                  <a:pt x="1276757" y="178329"/>
                  <a:pt x="1308188" y="226598"/>
                  <a:pt x="1307627" y="229404"/>
                </a:cubicBezTo>
                <a:lnTo>
                  <a:pt x="1275998" y="242604"/>
                </a:lnTo>
                <a:lnTo>
                  <a:pt x="123870" y="242604"/>
                </a:lnTo>
                <a:cubicBezTo>
                  <a:pt x="-84420" y="235072"/>
                  <a:pt x="34948" y="211960"/>
                  <a:pt x="26256" y="197412"/>
                </a:cubicBezTo>
                <a:cubicBezTo>
                  <a:pt x="17564" y="182864"/>
                  <a:pt x="73965" y="167103"/>
                  <a:pt x="90242" y="150265"/>
                </a:cubicBezTo>
                <a:cubicBezTo>
                  <a:pt x="106519" y="133427"/>
                  <a:pt x="115499" y="112662"/>
                  <a:pt x="123918" y="96385"/>
                </a:cubicBezTo>
                <a:cubicBezTo>
                  <a:pt x="132337" y="80108"/>
                  <a:pt x="199696" y="73721"/>
                  <a:pt x="199688" y="57657"/>
                </a:cubicBezTo>
                <a:cubicBezTo>
                  <a:pt x="200234" y="38438"/>
                  <a:pt x="123324" y="19219"/>
                  <a:pt x="123870" y="0"/>
                </a:cubicBezTo>
                <a:close/>
              </a:path>
            </a:pathLst>
          </a:custGeom>
          <a:solidFill>
            <a:srgbClr val="FFFF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3" name="TextBox 19">
            <a:extLst>
              <a:ext uri="{FF2B5EF4-FFF2-40B4-BE49-F238E27FC236}">
                <a16:creationId xmlns:a16="http://schemas.microsoft.com/office/drawing/2014/main" id="{831A3EF0-9C72-4D16-90E2-C704FB9F5E25}"/>
              </a:ext>
            </a:extLst>
          </p:cNvPr>
          <p:cNvSpPr txBox="1"/>
          <p:nvPr/>
        </p:nvSpPr>
        <p:spPr>
          <a:xfrm rot="21310378">
            <a:off x="194961" y="1224213"/>
            <a:ext cx="3555487" cy="923330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600" b="1" dirty="0"/>
              <a:t>Why are start-ups important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Start-ups</a:t>
            </a:r>
            <a:r>
              <a:rPr lang="en-US" sz="1200" dirty="0"/>
              <a:t> are </a:t>
            </a:r>
            <a:r>
              <a:rPr lang="en-US" sz="1200" b="1" dirty="0"/>
              <a:t>vital</a:t>
            </a:r>
            <a:r>
              <a:rPr lang="en-US" sz="1200" dirty="0"/>
              <a:t> to </a:t>
            </a:r>
            <a:r>
              <a:rPr lang="en-US" sz="1200" b="1" dirty="0"/>
              <a:t>technological advancements, and economic growth</a:t>
            </a:r>
            <a:r>
              <a:rPr lang="en-US" sz="1200" dirty="0"/>
              <a:t>. </a:t>
            </a:r>
          </a:p>
          <a:p>
            <a:r>
              <a:rPr lang="en-US" dirty="0"/>
              <a:t> </a:t>
            </a:r>
            <a:endParaRPr lang="en-US" sz="1000" dirty="0"/>
          </a:p>
        </p:txBody>
      </p:sp>
      <p:sp>
        <p:nvSpPr>
          <p:cNvPr id="134" name="Rectangle 21">
            <a:extLst>
              <a:ext uri="{FF2B5EF4-FFF2-40B4-BE49-F238E27FC236}">
                <a16:creationId xmlns:a16="http://schemas.microsoft.com/office/drawing/2014/main" id="{49050BAD-2D9B-4475-A6EC-5C3240979EEB}"/>
              </a:ext>
            </a:extLst>
          </p:cNvPr>
          <p:cNvSpPr/>
          <p:nvPr/>
        </p:nvSpPr>
        <p:spPr>
          <a:xfrm rot="21324663">
            <a:off x="1440273" y="982949"/>
            <a:ext cx="881230" cy="318225"/>
          </a:xfrm>
          <a:custGeom>
            <a:avLst/>
            <a:gdLst>
              <a:gd name="connsiteX0" fmla="*/ 0 w 1152128"/>
              <a:gd name="connsiteY0" fmla="*/ 0 h 242604"/>
              <a:gd name="connsiteX1" fmla="*/ 1152128 w 1152128"/>
              <a:gd name="connsiteY1" fmla="*/ 0 h 242604"/>
              <a:gd name="connsiteX2" fmla="*/ 1152128 w 1152128"/>
              <a:gd name="connsiteY2" fmla="*/ 242604 h 242604"/>
              <a:gd name="connsiteX3" fmla="*/ 0 w 1152128"/>
              <a:gd name="connsiteY3" fmla="*/ 242604 h 242604"/>
              <a:gd name="connsiteX4" fmla="*/ 0 w 1152128"/>
              <a:gd name="connsiteY4" fmla="*/ 0 h 242604"/>
              <a:gd name="connsiteX0" fmla="*/ 1637 w 1153765"/>
              <a:gd name="connsiteY0" fmla="*/ 0 h 242604"/>
              <a:gd name="connsiteX1" fmla="*/ 1153765 w 1153765"/>
              <a:gd name="connsiteY1" fmla="*/ 0 h 242604"/>
              <a:gd name="connsiteX2" fmla="*/ 1153765 w 1153765"/>
              <a:gd name="connsiteY2" fmla="*/ 242604 h 242604"/>
              <a:gd name="connsiteX3" fmla="*/ 1637 w 1153765"/>
              <a:gd name="connsiteY3" fmla="*/ 242604 h 242604"/>
              <a:gd name="connsiteX4" fmla="*/ 0 w 1153765"/>
              <a:gd name="connsiteY4" fmla="*/ 57657 h 242604"/>
              <a:gd name="connsiteX5" fmla="*/ 1637 w 1153765"/>
              <a:gd name="connsiteY5" fmla="*/ 0 h 242604"/>
              <a:gd name="connsiteX0" fmla="*/ 85266 w 1237394"/>
              <a:gd name="connsiteY0" fmla="*/ 0 h 242604"/>
              <a:gd name="connsiteX1" fmla="*/ 1237394 w 1237394"/>
              <a:gd name="connsiteY1" fmla="*/ 0 h 242604"/>
              <a:gd name="connsiteX2" fmla="*/ 1237394 w 1237394"/>
              <a:gd name="connsiteY2" fmla="*/ 242604 h 242604"/>
              <a:gd name="connsiteX3" fmla="*/ 85266 w 1237394"/>
              <a:gd name="connsiteY3" fmla="*/ 242604 h 242604"/>
              <a:gd name="connsiteX4" fmla="*/ 85314 w 1237394"/>
              <a:gd name="connsiteY4" fmla="*/ 96385 h 242604"/>
              <a:gd name="connsiteX5" fmla="*/ 83629 w 1237394"/>
              <a:gd name="connsiteY5" fmla="*/ 57657 h 242604"/>
              <a:gd name="connsiteX6" fmla="*/ 85266 w 1237394"/>
              <a:gd name="connsiteY6" fmla="*/ 0 h 242604"/>
              <a:gd name="connsiteX0" fmla="*/ 105071 w 1257199"/>
              <a:gd name="connsiteY0" fmla="*/ 0 h 242604"/>
              <a:gd name="connsiteX1" fmla="*/ 1257199 w 1257199"/>
              <a:gd name="connsiteY1" fmla="*/ 0 h 242604"/>
              <a:gd name="connsiteX2" fmla="*/ 1257199 w 1257199"/>
              <a:gd name="connsiteY2" fmla="*/ 242604 h 242604"/>
              <a:gd name="connsiteX3" fmla="*/ 105071 w 1257199"/>
              <a:gd name="connsiteY3" fmla="*/ 242604 h 242604"/>
              <a:gd name="connsiteX4" fmla="*/ 52921 w 1257199"/>
              <a:gd name="connsiteY4" fmla="*/ 155317 h 242604"/>
              <a:gd name="connsiteX5" fmla="*/ 105119 w 1257199"/>
              <a:gd name="connsiteY5" fmla="*/ 96385 h 242604"/>
              <a:gd name="connsiteX6" fmla="*/ 103434 w 1257199"/>
              <a:gd name="connsiteY6" fmla="*/ 57657 h 242604"/>
              <a:gd name="connsiteX7" fmla="*/ 105071 w 1257199"/>
              <a:gd name="connsiteY7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22233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90242 w 1275998"/>
              <a:gd name="connsiteY5" fmla="*/ 150265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5998 w 1277318"/>
              <a:gd name="connsiteY3" fmla="*/ 242604 h 242604"/>
              <a:gd name="connsiteX4" fmla="*/ 123870 w 1277318"/>
              <a:gd name="connsiteY4" fmla="*/ 242604 h 242604"/>
              <a:gd name="connsiteX5" fmla="*/ 26256 w 1277318"/>
              <a:gd name="connsiteY5" fmla="*/ 197412 h 242604"/>
              <a:gd name="connsiteX6" fmla="*/ 90242 w 1277318"/>
              <a:gd name="connsiteY6" fmla="*/ 150265 h 242604"/>
              <a:gd name="connsiteX7" fmla="*/ 123918 w 1277318"/>
              <a:gd name="connsiteY7" fmla="*/ 96385 h 242604"/>
              <a:gd name="connsiteX8" fmla="*/ 199688 w 1277318"/>
              <a:gd name="connsiteY8" fmla="*/ 57657 h 242604"/>
              <a:gd name="connsiteX9" fmla="*/ 123870 w 1277318"/>
              <a:gd name="connsiteY9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8 w 1277318"/>
              <a:gd name="connsiteY3" fmla="*/ 175523 h 242604"/>
              <a:gd name="connsiteX4" fmla="*/ 1275998 w 1277318"/>
              <a:gd name="connsiteY4" fmla="*/ 242604 h 242604"/>
              <a:gd name="connsiteX5" fmla="*/ 123870 w 1277318"/>
              <a:gd name="connsiteY5" fmla="*/ 242604 h 242604"/>
              <a:gd name="connsiteX6" fmla="*/ 26256 w 1277318"/>
              <a:gd name="connsiteY6" fmla="*/ 197412 h 242604"/>
              <a:gd name="connsiteX7" fmla="*/ 90242 w 1277318"/>
              <a:gd name="connsiteY7" fmla="*/ 150265 h 242604"/>
              <a:gd name="connsiteX8" fmla="*/ 123918 w 1277318"/>
              <a:gd name="connsiteY8" fmla="*/ 96385 h 242604"/>
              <a:gd name="connsiteX9" fmla="*/ 199688 w 1277318"/>
              <a:gd name="connsiteY9" fmla="*/ 57657 h 242604"/>
              <a:gd name="connsiteX10" fmla="*/ 123870 w 1277318"/>
              <a:gd name="connsiteY10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48694 w 1277318"/>
              <a:gd name="connsiteY2" fmla="*/ 42503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95839"/>
              <a:gd name="connsiteY0" fmla="*/ 0 h 242604"/>
              <a:gd name="connsiteX1" fmla="*/ 1275998 w 1295839"/>
              <a:gd name="connsiteY1" fmla="*/ 0 h 242604"/>
              <a:gd name="connsiteX2" fmla="*/ 1248694 w 1295839"/>
              <a:gd name="connsiteY2" fmla="*/ 42503 h 242604"/>
              <a:gd name="connsiteX3" fmla="*/ 1295839 w 1295839"/>
              <a:gd name="connsiteY3" fmla="*/ 89650 h 242604"/>
              <a:gd name="connsiteX4" fmla="*/ 1277318 w 1295839"/>
              <a:gd name="connsiteY4" fmla="*/ 175523 h 242604"/>
              <a:gd name="connsiteX5" fmla="*/ 1275998 w 1295839"/>
              <a:gd name="connsiteY5" fmla="*/ 242604 h 242604"/>
              <a:gd name="connsiteX6" fmla="*/ 123870 w 1295839"/>
              <a:gd name="connsiteY6" fmla="*/ 242604 h 242604"/>
              <a:gd name="connsiteX7" fmla="*/ 26256 w 1295839"/>
              <a:gd name="connsiteY7" fmla="*/ 197412 h 242604"/>
              <a:gd name="connsiteX8" fmla="*/ 90242 w 1295839"/>
              <a:gd name="connsiteY8" fmla="*/ 150265 h 242604"/>
              <a:gd name="connsiteX9" fmla="*/ 123918 w 1295839"/>
              <a:gd name="connsiteY9" fmla="*/ 96385 h 242604"/>
              <a:gd name="connsiteX10" fmla="*/ 199688 w 1295839"/>
              <a:gd name="connsiteY10" fmla="*/ 57657 h 242604"/>
              <a:gd name="connsiteX11" fmla="*/ 123870 w 1295839"/>
              <a:gd name="connsiteY11" fmla="*/ 0 h 242604"/>
              <a:gd name="connsiteX0" fmla="*/ 123870 w 1296242"/>
              <a:gd name="connsiteY0" fmla="*/ 0 h 242604"/>
              <a:gd name="connsiteX1" fmla="*/ 1275998 w 1296242"/>
              <a:gd name="connsiteY1" fmla="*/ 0 h 242604"/>
              <a:gd name="connsiteX2" fmla="*/ 1248694 w 1296242"/>
              <a:gd name="connsiteY2" fmla="*/ 42503 h 242604"/>
              <a:gd name="connsiteX3" fmla="*/ 1295839 w 1296242"/>
              <a:gd name="connsiteY3" fmla="*/ 89650 h 242604"/>
              <a:gd name="connsiteX4" fmla="*/ 1243642 w 1296242"/>
              <a:gd name="connsiteY4" fmla="*/ 141847 h 242604"/>
              <a:gd name="connsiteX5" fmla="*/ 1277318 w 1296242"/>
              <a:gd name="connsiteY5" fmla="*/ 175523 h 242604"/>
              <a:gd name="connsiteX6" fmla="*/ 1275998 w 1296242"/>
              <a:gd name="connsiteY6" fmla="*/ 242604 h 242604"/>
              <a:gd name="connsiteX7" fmla="*/ 123870 w 1296242"/>
              <a:gd name="connsiteY7" fmla="*/ 242604 h 242604"/>
              <a:gd name="connsiteX8" fmla="*/ 26256 w 1296242"/>
              <a:gd name="connsiteY8" fmla="*/ 197412 h 242604"/>
              <a:gd name="connsiteX9" fmla="*/ 90242 w 1296242"/>
              <a:gd name="connsiteY9" fmla="*/ 150265 h 242604"/>
              <a:gd name="connsiteX10" fmla="*/ 123918 w 1296242"/>
              <a:gd name="connsiteY10" fmla="*/ 96385 h 242604"/>
              <a:gd name="connsiteX11" fmla="*/ 199688 w 1296242"/>
              <a:gd name="connsiteY11" fmla="*/ 57657 h 242604"/>
              <a:gd name="connsiteX12" fmla="*/ 123870 w 1296242"/>
              <a:gd name="connsiteY12" fmla="*/ 0 h 242604"/>
              <a:gd name="connsiteX0" fmla="*/ 123870 w 1307634"/>
              <a:gd name="connsiteY0" fmla="*/ 0 h 242604"/>
              <a:gd name="connsiteX1" fmla="*/ 1275998 w 1307634"/>
              <a:gd name="connsiteY1" fmla="*/ 0 h 242604"/>
              <a:gd name="connsiteX2" fmla="*/ 1248694 w 1307634"/>
              <a:gd name="connsiteY2" fmla="*/ 42503 h 242604"/>
              <a:gd name="connsiteX3" fmla="*/ 1295839 w 1307634"/>
              <a:gd name="connsiteY3" fmla="*/ 89650 h 242604"/>
              <a:gd name="connsiteX4" fmla="*/ 1243642 w 1307634"/>
              <a:gd name="connsiteY4" fmla="*/ 141847 h 242604"/>
              <a:gd name="connsiteX5" fmla="*/ 1277318 w 1307634"/>
              <a:gd name="connsiteY5" fmla="*/ 175523 h 242604"/>
              <a:gd name="connsiteX6" fmla="*/ 1307627 w 1307634"/>
              <a:gd name="connsiteY6" fmla="*/ 229404 h 242604"/>
              <a:gd name="connsiteX7" fmla="*/ 1275998 w 1307634"/>
              <a:gd name="connsiteY7" fmla="*/ 242604 h 242604"/>
              <a:gd name="connsiteX8" fmla="*/ 123870 w 1307634"/>
              <a:gd name="connsiteY8" fmla="*/ 242604 h 242604"/>
              <a:gd name="connsiteX9" fmla="*/ 26256 w 1307634"/>
              <a:gd name="connsiteY9" fmla="*/ 197412 h 242604"/>
              <a:gd name="connsiteX10" fmla="*/ 90242 w 1307634"/>
              <a:gd name="connsiteY10" fmla="*/ 150265 h 242604"/>
              <a:gd name="connsiteX11" fmla="*/ 123918 w 1307634"/>
              <a:gd name="connsiteY11" fmla="*/ 96385 h 242604"/>
              <a:gd name="connsiteX12" fmla="*/ 199688 w 1307634"/>
              <a:gd name="connsiteY12" fmla="*/ 57657 h 242604"/>
              <a:gd name="connsiteX13" fmla="*/ 123870 w 1307634"/>
              <a:gd name="connsiteY13" fmla="*/ 0 h 242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7634" h="242604">
                <a:moveTo>
                  <a:pt x="123870" y="0"/>
                </a:moveTo>
                <a:lnTo>
                  <a:pt x="1275998" y="0"/>
                </a:lnTo>
                <a:lnTo>
                  <a:pt x="1248694" y="42503"/>
                </a:lnTo>
                <a:cubicBezTo>
                  <a:pt x="1248694" y="59341"/>
                  <a:pt x="1295839" y="72812"/>
                  <a:pt x="1295839" y="89650"/>
                </a:cubicBezTo>
                <a:cubicBezTo>
                  <a:pt x="1301451" y="109856"/>
                  <a:pt x="1246729" y="127535"/>
                  <a:pt x="1243642" y="141847"/>
                </a:cubicBezTo>
                <a:cubicBezTo>
                  <a:pt x="1240555" y="156159"/>
                  <a:pt x="1271986" y="168507"/>
                  <a:pt x="1277318" y="175523"/>
                </a:cubicBezTo>
                <a:cubicBezTo>
                  <a:pt x="1276757" y="178329"/>
                  <a:pt x="1308188" y="226598"/>
                  <a:pt x="1307627" y="229404"/>
                </a:cubicBezTo>
                <a:lnTo>
                  <a:pt x="1275998" y="242604"/>
                </a:lnTo>
                <a:lnTo>
                  <a:pt x="123870" y="242604"/>
                </a:lnTo>
                <a:cubicBezTo>
                  <a:pt x="-84420" y="235072"/>
                  <a:pt x="34948" y="211960"/>
                  <a:pt x="26256" y="197412"/>
                </a:cubicBezTo>
                <a:cubicBezTo>
                  <a:pt x="17564" y="182864"/>
                  <a:pt x="73965" y="167103"/>
                  <a:pt x="90242" y="150265"/>
                </a:cubicBezTo>
                <a:cubicBezTo>
                  <a:pt x="106519" y="133427"/>
                  <a:pt x="115499" y="112662"/>
                  <a:pt x="123918" y="96385"/>
                </a:cubicBezTo>
                <a:cubicBezTo>
                  <a:pt x="132337" y="80108"/>
                  <a:pt x="199696" y="73721"/>
                  <a:pt x="199688" y="57657"/>
                </a:cubicBezTo>
                <a:cubicBezTo>
                  <a:pt x="200234" y="38438"/>
                  <a:pt x="123324" y="19219"/>
                  <a:pt x="123870" y="0"/>
                </a:cubicBezTo>
                <a:close/>
              </a:path>
            </a:pathLst>
          </a:custGeom>
          <a:solidFill>
            <a:srgbClr val="FFFF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5" name="TextBox 19">
            <a:extLst>
              <a:ext uri="{FF2B5EF4-FFF2-40B4-BE49-F238E27FC236}">
                <a16:creationId xmlns:a16="http://schemas.microsoft.com/office/drawing/2014/main" id="{7D724A01-2064-4CCE-BB84-F7C2C4C86935}"/>
              </a:ext>
            </a:extLst>
          </p:cNvPr>
          <p:cNvSpPr txBox="1"/>
          <p:nvPr/>
        </p:nvSpPr>
        <p:spPr>
          <a:xfrm rot="21310378">
            <a:off x="3304556" y="4682608"/>
            <a:ext cx="2378973" cy="1015663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200" dirty="0"/>
              <a:t>This pattern can also be found in academic research. </a:t>
            </a:r>
            <a:br>
              <a:rPr lang="en-US" sz="1200" dirty="0"/>
            </a:br>
            <a:endParaRPr lang="en-US" sz="1200" dirty="0"/>
          </a:p>
          <a:p>
            <a:r>
              <a:rPr lang="en-US" sz="1200" dirty="0">
                <a:sym typeface="Wingdings" panose="05000000000000000000" pitchFamily="2" charset="2"/>
              </a:rPr>
              <a:t> </a:t>
            </a:r>
            <a:r>
              <a:rPr lang="en-US" sz="1200" dirty="0"/>
              <a:t>Therefore </a:t>
            </a:r>
            <a:r>
              <a:rPr lang="en-US" sz="1200" b="1" dirty="0"/>
              <a:t>our study will focus on co-founder dyads</a:t>
            </a:r>
            <a:endParaRPr lang="en-US" sz="900" b="1" dirty="0"/>
          </a:p>
        </p:txBody>
      </p:sp>
      <p:sp>
        <p:nvSpPr>
          <p:cNvPr id="136" name="Rectangle 21">
            <a:extLst>
              <a:ext uri="{FF2B5EF4-FFF2-40B4-BE49-F238E27FC236}">
                <a16:creationId xmlns:a16="http://schemas.microsoft.com/office/drawing/2014/main" id="{8F5AA3F5-3B50-4073-83E1-3C14084A0243}"/>
              </a:ext>
            </a:extLst>
          </p:cNvPr>
          <p:cNvSpPr/>
          <p:nvPr/>
        </p:nvSpPr>
        <p:spPr>
          <a:xfrm rot="21324663">
            <a:off x="3911699" y="4448273"/>
            <a:ext cx="881230" cy="318225"/>
          </a:xfrm>
          <a:custGeom>
            <a:avLst/>
            <a:gdLst>
              <a:gd name="connsiteX0" fmla="*/ 0 w 1152128"/>
              <a:gd name="connsiteY0" fmla="*/ 0 h 242604"/>
              <a:gd name="connsiteX1" fmla="*/ 1152128 w 1152128"/>
              <a:gd name="connsiteY1" fmla="*/ 0 h 242604"/>
              <a:gd name="connsiteX2" fmla="*/ 1152128 w 1152128"/>
              <a:gd name="connsiteY2" fmla="*/ 242604 h 242604"/>
              <a:gd name="connsiteX3" fmla="*/ 0 w 1152128"/>
              <a:gd name="connsiteY3" fmla="*/ 242604 h 242604"/>
              <a:gd name="connsiteX4" fmla="*/ 0 w 1152128"/>
              <a:gd name="connsiteY4" fmla="*/ 0 h 242604"/>
              <a:gd name="connsiteX0" fmla="*/ 1637 w 1153765"/>
              <a:gd name="connsiteY0" fmla="*/ 0 h 242604"/>
              <a:gd name="connsiteX1" fmla="*/ 1153765 w 1153765"/>
              <a:gd name="connsiteY1" fmla="*/ 0 h 242604"/>
              <a:gd name="connsiteX2" fmla="*/ 1153765 w 1153765"/>
              <a:gd name="connsiteY2" fmla="*/ 242604 h 242604"/>
              <a:gd name="connsiteX3" fmla="*/ 1637 w 1153765"/>
              <a:gd name="connsiteY3" fmla="*/ 242604 h 242604"/>
              <a:gd name="connsiteX4" fmla="*/ 0 w 1153765"/>
              <a:gd name="connsiteY4" fmla="*/ 57657 h 242604"/>
              <a:gd name="connsiteX5" fmla="*/ 1637 w 1153765"/>
              <a:gd name="connsiteY5" fmla="*/ 0 h 242604"/>
              <a:gd name="connsiteX0" fmla="*/ 85266 w 1237394"/>
              <a:gd name="connsiteY0" fmla="*/ 0 h 242604"/>
              <a:gd name="connsiteX1" fmla="*/ 1237394 w 1237394"/>
              <a:gd name="connsiteY1" fmla="*/ 0 h 242604"/>
              <a:gd name="connsiteX2" fmla="*/ 1237394 w 1237394"/>
              <a:gd name="connsiteY2" fmla="*/ 242604 h 242604"/>
              <a:gd name="connsiteX3" fmla="*/ 85266 w 1237394"/>
              <a:gd name="connsiteY3" fmla="*/ 242604 h 242604"/>
              <a:gd name="connsiteX4" fmla="*/ 85314 w 1237394"/>
              <a:gd name="connsiteY4" fmla="*/ 96385 h 242604"/>
              <a:gd name="connsiteX5" fmla="*/ 83629 w 1237394"/>
              <a:gd name="connsiteY5" fmla="*/ 57657 h 242604"/>
              <a:gd name="connsiteX6" fmla="*/ 85266 w 1237394"/>
              <a:gd name="connsiteY6" fmla="*/ 0 h 242604"/>
              <a:gd name="connsiteX0" fmla="*/ 105071 w 1257199"/>
              <a:gd name="connsiteY0" fmla="*/ 0 h 242604"/>
              <a:gd name="connsiteX1" fmla="*/ 1257199 w 1257199"/>
              <a:gd name="connsiteY1" fmla="*/ 0 h 242604"/>
              <a:gd name="connsiteX2" fmla="*/ 1257199 w 1257199"/>
              <a:gd name="connsiteY2" fmla="*/ 242604 h 242604"/>
              <a:gd name="connsiteX3" fmla="*/ 105071 w 1257199"/>
              <a:gd name="connsiteY3" fmla="*/ 242604 h 242604"/>
              <a:gd name="connsiteX4" fmla="*/ 52921 w 1257199"/>
              <a:gd name="connsiteY4" fmla="*/ 155317 h 242604"/>
              <a:gd name="connsiteX5" fmla="*/ 105119 w 1257199"/>
              <a:gd name="connsiteY5" fmla="*/ 96385 h 242604"/>
              <a:gd name="connsiteX6" fmla="*/ 103434 w 1257199"/>
              <a:gd name="connsiteY6" fmla="*/ 57657 h 242604"/>
              <a:gd name="connsiteX7" fmla="*/ 105071 w 1257199"/>
              <a:gd name="connsiteY7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22233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90242 w 1275998"/>
              <a:gd name="connsiteY5" fmla="*/ 150265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5998 w 1277318"/>
              <a:gd name="connsiteY3" fmla="*/ 242604 h 242604"/>
              <a:gd name="connsiteX4" fmla="*/ 123870 w 1277318"/>
              <a:gd name="connsiteY4" fmla="*/ 242604 h 242604"/>
              <a:gd name="connsiteX5" fmla="*/ 26256 w 1277318"/>
              <a:gd name="connsiteY5" fmla="*/ 197412 h 242604"/>
              <a:gd name="connsiteX6" fmla="*/ 90242 w 1277318"/>
              <a:gd name="connsiteY6" fmla="*/ 150265 h 242604"/>
              <a:gd name="connsiteX7" fmla="*/ 123918 w 1277318"/>
              <a:gd name="connsiteY7" fmla="*/ 96385 h 242604"/>
              <a:gd name="connsiteX8" fmla="*/ 199688 w 1277318"/>
              <a:gd name="connsiteY8" fmla="*/ 57657 h 242604"/>
              <a:gd name="connsiteX9" fmla="*/ 123870 w 1277318"/>
              <a:gd name="connsiteY9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8 w 1277318"/>
              <a:gd name="connsiteY3" fmla="*/ 175523 h 242604"/>
              <a:gd name="connsiteX4" fmla="*/ 1275998 w 1277318"/>
              <a:gd name="connsiteY4" fmla="*/ 242604 h 242604"/>
              <a:gd name="connsiteX5" fmla="*/ 123870 w 1277318"/>
              <a:gd name="connsiteY5" fmla="*/ 242604 h 242604"/>
              <a:gd name="connsiteX6" fmla="*/ 26256 w 1277318"/>
              <a:gd name="connsiteY6" fmla="*/ 197412 h 242604"/>
              <a:gd name="connsiteX7" fmla="*/ 90242 w 1277318"/>
              <a:gd name="connsiteY7" fmla="*/ 150265 h 242604"/>
              <a:gd name="connsiteX8" fmla="*/ 123918 w 1277318"/>
              <a:gd name="connsiteY8" fmla="*/ 96385 h 242604"/>
              <a:gd name="connsiteX9" fmla="*/ 199688 w 1277318"/>
              <a:gd name="connsiteY9" fmla="*/ 57657 h 242604"/>
              <a:gd name="connsiteX10" fmla="*/ 123870 w 1277318"/>
              <a:gd name="connsiteY10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48694 w 1277318"/>
              <a:gd name="connsiteY2" fmla="*/ 42503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95839"/>
              <a:gd name="connsiteY0" fmla="*/ 0 h 242604"/>
              <a:gd name="connsiteX1" fmla="*/ 1275998 w 1295839"/>
              <a:gd name="connsiteY1" fmla="*/ 0 h 242604"/>
              <a:gd name="connsiteX2" fmla="*/ 1248694 w 1295839"/>
              <a:gd name="connsiteY2" fmla="*/ 42503 h 242604"/>
              <a:gd name="connsiteX3" fmla="*/ 1295839 w 1295839"/>
              <a:gd name="connsiteY3" fmla="*/ 89650 h 242604"/>
              <a:gd name="connsiteX4" fmla="*/ 1277318 w 1295839"/>
              <a:gd name="connsiteY4" fmla="*/ 175523 h 242604"/>
              <a:gd name="connsiteX5" fmla="*/ 1275998 w 1295839"/>
              <a:gd name="connsiteY5" fmla="*/ 242604 h 242604"/>
              <a:gd name="connsiteX6" fmla="*/ 123870 w 1295839"/>
              <a:gd name="connsiteY6" fmla="*/ 242604 h 242604"/>
              <a:gd name="connsiteX7" fmla="*/ 26256 w 1295839"/>
              <a:gd name="connsiteY7" fmla="*/ 197412 h 242604"/>
              <a:gd name="connsiteX8" fmla="*/ 90242 w 1295839"/>
              <a:gd name="connsiteY8" fmla="*/ 150265 h 242604"/>
              <a:gd name="connsiteX9" fmla="*/ 123918 w 1295839"/>
              <a:gd name="connsiteY9" fmla="*/ 96385 h 242604"/>
              <a:gd name="connsiteX10" fmla="*/ 199688 w 1295839"/>
              <a:gd name="connsiteY10" fmla="*/ 57657 h 242604"/>
              <a:gd name="connsiteX11" fmla="*/ 123870 w 1295839"/>
              <a:gd name="connsiteY11" fmla="*/ 0 h 242604"/>
              <a:gd name="connsiteX0" fmla="*/ 123870 w 1296242"/>
              <a:gd name="connsiteY0" fmla="*/ 0 h 242604"/>
              <a:gd name="connsiteX1" fmla="*/ 1275998 w 1296242"/>
              <a:gd name="connsiteY1" fmla="*/ 0 h 242604"/>
              <a:gd name="connsiteX2" fmla="*/ 1248694 w 1296242"/>
              <a:gd name="connsiteY2" fmla="*/ 42503 h 242604"/>
              <a:gd name="connsiteX3" fmla="*/ 1295839 w 1296242"/>
              <a:gd name="connsiteY3" fmla="*/ 89650 h 242604"/>
              <a:gd name="connsiteX4" fmla="*/ 1243642 w 1296242"/>
              <a:gd name="connsiteY4" fmla="*/ 141847 h 242604"/>
              <a:gd name="connsiteX5" fmla="*/ 1277318 w 1296242"/>
              <a:gd name="connsiteY5" fmla="*/ 175523 h 242604"/>
              <a:gd name="connsiteX6" fmla="*/ 1275998 w 1296242"/>
              <a:gd name="connsiteY6" fmla="*/ 242604 h 242604"/>
              <a:gd name="connsiteX7" fmla="*/ 123870 w 1296242"/>
              <a:gd name="connsiteY7" fmla="*/ 242604 h 242604"/>
              <a:gd name="connsiteX8" fmla="*/ 26256 w 1296242"/>
              <a:gd name="connsiteY8" fmla="*/ 197412 h 242604"/>
              <a:gd name="connsiteX9" fmla="*/ 90242 w 1296242"/>
              <a:gd name="connsiteY9" fmla="*/ 150265 h 242604"/>
              <a:gd name="connsiteX10" fmla="*/ 123918 w 1296242"/>
              <a:gd name="connsiteY10" fmla="*/ 96385 h 242604"/>
              <a:gd name="connsiteX11" fmla="*/ 199688 w 1296242"/>
              <a:gd name="connsiteY11" fmla="*/ 57657 h 242604"/>
              <a:gd name="connsiteX12" fmla="*/ 123870 w 1296242"/>
              <a:gd name="connsiteY12" fmla="*/ 0 h 242604"/>
              <a:gd name="connsiteX0" fmla="*/ 123870 w 1307634"/>
              <a:gd name="connsiteY0" fmla="*/ 0 h 242604"/>
              <a:gd name="connsiteX1" fmla="*/ 1275998 w 1307634"/>
              <a:gd name="connsiteY1" fmla="*/ 0 h 242604"/>
              <a:gd name="connsiteX2" fmla="*/ 1248694 w 1307634"/>
              <a:gd name="connsiteY2" fmla="*/ 42503 h 242604"/>
              <a:gd name="connsiteX3" fmla="*/ 1295839 w 1307634"/>
              <a:gd name="connsiteY3" fmla="*/ 89650 h 242604"/>
              <a:gd name="connsiteX4" fmla="*/ 1243642 w 1307634"/>
              <a:gd name="connsiteY4" fmla="*/ 141847 h 242604"/>
              <a:gd name="connsiteX5" fmla="*/ 1277318 w 1307634"/>
              <a:gd name="connsiteY5" fmla="*/ 175523 h 242604"/>
              <a:gd name="connsiteX6" fmla="*/ 1307627 w 1307634"/>
              <a:gd name="connsiteY6" fmla="*/ 229404 h 242604"/>
              <a:gd name="connsiteX7" fmla="*/ 1275998 w 1307634"/>
              <a:gd name="connsiteY7" fmla="*/ 242604 h 242604"/>
              <a:gd name="connsiteX8" fmla="*/ 123870 w 1307634"/>
              <a:gd name="connsiteY8" fmla="*/ 242604 h 242604"/>
              <a:gd name="connsiteX9" fmla="*/ 26256 w 1307634"/>
              <a:gd name="connsiteY9" fmla="*/ 197412 h 242604"/>
              <a:gd name="connsiteX10" fmla="*/ 90242 w 1307634"/>
              <a:gd name="connsiteY10" fmla="*/ 150265 h 242604"/>
              <a:gd name="connsiteX11" fmla="*/ 123918 w 1307634"/>
              <a:gd name="connsiteY11" fmla="*/ 96385 h 242604"/>
              <a:gd name="connsiteX12" fmla="*/ 199688 w 1307634"/>
              <a:gd name="connsiteY12" fmla="*/ 57657 h 242604"/>
              <a:gd name="connsiteX13" fmla="*/ 123870 w 1307634"/>
              <a:gd name="connsiteY13" fmla="*/ 0 h 242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7634" h="242604">
                <a:moveTo>
                  <a:pt x="123870" y="0"/>
                </a:moveTo>
                <a:lnTo>
                  <a:pt x="1275998" y="0"/>
                </a:lnTo>
                <a:lnTo>
                  <a:pt x="1248694" y="42503"/>
                </a:lnTo>
                <a:cubicBezTo>
                  <a:pt x="1248694" y="59341"/>
                  <a:pt x="1295839" y="72812"/>
                  <a:pt x="1295839" y="89650"/>
                </a:cubicBezTo>
                <a:cubicBezTo>
                  <a:pt x="1301451" y="109856"/>
                  <a:pt x="1246729" y="127535"/>
                  <a:pt x="1243642" y="141847"/>
                </a:cubicBezTo>
                <a:cubicBezTo>
                  <a:pt x="1240555" y="156159"/>
                  <a:pt x="1271986" y="168507"/>
                  <a:pt x="1277318" y="175523"/>
                </a:cubicBezTo>
                <a:cubicBezTo>
                  <a:pt x="1276757" y="178329"/>
                  <a:pt x="1308188" y="226598"/>
                  <a:pt x="1307627" y="229404"/>
                </a:cubicBezTo>
                <a:lnTo>
                  <a:pt x="1275998" y="242604"/>
                </a:lnTo>
                <a:lnTo>
                  <a:pt x="123870" y="242604"/>
                </a:lnTo>
                <a:cubicBezTo>
                  <a:pt x="-84420" y="235072"/>
                  <a:pt x="34948" y="211960"/>
                  <a:pt x="26256" y="197412"/>
                </a:cubicBezTo>
                <a:cubicBezTo>
                  <a:pt x="17564" y="182864"/>
                  <a:pt x="73965" y="167103"/>
                  <a:pt x="90242" y="150265"/>
                </a:cubicBezTo>
                <a:cubicBezTo>
                  <a:pt x="106519" y="133427"/>
                  <a:pt x="115499" y="112662"/>
                  <a:pt x="123918" y="96385"/>
                </a:cubicBezTo>
                <a:cubicBezTo>
                  <a:pt x="132337" y="80108"/>
                  <a:pt x="199696" y="73721"/>
                  <a:pt x="199688" y="57657"/>
                </a:cubicBezTo>
                <a:cubicBezTo>
                  <a:pt x="200234" y="38438"/>
                  <a:pt x="123324" y="19219"/>
                  <a:pt x="123870" y="0"/>
                </a:cubicBezTo>
                <a:close/>
              </a:path>
            </a:pathLst>
          </a:custGeom>
          <a:solidFill>
            <a:srgbClr val="FFFF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Ovaal 1">
            <a:extLst>
              <a:ext uri="{FF2B5EF4-FFF2-40B4-BE49-F238E27FC236}">
                <a16:creationId xmlns:a16="http://schemas.microsoft.com/office/drawing/2014/main" id="{E08AE8B1-C9AD-494B-8EC8-2EF450E24325}"/>
              </a:ext>
            </a:extLst>
          </p:cNvPr>
          <p:cNvSpPr/>
          <p:nvPr/>
        </p:nvSpPr>
        <p:spPr>
          <a:xfrm rot="799962">
            <a:off x="3528539" y="581909"/>
            <a:ext cx="8980373" cy="4705612"/>
          </a:xfrm>
          <a:prstGeom prst="ellipse">
            <a:avLst/>
          </a:prstGeom>
          <a:noFill/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al 2">
            <a:extLst>
              <a:ext uri="{FF2B5EF4-FFF2-40B4-BE49-F238E27FC236}">
                <a16:creationId xmlns:a16="http://schemas.microsoft.com/office/drawing/2014/main" id="{71B6D063-0065-4E5F-9E97-7538D51F9F1F}"/>
              </a:ext>
            </a:extLst>
          </p:cNvPr>
          <p:cNvSpPr/>
          <p:nvPr/>
        </p:nvSpPr>
        <p:spPr>
          <a:xfrm>
            <a:off x="6027433" y="2941707"/>
            <a:ext cx="1822532" cy="1531704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jl: rechts 3">
            <a:extLst>
              <a:ext uri="{FF2B5EF4-FFF2-40B4-BE49-F238E27FC236}">
                <a16:creationId xmlns:a16="http://schemas.microsoft.com/office/drawing/2014/main" id="{DADE3B10-7DDE-4FB1-8FB2-8E27D411FE4B}"/>
              </a:ext>
            </a:extLst>
          </p:cNvPr>
          <p:cNvSpPr/>
          <p:nvPr/>
        </p:nvSpPr>
        <p:spPr>
          <a:xfrm rot="19597228">
            <a:off x="5638314" y="4290101"/>
            <a:ext cx="630272" cy="231819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8" name="Picture 53">
            <a:extLst>
              <a:ext uri="{FF2B5EF4-FFF2-40B4-BE49-F238E27FC236}">
                <a16:creationId xmlns:a16="http://schemas.microsoft.com/office/drawing/2014/main" id="{7B8018CB-35D6-4C20-BE2A-6404EF47DF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63217" y="3637687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1" name="Picture 53">
            <a:extLst>
              <a:ext uri="{FF2B5EF4-FFF2-40B4-BE49-F238E27FC236}">
                <a16:creationId xmlns:a16="http://schemas.microsoft.com/office/drawing/2014/main" id="{EB3322C2-C794-40DC-94EF-9E50B5243D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3558" y="3930734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4" name="Picture 58">
            <a:extLst>
              <a:ext uri="{FF2B5EF4-FFF2-40B4-BE49-F238E27FC236}">
                <a16:creationId xmlns:a16="http://schemas.microsoft.com/office/drawing/2014/main" id="{E4216AEE-C35B-40D9-901D-F552530A4B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53649" y="3589709"/>
            <a:ext cx="951058" cy="1013472"/>
          </a:xfrm>
          <a:prstGeom prst="rect">
            <a:avLst/>
          </a:prstGeom>
        </p:spPr>
      </p:pic>
      <p:pic>
        <p:nvPicPr>
          <p:cNvPr id="85" name="Picture 58">
            <a:extLst>
              <a:ext uri="{FF2B5EF4-FFF2-40B4-BE49-F238E27FC236}">
                <a16:creationId xmlns:a16="http://schemas.microsoft.com/office/drawing/2014/main" id="{1053A1D5-23AC-49A0-9E0B-531AC3B967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1716" y="3832406"/>
            <a:ext cx="951058" cy="1013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888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000"/>
                            </p:stCondLst>
                            <p:childTnLst>
                              <p:par>
                                <p:cTn id="5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000"/>
                            </p:stCondLst>
                            <p:childTnLst>
                              <p:par>
                                <p:cTn id="6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6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3" grpId="0"/>
      <p:bldP spid="94" grpId="0"/>
      <p:bldP spid="95" grpId="0"/>
      <p:bldP spid="96" grpId="0"/>
      <p:bldP spid="130" grpId="0" animBg="1"/>
      <p:bldP spid="132" grpId="0" animBg="1"/>
      <p:bldP spid="133" grpId="0" animBg="1"/>
      <p:bldP spid="134" grpId="0" animBg="1"/>
      <p:bldP spid="135" grpId="0" animBg="1"/>
      <p:bldP spid="13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9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PROBLE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5847372" y="3616178"/>
            <a:ext cx="4642296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400">
                <a:solidFill>
                  <a:schemeClr val="bg2">
                    <a:lumMod val="90000"/>
                  </a:schemeClr>
                </a:solidFill>
              </a:rPr>
              <a:t>Co-founder interpersonal tensions</a:t>
            </a:r>
            <a:endParaRPr lang="de-DE" altLang="de-DE" sz="2400" dirty="0">
              <a:solidFill>
                <a:schemeClr val="bg2">
                  <a:lumMod val="90000"/>
                </a:schemeClr>
              </a:solidFill>
            </a:endParaRP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CA0B48C7-59F5-47C3-9DB4-8852546E5572}"/>
              </a:ext>
            </a:extLst>
          </p:cNvPr>
          <p:cNvSpPr txBox="1"/>
          <p:nvPr/>
        </p:nvSpPr>
        <p:spPr>
          <a:xfrm>
            <a:off x="1461746" y="1580380"/>
            <a:ext cx="3758252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39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22840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 nodePh="1">
                                  <p:stCondLst>
                                    <p:cond delay="1500"/>
                                  </p:stCondLst>
                                  <p:endCondLst>
                                    <p:cond evt="begin" delay="0">
                                      <p:tn val="1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/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>
            <a:extLst>
              <a:ext uri="{FF2B5EF4-FFF2-40B4-BE49-F238E27FC236}">
                <a16:creationId xmlns:a16="http://schemas.microsoft.com/office/drawing/2014/main" id="{8CE4E29A-1E37-4A7B-8AC1-50523B9796EE}"/>
              </a:ext>
            </a:extLst>
          </p:cNvPr>
          <p:cNvGrpSpPr/>
          <p:nvPr/>
        </p:nvGrpSpPr>
        <p:grpSpPr>
          <a:xfrm>
            <a:off x="9263052" y="5216014"/>
            <a:ext cx="1922738" cy="1625277"/>
            <a:chOff x="9263052" y="5216014"/>
            <a:chExt cx="1922738" cy="1625277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5008581-E2C4-4567-B322-906365EBB53F}"/>
                </a:ext>
              </a:extLst>
            </p:cNvPr>
            <p:cNvGrpSpPr/>
            <p:nvPr/>
          </p:nvGrpSpPr>
          <p:grpSpPr>
            <a:xfrm>
              <a:off x="9263052" y="5216014"/>
              <a:ext cx="1646072" cy="1460193"/>
              <a:chOff x="9263052" y="5216014"/>
              <a:chExt cx="1646072" cy="1460193"/>
            </a:xfrm>
          </p:grpSpPr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9CB79F1B-0823-419A-95DD-D10AEC301E31}"/>
                  </a:ext>
                </a:extLst>
              </p:cNvPr>
              <p:cNvSpPr/>
              <p:nvPr/>
            </p:nvSpPr>
            <p:spPr>
              <a:xfrm>
                <a:off x="10877040" y="5216014"/>
                <a:ext cx="32084" cy="1188720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17D6D510-224C-478A-8FE4-84325288DD9F}"/>
                  </a:ext>
                </a:extLst>
              </p:cNvPr>
              <p:cNvSpPr txBox="1"/>
              <p:nvPr/>
            </p:nvSpPr>
            <p:spPr>
              <a:xfrm>
                <a:off x="9263052" y="5968321"/>
                <a:ext cx="1580947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Sustainability</a:t>
                </a:r>
              </a:p>
              <a:p>
                <a:pPr algn="r"/>
                <a:endParaRPr lang="en-US" sz="2000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578914BC-96EF-4628-BEFA-42D885F1225D}"/>
                </a:ext>
              </a:extLst>
            </p:cNvPr>
            <p:cNvSpPr txBox="1"/>
            <p:nvPr/>
          </p:nvSpPr>
          <p:spPr>
            <a:xfrm>
              <a:off x="10600373" y="63180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5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A5DDC21-4BA9-459F-8091-073BF69D008B}"/>
              </a:ext>
            </a:extLst>
          </p:cNvPr>
          <p:cNvGrpSpPr/>
          <p:nvPr/>
        </p:nvGrpSpPr>
        <p:grpSpPr>
          <a:xfrm>
            <a:off x="9411694" y="102199"/>
            <a:ext cx="965744" cy="1958177"/>
            <a:chOff x="9411694" y="102199"/>
            <a:chExt cx="965744" cy="195817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16FD78F-E843-4FDF-A1BA-6B279EC01DAE}"/>
                </a:ext>
              </a:extLst>
            </p:cNvPr>
            <p:cNvGrpSpPr/>
            <p:nvPr/>
          </p:nvGrpSpPr>
          <p:grpSpPr>
            <a:xfrm>
              <a:off x="9688361" y="600544"/>
              <a:ext cx="689077" cy="1459832"/>
              <a:chOff x="9688361" y="600544"/>
              <a:chExt cx="689077" cy="1459832"/>
            </a:xfrm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CE21B7C-B21C-4180-BC2B-F53AAFC90D52}"/>
                  </a:ext>
                </a:extLst>
              </p:cNvPr>
              <p:cNvSpPr/>
              <p:nvPr/>
            </p:nvSpPr>
            <p:spPr>
              <a:xfrm>
                <a:off x="9688361" y="60054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39D290A5-76B4-4019-8C18-F440EFCBD52B}"/>
                  </a:ext>
                </a:extLst>
              </p:cNvPr>
              <p:cNvSpPr txBox="1"/>
              <p:nvPr/>
            </p:nvSpPr>
            <p:spPr>
              <a:xfrm>
                <a:off x="9708665" y="606803"/>
                <a:ext cx="66877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SaaS</a:t>
                </a:r>
              </a:p>
            </p:txBody>
          </p:sp>
        </p:grp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5B8325B-3BA7-4EAD-96E0-B97FF05BCFF6}"/>
                </a:ext>
              </a:extLst>
            </p:cNvPr>
            <p:cNvSpPr txBox="1"/>
            <p:nvPr/>
          </p:nvSpPr>
          <p:spPr>
            <a:xfrm>
              <a:off x="9411694" y="102199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4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EF3B726-0569-4447-ADCD-FD67DED395DE}"/>
              </a:ext>
            </a:extLst>
          </p:cNvPr>
          <p:cNvGrpSpPr/>
          <p:nvPr/>
        </p:nvGrpSpPr>
        <p:grpSpPr>
          <a:xfrm>
            <a:off x="6629415" y="4873974"/>
            <a:ext cx="1222008" cy="1950517"/>
            <a:chOff x="6629415" y="4873974"/>
            <a:chExt cx="1222008" cy="1950517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2D40F0B-5941-4079-B600-374266F5CA71}"/>
                </a:ext>
              </a:extLst>
            </p:cNvPr>
            <p:cNvGrpSpPr/>
            <p:nvPr/>
          </p:nvGrpSpPr>
          <p:grpSpPr>
            <a:xfrm>
              <a:off x="6895712" y="4873974"/>
              <a:ext cx="955711" cy="1459832"/>
              <a:chOff x="6895712" y="4873974"/>
              <a:chExt cx="955711" cy="1459832"/>
            </a:xfrm>
          </p:grpSpPr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38E9B2-D40D-4AE2-9F05-776932742519}"/>
                  </a:ext>
                </a:extLst>
              </p:cNvPr>
              <p:cNvSpPr/>
              <p:nvPr/>
            </p:nvSpPr>
            <p:spPr>
              <a:xfrm>
                <a:off x="6903892" y="4873974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1FF18895-3D38-4D05-B13F-B47A99799D0A}"/>
                  </a:ext>
                </a:extLst>
              </p:cNvPr>
              <p:cNvSpPr txBox="1"/>
              <p:nvPr/>
            </p:nvSpPr>
            <p:spPr>
              <a:xfrm>
                <a:off x="6895712" y="5708802"/>
                <a:ext cx="955711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Fintech</a:t>
                </a:r>
              </a:p>
            </p:txBody>
          </p:sp>
        </p:grp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E5BB32E2-60BB-4AD4-BC10-5A227FDEFB66}"/>
                </a:ext>
              </a:extLst>
            </p:cNvPr>
            <p:cNvSpPr txBox="1"/>
            <p:nvPr/>
          </p:nvSpPr>
          <p:spPr>
            <a:xfrm>
              <a:off x="6629415" y="6301271"/>
              <a:ext cx="585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3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E774DFE-E359-41B5-AADF-C722A3F55601}"/>
              </a:ext>
            </a:extLst>
          </p:cNvPr>
          <p:cNvGrpSpPr/>
          <p:nvPr/>
        </p:nvGrpSpPr>
        <p:grpSpPr>
          <a:xfrm>
            <a:off x="4455315" y="-12708"/>
            <a:ext cx="1298754" cy="1946969"/>
            <a:chOff x="4455315" y="-12708"/>
            <a:chExt cx="1298754" cy="194696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1A015ED-B512-4324-BF80-21B4EFD3C1DC}"/>
                </a:ext>
              </a:extLst>
            </p:cNvPr>
            <p:cNvGrpSpPr/>
            <p:nvPr/>
          </p:nvGrpSpPr>
          <p:grpSpPr>
            <a:xfrm>
              <a:off x="4715940" y="448931"/>
              <a:ext cx="1038129" cy="1485330"/>
              <a:chOff x="4715940" y="448931"/>
              <a:chExt cx="1038129" cy="1485330"/>
            </a:xfrm>
          </p:grpSpPr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A2150354-29C9-4ABC-8786-FB7E17DA2625}"/>
                  </a:ext>
                </a:extLst>
              </p:cNvPr>
              <p:cNvSpPr/>
              <p:nvPr/>
            </p:nvSpPr>
            <p:spPr>
              <a:xfrm>
                <a:off x="4715940" y="474429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9F9DAFB7-461D-424B-AC6E-CD5074E73931}"/>
                  </a:ext>
                </a:extLst>
              </p:cNvPr>
              <p:cNvSpPr txBox="1"/>
              <p:nvPr/>
            </p:nvSpPr>
            <p:spPr>
              <a:xfrm>
                <a:off x="4819198" y="448931"/>
                <a:ext cx="934871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AI-tech</a:t>
                </a:r>
                <a:endParaRPr lang="en-US" sz="1400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756E5FDF-246F-4839-A1D7-280ED5D5C03C}"/>
                </a:ext>
              </a:extLst>
            </p:cNvPr>
            <p:cNvSpPr txBox="1"/>
            <p:nvPr/>
          </p:nvSpPr>
          <p:spPr>
            <a:xfrm>
              <a:off x="4455315" y="-12708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2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27C3DDB-FF19-463A-A49A-F6F82EE98E70}"/>
              </a:ext>
            </a:extLst>
          </p:cNvPr>
          <p:cNvGrpSpPr/>
          <p:nvPr/>
        </p:nvGrpSpPr>
        <p:grpSpPr>
          <a:xfrm>
            <a:off x="1505477" y="4865671"/>
            <a:ext cx="1776483" cy="2004148"/>
            <a:chOff x="1505477" y="4865671"/>
            <a:chExt cx="1776483" cy="200414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F5C8679-8E08-4502-BFAF-82B08E388D80}"/>
                </a:ext>
              </a:extLst>
            </p:cNvPr>
            <p:cNvGrpSpPr/>
            <p:nvPr/>
          </p:nvGrpSpPr>
          <p:grpSpPr>
            <a:xfrm>
              <a:off x="1813276" y="4865671"/>
              <a:ext cx="1468684" cy="1459832"/>
              <a:chOff x="1813276" y="4865671"/>
              <a:chExt cx="1468684" cy="1459832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7AA05556-615D-475A-891F-53AB4302E4DE}"/>
                  </a:ext>
                </a:extLst>
              </p:cNvPr>
              <p:cNvSpPr/>
              <p:nvPr/>
            </p:nvSpPr>
            <p:spPr>
              <a:xfrm>
                <a:off x="1813276" y="4865671"/>
                <a:ext cx="32084" cy="1459832"/>
              </a:xfrm>
              <a:custGeom>
                <a:avLst/>
                <a:gdLst>
                  <a:gd name="connsiteX0" fmla="*/ 32084 w 32084"/>
                  <a:gd name="connsiteY0" fmla="*/ 0 h 1459832"/>
                  <a:gd name="connsiteX1" fmla="*/ 0 w 32084"/>
                  <a:gd name="connsiteY1" fmla="*/ 1459832 h 14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84" h="1459832">
                    <a:moveTo>
                      <a:pt x="32084" y="0"/>
                    </a:moveTo>
                    <a:lnTo>
                      <a:pt x="0" y="1459832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7405149F-2887-40F2-A189-9E9739D99A91}"/>
                  </a:ext>
                </a:extLst>
              </p:cNvPr>
              <p:cNvSpPr txBox="1"/>
              <p:nvPr/>
            </p:nvSpPr>
            <p:spPr>
              <a:xfrm>
                <a:off x="1829318" y="5710633"/>
                <a:ext cx="145264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+mn-lt"/>
                  </a:rPr>
                  <a:t>Bio-industry</a:t>
                </a: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F01A26F-99B4-40EC-A4B1-C24A24160A61}"/>
                </a:ext>
              </a:extLst>
            </p:cNvPr>
            <p:cNvSpPr txBox="1"/>
            <p:nvPr/>
          </p:nvSpPr>
          <p:spPr>
            <a:xfrm>
              <a:off x="1505477" y="6346599"/>
              <a:ext cx="5501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  <a:latin typeface="+mn-lt"/>
                </a:rPr>
                <a:t>01</a:t>
              </a:r>
            </a:p>
          </p:txBody>
        </p:sp>
      </p:grp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52223E5-6289-4470-850A-E92D4445D56E}"/>
              </a:ext>
            </a:extLst>
          </p:cNvPr>
          <p:cNvSpPr/>
          <p:nvPr/>
        </p:nvSpPr>
        <p:spPr>
          <a:xfrm>
            <a:off x="-14067" y="2553902"/>
            <a:ext cx="1232329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71274"/>
              <a:gd name="connsiteY0" fmla="*/ 1547446 h 2321169"/>
              <a:gd name="connsiteX1" fmla="*/ 1026942 w 11071274"/>
              <a:gd name="connsiteY1" fmla="*/ 2321169 h 2321169"/>
              <a:gd name="connsiteX2" fmla="*/ 4825219 w 11071274"/>
              <a:gd name="connsiteY2" fmla="*/ 0 h 2321169"/>
              <a:gd name="connsiteX3" fmla="*/ 6935373 w 11071274"/>
              <a:gd name="connsiteY3" fmla="*/ 1505243 h 2321169"/>
              <a:gd name="connsiteX4" fmla="*/ 9214339 w 11071274"/>
              <a:gd name="connsiteY4" fmla="*/ 422031 h 2321169"/>
              <a:gd name="connsiteX5" fmla="*/ 11029071 w 11071274"/>
              <a:gd name="connsiteY5" fmla="*/ 1603717 h 2321169"/>
              <a:gd name="connsiteX6" fmla="*/ 11029071 w 11071274"/>
              <a:gd name="connsiteY6" fmla="*/ 1589649 h 2321169"/>
              <a:gd name="connsiteX7" fmla="*/ 11071274 w 11071274"/>
              <a:gd name="connsiteY7" fmla="*/ 1617785 h 2321169"/>
              <a:gd name="connsiteX0" fmla="*/ 0 w 12323299"/>
              <a:gd name="connsiteY0" fmla="*/ 1547446 h 2321169"/>
              <a:gd name="connsiteX1" fmla="*/ 1026942 w 12323299"/>
              <a:gd name="connsiteY1" fmla="*/ 2321169 h 2321169"/>
              <a:gd name="connsiteX2" fmla="*/ 4825219 w 12323299"/>
              <a:gd name="connsiteY2" fmla="*/ 0 h 2321169"/>
              <a:gd name="connsiteX3" fmla="*/ 6935373 w 12323299"/>
              <a:gd name="connsiteY3" fmla="*/ 1505243 h 2321169"/>
              <a:gd name="connsiteX4" fmla="*/ 9214339 w 12323299"/>
              <a:gd name="connsiteY4" fmla="*/ 422031 h 2321169"/>
              <a:gd name="connsiteX5" fmla="*/ 11029071 w 12323299"/>
              <a:gd name="connsiteY5" fmla="*/ 1603717 h 2321169"/>
              <a:gd name="connsiteX6" fmla="*/ 11029071 w 12323299"/>
              <a:gd name="connsiteY6" fmla="*/ 1589649 h 2321169"/>
              <a:gd name="connsiteX7" fmla="*/ 12323299 w 12323299"/>
              <a:gd name="connsiteY7" fmla="*/ 731520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2329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36105" y="1591994"/>
                  <a:pt x="12314507" y="725658"/>
                  <a:pt x="12323299" y="731520"/>
                </a:cubicBezTo>
              </a:path>
            </a:pathLst>
          </a:custGeom>
          <a:noFill/>
          <a:ln>
            <a:solidFill>
              <a:schemeClr val="bg1">
                <a:lumMod val="95000"/>
              </a:schemeClr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8ED9307-D43E-4E8D-BE20-7160BD35E43F}"/>
              </a:ext>
            </a:extLst>
          </p:cNvPr>
          <p:cNvSpPr/>
          <p:nvPr/>
        </p:nvSpPr>
        <p:spPr>
          <a:xfrm>
            <a:off x="-14069" y="2990000"/>
            <a:ext cx="122951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15004 w 11029071"/>
              <a:gd name="connsiteY7" fmla="*/ 1617785 h 2321169"/>
              <a:gd name="connsiteX0" fmla="*/ 0 w 12295169"/>
              <a:gd name="connsiteY0" fmla="*/ 1547446 h 2321169"/>
              <a:gd name="connsiteX1" fmla="*/ 1026942 w 12295169"/>
              <a:gd name="connsiteY1" fmla="*/ 2321169 h 2321169"/>
              <a:gd name="connsiteX2" fmla="*/ 4825219 w 12295169"/>
              <a:gd name="connsiteY2" fmla="*/ 0 h 2321169"/>
              <a:gd name="connsiteX3" fmla="*/ 6935373 w 12295169"/>
              <a:gd name="connsiteY3" fmla="*/ 1505243 h 2321169"/>
              <a:gd name="connsiteX4" fmla="*/ 9214339 w 12295169"/>
              <a:gd name="connsiteY4" fmla="*/ 422031 h 2321169"/>
              <a:gd name="connsiteX5" fmla="*/ 11029071 w 12295169"/>
              <a:gd name="connsiteY5" fmla="*/ 1603717 h 2321169"/>
              <a:gd name="connsiteX6" fmla="*/ 11029071 w 12295169"/>
              <a:gd name="connsiteY6" fmla="*/ 1589649 h 2321169"/>
              <a:gd name="connsiteX7" fmla="*/ 12295164 w 12295169"/>
              <a:gd name="connsiteY7" fmla="*/ 703385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951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6727" y="1591994"/>
                  <a:pt x="12298095" y="697523"/>
                  <a:pt x="12295164" y="703385"/>
                </a:cubicBezTo>
              </a:path>
            </a:pathLst>
          </a:custGeom>
          <a:noFill/>
          <a:ln>
            <a:solidFill>
              <a:schemeClr val="bg1">
                <a:alpha val="5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A57841C-05ED-414C-B831-058A13491405}"/>
              </a:ext>
            </a:extLst>
          </p:cNvPr>
          <p:cNvSpPr/>
          <p:nvPr/>
        </p:nvSpPr>
        <p:spPr>
          <a:xfrm>
            <a:off x="-77643" y="2060376"/>
            <a:ext cx="12302469" cy="2321169"/>
          </a:xfrm>
          <a:custGeom>
            <a:avLst/>
            <a:gdLst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0" fmla="*/ 0 w 11029071"/>
              <a:gd name="connsiteY0" fmla="*/ 1547446 h 2321169"/>
              <a:gd name="connsiteX1" fmla="*/ 1026942 w 11029071"/>
              <a:gd name="connsiteY1" fmla="*/ 2321169 h 2321169"/>
              <a:gd name="connsiteX2" fmla="*/ 4825219 w 11029071"/>
              <a:gd name="connsiteY2" fmla="*/ 0 h 2321169"/>
              <a:gd name="connsiteX3" fmla="*/ 6935373 w 11029071"/>
              <a:gd name="connsiteY3" fmla="*/ 1505243 h 2321169"/>
              <a:gd name="connsiteX4" fmla="*/ 9214339 w 11029071"/>
              <a:gd name="connsiteY4" fmla="*/ 422031 h 2321169"/>
              <a:gd name="connsiteX5" fmla="*/ 11029071 w 11029071"/>
              <a:gd name="connsiteY5" fmla="*/ 1603717 h 2321169"/>
              <a:gd name="connsiteX6" fmla="*/ 11029071 w 11029071"/>
              <a:gd name="connsiteY6" fmla="*/ 1589649 h 2321169"/>
              <a:gd name="connsiteX7" fmla="*/ 11022308 w 11029071"/>
              <a:gd name="connsiteY7" fmla="*/ 1604874 h 2321169"/>
              <a:gd name="connsiteX0" fmla="*/ 0 w 12302469"/>
              <a:gd name="connsiteY0" fmla="*/ 1547446 h 2321169"/>
              <a:gd name="connsiteX1" fmla="*/ 1026942 w 12302469"/>
              <a:gd name="connsiteY1" fmla="*/ 2321169 h 2321169"/>
              <a:gd name="connsiteX2" fmla="*/ 4825219 w 12302469"/>
              <a:gd name="connsiteY2" fmla="*/ 0 h 2321169"/>
              <a:gd name="connsiteX3" fmla="*/ 6935373 w 12302469"/>
              <a:gd name="connsiteY3" fmla="*/ 1505243 h 2321169"/>
              <a:gd name="connsiteX4" fmla="*/ 9214339 w 12302469"/>
              <a:gd name="connsiteY4" fmla="*/ 422031 h 2321169"/>
              <a:gd name="connsiteX5" fmla="*/ 11029071 w 12302469"/>
              <a:gd name="connsiteY5" fmla="*/ 1603717 h 2321169"/>
              <a:gd name="connsiteX6" fmla="*/ 11029071 w 12302469"/>
              <a:gd name="connsiteY6" fmla="*/ 1589649 h 2321169"/>
              <a:gd name="connsiteX7" fmla="*/ 12302468 w 12302469"/>
              <a:gd name="connsiteY7" fmla="*/ 648271 h 23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02469" h="2321169">
                <a:moveTo>
                  <a:pt x="0" y="1547446"/>
                </a:moveTo>
                <a:lnTo>
                  <a:pt x="1026942" y="2321169"/>
                </a:lnTo>
                <a:lnTo>
                  <a:pt x="4825219" y="0"/>
                </a:lnTo>
                <a:lnTo>
                  <a:pt x="6935373" y="1505243"/>
                </a:lnTo>
                <a:lnTo>
                  <a:pt x="9214339" y="422031"/>
                </a:lnTo>
                <a:lnTo>
                  <a:pt x="11029071" y="1603717"/>
                </a:lnTo>
                <a:lnTo>
                  <a:pt x="11029071" y="1589649"/>
                </a:lnTo>
                <a:cubicBezTo>
                  <a:pt x="11027944" y="1589842"/>
                  <a:pt x="12303877" y="645099"/>
                  <a:pt x="12302468" y="648271"/>
                </a:cubicBezTo>
              </a:path>
            </a:pathLst>
          </a:custGeom>
          <a:noFill/>
          <a:ln>
            <a:solidFill>
              <a:schemeClr val="bg1">
                <a:alpha val="5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51D23F8-31EB-42CA-955A-5448B953664E}"/>
              </a:ext>
            </a:extLst>
          </p:cNvPr>
          <p:cNvSpPr/>
          <p:nvPr/>
        </p:nvSpPr>
        <p:spPr>
          <a:xfrm rot="209413">
            <a:off x="3702147" y="2019325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CA715F9-7BD1-4D57-9DE7-F39213E921C1}"/>
              </a:ext>
            </a:extLst>
          </p:cNvPr>
          <p:cNvSpPr/>
          <p:nvPr/>
        </p:nvSpPr>
        <p:spPr>
          <a:xfrm rot="209413">
            <a:off x="3814688" y="1543326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C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6747925-92E7-4027-98EE-1A84FA0A4CC6}"/>
              </a:ext>
            </a:extLst>
          </p:cNvPr>
          <p:cNvSpPr/>
          <p:nvPr/>
        </p:nvSpPr>
        <p:spPr>
          <a:xfrm rot="209413">
            <a:off x="883786" y="3482367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B3F9EEF-AB03-4252-90CD-19BF30363B28}"/>
              </a:ext>
            </a:extLst>
          </p:cNvPr>
          <p:cNvSpPr/>
          <p:nvPr/>
        </p:nvSpPr>
        <p:spPr>
          <a:xfrm rot="209413">
            <a:off x="991682" y="3167064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834ECF7-7C55-4648-A579-92AB6E413225}"/>
              </a:ext>
            </a:extLst>
          </p:cNvPr>
          <p:cNvSpPr/>
          <p:nvPr/>
        </p:nvSpPr>
        <p:spPr>
          <a:xfrm rot="209413">
            <a:off x="5950628" y="3441604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CD3E479-CFEE-4B13-B101-A1632648B31C}"/>
              </a:ext>
            </a:extLst>
          </p:cNvPr>
          <p:cNvSpPr/>
          <p:nvPr/>
        </p:nvSpPr>
        <p:spPr>
          <a:xfrm rot="209413">
            <a:off x="6020969" y="3158820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00B0F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18B5160-B79E-4510-A199-074924A58A87}"/>
              </a:ext>
            </a:extLst>
          </p:cNvPr>
          <p:cNvSpPr/>
          <p:nvPr/>
        </p:nvSpPr>
        <p:spPr>
          <a:xfrm rot="209413">
            <a:off x="8730989" y="2241978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03C5B39-5C69-4156-99C8-61B030BA0AC8}"/>
              </a:ext>
            </a:extLst>
          </p:cNvPr>
          <p:cNvSpPr/>
          <p:nvPr/>
        </p:nvSpPr>
        <p:spPr>
          <a:xfrm rot="209413">
            <a:off x="8719663" y="1706959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rgbClr val="FF0000"/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9F6CD49-F839-4031-B8AB-A0A0428D73CD}"/>
              </a:ext>
            </a:extLst>
          </p:cNvPr>
          <p:cNvSpPr/>
          <p:nvPr/>
        </p:nvSpPr>
        <p:spPr>
          <a:xfrm rot="209413">
            <a:off x="9950367" y="4127191"/>
            <a:ext cx="1828800" cy="1828800"/>
          </a:xfrm>
          <a:prstGeom prst="roundRect">
            <a:avLst>
              <a:gd name="adj" fmla="val 12753"/>
            </a:avLst>
          </a:prstGeom>
          <a:gradFill>
            <a:gsLst>
              <a:gs pos="52000">
                <a:schemeClr val="bg1">
                  <a:alpha val="8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tx1">
                  <a:alpha val="24000"/>
                </a:schemeClr>
              </a:gs>
            </a:gsLst>
            <a:lin ang="5400000" scaled="1"/>
          </a:gradFill>
          <a:ln>
            <a:noFill/>
          </a:ln>
          <a:scene3d>
            <a:camera prst="isometricTopUp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B32FB03-8F78-4B2D-AC19-5D66D3DF723F}"/>
              </a:ext>
            </a:extLst>
          </p:cNvPr>
          <p:cNvSpPr/>
          <p:nvPr/>
        </p:nvSpPr>
        <p:spPr>
          <a:xfrm rot="209413">
            <a:off x="10020707" y="3722671"/>
            <a:ext cx="1828800" cy="1828800"/>
          </a:xfrm>
          <a:prstGeom prst="roundRect">
            <a:avLst>
              <a:gd name="adj" fmla="val 12753"/>
            </a:avLst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  <a:scene3d>
            <a:camera prst="isometricTopUp"/>
            <a:lightRig rig="flat" dir="t"/>
          </a:scene3d>
          <a:sp3d prstMaterial="powder">
            <a:bevelT w="0" h="1270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1B23954-4346-4F5E-8B63-A018EE5CED99}"/>
              </a:ext>
            </a:extLst>
          </p:cNvPr>
          <p:cNvSpPr/>
          <p:nvPr/>
        </p:nvSpPr>
        <p:spPr>
          <a:xfrm>
            <a:off x="2963502" y="333465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AD701F6-1A5F-4E2E-B854-32BD2F5023A3}"/>
              </a:ext>
            </a:extLst>
          </p:cNvPr>
          <p:cNvSpPr/>
          <p:nvPr/>
        </p:nvSpPr>
        <p:spPr>
          <a:xfrm>
            <a:off x="3104368" y="324321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787FE7B-66AB-4B0D-A9A4-F99C570DDED7}"/>
              </a:ext>
            </a:extLst>
          </p:cNvPr>
          <p:cNvSpPr/>
          <p:nvPr/>
        </p:nvSpPr>
        <p:spPr>
          <a:xfrm>
            <a:off x="3245234" y="3151777"/>
            <a:ext cx="91440" cy="91440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A61F31C-E3AA-40A7-82F7-4C5E1A07603D}"/>
              </a:ext>
            </a:extLst>
          </p:cNvPr>
          <p:cNvSpPr/>
          <p:nvPr/>
        </p:nvSpPr>
        <p:spPr>
          <a:xfrm>
            <a:off x="5857321" y="3069113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F023268-6988-43AA-94F3-79E93FCD986F}"/>
              </a:ext>
            </a:extLst>
          </p:cNvPr>
          <p:cNvSpPr/>
          <p:nvPr/>
        </p:nvSpPr>
        <p:spPr>
          <a:xfrm>
            <a:off x="5982151" y="3184514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6F94313-D5E7-4237-B323-1DA720698777}"/>
              </a:ext>
            </a:extLst>
          </p:cNvPr>
          <p:cNvSpPr/>
          <p:nvPr/>
        </p:nvSpPr>
        <p:spPr>
          <a:xfrm>
            <a:off x="6118321" y="3289536"/>
            <a:ext cx="91440" cy="9144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9224E29-D25C-43AE-B932-57E846969B26}"/>
              </a:ext>
            </a:extLst>
          </p:cNvPr>
          <p:cNvSpPr/>
          <p:nvPr/>
        </p:nvSpPr>
        <p:spPr>
          <a:xfrm>
            <a:off x="7706884" y="3370743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F44AB35-A4EA-429C-A0DB-DD6C9A87BD26}"/>
              </a:ext>
            </a:extLst>
          </p:cNvPr>
          <p:cNvSpPr/>
          <p:nvPr/>
        </p:nvSpPr>
        <p:spPr>
          <a:xfrm>
            <a:off x="7872086" y="328893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0323F1E-68EB-4F19-84D7-93141FD8A8EE}"/>
              </a:ext>
            </a:extLst>
          </p:cNvPr>
          <p:cNvSpPr/>
          <p:nvPr/>
        </p:nvSpPr>
        <p:spPr>
          <a:xfrm>
            <a:off x="8020963" y="3197497"/>
            <a:ext cx="91440" cy="91440"/>
          </a:xfrm>
          <a:prstGeom prst="ellipse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62E8352-40FE-4CD1-9953-15260CDD312A}"/>
              </a:ext>
            </a:extLst>
          </p:cNvPr>
          <p:cNvSpPr/>
          <p:nvPr/>
        </p:nvSpPr>
        <p:spPr>
          <a:xfrm>
            <a:off x="10406758" y="3543989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807B40D-678E-4824-BBC4-B05E05A942DB}"/>
              </a:ext>
            </a:extLst>
          </p:cNvPr>
          <p:cNvSpPr/>
          <p:nvPr/>
        </p:nvSpPr>
        <p:spPr>
          <a:xfrm>
            <a:off x="10564523" y="366819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ACE9240-5BD2-4FEB-9B2C-D24494B916F4}"/>
              </a:ext>
            </a:extLst>
          </p:cNvPr>
          <p:cNvSpPr/>
          <p:nvPr/>
        </p:nvSpPr>
        <p:spPr>
          <a:xfrm>
            <a:off x="10728714" y="3772585"/>
            <a:ext cx="91440" cy="91440"/>
          </a:xfrm>
          <a:prstGeom prst="ellipse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BD356D73-B8DD-4586-834D-848670F3A0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3597" y="1452015"/>
            <a:ext cx="951058" cy="1013472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9C85DFA1-C240-4D49-83C1-7F2685F79430}"/>
              </a:ext>
            </a:extLst>
          </p:cNvPr>
          <p:cNvSpPr txBox="1"/>
          <p:nvPr/>
        </p:nvSpPr>
        <p:spPr>
          <a:xfrm>
            <a:off x="110410" y="439411"/>
            <a:ext cx="13147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spc="-150" dirty="0">
                <a:solidFill>
                  <a:schemeClr val="tx1"/>
                </a:solidFill>
                <a:latin typeface="+mn-lt"/>
              </a:rPr>
              <a:t>Problem</a:t>
            </a:r>
          </a:p>
        </p:txBody>
      </p:sp>
      <p:pic>
        <p:nvPicPr>
          <p:cNvPr id="80" name="Picture 58">
            <a:extLst>
              <a:ext uri="{FF2B5EF4-FFF2-40B4-BE49-F238E27FC236}">
                <a16:creationId xmlns:a16="http://schemas.microsoft.com/office/drawing/2014/main" id="{9928068E-0EE7-416A-AC33-ECF8607B8F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5227" y="1810008"/>
            <a:ext cx="951058" cy="1013472"/>
          </a:xfrm>
          <a:prstGeom prst="rect">
            <a:avLst/>
          </a:prstGeom>
        </p:spPr>
      </p:pic>
      <p:pic>
        <p:nvPicPr>
          <p:cNvPr id="82" name="Picture 53">
            <a:extLst>
              <a:ext uri="{FF2B5EF4-FFF2-40B4-BE49-F238E27FC236}">
                <a16:creationId xmlns:a16="http://schemas.microsoft.com/office/drawing/2014/main" id="{94D1F496-EB81-4F2A-801C-24427A17F8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6103" y="329372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7" name="Picture 53">
            <a:extLst>
              <a:ext uri="{FF2B5EF4-FFF2-40B4-BE49-F238E27FC236}">
                <a16:creationId xmlns:a16="http://schemas.microsoft.com/office/drawing/2014/main" id="{5E5E7257-C0E4-4621-BD69-50F74CF53B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26063" y="176263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8" name="Picture 53">
            <a:extLst>
              <a:ext uri="{FF2B5EF4-FFF2-40B4-BE49-F238E27FC236}">
                <a16:creationId xmlns:a16="http://schemas.microsoft.com/office/drawing/2014/main" id="{BE9A7A3C-118E-4FC0-ABC6-904BBE2F52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63250" y="1785245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89" name="Picture 53">
            <a:extLst>
              <a:ext uri="{FF2B5EF4-FFF2-40B4-BE49-F238E27FC236}">
                <a16:creationId xmlns:a16="http://schemas.microsoft.com/office/drawing/2014/main" id="{73B07F74-E653-40AB-85DE-80F1DC591C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6228" y="3247474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91" name="Picture 58">
            <a:extLst>
              <a:ext uri="{FF2B5EF4-FFF2-40B4-BE49-F238E27FC236}">
                <a16:creationId xmlns:a16="http://schemas.microsoft.com/office/drawing/2014/main" id="{A720967E-58CC-4503-B403-5D08F0D14B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3929" y="3257749"/>
            <a:ext cx="951058" cy="1013472"/>
          </a:xfrm>
          <a:prstGeom prst="rect">
            <a:avLst/>
          </a:prstGeom>
        </p:spPr>
      </p:pic>
      <p:sp>
        <p:nvSpPr>
          <p:cNvPr id="92" name="TextBox 65">
            <a:extLst>
              <a:ext uri="{FF2B5EF4-FFF2-40B4-BE49-F238E27FC236}">
                <a16:creationId xmlns:a16="http://schemas.microsoft.com/office/drawing/2014/main" id="{DEED63C7-4110-4676-88D2-9DD75C8D6254}"/>
              </a:ext>
            </a:extLst>
          </p:cNvPr>
          <p:cNvSpPr txBox="1"/>
          <p:nvPr/>
        </p:nvSpPr>
        <p:spPr>
          <a:xfrm>
            <a:off x="179223" y="6328847"/>
            <a:ext cx="1406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tart-up</a:t>
            </a:r>
          </a:p>
        </p:txBody>
      </p:sp>
      <p:sp>
        <p:nvSpPr>
          <p:cNvPr id="93" name="TextBox 65">
            <a:extLst>
              <a:ext uri="{FF2B5EF4-FFF2-40B4-BE49-F238E27FC236}">
                <a16:creationId xmlns:a16="http://schemas.microsoft.com/office/drawing/2014/main" id="{8FC69C91-8DDE-4E2A-83B8-70DBB7B7DF52}"/>
              </a:ext>
            </a:extLst>
          </p:cNvPr>
          <p:cNvSpPr txBox="1"/>
          <p:nvPr/>
        </p:nvSpPr>
        <p:spPr>
          <a:xfrm>
            <a:off x="3170946" y="-34593"/>
            <a:ext cx="1406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tart-up</a:t>
            </a:r>
            <a:endParaRPr lang="en-US" sz="2000" b="1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94" name="TextBox 65">
            <a:extLst>
              <a:ext uri="{FF2B5EF4-FFF2-40B4-BE49-F238E27FC236}">
                <a16:creationId xmlns:a16="http://schemas.microsoft.com/office/drawing/2014/main" id="{36C2BB96-4D4B-46E7-9ED9-12F44F8FAD6C}"/>
              </a:ext>
            </a:extLst>
          </p:cNvPr>
          <p:cNvSpPr txBox="1"/>
          <p:nvPr/>
        </p:nvSpPr>
        <p:spPr>
          <a:xfrm>
            <a:off x="5328258" y="6273640"/>
            <a:ext cx="1406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tart-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5" name="TextBox 65">
            <a:extLst>
              <a:ext uri="{FF2B5EF4-FFF2-40B4-BE49-F238E27FC236}">
                <a16:creationId xmlns:a16="http://schemas.microsoft.com/office/drawing/2014/main" id="{9ED5C8D1-990B-418A-9AA0-33598C093100}"/>
              </a:ext>
            </a:extLst>
          </p:cNvPr>
          <p:cNvSpPr txBox="1"/>
          <p:nvPr/>
        </p:nvSpPr>
        <p:spPr>
          <a:xfrm>
            <a:off x="8112403" y="74638"/>
            <a:ext cx="1406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tart-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6" name="TextBox 65">
            <a:extLst>
              <a:ext uri="{FF2B5EF4-FFF2-40B4-BE49-F238E27FC236}">
                <a16:creationId xmlns:a16="http://schemas.microsoft.com/office/drawing/2014/main" id="{5B6C317D-1E84-455D-ACF0-4A666AE1686A}"/>
              </a:ext>
            </a:extLst>
          </p:cNvPr>
          <p:cNvSpPr txBox="1"/>
          <p:nvPr/>
        </p:nvSpPr>
        <p:spPr>
          <a:xfrm>
            <a:off x="9313984" y="6281954"/>
            <a:ext cx="1406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</a:rPr>
              <a:t>Start-up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7" name="Picture 53">
            <a:extLst>
              <a:ext uri="{FF2B5EF4-FFF2-40B4-BE49-F238E27FC236}">
                <a16:creationId xmlns:a16="http://schemas.microsoft.com/office/drawing/2014/main" id="{EB41BD85-5A78-4ACA-9DAD-7863D4E814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0928" y="1772465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grpSp>
        <p:nvGrpSpPr>
          <p:cNvPr id="109" name="Group 1">
            <a:extLst>
              <a:ext uri="{FF2B5EF4-FFF2-40B4-BE49-F238E27FC236}">
                <a16:creationId xmlns:a16="http://schemas.microsoft.com/office/drawing/2014/main" id="{C59DDC27-3430-4E3C-9162-2E4024E833BE}"/>
              </a:ext>
            </a:extLst>
          </p:cNvPr>
          <p:cNvGrpSpPr/>
          <p:nvPr/>
        </p:nvGrpSpPr>
        <p:grpSpPr>
          <a:xfrm>
            <a:off x="280406" y="1158297"/>
            <a:ext cx="2736085" cy="2361690"/>
            <a:chOff x="391396" y="1655158"/>
            <a:chExt cx="2252293" cy="2434509"/>
          </a:xfrm>
        </p:grpSpPr>
        <p:grpSp>
          <p:nvGrpSpPr>
            <p:cNvPr id="118" name="Group 28">
              <a:extLst>
                <a:ext uri="{FF2B5EF4-FFF2-40B4-BE49-F238E27FC236}">
                  <a16:creationId xmlns:a16="http://schemas.microsoft.com/office/drawing/2014/main" id="{AADD2AC1-9336-481A-B213-38A6A8FBFEB5}"/>
                </a:ext>
              </a:extLst>
            </p:cNvPr>
            <p:cNvGrpSpPr/>
            <p:nvPr/>
          </p:nvGrpSpPr>
          <p:grpSpPr>
            <a:xfrm>
              <a:off x="399190" y="1655158"/>
              <a:ext cx="2244499" cy="2434509"/>
              <a:chOff x="2728686" y="1944915"/>
              <a:chExt cx="3055724" cy="3314409"/>
            </a:xfrm>
          </p:grpSpPr>
          <p:sp>
            <p:nvSpPr>
              <p:cNvPr id="120" name="Rectangle 15">
                <a:extLst>
                  <a:ext uri="{FF2B5EF4-FFF2-40B4-BE49-F238E27FC236}">
                    <a16:creationId xmlns:a16="http://schemas.microsoft.com/office/drawing/2014/main" id="{3D9445AB-E173-444C-BEB4-8E57B9F68B64}"/>
                  </a:ext>
                </a:extLst>
              </p:cNvPr>
              <p:cNvSpPr/>
              <p:nvPr/>
            </p:nvSpPr>
            <p:spPr>
              <a:xfrm rot="21437240">
                <a:off x="2809292" y="2738915"/>
                <a:ext cx="2975118" cy="2520409"/>
              </a:xfrm>
              <a:prstGeom prst="rect">
                <a:avLst/>
              </a:prstGeom>
              <a:solidFill>
                <a:schemeClr val="tx1">
                  <a:alpha val="56000"/>
                </a:schemeClr>
              </a:solidFill>
              <a:ln>
                <a:noFill/>
              </a:ln>
              <a:effectLst>
                <a:softEdge rad="4572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Rectangle: Top Corners One Rounded and One Snipped 4">
                <a:extLst>
                  <a:ext uri="{FF2B5EF4-FFF2-40B4-BE49-F238E27FC236}">
                    <a16:creationId xmlns:a16="http://schemas.microsoft.com/office/drawing/2014/main" id="{67DD8FFA-CABF-4C61-882A-B2645D5FBA9E}"/>
                  </a:ext>
                </a:extLst>
              </p:cNvPr>
              <p:cNvSpPr/>
              <p:nvPr/>
            </p:nvSpPr>
            <p:spPr>
              <a:xfrm rot="10800000">
                <a:off x="2728686" y="1944915"/>
                <a:ext cx="2496458" cy="2641601"/>
              </a:xfrm>
              <a:prstGeom prst="snipRoundRect">
                <a:avLst>
                  <a:gd name="adj1" fmla="val 29018"/>
                  <a:gd name="adj2" fmla="val 0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Right Triangle 19">
                <a:extLst>
                  <a:ext uri="{FF2B5EF4-FFF2-40B4-BE49-F238E27FC236}">
                    <a16:creationId xmlns:a16="http://schemas.microsoft.com/office/drawing/2014/main" id="{6D0BC420-CA92-4360-8F46-E48B3F08AD3E}"/>
                  </a:ext>
                </a:extLst>
              </p:cNvPr>
              <p:cNvSpPr/>
              <p:nvPr/>
            </p:nvSpPr>
            <p:spPr>
              <a:xfrm rot="20055388" flipH="1">
                <a:off x="4483047" y="4162710"/>
                <a:ext cx="820305" cy="293371"/>
              </a:xfrm>
              <a:custGeom>
                <a:avLst/>
                <a:gdLst>
                  <a:gd name="connsiteX0" fmla="*/ 0 w 749372"/>
                  <a:gd name="connsiteY0" fmla="*/ 235741 h 235741"/>
                  <a:gd name="connsiteX1" fmla="*/ 0 w 749372"/>
                  <a:gd name="connsiteY1" fmla="*/ 0 h 235741"/>
                  <a:gd name="connsiteX2" fmla="*/ 749372 w 749372"/>
                  <a:gd name="connsiteY2" fmla="*/ 235741 h 235741"/>
                  <a:gd name="connsiteX3" fmla="*/ 0 w 749372"/>
                  <a:gd name="connsiteY3" fmla="*/ 235741 h 235741"/>
                  <a:gd name="connsiteX0" fmla="*/ 0 w 1132830"/>
                  <a:gd name="connsiteY0" fmla="*/ 0 h 243349"/>
                  <a:gd name="connsiteX1" fmla="*/ 383458 w 1132830"/>
                  <a:gd name="connsiteY1" fmla="*/ 7608 h 243349"/>
                  <a:gd name="connsiteX2" fmla="*/ 1132830 w 1132830"/>
                  <a:gd name="connsiteY2" fmla="*/ 243349 h 243349"/>
                  <a:gd name="connsiteX3" fmla="*/ 0 w 1132830"/>
                  <a:gd name="connsiteY3" fmla="*/ 0 h 243349"/>
                  <a:gd name="connsiteX0" fmla="*/ 0 w 1132830"/>
                  <a:gd name="connsiteY0" fmla="*/ 0 h 243349"/>
                  <a:gd name="connsiteX1" fmla="*/ 383458 w 1132830"/>
                  <a:gd name="connsiteY1" fmla="*/ 7608 h 243349"/>
                  <a:gd name="connsiteX2" fmla="*/ 1132830 w 1132830"/>
                  <a:gd name="connsiteY2" fmla="*/ 243349 h 243349"/>
                  <a:gd name="connsiteX3" fmla="*/ 0 w 1132830"/>
                  <a:gd name="connsiteY3" fmla="*/ 0 h 24334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086202"/>
                  <a:gd name="connsiteY0" fmla="*/ 0 h 291651"/>
                  <a:gd name="connsiteX1" fmla="*/ 383458 w 1086202"/>
                  <a:gd name="connsiteY1" fmla="*/ 7608 h 291651"/>
                  <a:gd name="connsiteX2" fmla="*/ 1086202 w 1086202"/>
                  <a:gd name="connsiteY2" fmla="*/ 272983 h 291651"/>
                  <a:gd name="connsiteX3" fmla="*/ 0 w 1086202"/>
                  <a:gd name="connsiteY3" fmla="*/ 0 h 291651"/>
                  <a:gd name="connsiteX0" fmla="*/ 0 w 1086202"/>
                  <a:gd name="connsiteY0" fmla="*/ 0 h 280606"/>
                  <a:gd name="connsiteX1" fmla="*/ 383458 w 1086202"/>
                  <a:gd name="connsiteY1" fmla="*/ 7608 h 280606"/>
                  <a:gd name="connsiteX2" fmla="*/ 1086202 w 1086202"/>
                  <a:gd name="connsiteY2" fmla="*/ 272983 h 280606"/>
                  <a:gd name="connsiteX3" fmla="*/ 0 w 1086202"/>
                  <a:gd name="connsiteY3" fmla="*/ 0 h 280606"/>
                  <a:gd name="connsiteX0" fmla="*/ 0 w 1068717"/>
                  <a:gd name="connsiteY0" fmla="*/ 0 h 286234"/>
                  <a:gd name="connsiteX1" fmla="*/ 383458 w 1068717"/>
                  <a:gd name="connsiteY1" fmla="*/ 7608 h 286234"/>
                  <a:gd name="connsiteX2" fmla="*/ 1068717 w 1068717"/>
                  <a:gd name="connsiteY2" fmla="*/ 281449 h 286234"/>
                  <a:gd name="connsiteX3" fmla="*/ 0 w 1068717"/>
                  <a:gd name="connsiteY3" fmla="*/ 0 h 286234"/>
                  <a:gd name="connsiteX0" fmla="*/ 0 w 1057061"/>
                  <a:gd name="connsiteY0" fmla="*/ 0 h 286234"/>
                  <a:gd name="connsiteX1" fmla="*/ 371802 w 1057061"/>
                  <a:gd name="connsiteY1" fmla="*/ 7608 h 286234"/>
                  <a:gd name="connsiteX2" fmla="*/ 1057061 w 1057061"/>
                  <a:gd name="connsiteY2" fmla="*/ 281449 h 286234"/>
                  <a:gd name="connsiteX3" fmla="*/ 0 w 1057061"/>
                  <a:gd name="connsiteY3" fmla="*/ 0 h 286234"/>
                  <a:gd name="connsiteX0" fmla="*/ 0 w 1088067"/>
                  <a:gd name="connsiteY0" fmla="*/ 9007 h 284403"/>
                  <a:gd name="connsiteX1" fmla="*/ 402808 w 1088067"/>
                  <a:gd name="connsiteY1" fmla="*/ 0 h 284403"/>
                  <a:gd name="connsiteX2" fmla="*/ 1088067 w 1088067"/>
                  <a:gd name="connsiteY2" fmla="*/ 273841 h 284403"/>
                  <a:gd name="connsiteX3" fmla="*/ 0 w 1088067"/>
                  <a:gd name="connsiteY3" fmla="*/ 9007 h 284403"/>
                  <a:gd name="connsiteX0" fmla="*/ 0 w 1088067"/>
                  <a:gd name="connsiteY0" fmla="*/ 9007 h 275282"/>
                  <a:gd name="connsiteX1" fmla="*/ 402808 w 1088067"/>
                  <a:gd name="connsiteY1" fmla="*/ 0 h 275282"/>
                  <a:gd name="connsiteX2" fmla="*/ 1088067 w 1088067"/>
                  <a:gd name="connsiteY2" fmla="*/ 273841 h 275282"/>
                  <a:gd name="connsiteX3" fmla="*/ 0 w 1088067"/>
                  <a:gd name="connsiteY3" fmla="*/ 9007 h 275282"/>
                  <a:gd name="connsiteX0" fmla="*/ 0 w 1080138"/>
                  <a:gd name="connsiteY0" fmla="*/ 9007 h 259851"/>
                  <a:gd name="connsiteX1" fmla="*/ 402808 w 1080138"/>
                  <a:gd name="connsiteY1" fmla="*/ 0 h 259851"/>
                  <a:gd name="connsiteX2" fmla="*/ 1080138 w 1080138"/>
                  <a:gd name="connsiteY2" fmla="*/ 250446 h 259851"/>
                  <a:gd name="connsiteX3" fmla="*/ 0 w 1080138"/>
                  <a:gd name="connsiteY3" fmla="*/ 9007 h 259851"/>
                  <a:gd name="connsiteX0" fmla="*/ 0 w 1080138"/>
                  <a:gd name="connsiteY0" fmla="*/ 9007 h 291041"/>
                  <a:gd name="connsiteX1" fmla="*/ 402808 w 1080138"/>
                  <a:gd name="connsiteY1" fmla="*/ 0 h 291041"/>
                  <a:gd name="connsiteX2" fmla="*/ 1080138 w 1080138"/>
                  <a:gd name="connsiteY2" fmla="*/ 250446 h 291041"/>
                  <a:gd name="connsiteX3" fmla="*/ 0 w 1080138"/>
                  <a:gd name="connsiteY3" fmla="*/ 9007 h 291041"/>
                  <a:gd name="connsiteX0" fmla="*/ 0 w 1080138"/>
                  <a:gd name="connsiteY0" fmla="*/ 9007 h 293371"/>
                  <a:gd name="connsiteX1" fmla="*/ 402808 w 1080138"/>
                  <a:gd name="connsiteY1" fmla="*/ 0 h 293371"/>
                  <a:gd name="connsiteX2" fmla="*/ 1080138 w 1080138"/>
                  <a:gd name="connsiteY2" fmla="*/ 250446 h 293371"/>
                  <a:gd name="connsiteX3" fmla="*/ 0 w 1080138"/>
                  <a:gd name="connsiteY3" fmla="*/ 9007 h 293371"/>
                  <a:gd name="connsiteX0" fmla="*/ 0 w 1080138"/>
                  <a:gd name="connsiteY0" fmla="*/ 9007 h 293371"/>
                  <a:gd name="connsiteX1" fmla="*/ 402808 w 1080138"/>
                  <a:gd name="connsiteY1" fmla="*/ 0 h 293371"/>
                  <a:gd name="connsiteX2" fmla="*/ 1080138 w 1080138"/>
                  <a:gd name="connsiteY2" fmla="*/ 250446 h 293371"/>
                  <a:gd name="connsiteX3" fmla="*/ 0 w 1080138"/>
                  <a:gd name="connsiteY3" fmla="*/ 9007 h 293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0138" h="293371">
                    <a:moveTo>
                      <a:pt x="0" y="9007"/>
                    </a:moveTo>
                    <a:cubicBezTo>
                      <a:pt x="191276" y="128482"/>
                      <a:pt x="297111" y="93328"/>
                      <a:pt x="402808" y="0"/>
                    </a:cubicBezTo>
                    <a:cubicBezTo>
                      <a:pt x="586231" y="108077"/>
                      <a:pt x="535379" y="179240"/>
                      <a:pt x="1080138" y="250446"/>
                    </a:cubicBezTo>
                    <a:cubicBezTo>
                      <a:pt x="844355" y="302622"/>
                      <a:pt x="304488" y="374440"/>
                      <a:pt x="0" y="9007"/>
                    </a:cubicBezTo>
                    <a:close/>
                  </a:path>
                </a:pathLst>
              </a:custGeom>
              <a:gradFill flip="none" rotWithShape="1">
                <a:gsLst>
                  <a:gs pos="69000">
                    <a:srgbClr val="C79200"/>
                  </a:gs>
                  <a:gs pos="0">
                    <a:srgbClr val="E6AA00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19" name="TextBox 70">
              <a:extLst>
                <a:ext uri="{FF2B5EF4-FFF2-40B4-BE49-F238E27FC236}">
                  <a16:creationId xmlns:a16="http://schemas.microsoft.com/office/drawing/2014/main" id="{4A9D8563-58C6-4B1E-8BEB-46427544CDE3}"/>
                </a:ext>
              </a:extLst>
            </p:cNvPr>
            <p:cNvSpPr txBox="1"/>
            <p:nvPr/>
          </p:nvSpPr>
          <p:spPr>
            <a:xfrm>
              <a:off x="391396" y="1937307"/>
              <a:ext cx="1897962" cy="12056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latin typeface="Century Gothic" panose="020B0502020202020204" pitchFamily="34" charset="0"/>
                </a:rPr>
                <a:t>Wasserman: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b="1" dirty="0">
                  <a:latin typeface="Century Gothic" panose="020B0502020202020204" pitchFamily="34" charset="0"/>
                </a:rPr>
                <a:t>65%</a:t>
              </a:r>
              <a:r>
                <a:rPr lang="en-US" dirty="0">
                  <a:latin typeface="Century Gothic" panose="020B0502020202020204" pitchFamily="34" charset="0"/>
                </a:rPr>
                <a:t> of start-ups failures are tied to </a:t>
              </a:r>
              <a:r>
                <a:rPr lang="en-US" b="1" dirty="0">
                  <a:latin typeface="Century Gothic" panose="020B0502020202020204" pitchFamily="34" charset="0"/>
                </a:rPr>
                <a:t>interpersonal tensions</a:t>
              </a:r>
            </a:p>
          </p:txBody>
        </p:sp>
      </p:grpSp>
      <p:grpSp>
        <p:nvGrpSpPr>
          <p:cNvPr id="113" name="Group 42">
            <a:extLst>
              <a:ext uri="{FF2B5EF4-FFF2-40B4-BE49-F238E27FC236}">
                <a16:creationId xmlns:a16="http://schemas.microsoft.com/office/drawing/2014/main" id="{2FF8FC8F-2EB1-4DF3-B5BA-39DA1221266D}"/>
              </a:ext>
            </a:extLst>
          </p:cNvPr>
          <p:cNvGrpSpPr/>
          <p:nvPr/>
        </p:nvGrpSpPr>
        <p:grpSpPr>
          <a:xfrm>
            <a:off x="1328346" y="943281"/>
            <a:ext cx="266652" cy="424951"/>
            <a:chOff x="3976914" y="1402541"/>
            <a:chExt cx="421209" cy="78252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14" name="Rectangle 43">
              <a:extLst>
                <a:ext uri="{FF2B5EF4-FFF2-40B4-BE49-F238E27FC236}">
                  <a16:creationId xmlns:a16="http://schemas.microsoft.com/office/drawing/2014/main" id="{50CC8050-F267-485E-9943-8F5E77593FBF}"/>
                </a:ext>
              </a:extLst>
            </p:cNvPr>
            <p:cNvSpPr/>
            <p:nvPr/>
          </p:nvSpPr>
          <p:spPr>
            <a:xfrm rot="880349" flipH="1">
              <a:off x="4098363" y="1767370"/>
              <a:ext cx="36855" cy="417693"/>
            </a:xfrm>
            <a:prstGeom prst="rect">
              <a:avLst/>
            </a:prstGeom>
            <a:gradFill flip="none" rotWithShape="1">
              <a:gsLst>
                <a:gs pos="83208">
                  <a:schemeClr val="bg1"/>
                </a:gs>
                <a:gs pos="100000">
                  <a:schemeClr val="tx1">
                    <a:lumMod val="50000"/>
                    <a:lumOff val="50000"/>
                  </a:schemeClr>
                </a:gs>
                <a:gs pos="56609">
                  <a:schemeClr val="bg1">
                    <a:lumMod val="50000"/>
                  </a:schemeClr>
                </a:gs>
                <a:gs pos="25700">
                  <a:schemeClr val="bg1">
                    <a:lumMod val="95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Oval 44">
              <a:extLst>
                <a:ext uri="{FF2B5EF4-FFF2-40B4-BE49-F238E27FC236}">
                  <a16:creationId xmlns:a16="http://schemas.microsoft.com/office/drawing/2014/main" id="{F9D4C81C-F0E7-4B70-86CC-2C5C65F8868C}"/>
                </a:ext>
              </a:extLst>
            </p:cNvPr>
            <p:cNvSpPr/>
            <p:nvPr/>
          </p:nvSpPr>
          <p:spPr>
            <a:xfrm>
              <a:off x="3976914" y="1546639"/>
              <a:ext cx="421209" cy="421209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innerShdw blurRad="304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Trapezoid 10">
              <a:extLst>
                <a:ext uri="{FF2B5EF4-FFF2-40B4-BE49-F238E27FC236}">
                  <a16:creationId xmlns:a16="http://schemas.microsoft.com/office/drawing/2014/main" id="{C808D46C-6F68-4995-B2AA-C5B60F8163DE}"/>
                </a:ext>
              </a:extLst>
            </p:cNvPr>
            <p:cNvSpPr/>
            <p:nvPr/>
          </p:nvSpPr>
          <p:spPr>
            <a:xfrm rot="1060331">
              <a:off x="4130543" y="1496993"/>
              <a:ext cx="197638" cy="310350"/>
            </a:xfrm>
            <a:custGeom>
              <a:avLst/>
              <a:gdLst>
                <a:gd name="connsiteX0" fmla="*/ 0 w 1129849"/>
                <a:gd name="connsiteY0" fmla="*/ 1197614 h 1197614"/>
                <a:gd name="connsiteX1" fmla="*/ 282462 w 1129849"/>
                <a:gd name="connsiteY1" fmla="*/ 0 h 1197614"/>
                <a:gd name="connsiteX2" fmla="*/ 847387 w 1129849"/>
                <a:gd name="connsiteY2" fmla="*/ 0 h 1197614"/>
                <a:gd name="connsiteX3" fmla="*/ 1129849 w 1129849"/>
                <a:gd name="connsiteY3" fmla="*/ 1197614 h 1197614"/>
                <a:gd name="connsiteX4" fmla="*/ 0 w 1129849"/>
                <a:gd name="connsiteY4" fmla="*/ 1197614 h 1197614"/>
                <a:gd name="connsiteX0" fmla="*/ 0 w 1129849"/>
                <a:gd name="connsiteY0" fmla="*/ 1197614 h 1310535"/>
                <a:gd name="connsiteX1" fmla="*/ 282462 w 1129849"/>
                <a:gd name="connsiteY1" fmla="*/ 0 h 1310535"/>
                <a:gd name="connsiteX2" fmla="*/ 847387 w 1129849"/>
                <a:gd name="connsiteY2" fmla="*/ 0 h 1310535"/>
                <a:gd name="connsiteX3" fmla="*/ 1129849 w 1129849"/>
                <a:gd name="connsiteY3" fmla="*/ 1197614 h 1310535"/>
                <a:gd name="connsiteX4" fmla="*/ 0 w 1129849"/>
                <a:gd name="connsiteY4" fmla="*/ 1197614 h 1310535"/>
                <a:gd name="connsiteX0" fmla="*/ 0 w 1129849"/>
                <a:gd name="connsiteY0" fmla="*/ 1197614 h 1358294"/>
                <a:gd name="connsiteX1" fmla="*/ 282462 w 1129849"/>
                <a:gd name="connsiteY1" fmla="*/ 0 h 1358294"/>
                <a:gd name="connsiteX2" fmla="*/ 847387 w 1129849"/>
                <a:gd name="connsiteY2" fmla="*/ 0 h 1358294"/>
                <a:gd name="connsiteX3" fmla="*/ 1129849 w 1129849"/>
                <a:gd name="connsiteY3" fmla="*/ 1197614 h 1358294"/>
                <a:gd name="connsiteX4" fmla="*/ 0 w 1129849"/>
                <a:gd name="connsiteY4" fmla="*/ 1197614 h 1358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9849" h="1358294">
                  <a:moveTo>
                    <a:pt x="0" y="1197614"/>
                  </a:moveTo>
                  <a:lnTo>
                    <a:pt x="282462" y="0"/>
                  </a:lnTo>
                  <a:lnTo>
                    <a:pt x="847387" y="0"/>
                  </a:lnTo>
                  <a:lnTo>
                    <a:pt x="1129849" y="1197614"/>
                  </a:lnTo>
                  <a:cubicBezTo>
                    <a:pt x="529520" y="1451687"/>
                    <a:pt x="415659" y="1367972"/>
                    <a:pt x="0" y="1197614"/>
                  </a:cubicBez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7" name="Oval 46">
              <a:extLst>
                <a:ext uri="{FF2B5EF4-FFF2-40B4-BE49-F238E27FC236}">
                  <a16:creationId xmlns:a16="http://schemas.microsoft.com/office/drawing/2014/main" id="{8E3101C9-5F5A-4DC5-903F-A5760F8AF119}"/>
                </a:ext>
              </a:extLst>
            </p:cNvPr>
            <p:cNvSpPr/>
            <p:nvPr/>
          </p:nvSpPr>
          <p:spPr>
            <a:xfrm>
              <a:off x="4142587" y="1402541"/>
              <a:ext cx="255535" cy="25553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23" name="Picture 53">
            <a:extLst>
              <a:ext uri="{FF2B5EF4-FFF2-40B4-BE49-F238E27FC236}">
                <a16:creationId xmlns:a16="http://schemas.microsoft.com/office/drawing/2014/main" id="{B40FABFF-FF3A-49F5-9192-4681960E45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53095" y="3550006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124" name="Picture 58">
            <a:extLst>
              <a:ext uri="{FF2B5EF4-FFF2-40B4-BE49-F238E27FC236}">
                <a16:creationId xmlns:a16="http://schemas.microsoft.com/office/drawing/2014/main" id="{178DB51F-DDBE-4525-BFCC-8416F0C812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43999" y="3501203"/>
            <a:ext cx="951058" cy="1013472"/>
          </a:xfrm>
          <a:prstGeom prst="rect">
            <a:avLst/>
          </a:prstGeom>
        </p:spPr>
      </p:pic>
      <p:pic>
        <p:nvPicPr>
          <p:cNvPr id="125" name="Picture 58">
            <a:extLst>
              <a:ext uri="{FF2B5EF4-FFF2-40B4-BE49-F238E27FC236}">
                <a16:creationId xmlns:a16="http://schemas.microsoft.com/office/drawing/2014/main" id="{EB7AAE7C-A8E4-4904-8CF7-3A512FD8AC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2024" y="3893049"/>
            <a:ext cx="951058" cy="1013472"/>
          </a:xfrm>
          <a:prstGeom prst="rect">
            <a:avLst/>
          </a:prstGeom>
        </p:spPr>
      </p:pic>
      <p:pic>
        <p:nvPicPr>
          <p:cNvPr id="126" name="Picture 53">
            <a:extLst>
              <a:ext uri="{FF2B5EF4-FFF2-40B4-BE49-F238E27FC236}">
                <a16:creationId xmlns:a16="http://schemas.microsoft.com/office/drawing/2014/main" id="{8F8C9E9B-E1D4-4DA2-AA19-4C3731FF25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37977" y="3915111"/>
            <a:ext cx="969348" cy="96934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3" name="Gedachtewolkje: wolk 2">
            <a:extLst>
              <a:ext uri="{FF2B5EF4-FFF2-40B4-BE49-F238E27FC236}">
                <a16:creationId xmlns:a16="http://schemas.microsoft.com/office/drawing/2014/main" id="{09A12166-11FA-4D9B-A190-613D991F5063}"/>
              </a:ext>
            </a:extLst>
          </p:cNvPr>
          <p:cNvSpPr/>
          <p:nvPr/>
        </p:nvSpPr>
        <p:spPr>
          <a:xfrm>
            <a:off x="5485692" y="929305"/>
            <a:ext cx="1232344" cy="764645"/>
          </a:xfrm>
          <a:prstGeom prst="cloudCallout">
            <a:avLst>
              <a:gd name="adj1" fmla="val -64048"/>
              <a:gd name="adj2" fmla="val 49359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266" name="Picture 2" descr="54.900+ Boze Emoji Stockillustraties, royalty-free vector illustraties en  clipart - iStock">
            <a:extLst>
              <a:ext uri="{FF2B5EF4-FFF2-40B4-BE49-F238E27FC236}">
                <a16:creationId xmlns:a16="http://schemas.microsoft.com/office/drawing/2014/main" id="{C840B54F-224B-44C1-AFD8-B7B5FAF79D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4880" y="1091800"/>
            <a:ext cx="365403" cy="365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7" name="Gedachtewolkje: wolk 126">
            <a:extLst>
              <a:ext uri="{FF2B5EF4-FFF2-40B4-BE49-F238E27FC236}">
                <a16:creationId xmlns:a16="http://schemas.microsoft.com/office/drawing/2014/main" id="{D94B63F1-45FA-4BE5-8DCF-33C73521DA4B}"/>
              </a:ext>
            </a:extLst>
          </p:cNvPr>
          <p:cNvSpPr/>
          <p:nvPr/>
        </p:nvSpPr>
        <p:spPr>
          <a:xfrm flipH="1">
            <a:off x="3004289" y="936386"/>
            <a:ext cx="1212965" cy="676230"/>
          </a:xfrm>
          <a:prstGeom prst="cloudCallout">
            <a:avLst>
              <a:gd name="adj1" fmla="val -48171"/>
              <a:gd name="adj2" fmla="val 74388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8" name="Picture 2" descr="54.900+ Boze Emoji Stockillustraties, royalty-free vector illustraties en  clipart - iStock">
            <a:extLst>
              <a:ext uri="{FF2B5EF4-FFF2-40B4-BE49-F238E27FC236}">
                <a16:creationId xmlns:a16="http://schemas.microsoft.com/office/drawing/2014/main" id="{B9C3FF7B-1AD2-4E43-864C-8C04766379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458249" y="1083225"/>
            <a:ext cx="359657" cy="359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9" name="Gedachtewolkje: wolk 128">
            <a:extLst>
              <a:ext uri="{FF2B5EF4-FFF2-40B4-BE49-F238E27FC236}">
                <a16:creationId xmlns:a16="http://schemas.microsoft.com/office/drawing/2014/main" id="{7DA318EF-788E-420D-8280-B0908B14BE18}"/>
              </a:ext>
            </a:extLst>
          </p:cNvPr>
          <p:cNvSpPr/>
          <p:nvPr/>
        </p:nvSpPr>
        <p:spPr>
          <a:xfrm>
            <a:off x="4431910" y="519720"/>
            <a:ext cx="1232344" cy="764645"/>
          </a:xfrm>
          <a:prstGeom prst="cloudCallou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272" name="Picture 8" descr="Verwarde En Verbaasde Emoji, In De War, Emoji, Vraag Afbeelding PNG Met  Transparante Achtergrond Gratis">
            <a:extLst>
              <a:ext uri="{FF2B5EF4-FFF2-40B4-BE49-F238E27FC236}">
                <a16:creationId xmlns:a16="http://schemas.microsoft.com/office/drawing/2014/main" id="{9FB8B49B-A860-4AA3-8AD4-C8B8B99862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996" y="785643"/>
            <a:ext cx="326237" cy="326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0" name="Group 1">
            <a:extLst>
              <a:ext uri="{FF2B5EF4-FFF2-40B4-BE49-F238E27FC236}">
                <a16:creationId xmlns:a16="http://schemas.microsoft.com/office/drawing/2014/main" id="{56C57C2D-8B5B-4A7B-8661-B46A13AF62BB}"/>
              </a:ext>
            </a:extLst>
          </p:cNvPr>
          <p:cNvGrpSpPr/>
          <p:nvPr/>
        </p:nvGrpSpPr>
        <p:grpSpPr>
          <a:xfrm>
            <a:off x="3478426" y="4184880"/>
            <a:ext cx="2736085" cy="2361690"/>
            <a:chOff x="391396" y="1655158"/>
            <a:chExt cx="2252293" cy="2434509"/>
          </a:xfrm>
        </p:grpSpPr>
        <p:grpSp>
          <p:nvGrpSpPr>
            <p:cNvPr id="131" name="Group 28">
              <a:extLst>
                <a:ext uri="{FF2B5EF4-FFF2-40B4-BE49-F238E27FC236}">
                  <a16:creationId xmlns:a16="http://schemas.microsoft.com/office/drawing/2014/main" id="{D4F07E29-F0FC-4B2F-BD57-ABE087D4A7C7}"/>
                </a:ext>
              </a:extLst>
            </p:cNvPr>
            <p:cNvGrpSpPr/>
            <p:nvPr/>
          </p:nvGrpSpPr>
          <p:grpSpPr>
            <a:xfrm>
              <a:off x="399190" y="1655158"/>
              <a:ext cx="2244499" cy="2434509"/>
              <a:chOff x="2728686" y="1944915"/>
              <a:chExt cx="3055724" cy="3314409"/>
            </a:xfrm>
          </p:grpSpPr>
          <p:sp>
            <p:nvSpPr>
              <p:cNvPr id="133" name="Rectangle 15">
                <a:extLst>
                  <a:ext uri="{FF2B5EF4-FFF2-40B4-BE49-F238E27FC236}">
                    <a16:creationId xmlns:a16="http://schemas.microsoft.com/office/drawing/2014/main" id="{D608D3DE-6DB3-405E-A912-4BCA0225C6EE}"/>
                  </a:ext>
                </a:extLst>
              </p:cNvPr>
              <p:cNvSpPr/>
              <p:nvPr/>
            </p:nvSpPr>
            <p:spPr>
              <a:xfrm rot="21437240">
                <a:off x="2809292" y="2738915"/>
                <a:ext cx="2975118" cy="2520409"/>
              </a:xfrm>
              <a:prstGeom prst="rect">
                <a:avLst/>
              </a:prstGeom>
              <a:solidFill>
                <a:schemeClr val="tx1">
                  <a:alpha val="56000"/>
                </a:schemeClr>
              </a:solidFill>
              <a:ln>
                <a:noFill/>
              </a:ln>
              <a:effectLst>
                <a:softEdge rad="4572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4" name="Rectangle: Top Corners One Rounded and One Snipped 4">
                <a:extLst>
                  <a:ext uri="{FF2B5EF4-FFF2-40B4-BE49-F238E27FC236}">
                    <a16:creationId xmlns:a16="http://schemas.microsoft.com/office/drawing/2014/main" id="{2C3F24A7-1887-46FE-836D-69C954FC3398}"/>
                  </a:ext>
                </a:extLst>
              </p:cNvPr>
              <p:cNvSpPr/>
              <p:nvPr/>
            </p:nvSpPr>
            <p:spPr>
              <a:xfrm rot="10800000">
                <a:off x="2728686" y="1944915"/>
                <a:ext cx="2496458" cy="2641601"/>
              </a:xfrm>
              <a:prstGeom prst="snipRoundRect">
                <a:avLst>
                  <a:gd name="adj1" fmla="val 29018"/>
                  <a:gd name="adj2" fmla="val 0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5" name="Right Triangle 19">
                <a:extLst>
                  <a:ext uri="{FF2B5EF4-FFF2-40B4-BE49-F238E27FC236}">
                    <a16:creationId xmlns:a16="http://schemas.microsoft.com/office/drawing/2014/main" id="{14DFAAFF-CE2B-4794-BD7E-D4D8E74B1324}"/>
                  </a:ext>
                </a:extLst>
              </p:cNvPr>
              <p:cNvSpPr/>
              <p:nvPr/>
            </p:nvSpPr>
            <p:spPr>
              <a:xfrm rot="20055388" flipH="1">
                <a:off x="4483047" y="4162710"/>
                <a:ext cx="820305" cy="293371"/>
              </a:xfrm>
              <a:custGeom>
                <a:avLst/>
                <a:gdLst>
                  <a:gd name="connsiteX0" fmla="*/ 0 w 749372"/>
                  <a:gd name="connsiteY0" fmla="*/ 235741 h 235741"/>
                  <a:gd name="connsiteX1" fmla="*/ 0 w 749372"/>
                  <a:gd name="connsiteY1" fmla="*/ 0 h 235741"/>
                  <a:gd name="connsiteX2" fmla="*/ 749372 w 749372"/>
                  <a:gd name="connsiteY2" fmla="*/ 235741 h 235741"/>
                  <a:gd name="connsiteX3" fmla="*/ 0 w 749372"/>
                  <a:gd name="connsiteY3" fmla="*/ 235741 h 235741"/>
                  <a:gd name="connsiteX0" fmla="*/ 0 w 1132830"/>
                  <a:gd name="connsiteY0" fmla="*/ 0 h 243349"/>
                  <a:gd name="connsiteX1" fmla="*/ 383458 w 1132830"/>
                  <a:gd name="connsiteY1" fmla="*/ 7608 h 243349"/>
                  <a:gd name="connsiteX2" fmla="*/ 1132830 w 1132830"/>
                  <a:gd name="connsiteY2" fmla="*/ 243349 h 243349"/>
                  <a:gd name="connsiteX3" fmla="*/ 0 w 1132830"/>
                  <a:gd name="connsiteY3" fmla="*/ 0 h 243349"/>
                  <a:gd name="connsiteX0" fmla="*/ 0 w 1132830"/>
                  <a:gd name="connsiteY0" fmla="*/ 0 h 243349"/>
                  <a:gd name="connsiteX1" fmla="*/ 383458 w 1132830"/>
                  <a:gd name="connsiteY1" fmla="*/ 7608 h 243349"/>
                  <a:gd name="connsiteX2" fmla="*/ 1132830 w 1132830"/>
                  <a:gd name="connsiteY2" fmla="*/ 243349 h 243349"/>
                  <a:gd name="connsiteX3" fmla="*/ 0 w 1132830"/>
                  <a:gd name="connsiteY3" fmla="*/ 0 h 24334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132830"/>
                  <a:gd name="connsiteY0" fmla="*/ 0 h 272989"/>
                  <a:gd name="connsiteX1" fmla="*/ 383458 w 1132830"/>
                  <a:gd name="connsiteY1" fmla="*/ 7608 h 272989"/>
                  <a:gd name="connsiteX2" fmla="*/ 1132830 w 1132830"/>
                  <a:gd name="connsiteY2" fmla="*/ 243349 h 272989"/>
                  <a:gd name="connsiteX3" fmla="*/ 0 w 1132830"/>
                  <a:gd name="connsiteY3" fmla="*/ 0 h 272989"/>
                  <a:gd name="connsiteX0" fmla="*/ 0 w 1086202"/>
                  <a:gd name="connsiteY0" fmla="*/ 0 h 291651"/>
                  <a:gd name="connsiteX1" fmla="*/ 383458 w 1086202"/>
                  <a:gd name="connsiteY1" fmla="*/ 7608 h 291651"/>
                  <a:gd name="connsiteX2" fmla="*/ 1086202 w 1086202"/>
                  <a:gd name="connsiteY2" fmla="*/ 272983 h 291651"/>
                  <a:gd name="connsiteX3" fmla="*/ 0 w 1086202"/>
                  <a:gd name="connsiteY3" fmla="*/ 0 h 291651"/>
                  <a:gd name="connsiteX0" fmla="*/ 0 w 1086202"/>
                  <a:gd name="connsiteY0" fmla="*/ 0 h 280606"/>
                  <a:gd name="connsiteX1" fmla="*/ 383458 w 1086202"/>
                  <a:gd name="connsiteY1" fmla="*/ 7608 h 280606"/>
                  <a:gd name="connsiteX2" fmla="*/ 1086202 w 1086202"/>
                  <a:gd name="connsiteY2" fmla="*/ 272983 h 280606"/>
                  <a:gd name="connsiteX3" fmla="*/ 0 w 1086202"/>
                  <a:gd name="connsiteY3" fmla="*/ 0 h 280606"/>
                  <a:gd name="connsiteX0" fmla="*/ 0 w 1068717"/>
                  <a:gd name="connsiteY0" fmla="*/ 0 h 286234"/>
                  <a:gd name="connsiteX1" fmla="*/ 383458 w 1068717"/>
                  <a:gd name="connsiteY1" fmla="*/ 7608 h 286234"/>
                  <a:gd name="connsiteX2" fmla="*/ 1068717 w 1068717"/>
                  <a:gd name="connsiteY2" fmla="*/ 281449 h 286234"/>
                  <a:gd name="connsiteX3" fmla="*/ 0 w 1068717"/>
                  <a:gd name="connsiteY3" fmla="*/ 0 h 286234"/>
                  <a:gd name="connsiteX0" fmla="*/ 0 w 1057061"/>
                  <a:gd name="connsiteY0" fmla="*/ 0 h 286234"/>
                  <a:gd name="connsiteX1" fmla="*/ 371802 w 1057061"/>
                  <a:gd name="connsiteY1" fmla="*/ 7608 h 286234"/>
                  <a:gd name="connsiteX2" fmla="*/ 1057061 w 1057061"/>
                  <a:gd name="connsiteY2" fmla="*/ 281449 h 286234"/>
                  <a:gd name="connsiteX3" fmla="*/ 0 w 1057061"/>
                  <a:gd name="connsiteY3" fmla="*/ 0 h 286234"/>
                  <a:gd name="connsiteX0" fmla="*/ 0 w 1088067"/>
                  <a:gd name="connsiteY0" fmla="*/ 9007 h 284403"/>
                  <a:gd name="connsiteX1" fmla="*/ 402808 w 1088067"/>
                  <a:gd name="connsiteY1" fmla="*/ 0 h 284403"/>
                  <a:gd name="connsiteX2" fmla="*/ 1088067 w 1088067"/>
                  <a:gd name="connsiteY2" fmla="*/ 273841 h 284403"/>
                  <a:gd name="connsiteX3" fmla="*/ 0 w 1088067"/>
                  <a:gd name="connsiteY3" fmla="*/ 9007 h 284403"/>
                  <a:gd name="connsiteX0" fmla="*/ 0 w 1088067"/>
                  <a:gd name="connsiteY0" fmla="*/ 9007 h 275282"/>
                  <a:gd name="connsiteX1" fmla="*/ 402808 w 1088067"/>
                  <a:gd name="connsiteY1" fmla="*/ 0 h 275282"/>
                  <a:gd name="connsiteX2" fmla="*/ 1088067 w 1088067"/>
                  <a:gd name="connsiteY2" fmla="*/ 273841 h 275282"/>
                  <a:gd name="connsiteX3" fmla="*/ 0 w 1088067"/>
                  <a:gd name="connsiteY3" fmla="*/ 9007 h 275282"/>
                  <a:gd name="connsiteX0" fmla="*/ 0 w 1080138"/>
                  <a:gd name="connsiteY0" fmla="*/ 9007 h 259851"/>
                  <a:gd name="connsiteX1" fmla="*/ 402808 w 1080138"/>
                  <a:gd name="connsiteY1" fmla="*/ 0 h 259851"/>
                  <a:gd name="connsiteX2" fmla="*/ 1080138 w 1080138"/>
                  <a:gd name="connsiteY2" fmla="*/ 250446 h 259851"/>
                  <a:gd name="connsiteX3" fmla="*/ 0 w 1080138"/>
                  <a:gd name="connsiteY3" fmla="*/ 9007 h 259851"/>
                  <a:gd name="connsiteX0" fmla="*/ 0 w 1080138"/>
                  <a:gd name="connsiteY0" fmla="*/ 9007 h 291041"/>
                  <a:gd name="connsiteX1" fmla="*/ 402808 w 1080138"/>
                  <a:gd name="connsiteY1" fmla="*/ 0 h 291041"/>
                  <a:gd name="connsiteX2" fmla="*/ 1080138 w 1080138"/>
                  <a:gd name="connsiteY2" fmla="*/ 250446 h 291041"/>
                  <a:gd name="connsiteX3" fmla="*/ 0 w 1080138"/>
                  <a:gd name="connsiteY3" fmla="*/ 9007 h 291041"/>
                  <a:gd name="connsiteX0" fmla="*/ 0 w 1080138"/>
                  <a:gd name="connsiteY0" fmla="*/ 9007 h 293371"/>
                  <a:gd name="connsiteX1" fmla="*/ 402808 w 1080138"/>
                  <a:gd name="connsiteY1" fmla="*/ 0 h 293371"/>
                  <a:gd name="connsiteX2" fmla="*/ 1080138 w 1080138"/>
                  <a:gd name="connsiteY2" fmla="*/ 250446 h 293371"/>
                  <a:gd name="connsiteX3" fmla="*/ 0 w 1080138"/>
                  <a:gd name="connsiteY3" fmla="*/ 9007 h 293371"/>
                  <a:gd name="connsiteX0" fmla="*/ 0 w 1080138"/>
                  <a:gd name="connsiteY0" fmla="*/ 9007 h 293371"/>
                  <a:gd name="connsiteX1" fmla="*/ 402808 w 1080138"/>
                  <a:gd name="connsiteY1" fmla="*/ 0 h 293371"/>
                  <a:gd name="connsiteX2" fmla="*/ 1080138 w 1080138"/>
                  <a:gd name="connsiteY2" fmla="*/ 250446 h 293371"/>
                  <a:gd name="connsiteX3" fmla="*/ 0 w 1080138"/>
                  <a:gd name="connsiteY3" fmla="*/ 9007 h 293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0138" h="293371">
                    <a:moveTo>
                      <a:pt x="0" y="9007"/>
                    </a:moveTo>
                    <a:cubicBezTo>
                      <a:pt x="191276" y="128482"/>
                      <a:pt x="297111" y="93328"/>
                      <a:pt x="402808" y="0"/>
                    </a:cubicBezTo>
                    <a:cubicBezTo>
                      <a:pt x="586231" y="108077"/>
                      <a:pt x="535379" y="179240"/>
                      <a:pt x="1080138" y="250446"/>
                    </a:cubicBezTo>
                    <a:cubicBezTo>
                      <a:pt x="844355" y="302622"/>
                      <a:pt x="304488" y="374440"/>
                      <a:pt x="0" y="9007"/>
                    </a:cubicBezTo>
                    <a:close/>
                  </a:path>
                </a:pathLst>
              </a:custGeom>
              <a:gradFill flip="none" rotWithShape="1">
                <a:gsLst>
                  <a:gs pos="69000">
                    <a:srgbClr val="C79200"/>
                  </a:gs>
                  <a:gs pos="0">
                    <a:srgbClr val="E6AA00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32" name="TextBox 70">
              <a:extLst>
                <a:ext uri="{FF2B5EF4-FFF2-40B4-BE49-F238E27FC236}">
                  <a16:creationId xmlns:a16="http://schemas.microsoft.com/office/drawing/2014/main" id="{1A827FD1-2179-4C98-B116-86B212F84B77}"/>
                </a:ext>
              </a:extLst>
            </p:cNvPr>
            <p:cNvSpPr txBox="1"/>
            <p:nvPr/>
          </p:nvSpPr>
          <p:spPr>
            <a:xfrm>
              <a:off x="391396" y="1937307"/>
              <a:ext cx="1897962" cy="12056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Calibri" panose="020F0502020204030204" pitchFamily="34" charset="0"/>
                </a:rPr>
                <a:t>E</a:t>
              </a:r>
              <a:r>
                <a:rPr lang="en-US" sz="1400" b="0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ssential </a:t>
              </a:r>
              <a:r>
                <a:rPr lang="en-US" sz="1400" b="1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co-founders align </a:t>
              </a:r>
              <a:r>
                <a:rPr lang="en-US" sz="1400" b="0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not only </a:t>
              </a:r>
              <a:r>
                <a:rPr lang="en-US" sz="1400" b="1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in terms </a:t>
              </a:r>
              <a:r>
                <a:rPr lang="en-US" sz="1400" b="0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of </a:t>
              </a:r>
              <a:r>
                <a:rPr lang="en-US" sz="1400" b="1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skills</a:t>
              </a:r>
              <a:r>
                <a:rPr lang="en-US" sz="1400" b="0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 and </a:t>
              </a:r>
              <a:r>
                <a:rPr lang="en-US" sz="1400" b="1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experience</a:t>
              </a:r>
              <a:r>
                <a:rPr lang="en-US" sz="1400" b="0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 </a:t>
              </a:r>
              <a:r>
                <a:rPr lang="en-US" sz="1400" b="1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but</a:t>
              </a:r>
              <a:r>
                <a:rPr lang="en-US" sz="1400" b="0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 also in their </a:t>
              </a:r>
              <a:r>
                <a:rPr lang="en-US" sz="1400" b="1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interpersonal dynamics </a:t>
              </a:r>
              <a:r>
                <a:rPr lang="en-US" sz="1400" b="0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to manage conflicts </a:t>
              </a:r>
              <a:endParaRPr lang="en-US" dirty="0"/>
            </a:p>
          </p:txBody>
        </p:sp>
      </p:grpSp>
      <p:grpSp>
        <p:nvGrpSpPr>
          <p:cNvPr id="136" name="Group 42">
            <a:extLst>
              <a:ext uri="{FF2B5EF4-FFF2-40B4-BE49-F238E27FC236}">
                <a16:creationId xmlns:a16="http://schemas.microsoft.com/office/drawing/2014/main" id="{71724ED3-29FF-440E-9930-1768B52EE035}"/>
              </a:ext>
            </a:extLst>
          </p:cNvPr>
          <p:cNvGrpSpPr/>
          <p:nvPr/>
        </p:nvGrpSpPr>
        <p:grpSpPr>
          <a:xfrm>
            <a:off x="4526366" y="3969864"/>
            <a:ext cx="266652" cy="424951"/>
            <a:chOff x="3976914" y="1402541"/>
            <a:chExt cx="421209" cy="78252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37" name="Rectangle 43">
              <a:extLst>
                <a:ext uri="{FF2B5EF4-FFF2-40B4-BE49-F238E27FC236}">
                  <a16:creationId xmlns:a16="http://schemas.microsoft.com/office/drawing/2014/main" id="{CCE25D10-485F-4C23-ACAE-A28B60095C93}"/>
                </a:ext>
              </a:extLst>
            </p:cNvPr>
            <p:cNvSpPr/>
            <p:nvPr/>
          </p:nvSpPr>
          <p:spPr>
            <a:xfrm rot="880349" flipH="1">
              <a:off x="4098363" y="1767370"/>
              <a:ext cx="36855" cy="417693"/>
            </a:xfrm>
            <a:prstGeom prst="rect">
              <a:avLst/>
            </a:prstGeom>
            <a:gradFill flip="none" rotWithShape="1">
              <a:gsLst>
                <a:gs pos="83208">
                  <a:schemeClr val="bg1"/>
                </a:gs>
                <a:gs pos="100000">
                  <a:schemeClr val="tx1">
                    <a:lumMod val="50000"/>
                    <a:lumOff val="50000"/>
                  </a:schemeClr>
                </a:gs>
                <a:gs pos="56609">
                  <a:schemeClr val="bg1">
                    <a:lumMod val="50000"/>
                  </a:schemeClr>
                </a:gs>
                <a:gs pos="25700">
                  <a:schemeClr val="bg1">
                    <a:lumMod val="95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" name="Oval 44">
              <a:extLst>
                <a:ext uri="{FF2B5EF4-FFF2-40B4-BE49-F238E27FC236}">
                  <a16:creationId xmlns:a16="http://schemas.microsoft.com/office/drawing/2014/main" id="{A173F511-D2A1-4E4B-8A57-8E3E69F16563}"/>
                </a:ext>
              </a:extLst>
            </p:cNvPr>
            <p:cNvSpPr/>
            <p:nvPr/>
          </p:nvSpPr>
          <p:spPr>
            <a:xfrm>
              <a:off x="3976914" y="1546639"/>
              <a:ext cx="421209" cy="421209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innerShdw blurRad="304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Trapezoid 10">
              <a:extLst>
                <a:ext uri="{FF2B5EF4-FFF2-40B4-BE49-F238E27FC236}">
                  <a16:creationId xmlns:a16="http://schemas.microsoft.com/office/drawing/2014/main" id="{113B051F-72FA-4984-90EA-FC2BD1F4EF87}"/>
                </a:ext>
              </a:extLst>
            </p:cNvPr>
            <p:cNvSpPr/>
            <p:nvPr/>
          </p:nvSpPr>
          <p:spPr>
            <a:xfrm rot="1060331">
              <a:off x="4130543" y="1496993"/>
              <a:ext cx="197638" cy="310350"/>
            </a:xfrm>
            <a:custGeom>
              <a:avLst/>
              <a:gdLst>
                <a:gd name="connsiteX0" fmla="*/ 0 w 1129849"/>
                <a:gd name="connsiteY0" fmla="*/ 1197614 h 1197614"/>
                <a:gd name="connsiteX1" fmla="*/ 282462 w 1129849"/>
                <a:gd name="connsiteY1" fmla="*/ 0 h 1197614"/>
                <a:gd name="connsiteX2" fmla="*/ 847387 w 1129849"/>
                <a:gd name="connsiteY2" fmla="*/ 0 h 1197614"/>
                <a:gd name="connsiteX3" fmla="*/ 1129849 w 1129849"/>
                <a:gd name="connsiteY3" fmla="*/ 1197614 h 1197614"/>
                <a:gd name="connsiteX4" fmla="*/ 0 w 1129849"/>
                <a:gd name="connsiteY4" fmla="*/ 1197614 h 1197614"/>
                <a:gd name="connsiteX0" fmla="*/ 0 w 1129849"/>
                <a:gd name="connsiteY0" fmla="*/ 1197614 h 1310535"/>
                <a:gd name="connsiteX1" fmla="*/ 282462 w 1129849"/>
                <a:gd name="connsiteY1" fmla="*/ 0 h 1310535"/>
                <a:gd name="connsiteX2" fmla="*/ 847387 w 1129849"/>
                <a:gd name="connsiteY2" fmla="*/ 0 h 1310535"/>
                <a:gd name="connsiteX3" fmla="*/ 1129849 w 1129849"/>
                <a:gd name="connsiteY3" fmla="*/ 1197614 h 1310535"/>
                <a:gd name="connsiteX4" fmla="*/ 0 w 1129849"/>
                <a:gd name="connsiteY4" fmla="*/ 1197614 h 1310535"/>
                <a:gd name="connsiteX0" fmla="*/ 0 w 1129849"/>
                <a:gd name="connsiteY0" fmla="*/ 1197614 h 1358294"/>
                <a:gd name="connsiteX1" fmla="*/ 282462 w 1129849"/>
                <a:gd name="connsiteY1" fmla="*/ 0 h 1358294"/>
                <a:gd name="connsiteX2" fmla="*/ 847387 w 1129849"/>
                <a:gd name="connsiteY2" fmla="*/ 0 h 1358294"/>
                <a:gd name="connsiteX3" fmla="*/ 1129849 w 1129849"/>
                <a:gd name="connsiteY3" fmla="*/ 1197614 h 1358294"/>
                <a:gd name="connsiteX4" fmla="*/ 0 w 1129849"/>
                <a:gd name="connsiteY4" fmla="*/ 1197614 h 1358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9849" h="1358294">
                  <a:moveTo>
                    <a:pt x="0" y="1197614"/>
                  </a:moveTo>
                  <a:lnTo>
                    <a:pt x="282462" y="0"/>
                  </a:lnTo>
                  <a:lnTo>
                    <a:pt x="847387" y="0"/>
                  </a:lnTo>
                  <a:lnTo>
                    <a:pt x="1129849" y="1197614"/>
                  </a:lnTo>
                  <a:cubicBezTo>
                    <a:pt x="529520" y="1451687"/>
                    <a:pt x="415659" y="1367972"/>
                    <a:pt x="0" y="1197614"/>
                  </a:cubicBez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0" name="Oval 46">
              <a:extLst>
                <a:ext uri="{FF2B5EF4-FFF2-40B4-BE49-F238E27FC236}">
                  <a16:creationId xmlns:a16="http://schemas.microsoft.com/office/drawing/2014/main" id="{08062DB0-5BA9-4ADE-AC45-910B7616D598}"/>
                </a:ext>
              </a:extLst>
            </p:cNvPr>
            <p:cNvSpPr/>
            <p:nvPr/>
          </p:nvSpPr>
          <p:spPr>
            <a:xfrm>
              <a:off x="4142587" y="1402541"/>
              <a:ext cx="255535" cy="25553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1" name="Gedachtewolkje: wolk 140">
            <a:extLst>
              <a:ext uri="{FF2B5EF4-FFF2-40B4-BE49-F238E27FC236}">
                <a16:creationId xmlns:a16="http://schemas.microsoft.com/office/drawing/2014/main" id="{CD152C9C-61FC-4F20-8FC3-D57E04C2F77A}"/>
              </a:ext>
            </a:extLst>
          </p:cNvPr>
          <p:cNvSpPr/>
          <p:nvPr/>
        </p:nvSpPr>
        <p:spPr>
          <a:xfrm flipH="1">
            <a:off x="5666799" y="2295489"/>
            <a:ext cx="1212965" cy="676230"/>
          </a:xfrm>
          <a:prstGeom prst="cloudCallout">
            <a:avLst>
              <a:gd name="adj1" fmla="val -29118"/>
              <a:gd name="adj2" fmla="val 8479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2" name="Picture 2" descr="54.900+ Boze Emoji Stockillustraties, royalty-free vector illustraties en  clipart - iStock">
            <a:extLst>
              <a:ext uri="{FF2B5EF4-FFF2-40B4-BE49-F238E27FC236}">
                <a16:creationId xmlns:a16="http://schemas.microsoft.com/office/drawing/2014/main" id="{76FBFD29-8F51-4F0D-BC42-47A27CECB1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462941" y="2576374"/>
            <a:ext cx="359657" cy="359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" name="Gedachtewolkje: wolk 142">
            <a:extLst>
              <a:ext uri="{FF2B5EF4-FFF2-40B4-BE49-F238E27FC236}">
                <a16:creationId xmlns:a16="http://schemas.microsoft.com/office/drawing/2014/main" id="{C20CEAA1-CC44-497F-A34F-709A1D4140DB}"/>
              </a:ext>
            </a:extLst>
          </p:cNvPr>
          <p:cNvSpPr/>
          <p:nvPr/>
        </p:nvSpPr>
        <p:spPr>
          <a:xfrm>
            <a:off x="7001558" y="2371625"/>
            <a:ext cx="1232344" cy="764645"/>
          </a:xfrm>
          <a:prstGeom prst="cloudCallou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4" name="Picture 8" descr="Verwarde En Verbaasde Emoji, In De War, Emoji, Vraag Afbeelding PNG Met  Transparante Achtergrond Gratis">
            <a:extLst>
              <a:ext uri="{FF2B5EF4-FFF2-40B4-BE49-F238E27FC236}">
                <a16:creationId xmlns:a16="http://schemas.microsoft.com/office/drawing/2014/main" id="{B233FD03-93C3-4D9E-A3A0-610BEBCF8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8041" y="2488277"/>
            <a:ext cx="326237" cy="326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5" name="Gedachtewolkje: wolk 144">
            <a:extLst>
              <a:ext uri="{FF2B5EF4-FFF2-40B4-BE49-F238E27FC236}">
                <a16:creationId xmlns:a16="http://schemas.microsoft.com/office/drawing/2014/main" id="{0C3C2ABD-52DA-43A0-8A0D-286B23409279}"/>
              </a:ext>
            </a:extLst>
          </p:cNvPr>
          <p:cNvSpPr/>
          <p:nvPr/>
        </p:nvSpPr>
        <p:spPr>
          <a:xfrm flipH="1">
            <a:off x="8353602" y="762440"/>
            <a:ext cx="1212965" cy="676230"/>
          </a:xfrm>
          <a:prstGeom prst="cloudCallout">
            <a:avLst>
              <a:gd name="adj1" fmla="val -29118"/>
              <a:gd name="adj2" fmla="val 8479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6" name="Picture 2" descr="54.900+ Boze Emoji Stockillustraties, royalty-free vector illustraties en  clipart - iStock">
            <a:extLst>
              <a:ext uri="{FF2B5EF4-FFF2-40B4-BE49-F238E27FC236}">
                <a16:creationId xmlns:a16="http://schemas.microsoft.com/office/drawing/2014/main" id="{70D16D8D-852C-4E4D-AC6D-32DADBF82E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219377" y="1070751"/>
            <a:ext cx="359657" cy="359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7" name="Gedachtewolkje: wolk 146">
            <a:extLst>
              <a:ext uri="{FF2B5EF4-FFF2-40B4-BE49-F238E27FC236}">
                <a16:creationId xmlns:a16="http://schemas.microsoft.com/office/drawing/2014/main" id="{26DF9B45-278F-4C05-89B1-B0BFAC2B6618}"/>
              </a:ext>
            </a:extLst>
          </p:cNvPr>
          <p:cNvSpPr/>
          <p:nvPr/>
        </p:nvSpPr>
        <p:spPr>
          <a:xfrm>
            <a:off x="9688361" y="838576"/>
            <a:ext cx="1232344" cy="764645"/>
          </a:xfrm>
          <a:prstGeom prst="cloudCallou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8" name="Picture 8" descr="Verwarde En Verbaasde Emoji, In De War, Emoji, Vraag Afbeelding PNG Met  Transparante Achtergrond Gratis">
            <a:extLst>
              <a:ext uri="{FF2B5EF4-FFF2-40B4-BE49-F238E27FC236}">
                <a16:creationId xmlns:a16="http://schemas.microsoft.com/office/drawing/2014/main" id="{2C93FC9F-B1A3-499D-8D81-8BB807F3D2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4844" y="955228"/>
            <a:ext cx="326237" cy="326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0" name="Gedachtewolkje: wolk 149">
            <a:extLst>
              <a:ext uri="{FF2B5EF4-FFF2-40B4-BE49-F238E27FC236}">
                <a16:creationId xmlns:a16="http://schemas.microsoft.com/office/drawing/2014/main" id="{04F5C879-5CD1-4401-A29C-8E398FABCAFC}"/>
              </a:ext>
            </a:extLst>
          </p:cNvPr>
          <p:cNvSpPr/>
          <p:nvPr/>
        </p:nvSpPr>
        <p:spPr>
          <a:xfrm flipH="1">
            <a:off x="331784" y="2910387"/>
            <a:ext cx="1212965" cy="676230"/>
          </a:xfrm>
          <a:prstGeom prst="cloudCallout">
            <a:avLst>
              <a:gd name="adj1" fmla="val -58941"/>
              <a:gd name="adj2" fmla="val 17923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278" name="Picture 14" descr="Smiley Emoji PNG Images | Free Photos, PNG Stickers, Wallpapers &amp;  Backgrounds - rawpixel">
            <a:extLst>
              <a:ext uri="{FF2B5EF4-FFF2-40B4-BE49-F238E27FC236}">
                <a16:creationId xmlns:a16="http://schemas.microsoft.com/office/drawing/2014/main" id="{118AE38F-69B0-4D66-9DD3-A9EF818544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947" y="3080872"/>
            <a:ext cx="345745" cy="310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80" name="Picture 16" descr="Apple Emoji Faces, Emoji Pictures [Download PNG] | Emoji Island">
            <a:extLst>
              <a:ext uri="{FF2B5EF4-FFF2-40B4-BE49-F238E27FC236}">
                <a16:creationId xmlns:a16="http://schemas.microsoft.com/office/drawing/2014/main" id="{A2CC1459-35FF-448B-8461-59C7845E88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3481" y="2842124"/>
            <a:ext cx="359657" cy="359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1" name="Gedachtewolkje: wolk 150">
            <a:extLst>
              <a:ext uri="{FF2B5EF4-FFF2-40B4-BE49-F238E27FC236}">
                <a16:creationId xmlns:a16="http://schemas.microsoft.com/office/drawing/2014/main" id="{677AA4D9-B86F-4E2D-B1F0-5AC07AA3B3A8}"/>
              </a:ext>
            </a:extLst>
          </p:cNvPr>
          <p:cNvSpPr/>
          <p:nvPr/>
        </p:nvSpPr>
        <p:spPr>
          <a:xfrm>
            <a:off x="10996831" y="2618811"/>
            <a:ext cx="1232344" cy="764645"/>
          </a:xfrm>
          <a:prstGeom prst="cloudCallou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Gedachtewolkje: wolk 151">
            <a:extLst>
              <a:ext uri="{FF2B5EF4-FFF2-40B4-BE49-F238E27FC236}">
                <a16:creationId xmlns:a16="http://schemas.microsoft.com/office/drawing/2014/main" id="{570F8CB8-C04D-4FC3-99FD-D38E31AA4D31}"/>
              </a:ext>
            </a:extLst>
          </p:cNvPr>
          <p:cNvSpPr/>
          <p:nvPr/>
        </p:nvSpPr>
        <p:spPr>
          <a:xfrm flipH="1">
            <a:off x="8527680" y="3422064"/>
            <a:ext cx="1664903" cy="764645"/>
          </a:xfrm>
          <a:prstGeom prst="cloudCallout">
            <a:avLst>
              <a:gd name="adj1" fmla="val -58856"/>
              <a:gd name="adj2" fmla="val 33589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3" name="Picture 16" descr="Apple Emoji Faces, Emoji Pictures [Download PNG] | Emoji Island">
            <a:extLst>
              <a:ext uri="{FF2B5EF4-FFF2-40B4-BE49-F238E27FC236}">
                <a16:creationId xmlns:a16="http://schemas.microsoft.com/office/drawing/2014/main" id="{ED801EF5-F074-4FBD-BB9E-439FFB137A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8325" y="3637461"/>
            <a:ext cx="359657" cy="359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8995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3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23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3" grpId="0"/>
      <p:bldP spid="94" grpId="0"/>
      <p:bldP spid="95" grpId="0"/>
      <p:bldP spid="9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B389AC3-DFC2-4D5C-B7BE-D79A88F5BEB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5300DA">
                  <a:alpha val="0"/>
                </a:srgbClr>
              </a:gs>
              <a:gs pos="42000">
                <a:srgbClr val="390099">
                  <a:alpha val="76000"/>
                </a:srgbClr>
              </a:gs>
              <a:gs pos="89000">
                <a:srgbClr val="0070C0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664CD39-D7D7-437D-9BB2-B8D944CB3529}"/>
              </a:ext>
            </a:extLst>
          </p:cNvPr>
          <p:cNvSpPr/>
          <p:nvPr/>
        </p:nvSpPr>
        <p:spPr>
          <a:xfrm>
            <a:off x="6096000" y="0"/>
            <a:ext cx="6096000" cy="6858001"/>
          </a:xfrm>
          <a:custGeom>
            <a:avLst/>
            <a:gdLst>
              <a:gd name="connsiteX0" fmla="*/ 0 w 5925268"/>
              <a:gd name="connsiteY0" fmla="*/ 0 h 6858001"/>
              <a:gd name="connsiteX1" fmla="*/ 5925268 w 5925268"/>
              <a:gd name="connsiteY1" fmla="*/ 0 h 6858001"/>
              <a:gd name="connsiteX2" fmla="*/ 5925268 w 5925268"/>
              <a:gd name="connsiteY2" fmla="*/ 6858001 h 6858001"/>
              <a:gd name="connsiteX3" fmla="*/ 5489768 w 5925268"/>
              <a:gd name="connsiteY3" fmla="*/ 6858001 h 6858001"/>
              <a:gd name="connsiteX4" fmla="*/ 5479999 w 5925268"/>
              <a:gd name="connsiteY4" fmla="*/ 6803296 h 6858001"/>
              <a:gd name="connsiteX5" fmla="*/ 264122 w 5925268"/>
              <a:gd name="connsiteY5" fmla="*/ 119407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25268" h="6858001">
                <a:moveTo>
                  <a:pt x="0" y="0"/>
                </a:moveTo>
                <a:lnTo>
                  <a:pt x="5925268" y="0"/>
                </a:lnTo>
                <a:lnTo>
                  <a:pt x="5925268" y="6858001"/>
                </a:lnTo>
                <a:lnTo>
                  <a:pt x="5489768" y="6858001"/>
                </a:lnTo>
                <a:lnTo>
                  <a:pt x="5479999" y="6803296"/>
                </a:lnTo>
                <a:cubicBezTo>
                  <a:pt x="4875704" y="3850183"/>
                  <a:pt x="2908419" y="1393560"/>
                  <a:pt x="264122" y="119407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11000"/>
                </a:schemeClr>
              </a:gs>
              <a:gs pos="69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B0CEA3A-F367-4AB9-B4D0-3B74E8036545}"/>
              </a:ext>
            </a:extLst>
          </p:cNvPr>
          <p:cNvSpPr/>
          <p:nvPr/>
        </p:nvSpPr>
        <p:spPr>
          <a:xfrm>
            <a:off x="2286000" y="0"/>
            <a:ext cx="9906000" cy="6858001"/>
          </a:xfrm>
          <a:custGeom>
            <a:avLst/>
            <a:gdLst>
              <a:gd name="connsiteX0" fmla="*/ 0 w 5925268"/>
              <a:gd name="connsiteY0" fmla="*/ 0 h 6858001"/>
              <a:gd name="connsiteX1" fmla="*/ 5925268 w 5925268"/>
              <a:gd name="connsiteY1" fmla="*/ 0 h 6858001"/>
              <a:gd name="connsiteX2" fmla="*/ 5925268 w 5925268"/>
              <a:gd name="connsiteY2" fmla="*/ 6858001 h 6858001"/>
              <a:gd name="connsiteX3" fmla="*/ 5489768 w 5925268"/>
              <a:gd name="connsiteY3" fmla="*/ 6858001 h 6858001"/>
              <a:gd name="connsiteX4" fmla="*/ 5479999 w 5925268"/>
              <a:gd name="connsiteY4" fmla="*/ 6803296 h 6858001"/>
              <a:gd name="connsiteX5" fmla="*/ 264122 w 5925268"/>
              <a:gd name="connsiteY5" fmla="*/ 119407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25268" h="6858001">
                <a:moveTo>
                  <a:pt x="0" y="0"/>
                </a:moveTo>
                <a:lnTo>
                  <a:pt x="5925268" y="0"/>
                </a:lnTo>
                <a:lnTo>
                  <a:pt x="5925268" y="6858001"/>
                </a:lnTo>
                <a:lnTo>
                  <a:pt x="5489768" y="6858001"/>
                </a:lnTo>
                <a:lnTo>
                  <a:pt x="5479999" y="6803296"/>
                </a:lnTo>
                <a:cubicBezTo>
                  <a:pt x="4875704" y="3850183"/>
                  <a:pt x="2908419" y="1393560"/>
                  <a:pt x="264122" y="119407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11000"/>
                </a:schemeClr>
              </a:gs>
              <a:gs pos="69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1D49638-3502-407B-9113-CFE2C0FC86B0}"/>
              </a:ext>
            </a:extLst>
          </p:cNvPr>
          <p:cNvSpPr/>
          <p:nvPr/>
        </p:nvSpPr>
        <p:spPr>
          <a:xfrm>
            <a:off x="0" y="-1"/>
            <a:ext cx="12192000" cy="6858001"/>
          </a:xfrm>
          <a:custGeom>
            <a:avLst/>
            <a:gdLst>
              <a:gd name="connsiteX0" fmla="*/ 0 w 12192000"/>
              <a:gd name="connsiteY0" fmla="*/ 0 h 6858001"/>
              <a:gd name="connsiteX1" fmla="*/ 12192000 w 12192000"/>
              <a:gd name="connsiteY1" fmla="*/ 0 h 6858001"/>
              <a:gd name="connsiteX2" fmla="*/ 12192000 w 12192000"/>
              <a:gd name="connsiteY2" fmla="*/ 6858001 h 6858001"/>
              <a:gd name="connsiteX3" fmla="*/ 10724640 w 12192000"/>
              <a:gd name="connsiteY3" fmla="*/ 6858001 h 6858001"/>
              <a:gd name="connsiteX4" fmla="*/ 10691726 w 12192000"/>
              <a:gd name="connsiteY4" fmla="*/ 6803296 h 6858001"/>
              <a:gd name="connsiteX5" fmla="*/ 42268 w 12192000"/>
              <a:gd name="connsiteY5" fmla="*/ 1459818 h 6858001"/>
              <a:gd name="connsiteX6" fmla="*/ 0 w 12192000"/>
              <a:gd name="connsiteY6" fmla="*/ 1449418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1">
                <a:moveTo>
                  <a:pt x="0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10724640" y="6858001"/>
                </a:lnTo>
                <a:lnTo>
                  <a:pt x="10691726" y="6803296"/>
                </a:lnTo>
                <a:cubicBezTo>
                  <a:pt x="9228285" y="4680746"/>
                  <a:pt x="5392397" y="2814684"/>
                  <a:pt x="42268" y="1459818"/>
                </a:cubicBezTo>
                <a:lnTo>
                  <a:pt x="0" y="1449418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20000"/>
                </a:schemeClr>
              </a:gs>
              <a:gs pos="69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D2E9349-4E05-4CC3-8EA3-873E671080D7}"/>
              </a:ext>
            </a:extLst>
          </p:cNvPr>
          <p:cNvGrpSpPr/>
          <p:nvPr/>
        </p:nvGrpSpPr>
        <p:grpSpPr>
          <a:xfrm>
            <a:off x="-96534" y="752357"/>
            <a:ext cx="2508250" cy="4548515"/>
            <a:chOff x="882650" y="1174105"/>
            <a:chExt cx="2508250" cy="4548515"/>
          </a:xfrm>
          <a:effectLst>
            <a:reflection blurRad="88900" stA="57000" endPos="20000" dir="5400000" sy="-100000" algn="bl" rotWithShape="0"/>
          </a:effectLst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E3F4AC37-272F-4CAE-8511-C6564EAFF7C5}"/>
                </a:ext>
              </a:extLst>
            </p:cNvPr>
            <p:cNvSpPr/>
            <p:nvPr/>
          </p:nvSpPr>
          <p:spPr>
            <a:xfrm>
              <a:off x="1181100" y="2202180"/>
              <a:ext cx="2209800" cy="3520440"/>
            </a:xfrm>
            <a:prstGeom prst="roundRect">
              <a:avLst>
                <a:gd name="adj" fmla="val 4253"/>
              </a:avLst>
            </a:prstGeom>
            <a:gradFill flip="none" rotWithShape="1">
              <a:gsLst>
                <a:gs pos="0">
                  <a:srgbClr val="FF33A8">
                    <a:alpha val="15000"/>
                  </a:srgbClr>
                </a:gs>
                <a:gs pos="50000">
                  <a:srgbClr val="9E0059"/>
                </a:gs>
                <a:gs pos="94000">
                  <a:srgbClr val="580032">
                    <a:alpha val="62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CB0C64F-BF0C-45E2-A8FD-00027EDBAD76}"/>
                </a:ext>
              </a:extLst>
            </p:cNvPr>
            <p:cNvSpPr/>
            <p:nvPr/>
          </p:nvSpPr>
          <p:spPr>
            <a:xfrm>
              <a:off x="1181100" y="2202180"/>
              <a:ext cx="2209800" cy="3520440"/>
            </a:xfrm>
            <a:custGeom>
              <a:avLst/>
              <a:gdLst>
                <a:gd name="connsiteX0" fmla="*/ 2050608 w 2209800"/>
                <a:gd name="connsiteY0" fmla="*/ 0 h 3520440"/>
                <a:gd name="connsiteX1" fmla="*/ 2115817 w 2209800"/>
                <a:gd name="connsiteY1" fmla="*/ 0 h 3520440"/>
                <a:gd name="connsiteX2" fmla="*/ 2209800 w 2209800"/>
                <a:gd name="connsiteY2" fmla="*/ 93983 h 3520440"/>
                <a:gd name="connsiteX3" fmla="*/ 2209800 w 2209800"/>
                <a:gd name="connsiteY3" fmla="*/ 3426457 h 3520440"/>
                <a:gd name="connsiteX4" fmla="*/ 2115817 w 2209800"/>
                <a:gd name="connsiteY4" fmla="*/ 3520440 h 3520440"/>
                <a:gd name="connsiteX5" fmla="*/ 93983 w 2209800"/>
                <a:gd name="connsiteY5" fmla="*/ 3520440 h 3520440"/>
                <a:gd name="connsiteX6" fmla="*/ 0 w 2209800"/>
                <a:gd name="connsiteY6" fmla="*/ 3426457 h 3520440"/>
                <a:gd name="connsiteX7" fmla="*/ 0 w 2209800"/>
                <a:gd name="connsiteY7" fmla="*/ 3193107 h 3520440"/>
                <a:gd name="connsiteX8" fmla="*/ 10830 w 2209800"/>
                <a:gd name="connsiteY8" fmla="*/ 3192380 h 3520440"/>
                <a:gd name="connsiteX9" fmla="*/ 2057400 w 2209800"/>
                <a:gd name="connsiteY9" fmla="*/ 178754 h 3520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9800" h="3520440">
                  <a:moveTo>
                    <a:pt x="2050608" y="0"/>
                  </a:moveTo>
                  <a:lnTo>
                    <a:pt x="2115817" y="0"/>
                  </a:lnTo>
                  <a:cubicBezTo>
                    <a:pt x="2167722" y="0"/>
                    <a:pt x="2209800" y="42078"/>
                    <a:pt x="2209800" y="93983"/>
                  </a:cubicBezTo>
                  <a:lnTo>
                    <a:pt x="2209800" y="3426457"/>
                  </a:lnTo>
                  <a:cubicBezTo>
                    <a:pt x="2209800" y="3478362"/>
                    <a:pt x="2167722" y="3520440"/>
                    <a:pt x="2115817" y="3520440"/>
                  </a:cubicBezTo>
                  <a:lnTo>
                    <a:pt x="93983" y="3520440"/>
                  </a:lnTo>
                  <a:cubicBezTo>
                    <a:pt x="42078" y="3520440"/>
                    <a:pt x="0" y="3478362"/>
                    <a:pt x="0" y="3426457"/>
                  </a:cubicBezTo>
                  <a:lnTo>
                    <a:pt x="0" y="3193107"/>
                  </a:lnTo>
                  <a:lnTo>
                    <a:pt x="10830" y="3192380"/>
                  </a:lnTo>
                  <a:cubicBezTo>
                    <a:pt x="1160358" y="3037252"/>
                    <a:pt x="2057400" y="1747208"/>
                    <a:pt x="2057400" y="178754"/>
                  </a:cubicBezTo>
                  <a:close/>
                </a:path>
              </a:pathLst>
            </a:custGeom>
            <a:gradFill flip="none" rotWithShape="1">
              <a:gsLst>
                <a:gs pos="33000">
                  <a:schemeClr val="bg1">
                    <a:alpha val="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22771D4-C6A7-4191-8833-D6A9ECBAFB7E}"/>
                </a:ext>
              </a:extLst>
            </p:cNvPr>
            <p:cNvSpPr/>
            <p:nvPr/>
          </p:nvSpPr>
          <p:spPr>
            <a:xfrm>
              <a:off x="1181100" y="4141297"/>
              <a:ext cx="2209800" cy="1581323"/>
            </a:xfrm>
            <a:custGeom>
              <a:avLst/>
              <a:gdLst>
                <a:gd name="connsiteX0" fmla="*/ 2209800 w 2209800"/>
                <a:gd name="connsiteY0" fmla="*/ 0 h 1581323"/>
                <a:gd name="connsiteX1" fmla="*/ 2209800 w 2209800"/>
                <a:gd name="connsiteY1" fmla="*/ 1487340 h 1581323"/>
                <a:gd name="connsiteX2" fmla="*/ 2115817 w 2209800"/>
                <a:gd name="connsiteY2" fmla="*/ 1581323 h 1581323"/>
                <a:gd name="connsiteX3" fmla="*/ 93983 w 2209800"/>
                <a:gd name="connsiteY3" fmla="*/ 1581323 h 1581323"/>
                <a:gd name="connsiteX4" fmla="*/ 0 w 2209800"/>
                <a:gd name="connsiteY4" fmla="*/ 1487340 h 1581323"/>
                <a:gd name="connsiteX5" fmla="*/ 0 w 2209800"/>
                <a:gd name="connsiteY5" fmla="*/ 1386730 h 1581323"/>
                <a:gd name="connsiteX6" fmla="*/ 167861 w 2209800"/>
                <a:gd name="connsiteY6" fmla="*/ 1395903 h 1581323"/>
                <a:gd name="connsiteX7" fmla="*/ 2159436 w 2209800"/>
                <a:gd name="connsiteY7" fmla="*/ 113143 h 158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09800" h="1581323">
                  <a:moveTo>
                    <a:pt x="2209800" y="0"/>
                  </a:moveTo>
                  <a:lnTo>
                    <a:pt x="2209800" y="1487340"/>
                  </a:lnTo>
                  <a:cubicBezTo>
                    <a:pt x="2209800" y="1539245"/>
                    <a:pt x="2167722" y="1581323"/>
                    <a:pt x="2115817" y="1581323"/>
                  </a:cubicBezTo>
                  <a:lnTo>
                    <a:pt x="93983" y="1581323"/>
                  </a:lnTo>
                  <a:cubicBezTo>
                    <a:pt x="42078" y="1581323"/>
                    <a:pt x="0" y="1539245"/>
                    <a:pt x="0" y="1487340"/>
                  </a:cubicBezTo>
                  <a:lnTo>
                    <a:pt x="0" y="1386730"/>
                  </a:lnTo>
                  <a:lnTo>
                    <a:pt x="167861" y="1395903"/>
                  </a:lnTo>
                  <a:cubicBezTo>
                    <a:pt x="1027850" y="1395903"/>
                    <a:pt x="1775892" y="877213"/>
                    <a:pt x="2159436" y="113143"/>
                  </a:cubicBezTo>
                  <a:close/>
                </a:path>
              </a:pathLst>
            </a:custGeom>
            <a:gradFill flip="none" rotWithShape="1">
              <a:gsLst>
                <a:gs pos="33000">
                  <a:schemeClr val="bg1">
                    <a:alpha val="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10F05F3-6BB6-4A54-9375-052E929CF1D1}"/>
                </a:ext>
              </a:extLst>
            </p:cNvPr>
            <p:cNvSpPr txBox="1"/>
            <p:nvPr/>
          </p:nvSpPr>
          <p:spPr>
            <a:xfrm>
              <a:off x="882650" y="1174105"/>
              <a:ext cx="1911350" cy="1446550"/>
            </a:xfrm>
            <a:prstGeom prst="rect">
              <a:avLst/>
            </a:prstGeom>
            <a:noFill/>
            <a:effectLst>
              <a:reflection blurRad="6350" stA="52000" endA="300" endPos="35000" dir="5400000" sy="-100000" algn="bl" rotWithShape="0"/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8800" dirty="0">
                  <a:solidFill>
                    <a:srgbClr val="B91C94"/>
                  </a:solidFill>
                  <a:effectLst>
                    <a:outerShdw blurRad="254000" dist="38100" dir="2700000" algn="tl" rotWithShape="0">
                      <a:prstClr val="black">
                        <a:alpha val="26000"/>
                      </a:prstClr>
                    </a:outerShdw>
                  </a:effectLst>
                  <a:latin typeface="Montserrat Black" panose="00000A00000000000000" pitchFamily="2" charset="0"/>
                </a:rPr>
                <a:t>01</a:t>
              </a:r>
            </a:p>
          </p:txBody>
        </p:sp>
        <p:pic>
          <p:nvPicPr>
            <p:cNvPr id="24" name="Graphic 23" descr="Hoofd met radertjes met effen opvulling">
              <a:extLst>
                <a:ext uri="{FF2B5EF4-FFF2-40B4-BE49-F238E27FC236}">
                  <a16:creationId xmlns:a16="http://schemas.microsoft.com/office/drawing/2014/main" id="{5BD4B493-3DBF-440D-A823-54F75FE646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580876" y="4822835"/>
              <a:ext cx="759224" cy="759224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7DC8D25-C3F0-4A7E-A7F4-CBC9D7381466}"/>
                </a:ext>
              </a:extLst>
            </p:cNvPr>
            <p:cNvSpPr txBox="1"/>
            <p:nvPr/>
          </p:nvSpPr>
          <p:spPr>
            <a:xfrm>
              <a:off x="1279525" y="2543003"/>
              <a:ext cx="15367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2400" b="1" spc="300" dirty="0">
                  <a:solidFill>
                    <a:schemeClr val="bg1"/>
                  </a:solidFill>
                  <a:latin typeface="+mn-lt"/>
                </a:rPr>
                <a:t>Insight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F8FD110-15CC-45AC-A00B-A6F17E7D0C80}"/>
                </a:ext>
              </a:extLst>
            </p:cNvPr>
            <p:cNvSpPr txBox="1"/>
            <p:nvPr/>
          </p:nvSpPr>
          <p:spPr>
            <a:xfrm>
              <a:off x="1281907" y="3373012"/>
              <a:ext cx="19050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600" b="1" dirty="0">
                  <a:solidFill>
                    <a:schemeClr val="bg1"/>
                  </a:solidFill>
                  <a:latin typeface="+mn-lt"/>
                </a:rPr>
                <a:t>Static perspective, which focuses on co-founders at a single point in time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7CF3DCA0-426C-43D3-A5D4-159EE1AFE423}"/>
              </a:ext>
            </a:extLst>
          </p:cNvPr>
          <p:cNvGrpSpPr/>
          <p:nvPr/>
        </p:nvGrpSpPr>
        <p:grpSpPr>
          <a:xfrm>
            <a:off x="5929082" y="762810"/>
            <a:ext cx="2508250" cy="4548515"/>
            <a:chOff x="8759825" y="1595566"/>
            <a:chExt cx="2508250" cy="4548515"/>
          </a:xfrm>
          <a:effectLst>
            <a:reflection blurRad="88900" stA="57000" endPos="20000" dir="5400000" sy="-100000" algn="bl" rotWithShape="0"/>
          </a:effectLst>
        </p:grpSpPr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0FE09C4A-580A-45EC-BC38-59EACD23E646}"/>
                </a:ext>
              </a:extLst>
            </p:cNvPr>
            <p:cNvSpPr/>
            <p:nvPr/>
          </p:nvSpPr>
          <p:spPr>
            <a:xfrm>
              <a:off x="9058275" y="2623641"/>
              <a:ext cx="2209800" cy="3520440"/>
            </a:xfrm>
            <a:prstGeom prst="roundRect">
              <a:avLst>
                <a:gd name="adj" fmla="val 4253"/>
              </a:avLst>
            </a:prstGeom>
            <a:gradFill flip="none" rotWithShape="1">
              <a:gsLst>
                <a:gs pos="0">
                  <a:srgbClr val="FFD661">
                    <a:alpha val="15000"/>
                  </a:srgbClr>
                </a:gs>
                <a:gs pos="50000">
                  <a:srgbClr val="FFBD00"/>
                </a:gs>
                <a:gs pos="94000">
                  <a:srgbClr val="BC8B00">
                    <a:alpha val="62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8A7AE69-0805-4E88-9E0A-9707BA6C7032}"/>
                </a:ext>
              </a:extLst>
            </p:cNvPr>
            <p:cNvSpPr/>
            <p:nvPr/>
          </p:nvSpPr>
          <p:spPr>
            <a:xfrm>
              <a:off x="9058275" y="2623641"/>
              <a:ext cx="2209800" cy="3520440"/>
            </a:xfrm>
            <a:custGeom>
              <a:avLst/>
              <a:gdLst>
                <a:gd name="connsiteX0" fmla="*/ 2050608 w 2209800"/>
                <a:gd name="connsiteY0" fmla="*/ 0 h 3520440"/>
                <a:gd name="connsiteX1" fmla="*/ 2115817 w 2209800"/>
                <a:gd name="connsiteY1" fmla="*/ 0 h 3520440"/>
                <a:gd name="connsiteX2" fmla="*/ 2209800 w 2209800"/>
                <a:gd name="connsiteY2" fmla="*/ 93983 h 3520440"/>
                <a:gd name="connsiteX3" fmla="*/ 2209800 w 2209800"/>
                <a:gd name="connsiteY3" fmla="*/ 3426457 h 3520440"/>
                <a:gd name="connsiteX4" fmla="*/ 2115817 w 2209800"/>
                <a:gd name="connsiteY4" fmla="*/ 3520440 h 3520440"/>
                <a:gd name="connsiteX5" fmla="*/ 93983 w 2209800"/>
                <a:gd name="connsiteY5" fmla="*/ 3520440 h 3520440"/>
                <a:gd name="connsiteX6" fmla="*/ 0 w 2209800"/>
                <a:gd name="connsiteY6" fmla="*/ 3426457 h 3520440"/>
                <a:gd name="connsiteX7" fmla="*/ 0 w 2209800"/>
                <a:gd name="connsiteY7" fmla="*/ 3193107 h 3520440"/>
                <a:gd name="connsiteX8" fmla="*/ 10830 w 2209800"/>
                <a:gd name="connsiteY8" fmla="*/ 3192380 h 3520440"/>
                <a:gd name="connsiteX9" fmla="*/ 2057400 w 2209800"/>
                <a:gd name="connsiteY9" fmla="*/ 178754 h 3520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9800" h="3520440">
                  <a:moveTo>
                    <a:pt x="2050608" y="0"/>
                  </a:moveTo>
                  <a:lnTo>
                    <a:pt x="2115817" y="0"/>
                  </a:lnTo>
                  <a:cubicBezTo>
                    <a:pt x="2167722" y="0"/>
                    <a:pt x="2209800" y="42078"/>
                    <a:pt x="2209800" y="93983"/>
                  </a:cubicBezTo>
                  <a:lnTo>
                    <a:pt x="2209800" y="3426457"/>
                  </a:lnTo>
                  <a:cubicBezTo>
                    <a:pt x="2209800" y="3478362"/>
                    <a:pt x="2167722" y="3520440"/>
                    <a:pt x="2115817" y="3520440"/>
                  </a:cubicBezTo>
                  <a:lnTo>
                    <a:pt x="93983" y="3520440"/>
                  </a:lnTo>
                  <a:cubicBezTo>
                    <a:pt x="42078" y="3520440"/>
                    <a:pt x="0" y="3478362"/>
                    <a:pt x="0" y="3426457"/>
                  </a:cubicBezTo>
                  <a:lnTo>
                    <a:pt x="0" y="3193107"/>
                  </a:lnTo>
                  <a:lnTo>
                    <a:pt x="10830" y="3192380"/>
                  </a:lnTo>
                  <a:cubicBezTo>
                    <a:pt x="1160358" y="3037252"/>
                    <a:pt x="2057400" y="1747208"/>
                    <a:pt x="2057400" y="178754"/>
                  </a:cubicBezTo>
                  <a:close/>
                </a:path>
              </a:pathLst>
            </a:custGeom>
            <a:gradFill flip="none" rotWithShape="1">
              <a:gsLst>
                <a:gs pos="33000">
                  <a:schemeClr val="bg1">
                    <a:alpha val="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D2DA1E8-C696-4558-8B96-0E3CF97076F9}"/>
                </a:ext>
              </a:extLst>
            </p:cNvPr>
            <p:cNvSpPr/>
            <p:nvPr/>
          </p:nvSpPr>
          <p:spPr>
            <a:xfrm>
              <a:off x="9058275" y="4562758"/>
              <a:ext cx="2209800" cy="1581323"/>
            </a:xfrm>
            <a:custGeom>
              <a:avLst/>
              <a:gdLst>
                <a:gd name="connsiteX0" fmla="*/ 2209800 w 2209800"/>
                <a:gd name="connsiteY0" fmla="*/ 0 h 1581323"/>
                <a:gd name="connsiteX1" fmla="*/ 2209800 w 2209800"/>
                <a:gd name="connsiteY1" fmla="*/ 1487340 h 1581323"/>
                <a:gd name="connsiteX2" fmla="*/ 2115817 w 2209800"/>
                <a:gd name="connsiteY2" fmla="*/ 1581323 h 1581323"/>
                <a:gd name="connsiteX3" fmla="*/ 93983 w 2209800"/>
                <a:gd name="connsiteY3" fmla="*/ 1581323 h 1581323"/>
                <a:gd name="connsiteX4" fmla="*/ 0 w 2209800"/>
                <a:gd name="connsiteY4" fmla="*/ 1487340 h 1581323"/>
                <a:gd name="connsiteX5" fmla="*/ 0 w 2209800"/>
                <a:gd name="connsiteY5" fmla="*/ 1386730 h 1581323"/>
                <a:gd name="connsiteX6" fmla="*/ 167861 w 2209800"/>
                <a:gd name="connsiteY6" fmla="*/ 1395903 h 1581323"/>
                <a:gd name="connsiteX7" fmla="*/ 2159436 w 2209800"/>
                <a:gd name="connsiteY7" fmla="*/ 113143 h 158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09800" h="1581323">
                  <a:moveTo>
                    <a:pt x="2209800" y="0"/>
                  </a:moveTo>
                  <a:lnTo>
                    <a:pt x="2209800" y="1487340"/>
                  </a:lnTo>
                  <a:cubicBezTo>
                    <a:pt x="2209800" y="1539245"/>
                    <a:pt x="2167722" y="1581323"/>
                    <a:pt x="2115817" y="1581323"/>
                  </a:cubicBezTo>
                  <a:lnTo>
                    <a:pt x="93983" y="1581323"/>
                  </a:lnTo>
                  <a:cubicBezTo>
                    <a:pt x="42078" y="1581323"/>
                    <a:pt x="0" y="1539245"/>
                    <a:pt x="0" y="1487340"/>
                  </a:cubicBezTo>
                  <a:lnTo>
                    <a:pt x="0" y="1386730"/>
                  </a:lnTo>
                  <a:lnTo>
                    <a:pt x="167861" y="1395903"/>
                  </a:lnTo>
                  <a:cubicBezTo>
                    <a:pt x="1027850" y="1395903"/>
                    <a:pt x="1775892" y="877213"/>
                    <a:pt x="2159436" y="113143"/>
                  </a:cubicBezTo>
                  <a:close/>
                </a:path>
              </a:pathLst>
            </a:custGeom>
            <a:gradFill flip="none" rotWithShape="1">
              <a:gsLst>
                <a:gs pos="33000">
                  <a:schemeClr val="bg1">
                    <a:alpha val="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786E4BC3-94CA-4C40-BF15-A92C20B14986}"/>
                </a:ext>
              </a:extLst>
            </p:cNvPr>
            <p:cNvSpPr txBox="1"/>
            <p:nvPr/>
          </p:nvSpPr>
          <p:spPr>
            <a:xfrm>
              <a:off x="8759825" y="1595566"/>
              <a:ext cx="1911350" cy="1446550"/>
            </a:xfrm>
            <a:prstGeom prst="rect">
              <a:avLst/>
            </a:prstGeom>
            <a:noFill/>
            <a:effectLst>
              <a:reflection blurRad="6350" stA="52000" endA="300" endPos="35000" dir="5400000" sy="-100000" algn="bl" rotWithShape="0"/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8800" dirty="0">
                  <a:solidFill>
                    <a:srgbClr val="FFD661"/>
                  </a:solidFill>
                  <a:effectLst>
                    <a:outerShdw blurRad="254000" dist="38100" dir="2700000" algn="tl" rotWithShape="0">
                      <a:prstClr val="black">
                        <a:alpha val="26000"/>
                      </a:prstClr>
                    </a:outerShdw>
                  </a:effectLst>
                  <a:latin typeface="Montserrat Black" panose="00000A00000000000000" pitchFamily="2" charset="0"/>
                </a:rPr>
                <a:t>03</a:t>
              </a:r>
            </a:p>
          </p:txBody>
        </p:sp>
        <p:pic>
          <p:nvPicPr>
            <p:cNvPr id="55" name="Graphic 54" descr="Hoofd met radertjes met effen opvulling">
              <a:extLst>
                <a:ext uri="{FF2B5EF4-FFF2-40B4-BE49-F238E27FC236}">
                  <a16:creationId xmlns:a16="http://schemas.microsoft.com/office/drawing/2014/main" id="{80C24EE4-FB32-4BDA-954C-E8A569858F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10458051" y="5244296"/>
              <a:ext cx="759224" cy="759224"/>
            </a:xfrm>
            <a:prstGeom prst="rect">
              <a:avLst/>
            </a:prstGeom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246B5106-DD1E-4D4A-8C5D-FB9004EF01C7}"/>
                </a:ext>
              </a:extLst>
            </p:cNvPr>
            <p:cNvSpPr txBox="1"/>
            <p:nvPr/>
          </p:nvSpPr>
          <p:spPr>
            <a:xfrm>
              <a:off x="9157159" y="2954011"/>
              <a:ext cx="15367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2400" b="1" spc="300" dirty="0">
                  <a:solidFill>
                    <a:schemeClr val="bg1"/>
                  </a:solidFill>
                  <a:latin typeface="+mn-lt"/>
                </a:rPr>
                <a:t>Insight</a:t>
              </a:r>
              <a:endParaRPr lang="en-IN" sz="1400" b="1" spc="3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EE8E8AE1-8C59-4506-AAE9-D3DD483D3CC5}"/>
                </a:ext>
              </a:extLst>
            </p:cNvPr>
            <p:cNvSpPr txBox="1"/>
            <p:nvPr/>
          </p:nvSpPr>
          <p:spPr>
            <a:xfrm>
              <a:off x="9052108" y="3834798"/>
              <a:ext cx="2145303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600" b="1" dirty="0">
                  <a:solidFill>
                    <a:schemeClr val="bg1"/>
                  </a:solidFill>
                  <a:latin typeface="+mn-lt"/>
                </a:rPr>
                <a:t>Investigating the dynamic development of co-founder relationships over time</a:t>
              </a:r>
            </a:p>
          </p:txBody>
        </p:sp>
      </p:grpSp>
      <p:pic>
        <p:nvPicPr>
          <p:cNvPr id="68" name="Picture 67">
            <a:extLst>
              <a:ext uri="{FF2B5EF4-FFF2-40B4-BE49-F238E27FC236}">
                <a16:creationId xmlns:a16="http://schemas.microsoft.com/office/drawing/2014/main" id="{BB0F4470-926F-4D4F-A527-B55E46E636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7284" y="8146323"/>
            <a:ext cx="12192000" cy="171532"/>
          </a:xfrm>
          <a:prstGeom prst="rect">
            <a:avLst/>
          </a:prstGeom>
        </p:spPr>
      </p:pic>
      <p:pic>
        <p:nvPicPr>
          <p:cNvPr id="69" name="Graphic 68" descr="Chevron arrows outline">
            <a:extLst>
              <a:ext uri="{FF2B5EF4-FFF2-40B4-BE49-F238E27FC236}">
                <a16:creationId xmlns:a16="http://schemas.microsoft.com/office/drawing/2014/main" id="{6836845D-6006-4705-A7FA-AFF140DC2A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49220" y="3175454"/>
            <a:ext cx="789658" cy="737804"/>
          </a:xfrm>
          <a:prstGeom prst="rect">
            <a:avLst/>
          </a:prstGeom>
        </p:spPr>
      </p:pic>
      <p:grpSp>
        <p:nvGrpSpPr>
          <p:cNvPr id="71" name="Group 60">
            <a:extLst>
              <a:ext uri="{FF2B5EF4-FFF2-40B4-BE49-F238E27FC236}">
                <a16:creationId xmlns:a16="http://schemas.microsoft.com/office/drawing/2014/main" id="{9F74DC75-3B2D-43A3-94D5-5E01BFC48C36}"/>
              </a:ext>
            </a:extLst>
          </p:cNvPr>
          <p:cNvGrpSpPr/>
          <p:nvPr/>
        </p:nvGrpSpPr>
        <p:grpSpPr>
          <a:xfrm>
            <a:off x="2827787" y="776878"/>
            <a:ext cx="2736442" cy="4548515"/>
            <a:chOff x="6074834" y="617312"/>
            <a:chExt cx="2736442" cy="4548515"/>
          </a:xfrm>
          <a:effectLst>
            <a:reflection blurRad="88900" stA="57000" endPos="20000" dir="5400000" sy="-100000" algn="bl" rotWithShape="0"/>
          </a:effectLst>
        </p:grpSpPr>
        <p:sp>
          <p:nvSpPr>
            <p:cNvPr id="72" name="Rectangle: Rounded Corners 40">
              <a:extLst>
                <a:ext uri="{FF2B5EF4-FFF2-40B4-BE49-F238E27FC236}">
                  <a16:creationId xmlns:a16="http://schemas.microsoft.com/office/drawing/2014/main" id="{DC850CBB-B92C-4FF4-BEA9-C689515A6AFB}"/>
                </a:ext>
              </a:extLst>
            </p:cNvPr>
            <p:cNvSpPr/>
            <p:nvPr/>
          </p:nvSpPr>
          <p:spPr>
            <a:xfrm>
              <a:off x="6373283" y="1645387"/>
              <a:ext cx="2341003" cy="3520440"/>
            </a:xfrm>
            <a:prstGeom prst="roundRect">
              <a:avLst>
                <a:gd name="adj" fmla="val 4253"/>
              </a:avLst>
            </a:prstGeom>
            <a:gradFill flip="none" rotWithShape="1">
              <a:gsLst>
                <a:gs pos="0">
                  <a:srgbClr val="FF8243">
                    <a:alpha val="15000"/>
                  </a:srgbClr>
                </a:gs>
                <a:gs pos="50000">
                  <a:srgbClr val="FF5400"/>
                </a:gs>
                <a:gs pos="94000">
                  <a:srgbClr val="B83D00">
                    <a:alpha val="62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900" dirty="0">
                <a:latin typeface="Montserrat" panose="00000500000000000000" pitchFamily="2" charset="0"/>
              </a:endParaRPr>
            </a:p>
          </p:txBody>
        </p:sp>
        <p:sp>
          <p:nvSpPr>
            <p:cNvPr id="73" name="Freeform: Shape 41">
              <a:extLst>
                <a:ext uri="{FF2B5EF4-FFF2-40B4-BE49-F238E27FC236}">
                  <a16:creationId xmlns:a16="http://schemas.microsoft.com/office/drawing/2014/main" id="{849AE89C-EFFB-425B-8642-BEFF4157B066}"/>
                </a:ext>
              </a:extLst>
            </p:cNvPr>
            <p:cNvSpPr/>
            <p:nvPr/>
          </p:nvSpPr>
          <p:spPr>
            <a:xfrm>
              <a:off x="6373283" y="1645387"/>
              <a:ext cx="2321773" cy="3506372"/>
            </a:xfrm>
            <a:custGeom>
              <a:avLst/>
              <a:gdLst>
                <a:gd name="connsiteX0" fmla="*/ 2050608 w 2209800"/>
                <a:gd name="connsiteY0" fmla="*/ 0 h 3520440"/>
                <a:gd name="connsiteX1" fmla="*/ 2115817 w 2209800"/>
                <a:gd name="connsiteY1" fmla="*/ 0 h 3520440"/>
                <a:gd name="connsiteX2" fmla="*/ 2209800 w 2209800"/>
                <a:gd name="connsiteY2" fmla="*/ 93983 h 3520440"/>
                <a:gd name="connsiteX3" fmla="*/ 2209800 w 2209800"/>
                <a:gd name="connsiteY3" fmla="*/ 3426457 h 3520440"/>
                <a:gd name="connsiteX4" fmla="*/ 2115817 w 2209800"/>
                <a:gd name="connsiteY4" fmla="*/ 3520440 h 3520440"/>
                <a:gd name="connsiteX5" fmla="*/ 93983 w 2209800"/>
                <a:gd name="connsiteY5" fmla="*/ 3520440 h 3520440"/>
                <a:gd name="connsiteX6" fmla="*/ 0 w 2209800"/>
                <a:gd name="connsiteY6" fmla="*/ 3426457 h 3520440"/>
                <a:gd name="connsiteX7" fmla="*/ 0 w 2209800"/>
                <a:gd name="connsiteY7" fmla="*/ 3193107 h 3520440"/>
                <a:gd name="connsiteX8" fmla="*/ 10830 w 2209800"/>
                <a:gd name="connsiteY8" fmla="*/ 3192380 h 3520440"/>
                <a:gd name="connsiteX9" fmla="*/ 2057400 w 2209800"/>
                <a:gd name="connsiteY9" fmla="*/ 178754 h 3520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9800" h="3520440">
                  <a:moveTo>
                    <a:pt x="2050608" y="0"/>
                  </a:moveTo>
                  <a:lnTo>
                    <a:pt x="2115817" y="0"/>
                  </a:lnTo>
                  <a:cubicBezTo>
                    <a:pt x="2167722" y="0"/>
                    <a:pt x="2209800" y="42078"/>
                    <a:pt x="2209800" y="93983"/>
                  </a:cubicBezTo>
                  <a:lnTo>
                    <a:pt x="2209800" y="3426457"/>
                  </a:lnTo>
                  <a:cubicBezTo>
                    <a:pt x="2209800" y="3478362"/>
                    <a:pt x="2167722" y="3520440"/>
                    <a:pt x="2115817" y="3520440"/>
                  </a:cubicBezTo>
                  <a:lnTo>
                    <a:pt x="93983" y="3520440"/>
                  </a:lnTo>
                  <a:cubicBezTo>
                    <a:pt x="42078" y="3520440"/>
                    <a:pt x="0" y="3478362"/>
                    <a:pt x="0" y="3426457"/>
                  </a:cubicBezTo>
                  <a:lnTo>
                    <a:pt x="0" y="3193107"/>
                  </a:lnTo>
                  <a:lnTo>
                    <a:pt x="10830" y="3192380"/>
                  </a:lnTo>
                  <a:cubicBezTo>
                    <a:pt x="1160358" y="3037252"/>
                    <a:pt x="2057400" y="1747208"/>
                    <a:pt x="2057400" y="178754"/>
                  </a:cubicBezTo>
                  <a:close/>
                </a:path>
              </a:pathLst>
            </a:custGeom>
            <a:gradFill flip="none" rotWithShape="1">
              <a:gsLst>
                <a:gs pos="33000">
                  <a:schemeClr val="bg1">
                    <a:alpha val="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74" name="Freeform: Shape 42">
              <a:extLst>
                <a:ext uri="{FF2B5EF4-FFF2-40B4-BE49-F238E27FC236}">
                  <a16:creationId xmlns:a16="http://schemas.microsoft.com/office/drawing/2014/main" id="{FD584D8C-F1E0-4217-9DF4-AB4E489CA4ED}"/>
                </a:ext>
              </a:extLst>
            </p:cNvPr>
            <p:cNvSpPr/>
            <p:nvPr/>
          </p:nvSpPr>
          <p:spPr>
            <a:xfrm>
              <a:off x="6341145" y="3570436"/>
              <a:ext cx="2366633" cy="1581323"/>
            </a:xfrm>
            <a:custGeom>
              <a:avLst/>
              <a:gdLst>
                <a:gd name="connsiteX0" fmla="*/ 2209800 w 2209800"/>
                <a:gd name="connsiteY0" fmla="*/ 0 h 1581323"/>
                <a:gd name="connsiteX1" fmla="*/ 2209800 w 2209800"/>
                <a:gd name="connsiteY1" fmla="*/ 1487340 h 1581323"/>
                <a:gd name="connsiteX2" fmla="*/ 2115817 w 2209800"/>
                <a:gd name="connsiteY2" fmla="*/ 1581323 h 1581323"/>
                <a:gd name="connsiteX3" fmla="*/ 93983 w 2209800"/>
                <a:gd name="connsiteY3" fmla="*/ 1581323 h 1581323"/>
                <a:gd name="connsiteX4" fmla="*/ 0 w 2209800"/>
                <a:gd name="connsiteY4" fmla="*/ 1487340 h 1581323"/>
                <a:gd name="connsiteX5" fmla="*/ 0 w 2209800"/>
                <a:gd name="connsiteY5" fmla="*/ 1386730 h 1581323"/>
                <a:gd name="connsiteX6" fmla="*/ 167861 w 2209800"/>
                <a:gd name="connsiteY6" fmla="*/ 1395903 h 1581323"/>
                <a:gd name="connsiteX7" fmla="*/ 2159436 w 2209800"/>
                <a:gd name="connsiteY7" fmla="*/ 113143 h 158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09800" h="1581323">
                  <a:moveTo>
                    <a:pt x="2209800" y="0"/>
                  </a:moveTo>
                  <a:lnTo>
                    <a:pt x="2209800" y="1487340"/>
                  </a:lnTo>
                  <a:cubicBezTo>
                    <a:pt x="2209800" y="1539245"/>
                    <a:pt x="2167722" y="1581323"/>
                    <a:pt x="2115817" y="1581323"/>
                  </a:cubicBezTo>
                  <a:lnTo>
                    <a:pt x="93983" y="1581323"/>
                  </a:lnTo>
                  <a:cubicBezTo>
                    <a:pt x="42078" y="1581323"/>
                    <a:pt x="0" y="1539245"/>
                    <a:pt x="0" y="1487340"/>
                  </a:cubicBezTo>
                  <a:lnTo>
                    <a:pt x="0" y="1386730"/>
                  </a:lnTo>
                  <a:lnTo>
                    <a:pt x="167861" y="1395903"/>
                  </a:lnTo>
                  <a:cubicBezTo>
                    <a:pt x="1027850" y="1395903"/>
                    <a:pt x="1775892" y="877213"/>
                    <a:pt x="2159436" y="113143"/>
                  </a:cubicBezTo>
                  <a:close/>
                </a:path>
              </a:pathLst>
            </a:custGeom>
            <a:gradFill flip="none" rotWithShape="1">
              <a:gsLst>
                <a:gs pos="33000">
                  <a:schemeClr val="bg1">
                    <a:alpha val="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75" name="TextBox 43">
              <a:extLst>
                <a:ext uri="{FF2B5EF4-FFF2-40B4-BE49-F238E27FC236}">
                  <a16:creationId xmlns:a16="http://schemas.microsoft.com/office/drawing/2014/main" id="{E8FE175D-605D-4C66-8E0C-ADD35F533ED5}"/>
                </a:ext>
              </a:extLst>
            </p:cNvPr>
            <p:cNvSpPr txBox="1"/>
            <p:nvPr/>
          </p:nvSpPr>
          <p:spPr>
            <a:xfrm>
              <a:off x="6074834" y="617312"/>
              <a:ext cx="1911350" cy="1446550"/>
            </a:xfrm>
            <a:prstGeom prst="rect">
              <a:avLst/>
            </a:prstGeom>
            <a:noFill/>
            <a:effectLst>
              <a:reflection blurRad="6350" stA="52000" endA="300" endPos="35000" dir="5400000" sy="-100000" algn="bl" rotWithShape="0"/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8800" dirty="0">
                  <a:solidFill>
                    <a:srgbClr val="FF8243"/>
                  </a:solidFill>
                  <a:effectLst>
                    <a:outerShdw blurRad="254000" dist="38100" dir="2700000" algn="tl" rotWithShape="0">
                      <a:prstClr val="black">
                        <a:alpha val="26000"/>
                      </a:prstClr>
                    </a:outerShdw>
                  </a:effectLst>
                  <a:latin typeface="Montserrat Black" panose="00000A00000000000000" pitchFamily="2" charset="0"/>
                </a:rPr>
                <a:t>02</a:t>
              </a:r>
            </a:p>
          </p:txBody>
        </p:sp>
        <p:pic>
          <p:nvPicPr>
            <p:cNvPr id="76" name="Graphic 75" descr="Verbindingen met effen opvulling">
              <a:extLst>
                <a:ext uri="{FF2B5EF4-FFF2-40B4-BE49-F238E27FC236}">
                  <a16:creationId xmlns:a16="http://schemas.microsoft.com/office/drawing/2014/main" id="{31E69616-0E76-4394-BE51-0007EBAB28F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7773060" y="4266042"/>
              <a:ext cx="759224" cy="759224"/>
            </a:xfrm>
            <a:prstGeom prst="rect">
              <a:avLst/>
            </a:prstGeom>
          </p:spPr>
        </p:pic>
        <p:sp>
          <p:nvSpPr>
            <p:cNvPr id="78" name="TextBox 46">
              <a:extLst>
                <a:ext uri="{FF2B5EF4-FFF2-40B4-BE49-F238E27FC236}">
                  <a16:creationId xmlns:a16="http://schemas.microsoft.com/office/drawing/2014/main" id="{BD2BE35D-5DE7-4C04-AA88-330B55EA2CA5}"/>
                </a:ext>
              </a:extLst>
            </p:cNvPr>
            <p:cNvSpPr txBox="1"/>
            <p:nvPr/>
          </p:nvSpPr>
          <p:spPr>
            <a:xfrm>
              <a:off x="6457277" y="1959360"/>
              <a:ext cx="15367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2400" b="1" spc="300" dirty="0">
                  <a:solidFill>
                    <a:schemeClr val="bg1"/>
                  </a:solidFill>
                  <a:latin typeface="+mn-lt"/>
                </a:rPr>
                <a:t>Insight</a:t>
              </a:r>
            </a:p>
          </p:txBody>
        </p:sp>
        <p:sp>
          <p:nvSpPr>
            <p:cNvPr id="79" name="TextBox 47">
              <a:extLst>
                <a:ext uri="{FF2B5EF4-FFF2-40B4-BE49-F238E27FC236}">
                  <a16:creationId xmlns:a16="http://schemas.microsoft.com/office/drawing/2014/main" id="{5964DF7B-06CB-4E36-B5CA-AE8E3E962D30}"/>
                </a:ext>
              </a:extLst>
            </p:cNvPr>
            <p:cNvSpPr txBox="1"/>
            <p:nvPr/>
          </p:nvSpPr>
          <p:spPr>
            <a:xfrm>
              <a:off x="6306746" y="2965587"/>
              <a:ext cx="250453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algn="ctr">
                <a:defRPr sz="1600" b="1">
                  <a:solidFill>
                    <a:schemeClr val="bg1"/>
                  </a:solidFill>
                  <a:latin typeface="+mn-lt"/>
                </a:defRPr>
              </a:lvl1pPr>
            </a:lstStyle>
            <a:p>
              <a:r>
                <a:rPr lang="en-US" dirty="0"/>
                <a:t>Overlooking dynamic nature of co-founder interactions</a:t>
              </a:r>
            </a:p>
          </p:txBody>
        </p:sp>
      </p:grpSp>
      <p:grpSp>
        <p:nvGrpSpPr>
          <p:cNvPr id="81" name="Group 61">
            <a:extLst>
              <a:ext uri="{FF2B5EF4-FFF2-40B4-BE49-F238E27FC236}">
                <a16:creationId xmlns:a16="http://schemas.microsoft.com/office/drawing/2014/main" id="{D8CCFF17-384A-4301-B228-7B38FBE2D63B}"/>
              </a:ext>
            </a:extLst>
          </p:cNvPr>
          <p:cNvGrpSpPr/>
          <p:nvPr/>
        </p:nvGrpSpPr>
        <p:grpSpPr>
          <a:xfrm>
            <a:off x="8973620" y="752357"/>
            <a:ext cx="2573356" cy="4548515"/>
            <a:chOff x="3389842" y="1595566"/>
            <a:chExt cx="2573356" cy="4548515"/>
          </a:xfrm>
          <a:effectLst>
            <a:reflection blurRad="88900" stA="57000" endPos="20000" dir="5400000" sy="-100000" algn="bl" rotWithShape="0"/>
          </a:effectLst>
        </p:grpSpPr>
        <p:sp>
          <p:nvSpPr>
            <p:cNvPr id="82" name="Rectangle: Rounded Corners 30">
              <a:extLst>
                <a:ext uri="{FF2B5EF4-FFF2-40B4-BE49-F238E27FC236}">
                  <a16:creationId xmlns:a16="http://schemas.microsoft.com/office/drawing/2014/main" id="{43D89CE2-B623-49EA-AFF7-69BABC48ABE1}"/>
                </a:ext>
              </a:extLst>
            </p:cNvPr>
            <p:cNvSpPr/>
            <p:nvPr/>
          </p:nvSpPr>
          <p:spPr>
            <a:xfrm>
              <a:off x="3688292" y="2623641"/>
              <a:ext cx="2209800" cy="3520440"/>
            </a:xfrm>
            <a:prstGeom prst="roundRect">
              <a:avLst>
                <a:gd name="adj" fmla="val 4253"/>
              </a:avLst>
            </a:prstGeom>
            <a:gradFill flip="none" rotWithShape="1">
              <a:gsLst>
                <a:gs pos="0">
                  <a:srgbClr val="FF4B87">
                    <a:alpha val="15000"/>
                  </a:srgbClr>
                </a:gs>
                <a:gs pos="50000">
                  <a:srgbClr val="FF0054"/>
                </a:gs>
                <a:gs pos="94000">
                  <a:srgbClr val="9A0033">
                    <a:alpha val="62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83" name="Freeform: Shape 31">
              <a:extLst>
                <a:ext uri="{FF2B5EF4-FFF2-40B4-BE49-F238E27FC236}">
                  <a16:creationId xmlns:a16="http://schemas.microsoft.com/office/drawing/2014/main" id="{1AC3FD85-7348-4945-B046-98DEA2A57E08}"/>
                </a:ext>
              </a:extLst>
            </p:cNvPr>
            <p:cNvSpPr/>
            <p:nvPr/>
          </p:nvSpPr>
          <p:spPr>
            <a:xfrm>
              <a:off x="3688292" y="2623641"/>
              <a:ext cx="2209800" cy="3520440"/>
            </a:xfrm>
            <a:custGeom>
              <a:avLst/>
              <a:gdLst>
                <a:gd name="connsiteX0" fmla="*/ 2050608 w 2209800"/>
                <a:gd name="connsiteY0" fmla="*/ 0 h 3520440"/>
                <a:gd name="connsiteX1" fmla="*/ 2115817 w 2209800"/>
                <a:gd name="connsiteY1" fmla="*/ 0 h 3520440"/>
                <a:gd name="connsiteX2" fmla="*/ 2209800 w 2209800"/>
                <a:gd name="connsiteY2" fmla="*/ 93983 h 3520440"/>
                <a:gd name="connsiteX3" fmla="*/ 2209800 w 2209800"/>
                <a:gd name="connsiteY3" fmla="*/ 3426457 h 3520440"/>
                <a:gd name="connsiteX4" fmla="*/ 2115817 w 2209800"/>
                <a:gd name="connsiteY4" fmla="*/ 3520440 h 3520440"/>
                <a:gd name="connsiteX5" fmla="*/ 93983 w 2209800"/>
                <a:gd name="connsiteY5" fmla="*/ 3520440 h 3520440"/>
                <a:gd name="connsiteX6" fmla="*/ 0 w 2209800"/>
                <a:gd name="connsiteY6" fmla="*/ 3426457 h 3520440"/>
                <a:gd name="connsiteX7" fmla="*/ 0 w 2209800"/>
                <a:gd name="connsiteY7" fmla="*/ 3193107 h 3520440"/>
                <a:gd name="connsiteX8" fmla="*/ 10830 w 2209800"/>
                <a:gd name="connsiteY8" fmla="*/ 3192380 h 3520440"/>
                <a:gd name="connsiteX9" fmla="*/ 2057400 w 2209800"/>
                <a:gd name="connsiteY9" fmla="*/ 178754 h 3520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9800" h="3520440">
                  <a:moveTo>
                    <a:pt x="2050608" y="0"/>
                  </a:moveTo>
                  <a:lnTo>
                    <a:pt x="2115817" y="0"/>
                  </a:lnTo>
                  <a:cubicBezTo>
                    <a:pt x="2167722" y="0"/>
                    <a:pt x="2209800" y="42078"/>
                    <a:pt x="2209800" y="93983"/>
                  </a:cubicBezTo>
                  <a:lnTo>
                    <a:pt x="2209800" y="3426457"/>
                  </a:lnTo>
                  <a:cubicBezTo>
                    <a:pt x="2209800" y="3478362"/>
                    <a:pt x="2167722" y="3520440"/>
                    <a:pt x="2115817" y="3520440"/>
                  </a:cubicBezTo>
                  <a:lnTo>
                    <a:pt x="93983" y="3520440"/>
                  </a:lnTo>
                  <a:cubicBezTo>
                    <a:pt x="42078" y="3520440"/>
                    <a:pt x="0" y="3478362"/>
                    <a:pt x="0" y="3426457"/>
                  </a:cubicBezTo>
                  <a:lnTo>
                    <a:pt x="0" y="3193107"/>
                  </a:lnTo>
                  <a:lnTo>
                    <a:pt x="10830" y="3192380"/>
                  </a:lnTo>
                  <a:cubicBezTo>
                    <a:pt x="1160358" y="3037252"/>
                    <a:pt x="2057400" y="1747208"/>
                    <a:pt x="2057400" y="178754"/>
                  </a:cubicBezTo>
                  <a:close/>
                </a:path>
              </a:pathLst>
            </a:custGeom>
            <a:gradFill flip="none" rotWithShape="1">
              <a:gsLst>
                <a:gs pos="33000">
                  <a:schemeClr val="bg1">
                    <a:alpha val="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84" name="Freeform: Shape 32">
              <a:extLst>
                <a:ext uri="{FF2B5EF4-FFF2-40B4-BE49-F238E27FC236}">
                  <a16:creationId xmlns:a16="http://schemas.microsoft.com/office/drawing/2014/main" id="{B5AA386D-EB25-4BDA-A05B-BEA4E4FFC9FB}"/>
                </a:ext>
              </a:extLst>
            </p:cNvPr>
            <p:cNvSpPr/>
            <p:nvPr/>
          </p:nvSpPr>
          <p:spPr>
            <a:xfrm>
              <a:off x="3688292" y="4562758"/>
              <a:ext cx="2209800" cy="1581323"/>
            </a:xfrm>
            <a:custGeom>
              <a:avLst/>
              <a:gdLst>
                <a:gd name="connsiteX0" fmla="*/ 2209800 w 2209800"/>
                <a:gd name="connsiteY0" fmla="*/ 0 h 1581323"/>
                <a:gd name="connsiteX1" fmla="*/ 2209800 w 2209800"/>
                <a:gd name="connsiteY1" fmla="*/ 1487340 h 1581323"/>
                <a:gd name="connsiteX2" fmla="*/ 2115817 w 2209800"/>
                <a:gd name="connsiteY2" fmla="*/ 1581323 h 1581323"/>
                <a:gd name="connsiteX3" fmla="*/ 93983 w 2209800"/>
                <a:gd name="connsiteY3" fmla="*/ 1581323 h 1581323"/>
                <a:gd name="connsiteX4" fmla="*/ 0 w 2209800"/>
                <a:gd name="connsiteY4" fmla="*/ 1487340 h 1581323"/>
                <a:gd name="connsiteX5" fmla="*/ 0 w 2209800"/>
                <a:gd name="connsiteY5" fmla="*/ 1386730 h 1581323"/>
                <a:gd name="connsiteX6" fmla="*/ 167861 w 2209800"/>
                <a:gd name="connsiteY6" fmla="*/ 1395903 h 1581323"/>
                <a:gd name="connsiteX7" fmla="*/ 2159436 w 2209800"/>
                <a:gd name="connsiteY7" fmla="*/ 113143 h 158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09800" h="1581323">
                  <a:moveTo>
                    <a:pt x="2209800" y="0"/>
                  </a:moveTo>
                  <a:lnTo>
                    <a:pt x="2209800" y="1487340"/>
                  </a:lnTo>
                  <a:cubicBezTo>
                    <a:pt x="2209800" y="1539245"/>
                    <a:pt x="2167722" y="1581323"/>
                    <a:pt x="2115817" y="1581323"/>
                  </a:cubicBezTo>
                  <a:lnTo>
                    <a:pt x="93983" y="1581323"/>
                  </a:lnTo>
                  <a:cubicBezTo>
                    <a:pt x="42078" y="1581323"/>
                    <a:pt x="0" y="1539245"/>
                    <a:pt x="0" y="1487340"/>
                  </a:cubicBezTo>
                  <a:lnTo>
                    <a:pt x="0" y="1386730"/>
                  </a:lnTo>
                  <a:lnTo>
                    <a:pt x="167861" y="1395903"/>
                  </a:lnTo>
                  <a:cubicBezTo>
                    <a:pt x="1027850" y="1395903"/>
                    <a:pt x="1775892" y="877213"/>
                    <a:pt x="2159436" y="113143"/>
                  </a:cubicBezTo>
                  <a:close/>
                </a:path>
              </a:pathLst>
            </a:custGeom>
            <a:gradFill flip="none" rotWithShape="1">
              <a:gsLst>
                <a:gs pos="33000">
                  <a:schemeClr val="bg1">
                    <a:alpha val="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85" name="TextBox 33">
              <a:extLst>
                <a:ext uri="{FF2B5EF4-FFF2-40B4-BE49-F238E27FC236}">
                  <a16:creationId xmlns:a16="http://schemas.microsoft.com/office/drawing/2014/main" id="{61B155E8-F6F1-4D5F-A360-81AA9E6CCB77}"/>
                </a:ext>
              </a:extLst>
            </p:cNvPr>
            <p:cNvSpPr txBox="1"/>
            <p:nvPr/>
          </p:nvSpPr>
          <p:spPr>
            <a:xfrm>
              <a:off x="3389842" y="1595566"/>
              <a:ext cx="1911350" cy="1446550"/>
            </a:xfrm>
            <a:prstGeom prst="rect">
              <a:avLst/>
            </a:prstGeom>
            <a:noFill/>
            <a:effectLst>
              <a:reflection blurRad="6350" stA="52000" endA="300" endPos="35000" dir="5400000" sy="-100000" algn="bl" rotWithShape="0"/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8800" dirty="0">
                  <a:solidFill>
                    <a:srgbClr val="FF0054"/>
                  </a:solidFill>
                  <a:effectLst>
                    <a:outerShdw blurRad="254000" dist="38100" dir="2700000" algn="tl" rotWithShape="0">
                      <a:prstClr val="black">
                        <a:alpha val="26000"/>
                      </a:prstClr>
                    </a:outerShdw>
                  </a:effectLst>
                  <a:latin typeface="Montserrat Black" panose="00000A00000000000000" pitchFamily="2" charset="0"/>
                </a:rPr>
                <a:t>04</a:t>
              </a:r>
            </a:p>
          </p:txBody>
        </p:sp>
        <p:pic>
          <p:nvPicPr>
            <p:cNvPr id="86" name="Graphic 85" descr="Handdruk met effen opvulling">
              <a:extLst>
                <a:ext uri="{FF2B5EF4-FFF2-40B4-BE49-F238E27FC236}">
                  <a16:creationId xmlns:a16="http://schemas.microsoft.com/office/drawing/2014/main" id="{D0E8B7DE-3D9E-4BE8-BB4D-72C2F0E87C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5088068" y="5244296"/>
              <a:ext cx="759224" cy="759224"/>
            </a:xfrm>
            <a:prstGeom prst="rect">
              <a:avLst/>
            </a:prstGeom>
          </p:spPr>
        </p:pic>
        <p:sp>
          <p:nvSpPr>
            <p:cNvPr id="88" name="TextBox 36">
              <a:extLst>
                <a:ext uri="{FF2B5EF4-FFF2-40B4-BE49-F238E27FC236}">
                  <a16:creationId xmlns:a16="http://schemas.microsoft.com/office/drawing/2014/main" id="{CD5103C9-6958-461F-A403-8838F1FC1873}"/>
                </a:ext>
              </a:extLst>
            </p:cNvPr>
            <p:cNvSpPr txBox="1"/>
            <p:nvPr/>
          </p:nvSpPr>
          <p:spPr>
            <a:xfrm>
              <a:off x="3815292" y="2962135"/>
              <a:ext cx="15367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2400" b="1" spc="300" dirty="0">
                  <a:solidFill>
                    <a:schemeClr val="bg1"/>
                  </a:solidFill>
                  <a:latin typeface="+mn-lt"/>
                </a:rPr>
                <a:t>Insight</a:t>
              </a:r>
            </a:p>
          </p:txBody>
        </p:sp>
        <p:sp>
          <p:nvSpPr>
            <p:cNvPr id="89" name="TextBox 37">
              <a:extLst>
                <a:ext uri="{FF2B5EF4-FFF2-40B4-BE49-F238E27FC236}">
                  <a16:creationId xmlns:a16="http://schemas.microsoft.com/office/drawing/2014/main" id="{A75FE655-40D3-482E-806E-94478F988A4B}"/>
                </a:ext>
              </a:extLst>
            </p:cNvPr>
            <p:cNvSpPr txBox="1"/>
            <p:nvPr/>
          </p:nvSpPr>
          <p:spPr>
            <a:xfrm>
              <a:off x="3719720" y="3653041"/>
              <a:ext cx="2243478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600" b="1" dirty="0">
                  <a:solidFill>
                    <a:schemeClr val="bg1"/>
                  </a:solidFill>
                  <a:latin typeface="+mn-lt"/>
                </a:rPr>
                <a:t>Life cycle perspective:</a:t>
              </a:r>
              <a:br>
                <a:rPr lang="en-IN" sz="1600" b="1" dirty="0">
                  <a:solidFill>
                    <a:schemeClr val="bg1"/>
                  </a:solidFill>
                  <a:latin typeface="+mn-lt"/>
                </a:rPr>
              </a:br>
              <a:endParaRPr lang="en-IN" sz="1600" b="1" dirty="0">
                <a:solidFill>
                  <a:schemeClr val="bg1"/>
                </a:solidFill>
                <a:latin typeface="+mn-lt"/>
              </a:endParaRPr>
            </a:p>
            <a:p>
              <a:pPr marL="342900" indent="-342900" algn="ctr">
                <a:buClr>
                  <a:schemeClr val="bg1"/>
                </a:buClr>
                <a:buAutoNum type="arabicPeriod"/>
              </a:pPr>
              <a:r>
                <a:rPr lang="en-IN" sz="1600" b="1" dirty="0">
                  <a:solidFill>
                    <a:schemeClr val="bg1"/>
                  </a:solidFill>
                  <a:latin typeface="+mn-lt"/>
                </a:rPr>
                <a:t>Formation phase</a:t>
              </a:r>
            </a:p>
            <a:p>
              <a:pPr marL="342900" indent="-342900" algn="ctr">
                <a:buClr>
                  <a:schemeClr val="bg1"/>
                </a:buClr>
                <a:buAutoNum type="arabicPeriod"/>
              </a:pPr>
              <a:r>
                <a:rPr lang="en-IN" sz="1600" b="1" dirty="0">
                  <a:solidFill>
                    <a:schemeClr val="bg1"/>
                  </a:solidFill>
                  <a:latin typeface="+mn-lt"/>
                </a:rPr>
                <a:t>Collaboration phase</a:t>
              </a:r>
            </a:p>
            <a:p>
              <a:pPr marL="342900" indent="-342900" algn="ctr">
                <a:buClr>
                  <a:schemeClr val="bg1"/>
                </a:buClr>
                <a:buAutoNum type="arabicPeriod"/>
              </a:pPr>
              <a:r>
                <a:rPr lang="en-IN" sz="1600" b="1" dirty="0">
                  <a:solidFill>
                    <a:schemeClr val="bg1"/>
                  </a:solidFill>
                  <a:latin typeface="+mn-lt"/>
                </a:rPr>
                <a:t>Dissolution phase</a:t>
              </a:r>
            </a:p>
          </p:txBody>
        </p:sp>
      </p:grpSp>
      <p:pic>
        <p:nvPicPr>
          <p:cNvPr id="91" name="Graphic 90" descr="Chevron arrows outline">
            <a:extLst>
              <a:ext uri="{FF2B5EF4-FFF2-40B4-BE49-F238E27FC236}">
                <a16:creationId xmlns:a16="http://schemas.microsoft.com/office/drawing/2014/main" id="{C329896A-FCDF-4A6B-9F7B-B2954CAF86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39564" y="3176333"/>
            <a:ext cx="789658" cy="737804"/>
          </a:xfrm>
          <a:prstGeom prst="rect">
            <a:avLst/>
          </a:prstGeom>
        </p:spPr>
      </p:pic>
      <p:pic>
        <p:nvPicPr>
          <p:cNvPr id="92" name="Graphic 91" descr="Chevron arrows outline">
            <a:extLst>
              <a:ext uri="{FF2B5EF4-FFF2-40B4-BE49-F238E27FC236}">
                <a16:creationId xmlns:a16="http://schemas.microsoft.com/office/drawing/2014/main" id="{751920E2-7454-4413-9864-5D217CC820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17306" y="3175454"/>
            <a:ext cx="789658" cy="737804"/>
          </a:xfrm>
          <a:prstGeom prst="rect">
            <a:avLst/>
          </a:prstGeom>
        </p:spPr>
      </p:pic>
      <p:sp>
        <p:nvSpPr>
          <p:cNvPr id="2" name="Ovaal 1">
            <a:extLst>
              <a:ext uri="{FF2B5EF4-FFF2-40B4-BE49-F238E27FC236}">
                <a16:creationId xmlns:a16="http://schemas.microsoft.com/office/drawing/2014/main" id="{5ED57844-171B-47DF-91FD-E57AECBD9A1F}"/>
              </a:ext>
            </a:extLst>
          </p:cNvPr>
          <p:cNvSpPr/>
          <p:nvPr/>
        </p:nvSpPr>
        <p:spPr>
          <a:xfrm>
            <a:off x="9399070" y="3175454"/>
            <a:ext cx="2032000" cy="544094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83625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Rectangle 21">
            <a:extLst>
              <a:ext uri="{FF2B5EF4-FFF2-40B4-BE49-F238E27FC236}">
                <a16:creationId xmlns:a16="http://schemas.microsoft.com/office/drawing/2014/main" id="{49050BAD-2D9B-4475-A6EC-5C3240979EEB}"/>
              </a:ext>
            </a:extLst>
          </p:cNvPr>
          <p:cNvSpPr/>
          <p:nvPr/>
        </p:nvSpPr>
        <p:spPr>
          <a:xfrm rot="21324663">
            <a:off x="-2591604" y="348319"/>
            <a:ext cx="881230" cy="318225"/>
          </a:xfrm>
          <a:custGeom>
            <a:avLst/>
            <a:gdLst>
              <a:gd name="connsiteX0" fmla="*/ 0 w 1152128"/>
              <a:gd name="connsiteY0" fmla="*/ 0 h 242604"/>
              <a:gd name="connsiteX1" fmla="*/ 1152128 w 1152128"/>
              <a:gd name="connsiteY1" fmla="*/ 0 h 242604"/>
              <a:gd name="connsiteX2" fmla="*/ 1152128 w 1152128"/>
              <a:gd name="connsiteY2" fmla="*/ 242604 h 242604"/>
              <a:gd name="connsiteX3" fmla="*/ 0 w 1152128"/>
              <a:gd name="connsiteY3" fmla="*/ 242604 h 242604"/>
              <a:gd name="connsiteX4" fmla="*/ 0 w 1152128"/>
              <a:gd name="connsiteY4" fmla="*/ 0 h 242604"/>
              <a:gd name="connsiteX0" fmla="*/ 1637 w 1153765"/>
              <a:gd name="connsiteY0" fmla="*/ 0 h 242604"/>
              <a:gd name="connsiteX1" fmla="*/ 1153765 w 1153765"/>
              <a:gd name="connsiteY1" fmla="*/ 0 h 242604"/>
              <a:gd name="connsiteX2" fmla="*/ 1153765 w 1153765"/>
              <a:gd name="connsiteY2" fmla="*/ 242604 h 242604"/>
              <a:gd name="connsiteX3" fmla="*/ 1637 w 1153765"/>
              <a:gd name="connsiteY3" fmla="*/ 242604 h 242604"/>
              <a:gd name="connsiteX4" fmla="*/ 0 w 1153765"/>
              <a:gd name="connsiteY4" fmla="*/ 57657 h 242604"/>
              <a:gd name="connsiteX5" fmla="*/ 1637 w 1153765"/>
              <a:gd name="connsiteY5" fmla="*/ 0 h 242604"/>
              <a:gd name="connsiteX0" fmla="*/ 85266 w 1237394"/>
              <a:gd name="connsiteY0" fmla="*/ 0 h 242604"/>
              <a:gd name="connsiteX1" fmla="*/ 1237394 w 1237394"/>
              <a:gd name="connsiteY1" fmla="*/ 0 h 242604"/>
              <a:gd name="connsiteX2" fmla="*/ 1237394 w 1237394"/>
              <a:gd name="connsiteY2" fmla="*/ 242604 h 242604"/>
              <a:gd name="connsiteX3" fmla="*/ 85266 w 1237394"/>
              <a:gd name="connsiteY3" fmla="*/ 242604 h 242604"/>
              <a:gd name="connsiteX4" fmla="*/ 85314 w 1237394"/>
              <a:gd name="connsiteY4" fmla="*/ 96385 h 242604"/>
              <a:gd name="connsiteX5" fmla="*/ 83629 w 1237394"/>
              <a:gd name="connsiteY5" fmla="*/ 57657 h 242604"/>
              <a:gd name="connsiteX6" fmla="*/ 85266 w 1237394"/>
              <a:gd name="connsiteY6" fmla="*/ 0 h 242604"/>
              <a:gd name="connsiteX0" fmla="*/ 105071 w 1257199"/>
              <a:gd name="connsiteY0" fmla="*/ 0 h 242604"/>
              <a:gd name="connsiteX1" fmla="*/ 1257199 w 1257199"/>
              <a:gd name="connsiteY1" fmla="*/ 0 h 242604"/>
              <a:gd name="connsiteX2" fmla="*/ 1257199 w 1257199"/>
              <a:gd name="connsiteY2" fmla="*/ 242604 h 242604"/>
              <a:gd name="connsiteX3" fmla="*/ 105071 w 1257199"/>
              <a:gd name="connsiteY3" fmla="*/ 242604 h 242604"/>
              <a:gd name="connsiteX4" fmla="*/ 52921 w 1257199"/>
              <a:gd name="connsiteY4" fmla="*/ 155317 h 242604"/>
              <a:gd name="connsiteX5" fmla="*/ 105119 w 1257199"/>
              <a:gd name="connsiteY5" fmla="*/ 96385 h 242604"/>
              <a:gd name="connsiteX6" fmla="*/ 103434 w 1257199"/>
              <a:gd name="connsiteY6" fmla="*/ 57657 h 242604"/>
              <a:gd name="connsiteX7" fmla="*/ 105071 w 1257199"/>
              <a:gd name="connsiteY7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22233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90242 w 1275998"/>
              <a:gd name="connsiteY5" fmla="*/ 150265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5998 w 1277318"/>
              <a:gd name="connsiteY3" fmla="*/ 242604 h 242604"/>
              <a:gd name="connsiteX4" fmla="*/ 123870 w 1277318"/>
              <a:gd name="connsiteY4" fmla="*/ 242604 h 242604"/>
              <a:gd name="connsiteX5" fmla="*/ 26256 w 1277318"/>
              <a:gd name="connsiteY5" fmla="*/ 197412 h 242604"/>
              <a:gd name="connsiteX6" fmla="*/ 90242 w 1277318"/>
              <a:gd name="connsiteY6" fmla="*/ 150265 h 242604"/>
              <a:gd name="connsiteX7" fmla="*/ 123918 w 1277318"/>
              <a:gd name="connsiteY7" fmla="*/ 96385 h 242604"/>
              <a:gd name="connsiteX8" fmla="*/ 199688 w 1277318"/>
              <a:gd name="connsiteY8" fmla="*/ 57657 h 242604"/>
              <a:gd name="connsiteX9" fmla="*/ 123870 w 1277318"/>
              <a:gd name="connsiteY9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8 w 1277318"/>
              <a:gd name="connsiteY3" fmla="*/ 175523 h 242604"/>
              <a:gd name="connsiteX4" fmla="*/ 1275998 w 1277318"/>
              <a:gd name="connsiteY4" fmla="*/ 242604 h 242604"/>
              <a:gd name="connsiteX5" fmla="*/ 123870 w 1277318"/>
              <a:gd name="connsiteY5" fmla="*/ 242604 h 242604"/>
              <a:gd name="connsiteX6" fmla="*/ 26256 w 1277318"/>
              <a:gd name="connsiteY6" fmla="*/ 197412 h 242604"/>
              <a:gd name="connsiteX7" fmla="*/ 90242 w 1277318"/>
              <a:gd name="connsiteY7" fmla="*/ 150265 h 242604"/>
              <a:gd name="connsiteX8" fmla="*/ 123918 w 1277318"/>
              <a:gd name="connsiteY8" fmla="*/ 96385 h 242604"/>
              <a:gd name="connsiteX9" fmla="*/ 199688 w 1277318"/>
              <a:gd name="connsiteY9" fmla="*/ 57657 h 242604"/>
              <a:gd name="connsiteX10" fmla="*/ 123870 w 1277318"/>
              <a:gd name="connsiteY10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48694 w 1277318"/>
              <a:gd name="connsiteY2" fmla="*/ 42503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95839"/>
              <a:gd name="connsiteY0" fmla="*/ 0 h 242604"/>
              <a:gd name="connsiteX1" fmla="*/ 1275998 w 1295839"/>
              <a:gd name="connsiteY1" fmla="*/ 0 h 242604"/>
              <a:gd name="connsiteX2" fmla="*/ 1248694 w 1295839"/>
              <a:gd name="connsiteY2" fmla="*/ 42503 h 242604"/>
              <a:gd name="connsiteX3" fmla="*/ 1295839 w 1295839"/>
              <a:gd name="connsiteY3" fmla="*/ 89650 h 242604"/>
              <a:gd name="connsiteX4" fmla="*/ 1277318 w 1295839"/>
              <a:gd name="connsiteY4" fmla="*/ 175523 h 242604"/>
              <a:gd name="connsiteX5" fmla="*/ 1275998 w 1295839"/>
              <a:gd name="connsiteY5" fmla="*/ 242604 h 242604"/>
              <a:gd name="connsiteX6" fmla="*/ 123870 w 1295839"/>
              <a:gd name="connsiteY6" fmla="*/ 242604 h 242604"/>
              <a:gd name="connsiteX7" fmla="*/ 26256 w 1295839"/>
              <a:gd name="connsiteY7" fmla="*/ 197412 h 242604"/>
              <a:gd name="connsiteX8" fmla="*/ 90242 w 1295839"/>
              <a:gd name="connsiteY8" fmla="*/ 150265 h 242604"/>
              <a:gd name="connsiteX9" fmla="*/ 123918 w 1295839"/>
              <a:gd name="connsiteY9" fmla="*/ 96385 h 242604"/>
              <a:gd name="connsiteX10" fmla="*/ 199688 w 1295839"/>
              <a:gd name="connsiteY10" fmla="*/ 57657 h 242604"/>
              <a:gd name="connsiteX11" fmla="*/ 123870 w 1295839"/>
              <a:gd name="connsiteY11" fmla="*/ 0 h 242604"/>
              <a:gd name="connsiteX0" fmla="*/ 123870 w 1296242"/>
              <a:gd name="connsiteY0" fmla="*/ 0 h 242604"/>
              <a:gd name="connsiteX1" fmla="*/ 1275998 w 1296242"/>
              <a:gd name="connsiteY1" fmla="*/ 0 h 242604"/>
              <a:gd name="connsiteX2" fmla="*/ 1248694 w 1296242"/>
              <a:gd name="connsiteY2" fmla="*/ 42503 h 242604"/>
              <a:gd name="connsiteX3" fmla="*/ 1295839 w 1296242"/>
              <a:gd name="connsiteY3" fmla="*/ 89650 h 242604"/>
              <a:gd name="connsiteX4" fmla="*/ 1243642 w 1296242"/>
              <a:gd name="connsiteY4" fmla="*/ 141847 h 242604"/>
              <a:gd name="connsiteX5" fmla="*/ 1277318 w 1296242"/>
              <a:gd name="connsiteY5" fmla="*/ 175523 h 242604"/>
              <a:gd name="connsiteX6" fmla="*/ 1275998 w 1296242"/>
              <a:gd name="connsiteY6" fmla="*/ 242604 h 242604"/>
              <a:gd name="connsiteX7" fmla="*/ 123870 w 1296242"/>
              <a:gd name="connsiteY7" fmla="*/ 242604 h 242604"/>
              <a:gd name="connsiteX8" fmla="*/ 26256 w 1296242"/>
              <a:gd name="connsiteY8" fmla="*/ 197412 h 242604"/>
              <a:gd name="connsiteX9" fmla="*/ 90242 w 1296242"/>
              <a:gd name="connsiteY9" fmla="*/ 150265 h 242604"/>
              <a:gd name="connsiteX10" fmla="*/ 123918 w 1296242"/>
              <a:gd name="connsiteY10" fmla="*/ 96385 h 242604"/>
              <a:gd name="connsiteX11" fmla="*/ 199688 w 1296242"/>
              <a:gd name="connsiteY11" fmla="*/ 57657 h 242604"/>
              <a:gd name="connsiteX12" fmla="*/ 123870 w 1296242"/>
              <a:gd name="connsiteY12" fmla="*/ 0 h 242604"/>
              <a:gd name="connsiteX0" fmla="*/ 123870 w 1307634"/>
              <a:gd name="connsiteY0" fmla="*/ 0 h 242604"/>
              <a:gd name="connsiteX1" fmla="*/ 1275998 w 1307634"/>
              <a:gd name="connsiteY1" fmla="*/ 0 h 242604"/>
              <a:gd name="connsiteX2" fmla="*/ 1248694 w 1307634"/>
              <a:gd name="connsiteY2" fmla="*/ 42503 h 242604"/>
              <a:gd name="connsiteX3" fmla="*/ 1295839 w 1307634"/>
              <a:gd name="connsiteY3" fmla="*/ 89650 h 242604"/>
              <a:gd name="connsiteX4" fmla="*/ 1243642 w 1307634"/>
              <a:gd name="connsiteY4" fmla="*/ 141847 h 242604"/>
              <a:gd name="connsiteX5" fmla="*/ 1277318 w 1307634"/>
              <a:gd name="connsiteY5" fmla="*/ 175523 h 242604"/>
              <a:gd name="connsiteX6" fmla="*/ 1307627 w 1307634"/>
              <a:gd name="connsiteY6" fmla="*/ 229404 h 242604"/>
              <a:gd name="connsiteX7" fmla="*/ 1275998 w 1307634"/>
              <a:gd name="connsiteY7" fmla="*/ 242604 h 242604"/>
              <a:gd name="connsiteX8" fmla="*/ 123870 w 1307634"/>
              <a:gd name="connsiteY8" fmla="*/ 242604 h 242604"/>
              <a:gd name="connsiteX9" fmla="*/ 26256 w 1307634"/>
              <a:gd name="connsiteY9" fmla="*/ 197412 h 242604"/>
              <a:gd name="connsiteX10" fmla="*/ 90242 w 1307634"/>
              <a:gd name="connsiteY10" fmla="*/ 150265 h 242604"/>
              <a:gd name="connsiteX11" fmla="*/ 123918 w 1307634"/>
              <a:gd name="connsiteY11" fmla="*/ 96385 h 242604"/>
              <a:gd name="connsiteX12" fmla="*/ 199688 w 1307634"/>
              <a:gd name="connsiteY12" fmla="*/ 57657 h 242604"/>
              <a:gd name="connsiteX13" fmla="*/ 123870 w 1307634"/>
              <a:gd name="connsiteY13" fmla="*/ 0 h 242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7634" h="242604">
                <a:moveTo>
                  <a:pt x="123870" y="0"/>
                </a:moveTo>
                <a:lnTo>
                  <a:pt x="1275998" y="0"/>
                </a:lnTo>
                <a:lnTo>
                  <a:pt x="1248694" y="42503"/>
                </a:lnTo>
                <a:cubicBezTo>
                  <a:pt x="1248694" y="59341"/>
                  <a:pt x="1295839" y="72812"/>
                  <a:pt x="1295839" y="89650"/>
                </a:cubicBezTo>
                <a:cubicBezTo>
                  <a:pt x="1301451" y="109856"/>
                  <a:pt x="1246729" y="127535"/>
                  <a:pt x="1243642" y="141847"/>
                </a:cubicBezTo>
                <a:cubicBezTo>
                  <a:pt x="1240555" y="156159"/>
                  <a:pt x="1271986" y="168507"/>
                  <a:pt x="1277318" y="175523"/>
                </a:cubicBezTo>
                <a:cubicBezTo>
                  <a:pt x="1276757" y="178329"/>
                  <a:pt x="1308188" y="226598"/>
                  <a:pt x="1307627" y="229404"/>
                </a:cubicBezTo>
                <a:lnTo>
                  <a:pt x="1275998" y="242604"/>
                </a:lnTo>
                <a:lnTo>
                  <a:pt x="123870" y="242604"/>
                </a:lnTo>
                <a:cubicBezTo>
                  <a:pt x="-84420" y="235072"/>
                  <a:pt x="34948" y="211960"/>
                  <a:pt x="26256" y="197412"/>
                </a:cubicBezTo>
                <a:cubicBezTo>
                  <a:pt x="17564" y="182864"/>
                  <a:pt x="73965" y="167103"/>
                  <a:pt x="90242" y="150265"/>
                </a:cubicBezTo>
                <a:cubicBezTo>
                  <a:pt x="106519" y="133427"/>
                  <a:pt x="115499" y="112662"/>
                  <a:pt x="123918" y="96385"/>
                </a:cubicBezTo>
                <a:cubicBezTo>
                  <a:pt x="132337" y="80108"/>
                  <a:pt x="199696" y="73721"/>
                  <a:pt x="199688" y="57657"/>
                </a:cubicBezTo>
                <a:cubicBezTo>
                  <a:pt x="200234" y="38438"/>
                  <a:pt x="123324" y="19219"/>
                  <a:pt x="123870" y="0"/>
                </a:cubicBezTo>
                <a:close/>
              </a:path>
            </a:pathLst>
          </a:custGeom>
          <a:solidFill>
            <a:srgbClr val="FFFF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6" name="Vrije vorm 2046">
            <a:extLst>
              <a:ext uri="{FF2B5EF4-FFF2-40B4-BE49-F238E27FC236}">
                <a16:creationId xmlns:a16="http://schemas.microsoft.com/office/drawing/2014/main" id="{64336C10-E204-40E4-9E12-9A448F7BC58E}"/>
              </a:ext>
            </a:extLst>
          </p:cNvPr>
          <p:cNvSpPr/>
          <p:nvPr/>
        </p:nvSpPr>
        <p:spPr>
          <a:xfrm flipV="1">
            <a:off x="0" y="0"/>
            <a:ext cx="12190888" cy="6918192"/>
          </a:xfrm>
          <a:custGeom>
            <a:avLst/>
            <a:gdLst>
              <a:gd name="connsiteX0" fmla="*/ -2267 w 4440338"/>
              <a:gd name="connsiteY0" fmla="*/ -307 h 2598297"/>
              <a:gd name="connsiteX1" fmla="*/ 4438071 w 4440338"/>
              <a:gd name="connsiteY1" fmla="*/ -307 h 2598297"/>
              <a:gd name="connsiteX2" fmla="*/ 4438071 w 4440338"/>
              <a:gd name="connsiteY2" fmla="*/ 2597990 h 2598297"/>
              <a:gd name="connsiteX3" fmla="*/ -2267 w 4440338"/>
              <a:gd name="connsiteY3" fmla="*/ 2597990 h 2598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0338" h="2598297">
                <a:moveTo>
                  <a:pt x="-2267" y="-307"/>
                </a:moveTo>
                <a:lnTo>
                  <a:pt x="4438071" y="-307"/>
                </a:lnTo>
                <a:lnTo>
                  <a:pt x="4438071" y="2597990"/>
                </a:lnTo>
                <a:lnTo>
                  <a:pt x="-2267" y="2597990"/>
                </a:lnTo>
                <a:close/>
              </a:path>
            </a:pathLst>
          </a:custGeom>
          <a:solidFill>
            <a:srgbClr val="CCEEF3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47" name="Vrije vorm 2047">
            <a:extLst>
              <a:ext uri="{FF2B5EF4-FFF2-40B4-BE49-F238E27FC236}">
                <a16:creationId xmlns:a16="http://schemas.microsoft.com/office/drawing/2014/main" id="{BC3F89DA-6E64-4DF5-B734-8FEA07120332}"/>
              </a:ext>
            </a:extLst>
          </p:cNvPr>
          <p:cNvSpPr/>
          <p:nvPr/>
        </p:nvSpPr>
        <p:spPr>
          <a:xfrm flipV="1">
            <a:off x="194438" y="547758"/>
            <a:ext cx="10926358" cy="4335147"/>
          </a:xfrm>
          <a:custGeom>
            <a:avLst/>
            <a:gdLst>
              <a:gd name="connsiteX0" fmla="*/ 3977544 w 3979753"/>
              <a:gd name="connsiteY0" fmla="*/ -440 h 1628171"/>
              <a:gd name="connsiteX1" fmla="*/ 3969416 w 3979753"/>
              <a:gd name="connsiteY1" fmla="*/ -440 h 1628171"/>
              <a:gd name="connsiteX2" fmla="*/ 3969630 w 3979753"/>
              <a:gd name="connsiteY2" fmla="*/ -347 h 1628171"/>
              <a:gd name="connsiteX3" fmla="*/ 3977544 w 3979753"/>
              <a:gd name="connsiteY3" fmla="*/ -347 h 1628171"/>
              <a:gd name="connsiteX4" fmla="*/ 3977544 w 3979753"/>
              <a:gd name="connsiteY4" fmla="*/ -440 h 1628171"/>
              <a:gd name="connsiteX5" fmla="*/ 3580105 w 3979753"/>
              <a:gd name="connsiteY5" fmla="*/ -440 h 1628171"/>
              <a:gd name="connsiteX6" fmla="*/ 2690808 w 3979753"/>
              <a:gd name="connsiteY6" fmla="*/ -440 h 1628171"/>
              <a:gd name="connsiteX7" fmla="*/ 2690808 w 3979753"/>
              <a:gd name="connsiteY7" fmla="*/ 57177 h 1628171"/>
              <a:gd name="connsiteX8" fmla="*/ 1084556 w 3979753"/>
              <a:gd name="connsiteY8" fmla="*/ 57177 h 1628171"/>
              <a:gd name="connsiteX9" fmla="*/ 1084556 w 3979753"/>
              <a:gd name="connsiteY9" fmla="*/ -440 h 1628171"/>
              <a:gd name="connsiteX10" fmla="*/ -2210 w 3979753"/>
              <a:gd name="connsiteY10" fmla="*/ -440 h 1628171"/>
              <a:gd name="connsiteX11" fmla="*/ -2210 w 3979753"/>
              <a:gd name="connsiteY11" fmla="*/ 1627732 h 1628171"/>
              <a:gd name="connsiteX12" fmla="*/ 47634 w 3979753"/>
              <a:gd name="connsiteY12" fmla="*/ 1552804 h 1628171"/>
              <a:gd name="connsiteX13" fmla="*/ 148251 w 3979753"/>
              <a:gd name="connsiteY13" fmla="*/ 1415519 h 1628171"/>
              <a:gd name="connsiteX14" fmla="*/ 96620 w 3979753"/>
              <a:gd name="connsiteY14" fmla="*/ 1260340 h 1628171"/>
              <a:gd name="connsiteX15" fmla="*/ 96620 w 3979753"/>
              <a:gd name="connsiteY15" fmla="*/ 1260274 h 1628171"/>
              <a:gd name="connsiteX16" fmla="*/ 96620 w 3979753"/>
              <a:gd name="connsiteY16" fmla="*/ 1259632 h 1628171"/>
              <a:gd name="connsiteX17" fmla="*/ 96620 w 3979753"/>
              <a:gd name="connsiteY17" fmla="*/ 1259510 h 1628171"/>
              <a:gd name="connsiteX18" fmla="*/ 96620 w 3979753"/>
              <a:gd name="connsiteY18" fmla="*/ 1258869 h 1628171"/>
              <a:gd name="connsiteX19" fmla="*/ 96620 w 3979753"/>
              <a:gd name="connsiteY19" fmla="*/ 1258869 h 1628171"/>
              <a:gd name="connsiteX20" fmla="*/ 96620 w 3979753"/>
              <a:gd name="connsiteY20" fmla="*/ 1258869 h 1628171"/>
              <a:gd name="connsiteX21" fmla="*/ 108538 w 3979753"/>
              <a:gd name="connsiteY21" fmla="*/ 1180286 h 1628171"/>
              <a:gd name="connsiteX22" fmla="*/ 364623 w 3979753"/>
              <a:gd name="connsiteY22" fmla="*/ 977612 h 1628171"/>
              <a:gd name="connsiteX23" fmla="*/ 499398 w 3979753"/>
              <a:gd name="connsiteY23" fmla="*/ 1014737 h 1628171"/>
              <a:gd name="connsiteX24" fmla="*/ 734339 w 3979753"/>
              <a:gd name="connsiteY24" fmla="*/ 824344 h 1628171"/>
              <a:gd name="connsiteX25" fmla="*/ 734339 w 3979753"/>
              <a:gd name="connsiteY25" fmla="*/ 317408 h 1628171"/>
              <a:gd name="connsiteX26" fmla="*/ 3035400 w 3979753"/>
              <a:gd name="connsiteY26" fmla="*/ 317408 h 1628171"/>
              <a:gd name="connsiteX27" fmla="*/ 3035400 w 3979753"/>
              <a:gd name="connsiteY27" fmla="*/ 682407 h 1628171"/>
              <a:gd name="connsiteX28" fmla="*/ 3144646 w 3979753"/>
              <a:gd name="connsiteY28" fmla="*/ 730957 h 1628171"/>
              <a:gd name="connsiteX29" fmla="*/ 3256109 w 3979753"/>
              <a:gd name="connsiteY29" fmla="*/ 785365 h 1628171"/>
              <a:gd name="connsiteX30" fmla="*/ 3256109 w 3979753"/>
              <a:gd name="connsiteY30" fmla="*/ -347 h 1628171"/>
              <a:gd name="connsiteX31" fmla="*/ 3294344 w 3979753"/>
              <a:gd name="connsiteY31" fmla="*/ -347 h 1628171"/>
              <a:gd name="connsiteX32" fmla="*/ 3580105 w 3979753"/>
              <a:gd name="connsiteY32" fmla="*/ -347 h 1628171"/>
              <a:gd name="connsiteX33" fmla="*/ 3580105 w 3979753"/>
              <a:gd name="connsiteY33" fmla="*/ -440 h 1628171"/>
              <a:gd name="connsiteX34" fmla="*/ 1956429 w 3979753"/>
              <a:gd name="connsiteY34" fmla="*/ 57177 h 1628171"/>
              <a:gd name="connsiteX35" fmla="*/ 1956429 w 3979753"/>
              <a:gd name="connsiteY35" fmla="*/ 57177 h 1628171"/>
              <a:gd name="connsiteX36" fmla="*/ 2690808 w 3979753"/>
              <a:gd name="connsiteY36" fmla="*/ 57177 h 1628171"/>
              <a:gd name="connsiteX37" fmla="*/ 2592002 w 3979753"/>
              <a:gd name="connsiteY37" fmla="*/ 250803 h 1628171"/>
              <a:gd name="connsiteX38" fmla="*/ 1184816 w 3979753"/>
              <a:gd name="connsiteY38" fmla="*/ 250803 h 1628171"/>
              <a:gd name="connsiteX39" fmla="*/ 1084556 w 3979753"/>
              <a:gd name="connsiteY39" fmla="*/ 57177 h 1628171"/>
              <a:gd name="connsiteX40" fmla="*/ 1956429 w 3979753"/>
              <a:gd name="connsiteY40" fmla="*/ 57177 h 1628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979753" h="1628171">
                <a:moveTo>
                  <a:pt x="3977544" y="-440"/>
                </a:moveTo>
                <a:lnTo>
                  <a:pt x="3969416" y="-440"/>
                </a:lnTo>
                <a:lnTo>
                  <a:pt x="3969630" y="-347"/>
                </a:lnTo>
                <a:lnTo>
                  <a:pt x="3977544" y="-347"/>
                </a:lnTo>
                <a:lnTo>
                  <a:pt x="3977544" y="-440"/>
                </a:lnTo>
                <a:moveTo>
                  <a:pt x="3580105" y="-440"/>
                </a:moveTo>
                <a:lnTo>
                  <a:pt x="2690808" y="-440"/>
                </a:lnTo>
                <a:lnTo>
                  <a:pt x="2690808" y="57177"/>
                </a:lnTo>
                <a:lnTo>
                  <a:pt x="1084556" y="57177"/>
                </a:lnTo>
                <a:lnTo>
                  <a:pt x="1084556" y="-440"/>
                </a:lnTo>
                <a:lnTo>
                  <a:pt x="-2210" y="-440"/>
                </a:lnTo>
                <a:lnTo>
                  <a:pt x="-2210" y="1627732"/>
                </a:lnTo>
                <a:cubicBezTo>
                  <a:pt x="13714" y="1602444"/>
                  <a:pt x="30424" y="1577499"/>
                  <a:pt x="47634" y="1552804"/>
                </a:cubicBezTo>
                <a:cubicBezTo>
                  <a:pt x="79838" y="1506642"/>
                  <a:pt x="113496" y="1460870"/>
                  <a:pt x="148251" y="1415519"/>
                </a:cubicBezTo>
                <a:cubicBezTo>
                  <a:pt x="116071" y="1372103"/>
                  <a:pt x="96954" y="1318449"/>
                  <a:pt x="96620" y="1260340"/>
                </a:cubicBezTo>
                <a:cubicBezTo>
                  <a:pt x="96620" y="1260321"/>
                  <a:pt x="96620" y="1260293"/>
                  <a:pt x="96620" y="1260274"/>
                </a:cubicBezTo>
                <a:cubicBezTo>
                  <a:pt x="96620" y="1260061"/>
                  <a:pt x="96620" y="1259818"/>
                  <a:pt x="96620" y="1259632"/>
                </a:cubicBezTo>
                <a:cubicBezTo>
                  <a:pt x="96620" y="1259575"/>
                  <a:pt x="96620" y="1259558"/>
                  <a:pt x="96620" y="1259510"/>
                </a:cubicBezTo>
                <a:cubicBezTo>
                  <a:pt x="96620" y="1259296"/>
                  <a:pt x="96620" y="1259081"/>
                  <a:pt x="96620" y="1258869"/>
                </a:cubicBezTo>
                <a:lnTo>
                  <a:pt x="96620" y="1258869"/>
                </a:lnTo>
                <a:lnTo>
                  <a:pt x="96620" y="1258869"/>
                </a:lnTo>
                <a:cubicBezTo>
                  <a:pt x="96620" y="1231481"/>
                  <a:pt x="100791" y="1205092"/>
                  <a:pt x="108538" y="1180286"/>
                </a:cubicBezTo>
                <a:cubicBezTo>
                  <a:pt x="135880" y="1064086"/>
                  <a:pt x="240144" y="977612"/>
                  <a:pt x="364623" y="977612"/>
                </a:cubicBezTo>
                <a:cubicBezTo>
                  <a:pt x="413894" y="977612"/>
                  <a:pt x="459972" y="991162"/>
                  <a:pt x="499398" y="1014737"/>
                </a:cubicBezTo>
                <a:cubicBezTo>
                  <a:pt x="571911" y="947011"/>
                  <a:pt x="650312" y="883032"/>
                  <a:pt x="734339" y="824344"/>
                </a:cubicBezTo>
                <a:lnTo>
                  <a:pt x="734339" y="317408"/>
                </a:lnTo>
                <a:lnTo>
                  <a:pt x="3035400" y="317408"/>
                </a:lnTo>
                <a:lnTo>
                  <a:pt x="3035400" y="682407"/>
                </a:lnTo>
                <a:cubicBezTo>
                  <a:pt x="3072252" y="698128"/>
                  <a:pt x="3108675" y="714332"/>
                  <a:pt x="3144646" y="730957"/>
                </a:cubicBezTo>
                <a:cubicBezTo>
                  <a:pt x="3182428" y="748390"/>
                  <a:pt x="3219590" y="766544"/>
                  <a:pt x="3256109" y="785365"/>
                </a:cubicBezTo>
                <a:lnTo>
                  <a:pt x="3256109" y="-347"/>
                </a:lnTo>
                <a:lnTo>
                  <a:pt x="3294344" y="-347"/>
                </a:lnTo>
                <a:lnTo>
                  <a:pt x="3580105" y="-347"/>
                </a:lnTo>
                <a:lnTo>
                  <a:pt x="3580105" y="-440"/>
                </a:lnTo>
                <a:moveTo>
                  <a:pt x="1956429" y="57177"/>
                </a:moveTo>
                <a:lnTo>
                  <a:pt x="1956429" y="57177"/>
                </a:lnTo>
                <a:lnTo>
                  <a:pt x="2690808" y="57177"/>
                </a:lnTo>
                <a:lnTo>
                  <a:pt x="2592002" y="250803"/>
                </a:lnTo>
                <a:lnTo>
                  <a:pt x="1184816" y="250803"/>
                </a:lnTo>
                <a:lnTo>
                  <a:pt x="1084556" y="57177"/>
                </a:lnTo>
                <a:lnTo>
                  <a:pt x="1956429" y="57177"/>
                </a:lnTo>
              </a:path>
            </a:pathLst>
          </a:custGeom>
          <a:solidFill>
            <a:srgbClr val="A3DCE7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48" name="Vrije vorm 2049">
            <a:extLst>
              <a:ext uri="{FF2B5EF4-FFF2-40B4-BE49-F238E27FC236}">
                <a16:creationId xmlns:a16="http://schemas.microsoft.com/office/drawing/2014/main" id="{01901CCB-1C41-421F-8112-5B70C7CCFD08}"/>
              </a:ext>
            </a:extLst>
          </p:cNvPr>
          <p:cNvSpPr/>
          <p:nvPr/>
        </p:nvSpPr>
        <p:spPr>
          <a:xfrm flipV="1">
            <a:off x="1533898" y="1369145"/>
            <a:ext cx="389919" cy="810766"/>
          </a:xfrm>
          <a:custGeom>
            <a:avLst/>
            <a:gdLst>
              <a:gd name="connsiteX0" fmla="*/ 12041 w 142022"/>
              <a:gd name="connsiteY0" fmla="*/ -608 h 304503"/>
              <a:gd name="connsiteX1" fmla="*/ -1689 w 142022"/>
              <a:gd name="connsiteY1" fmla="*/ 12298 h 304503"/>
              <a:gd name="connsiteX2" fmla="*/ 135447 w 142022"/>
              <a:gd name="connsiteY2" fmla="*/ 243524 h 304503"/>
              <a:gd name="connsiteX3" fmla="*/ 135447 w 142022"/>
              <a:gd name="connsiteY3" fmla="*/ 243524 h 304503"/>
              <a:gd name="connsiteX4" fmla="*/ 135447 w 142022"/>
              <a:gd name="connsiteY4" fmla="*/ 243524 h 304503"/>
              <a:gd name="connsiteX5" fmla="*/ 135447 w 142022"/>
              <a:gd name="connsiteY5" fmla="*/ 244063 h 304503"/>
              <a:gd name="connsiteX6" fmla="*/ 135447 w 142022"/>
              <a:gd name="connsiteY6" fmla="*/ 244230 h 304503"/>
              <a:gd name="connsiteX7" fmla="*/ 135447 w 142022"/>
              <a:gd name="connsiteY7" fmla="*/ 244781 h 304503"/>
              <a:gd name="connsiteX8" fmla="*/ 135447 w 142022"/>
              <a:gd name="connsiteY8" fmla="*/ 244809 h 304503"/>
              <a:gd name="connsiteX9" fmla="*/ 135447 w 142022"/>
              <a:gd name="connsiteY9" fmla="*/ 245377 h 304503"/>
              <a:gd name="connsiteX10" fmla="*/ 135447 w 142022"/>
              <a:gd name="connsiteY10" fmla="*/ 245499 h 304503"/>
              <a:gd name="connsiteX11" fmla="*/ 135447 w 142022"/>
              <a:gd name="connsiteY11" fmla="*/ 246076 h 304503"/>
              <a:gd name="connsiteX12" fmla="*/ 135447 w 142022"/>
              <a:gd name="connsiteY12" fmla="*/ 246121 h 304503"/>
              <a:gd name="connsiteX13" fmla="*/ 135423 w 142022"/>
              <a:gd name="connsiteY13" fmla="*/ 246644 h 304503"/>
              <a:gd name="connsiteX14" fmla="*/ 135423 w 142022"/>
              <a:gd name="connsiteY14" fmla="*/ 246766 h 304503"/>
              <a:gd name="connsiteX15" fmla="*/ 135423 w 142022"/>
              <a:gd name="connsiteY15" fmla="*/ 247362 h 304503"/>
              <a:gd name="connsiteX16" fmla="*/ 135423 w 142022"/>
              <a:gd name="connsiteY16" fmla="*/ 247362 h 304503"/>
              <a:gd name="connsiteX17" fmla="*/ 135423 w 142022"/>
              <a:gd name="connsiteY17" fmla="*/ 247930 h 304503"/>
              <a:gd name="connsiteX18" fmla="*/ 135423 w 142022"/>
              <a:gd name="connsiteY18" fmla="*/ 248051 h 304503"/>
              <a:gd name="connsiteX19" fmla="*/ 135399 w 142022"/>
              <a:gd name="connsiteY19" fmla="*/ 249244 h 304503"/>
              <a:gd name="connsiteX20" fmla="*/ 135399 w 142022"/>
              <a:gd name="connsiteY20" fmla="*/ 249318 h 304503"/>
              <a:gd name="connsiteX21" fmla="*/ 135352 w 142022"/>
              <a:gd name="connsiteY21" fmla="*/ 250559 h 304503"/>
              <a:gd name="connsiteX22" fmla="*/ 135352 w 142022"/>
              <a:gd name="connsiteY22" fmla="*/ 250578 h 304503"/>
              <a:gd name="connsiteX23" fmla="*/ 128510 w 142022"/>
              <a:gd name="connsiteY23" fmla="*/ 303896 h 304503"/>
              <a:gd name="connsiteX24" fmla="*/ 140334 w 142022"/>
              <a:gd name="connsiteY24" fmla="*/ 225556 h 304503"/>
              <a:gd name="connsiteX25" fmla="*/ 12041 w 142022"/>
              <a:gd name="connsiteY25" fmla="*/ -608 h 304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42022" h="304503">
                <a:moveTo>
                  <a:pt x="12041" y="-608"/>
                </a:moveTo>
                <a:cubicBezTo>
                  <a:pt x="7441" y="3679"/>
                  <a:pt x="2864" y="7973"/>
                  <a:pt x="-1689" y="12298"/>
                </a:cubicBezTo>
                <a:cubicBezTo>
                  <a:pt x="80025" y="56969"/>
                  <a:pt x="135447" y="143760"/>
                  <a:pt x="135447" y="243524"/>
                </a:cubicBezTo>
                <a:lnTo>
                  <a:pt x="135447" y="243524"/>
                </a:lnTo>
                <a:lnTo>
                  <a:pt x="135447" y="243524"/>
                </a:lnTo>
                <a:cubicBezTo>
                  <a:pt x="135447" y="243691"/>
                  <a:pt x="135447" y="243877"/>
                  <a:pt x="135447" y="244063"/>
                </a:cubicBezTo>
                <a:cubicBezTo>
                  <a:pt x="135447" y="244120"/>
                  <a:pt x="135447" y="244165"/>
                  <a:pt x="135447" y="244230"/>
                </a:cubicBezTo>
                <a:cubicBezTo>
                  <a:pt x="135447" y="244399"/>
                  <a:pt x="135447" y="244595"/>
                  <a:pt x="135447" y="244781"/>
                </a:cubicBezTo>
                <a:cubicBezTo>
                  <a:pt x="135447" y="244809"/>
                  <a:pt x="135447" y="244809"/>
                  <a:pt x="135447" y="244809"/>
                </a:cubicBezTo>
                <a:cubicBezTo>
                  <a:pt x="135447" y="244995"/>
                  <a:pt x="135447" y="245191"/>
                  <a:pt x="135447" y="245377"/>
                </a:cubicBezTo>
                <a:cubicBezTo>
                  <a:pt x="135447" y="245406"/>
                  <a:pt x="135447" y="245451"/>
                  <a:pt x="135447" y="245499"/>
                </a:cubicBezTo>
                <a:cubicBezTo>
                  <a:pt x="135447" y="245694"/>
                  <a:pt x="135447" y="245881"/>
                  <a:pt x="135447" y="246076"/>
                </a:cubicBezTo>
                <a:cubicBezTo>
                  <a:pt x="135447" y="246076"/>
                  <a:pt x="135447" y="246095"/>
                  <a:pt x="135447" y="246121"/>
                </a:cubicBezTo>
                <a:cubicBezTo>
                  <a:pt x="135447" y="246291"/>
                  <a:pt x="135447" y="246477"/>
                  <a:pt x="135423" y="246644"/>
                </a:cubicBezTo>
                <a:cubicBezTo>
                  <a:pt x="135423" y="246692"/>
                  <a:pt x="135423" y="246737"/>
                  <a:pt x="135423" y="246766"/>
                </a:cubicBezTo>
                <a:cubicBezTo>
                  <a:pt x="135423" y="246980"/>
                  <a:pt x="135423" y="247166"/>
                  <a:pt x="135423" y="247362"/>
                </a:cubicBezTo>
                <a:lnTo>
                  <a:pt x="135423" y="247362"/>
                </a:lnTo>
                <a:cubicBezTo>
                  <a:pt x="135423" y="247577"/>
                  <a:pt x="135423" y="247743"/>
                  <a:pt x="135423" y="247930"/>
                </a:cubicBezTo>
                <a:cubicBezTo>
                  <a:pt x="135423" y="247977"/>
                  <a:pt x="135423" y="248004"/>
                  <a:pt x="135423" y="248051"/>
                </a:cubicBezTo>
                <a:cubicBezTo>
                  <a:pt x="135399" y="248462"/>
                  <a:pt x="135399" y="248834"/>
                  <a:pt x="135399" y="249244"/>
                </a:cubicBezTo>
                <a:cubicBezTo>
                  <a:pt x="135399" y="249273"/>
                  <a:pt x="135399" y="249292"/>
                  <a:pt x="135399" y="249318"/>
                </a:cubicBezTo>
                <a:cubicBezTo>
                  <a:pt x="135375" y="249719"/>
                  <a:pt x="135375" y="250129"/>
                  <a:pt x="135352" y="250559"/>
                </a:cubicBezTo>
                <a:cubicBezTo>
                  <a:pt x="135352" y="250559"/>
                  <a:pt x="135352" y="250559"/>
                  <a:pt x="135352" y="250578"/>
                </a:cubicBezTo>
                <a:cubicBezTo>
                  <a:pt x="134875" y="268877"/>
                  <a:pt x="132539" y="286723"/>
                  <a:pt x="128510" y="303896"/>
                </a:cubicBezTo>
                <a:cubicBezTo>
                  <a:pt x="136186" y="279156"/>
                  <a:pt x="140334" y="252822"/>
                  <a:pt x="140334" y="225556"/>
                </a:cubicBezTo>
                <a:cubicBezTo>
                  <a:pt x="140334" y="129421"/>
                  <a:pt x="88892" y="45358"/>
                  <a:pt x="12041" y="-608"/>
                </a:cubicBezTo>
              </a:path>
            </a:pathLst>
          </a:custGeom>
          <a:solidFill>
            <a:srgbClr val="9BB69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49" name="Vrije vorm 2050">
            <a:extLst>
              <a:ext uri="{FF2B5EF4-FFF2-40B4-BE49-F238E27FC236}">
                <a16:creationId xmlns:a16="http://schemas.microsoft.com/office/drawing/2014/main" id="{11906228-D68A-4F61-9AA2-28504E315E17}"/>
              </a:ext>
            </a:extLst>
          </p:cNvPr>
          <p:cNvSpPr/>
          <p:nvPr/>
        </p:nvSpPr>
        <p:spPr>
          <a:xfrm flipV="1">
            <a:off x="498495" y="1739125"/>
            <a:ext cx="1073098" cy="539634"/>
          </a:xfrm>
          <a:custGeom>
            <a:avLst/>
            <a:gdLst>
              <a:gd name="connsiteX0" fmla="*/ 254487 w 390859"/>
              <a:gd name="connsiteY0" fmla="*/ -566 h 202673"/>
              <a:gd name="connsiteX1" fmla="*/ -1597 w 390859"/>
              <a:gd name="connsiteY1" fmla="*/ 202108 h 202673"/>
              <a:gd name="connsiteX2" fmla="*/ 249576 w 390859"/>
              <a:gd name="connsiteY2" fmla="*/ 17373 h 202673"/>
              <a:gd name="connsiteX3" fmla="*/ 375532 w 390859"/>
              <a:gd name="connsiteY3" fmla="*/ 49465 h 202673"/>
              <a:gd name="connsiteX4" fmla="*/ 389263 w 390859"/>
              <a:gd name="connsiteY4" fmla="*/ 36560 h 202673"/>
              <a:gd name="connsiteX5" fmla="*/ 254487 w 390859"/>
              <a:gd name="connsiteY5" fmla="*/ -566 h 202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0859" h="202673">
                <a:moveTo>
                  <a:pt x="254487" y="-566"/>
                </a:moveTo>
                <a:cubicBezTo>
                  <a:pt x="130008" y="-566"/>
                  <a:pt x="25744" y="85908"/>
                  <a:pt x="-1597" y="202108"/>
                </a:cubicBezTo>
                <a:cubicBezTo>
                  <a:pt x="31799" y="95069"/>
                  <a:pt x="131629" y="17373"/>
                  <a:pt x="249576" y="17373"/>
                </a:cubicBezTo>
                <a:cubicBezTo>
                  <a:pt x="295201" y="17373"/>
                  <a:pt x="338132" y="29022"/>
                  <a:pt x="375532" y="49465"/>
                </a:cubicBezTo>
                <a:cubicBezTo>
                  <a:pt x="380085" y="45140"/>
                  <a:pt x="384662" y="40847"/>
                  <a:pt x="389263" y="36560"/>
                </a:cubicBezTo>
                <a:cubicBezTo>
                  <a:pt x="349836" y="12984"/>
                  <a:pt x="303758" y="-566"/>
                  <a:pt x="254487" y="-566"/>
                </a:cubicBezTo>
              </a:path>
            </a:pathLst>
          </a:custGeom>
          <a:solidFill>
            <a:srgbClr val="79A78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50" name="Vrije vorm 2051">
            <a:extLst>
              <a:ext uri="{FF2B5EF4-FFF2-40B4-BE49-F238E27FC236}">
                <a16:creationId xmlns:a16="http://schemas.microsoft.com/office/drawing/2014/main" id="{7C7E4BF4-C6D5-4314-A65E-6A68A5EF48CC}"/>
              </a:ext>
            </a:extLst>
          </p:cNvPr>
          <p:cNvSpPr/>
          <p:nvPr/>
        </p:nvSpPr>
        <p:spPr>
          <a:xfrm flipV="1">
            <a:off x="465772" y="828885"/>
            <a:ext cx="1444631" cy="1402110"/>
          </a:xfrm>
          <a:custGeom>
            <a:avLst/>
            <a:gdLst>
              <a:gd name="connsiteX0" fmla="*/ 524567 w 526184"/>
              <a:gd name="connsiteY0" fmla="*/ 262667 h 526597"/>
              <a:gd name="connsiteX1" fmla="*/ 261475 w 526184"/>
              <a:gd name="connsiteY1" fmla="*/ -651 h 526597"/>
              <a:gd name="connsiteX2" fmla="*/ -1618 w 526184"/>
              <a:gd name="connsiteY2" fmla="*/ 262667 h 526597"/>
              <a:gd name="connsiteX3" fmla="*/ 261475 w 526184"/>
              <a:gd name="connsiteY3" fmla="*/ 525946 h 526597"/>
              <a:gd name="connsiteX4" fmla="*/ 524567 w 526184"/>
              <a:gd name="connsiteY4" fmla="*/ 262667 h 526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184" h="526597">
                <a:moveTo>
                  <a:pt x="524567" y="262667"/>
                </a:moveTo>
                <a:cubicBezTo>
                  <a:pt x="524567" y="117245"/>
                  <a:pt x="406787" y="-651"/>
                  <a:pt x="261475" y="-651"/>
                </a:cubicBezTo>
                <a:cubicBezTo>
                  <a:pt x="116162" y="-651"/>
                  <a:pt x="-1618" y="117245"/>
                  <a:pt x="-1618" y="262667"/>
                </a:cubicBezTo>
                <a:cubicBezTo>
                  <a:pt x="-1618" y="408060"/>
                  <a:pt x="116162" y="525946"/>
                  <a:pt x="261475" y="525946"/>
                </a:cubicBezTo>
                <a:cubicBezTo>
                  <a:pt x="406787" y="525946"/>
                  <a:pt x="524567" y="408060"/>
                  <a:pt x="524567" y="262667"/>
                </a:cubicBezTo>
              </a:path>
            </a:pathLst>
          </a:custGeom>
          <a:solidFill>
            <a:srgbClr val="EF3120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51" name="Vrije vorm 2052">
            <a:extLst>
              <a:ext uri="{FF2B5EF4-FFF2-40B4-BE49-F238E27FC236}">
                <a16:creationId xmlns:a16="http://schemas.microsoft.com/office/drawing/2014/main" id="{5D70646C-314A-4E26-A17B-E3840A0695AC}"/>
              </a:ext>
            </a:extLst>
          </p:cNvPr>
          <p:cNvSpPr/>
          <p:nvPr/>
        </p:nvSpPr>
        <p:spPr>
          <a:xfrm flipV="1">
            <a:off x="497529" y="847131"/>
            <a:ext cx="1362352" cy="714223"/>
          </a:xfrm>
          <a:custGeom>
            <a:avLst/>
            <a:gdLst>
              <a:gd name="connsiteX0" fmla="*/ -168 w 496215"/>
              <a:gd name="connsiteY0" fmla="*/ -709 h 268244"/>
              <a:gd name="connsiteX1" fmla="*/ -1479 w 496215"/>
              <a:gd name="connsiteY1" fmla="*/ 31402 h 268244"/>
              <a:gd name="connsiteX2" fmla="*/ 2717 w 496215"/>
              <a:gd name="connsiteY2" fmla="*/ 68165 h 268244"/>
              <a:gd name="connsiteX3" fmla="*/ 16328 w 496215"/>
              <a:gd name="connsiteY3" fmla="*/ 114281 h 268244"/>
              <a:gd name="connsiteX4" fmla="*/ 44622 w 496215"/>
              <a:gd name="connsiteY4" fmla="*/ 163751 h 268244"/>
              <a:gd name="connsiteX5" fmla="*/ 89842 w 496215"/>
              <a:gd name="connsiteY5" fmla="*/ 208171 h 268244"/>
              <a:gd name="connsiteX6" fmla="*/ 148196 w 496215"/>
              <a:gd name="connsiteY6" fmla="*/ 242043 h 268244"/>
              <a:gd name="connsiteX7" fmla="*/ 164166 w 496215"/>
              <a:gd name="connsiteY7" fmla="*/ 248789 h 268244"/>
              <a:gd name="connsiteX8" fmla="*/ 180567 w 496215"/>
              <a:gd name="connsiteY8" fmla="*/ 254660 h 268244"/>
              <a:gd name="connsiteX9" fmla="*/ 197372 w 496215"/>
              <a:gd name="connsiteY9" fmla="*/ 259600 h 268244"/>
              <a:gd name="connsiteX10" fmla="*/ 205882 w 496215"/>
              <a:gd name="connsiteY10" fmla="*/ 261752 h 268244"/>
              <a:gd name="connsiteX11" fmla="*/ 214535 w 496215"/>
              <a:gd name="connsiteY11" fmla="*/ 263439 h 268244"/>
              <a:gd name="connsiteX12" fmla="*/ 223211 w 496215"/>
              <a:gd name="connsiteY12" fmla="*/ 265013 h 268244"/>
              <a:gd name="connsiteX13" fmla="*/ 231936 w 496215"/>
              <a:gd name="connsiteY13" fmla="*/ 266065 h 268244"/>
              <a:gd name="connsiteX14" fmla="*/ 240684 w 496215"/>
              <a:gd name="connsiteY14" fmla="*/ 266969 h 268244"/>
              <a:gd name="connsiteX15" fmla="*/ 249456 w 496215"/>
              <a:gd name="connsiteY15" fmla="*/ 267379 h 268244"/>
              <a:gd name="connsiteX16" fmla="*/ 284402 w 496215"/>
              <a:gd name="connsiteY16" fmla="*/ 265946 h 268244"/>
              <a:gd name="connsiteX17" fmla="*/ 349859 w 496215"/>
              <a:gd name="connsiteY17" fmla="*/ 247577 h 268244"/>
              <a:gd name="connsiteX18" fmla="*/ 404232 w 496215"/>
              <a:gd name="connsiteY18" fmla="*/ 214581 h 268244"/>
              <a:gd name="connsiteX19" fmla="*/ 444898 w 496215"/>
              <a:gd name="connsiteY19" fmla="*/ 174727 h 268244"/>
              <a:gd name="connsiteX20" fmla="*/ 472049 w 496215"/>
              <a:gd name="connsiteY20" fmla="*/ 135051 h 268244"/>
              <a:gd name="connsiteX21" fmla="*/ 487233 w 496215"/>
              <a:gd name="connsiteY21" fmla="*/ 101299 h 268244"/>
              <a:gd name="connsiteX22" fmla="*/ 491143 w 496215"/>
              <a:gd name="connsiteY22" fmla="*/ 88207 h 268244"/>
              <a:gd name="connsiteX23" fmla="*/ 493359 w 496215"/>
              <a:gd name="connsiteY23" fmla="*/ 78284 h 268244"/>
              <a:gd name="connsiteX24" fmla="*/ 494599 w 496215"/>
              <a:gd name="connsiteY24" fmla="*/ 69999 h 268244"/>
              <a:gd name="connsiteX25" fmla="*/ 493955 w 496215"/>
              <a:gd name="connsiteY25" fmla="*/ 69877 h 268244"/>
              <a:gd name="connsiteX26" fmla="*/ 492167 w 496215"/>
              <a:gd name="connsiteY26" fmla="*/ 78040 h 268244"/>
              <a:gd name="connsiteX27" fmla="*/ 489450 w 496215"/>
              <a:gd name="connsiteY27" fmla="*/ 87675 h 268244"/>
              <a:gd name="connsiteX28" fmla="*/ 484826 w 496215"/>
              <a:gd name="connsiteY28" fmla="*/ 100414 h 268244"/>
              <a:gd name="connsiteX29" fmla="*/ 440655 w 496215"/>
              <a:gd name="connsiteY29" fmla="*/ 171075 h 268244"/>
              <a:gd name="connsiteX30" fmla="*/ 400156 w 496215"/>
              <a:gd name="connsiteY30" fmla="*/ 209336 h 268244"/>
              <a:gd name="connsiteX31" fmla="*/ 375150 w 496215"/>
              <a:gd name="connsiteY31" fmla="*/ 226678 h 268244"/>
              <a:gd name="connsiteX32" fmla="*/ 361492 w 496215"/>
              <a:gd name="connsiteY32" fmla="*/ 234431 h 268244"/>
              <a:gd name="connsiteX33" fmla="*/ 347165 w 496215"/>
              <a:gd name="connsiteY33" fmla="*/ 241521 h 268244"/>
              <a:gd name="connsiteX34" fmla="*/ 283639 w 496215"/>
              <a:gd name="connsiteY34" fmla="*/ 260316 h 268244"/>
              <a:gd name="connsiteX35" fmla="*/ 215131 w 496215"/>
              <a:gd name="connsiteY35" fmla="*/ 259982 h 268244"/>
              <a:gd name="connsiteX36" fmla="*/ 206525 w 496215"/>
              <a:gd name="connsiteY36" fmla="*/ 258575 h 268244"/>
              <a:gd name="connsiteX37" fmla="*/ 198039 w 496215"/>
              <a:gd name="connsiteY37" fmla="*/ 256738 h 268244"/>
              <a:gd name="connsiteX38" fmla="*/ 181353 w 496215"/>
              <a:gd name="connsiteY38" fmla="*/ 252348 h 268244"/>
              <a:gd name="connsiteX39" fmla="*/ 164977 w 496215"/>
              <a:gd name="connsiteY39" fmla="*/ 246721 h 268244"/>
              <a:gd name="connsiteX40" fmla="*/ 149006 w 496215"/>
              <a:gd name="connsiteY40" fmla="*/ 240254 h 268244"/>
              <a:gd name="connsiteX41" fmla="*/ 91963 w 496215"/>
              <a:gd name="connsiteY41" fmla="*/ 205450 h 268244"/>
              <a:gd name="connsiteX42" fmla="*/ 85789 w 496215"/>
              <a:gd name="connsiteY42" fmla="*/ 200204 h 268244"/>
              <a:gd name="connsiteX43" fmla="*/ 79759 w 496215"/>
              <a:gd name="connsiteY43" fmla="*/ 194901 h 268244"/>
              <a:gd name="connsiteX44" fmla="*/ 68579 w 496215"/>
              <a:gd name="connsiteY44" fmla="*/ 183785 h 268244"/>
              <a:gd name="connsiteX45" fmla="*/ 49128 w 496215"/>
              <a:gd name="connsiteY45" fmla="*/ 160369 h 268244"/>
              <a:gd name="connsiteX46" fmla="*/ 21381 w 496215"/>
              <a:gd name="connsiteY46" fmla="*/ 112155 h 268244"/>
              <a:gd name="connsiteX47" fmla="*/ 6840 w 496215"/>
              <a:gd name="connsiteY47" fmla="*/ 67334 h 268244"/>
              <a:gd name="connsiteX48" fmla="*/ 1239 w 496215"/>
              <a:gd name="connsiteY48" fmla="*/ 31235 h 268244"/>
              <a:gd name="connsiteX49" fmla="*/ 237 w 496215"/>
              <a:gd name="connsiteY49" fmla="*/ 7697 h 268244"/>
              <a:gd name="connsiteX50" fmla="*/ 500 w 496215"/>
              <a:gd name="connsiteY50" fmla="*/ -681 h 268244"/>
              <a:gd name="connsiteX51" fmla="*/ -168 w 496215"/>
              <a:gd name="connsiteY51" fmla="*/ -709 h 268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496215" h="268244">
                <a:moveTo>
                  <a:pt x="-168" y="-709"/>
                </a:moveTo>
                <a:cubicBezTo>
                  <a:pt x="-168" y="-709"/>
                  <a:pt x="-2146" y="10865"/>
                  <a:pt x="-1479" y="31402"/>
                </a:cubicBezTo>
                <a:cubicBezTo>
                  <a:pt x="-1121" y="41633"/>
                  <a:pt x="71" y="54093"/>
                  <a:pt x="2717" y="68165"/>
                </a:cubicBezTo>
                <a:cubicBezTo>
                  <a:pt x="5362" y="82263"/>
                  <a:pt x="9701" y="97888"/>
                  <a:pt x="16328" y="114281"/>
                </a:cubicBezTo>
                <a:cubicBezTo>
                  <a:pt x="23073" y="130662"/>
                  <a:pt x="32394" y="147601"/>
                  <a:pt x="44622" y="163751"/>
                </a:cubicBezTo>
                <a:cubicBezTo>
                  <a:pt x="56779" y="179946"/>
                  <a:pt x="72178" y="195051"/>
                  <a:pt x="89842" y="208171"/>
                </a:cubicBezTo>
                <a:cubicBezTo>
                  <a:pt x="107505" y="221263"/>
                  <a:pt x="127290" y="232549"/>
                  <a:pt x="148196" y="242043"/>
                </a:cubicBezTo>
                <a:cubicBezTo>
                  <a:pt x="153416" y="244383"/>
                  <a:pt x="158779" y="246888"/>
                  <a:pt x="164166" y="248789"/>
                </a:cubicBezTo>
                <a:cubicBezTo>
                  <a:pt x="169578" y="250822"/>
                  <a:pt x="174917" y="253040"/>
                  <a:pt x="180567" y="254660"/>
                </a:cubicBezTo>
                <a:cubicBezTo>
                  <a:pt x="186144" y="256430"/>
                  <a:pt x="191651" y="258360"/>
                  <a:pt x="197372" y="259600"/>
                </a:cubicBezTo>
                <a:lnTo>
                  <a:pt x="205882" y="261752"/>
                </a:lnTo>
                <a:cubicBezTo>
                  <a:pt x="208766" y="262487"/>
                  <a:pt x="211650" y="262871"/>
                  <a:pt x="214535" y="263439"/>
                </a:cubicBezTo>
                <a:lnTo>
                  <a:pt x="223211" y="265013"/>
                </a:lnTo>
                <a:lnTo>
                  <a:pt x="231936" y="266065"/>
                </a:lnTo>
                <a:cubicBezTo>
                  <a:pt x="234868" y="266373"/>
                  <a:pt x="237752" y="266802"/>
                  <a:pt x="240684" y="266969"/>
                </a:cubicBezTo>
                <a:lnTo>
                  <a:pt x="249456" y="267379"/>
                </a:lnTo>
                <a:cubicBezTo>
                  <a:pt x="261160" y="267873"/>
                  <a:pt x="272912" y="267138"/>
                  <a:pt x="284402" y="265946"/>
                </a:cubicBezTo>
                <a:cubicBezTo>
                  <a:pt x="307429" y="262990"/>
                  <a:pt x="329573" y="256449"/>
                  <a:pt x="349859" y="247577"/>
                </a:cubicBezTo>
                <a:cubicBezTo>
                  <a:pt x="370145" y="238727"/>
                  <a:pt x="388428" y="227255"/>
                  <a:pt x="404232" y="214581"/>
                </a:cubicBezTo>
                <a:cubicBezTo>
                  <a:pt x="420155" y="202012"/>
                  <a:pt x="433647" y="188324"/>
                  <a:pt x="444898" y="174727"/>
                </a:cubicBezTo>
                <a:cubicBezTo>
                  <a:pt x="456149" y="161122"/>
                  <a:pt x="465184" y="147649"/>
                  <a:pt x="472049" y="135051"/>
                </a:cubicBezTo>
                <a:cubicBezTo>
                  <a:pt x="478938" y="122509"/>
                  <a:pt x="484015" y="111056"/>
                  <a:pt x="487233" y="101299"/>
                </a:cubicBezTo>
                <a:cubicBezTo>
                  <a:pt x="488902" y="96454"/>
                  <a:pt x="490070" y="92046"/>
                  <a:pt x="491143" y="88207"/>
                </a:cubicBezTo>
                <a:cubicBezTo>
                  <a:pt x="492001" y="84293"/>
                  <a:pt x="492883" y="80994"/>
                  <a:pt x="493359" y="78284"/>
                </a:cubicBezTo>
                <a:cubicBezTo>
                  <a:pt x="494170" y="72888"/>
                  <a:pt x="494599" y="69999"/>
                  <a:pt x="494599" y="69999"/>
                </a:cubicBezTo>
                <a:lnTo>
                  <a:pt x="493955" y="69877"/>
                </a:lnTo>
                <a:cubicBezTo>
                  <a:pt x="493955" y="69877"/>
                  <a:pt x="493359" y="72747"/>
                  <a:pt x="492167" y="78040"/>
                </a:cubicBezTo>
                <a:cubicBezTo>
                  <a:pt x="491572" y="80688"/>
                  <a:pt x="490499" y="83866"/>
                  <a:pt x="489450" y="87675"/>
                </a:cubicBezTo>
                <a:cubicBezTo>
                  <a:pt x="488163" y="91449"/>
                  <a:pt x="486756" y="95691"/>
                  <a:pt x="484826" y="100414"/>
                </a:cubicBezTo>
                <a:cubicBezTo>
                  <a:pt x="477388" y="119219"/>
                  <a:pt x="463324" y="144908"/>
                  <a:pt x="440655" y="171075"/>
                </a:cubicBezTo>
                <a:cubicBezTo>
                  <a:pt x="429285" y="184102"/>
                  <a:pt x="415721" y="197148"/>
                  <a:pt x="400156" y="209336"/>
                </a:cubicBezTo>
                <a:cubicBezTo>
                  <a:pt x="392313" y="215450"/>
                  <a:pt x="383875" y="221077"/>
                  <a:pt x="375150" y="226678"/>
                </a:cubicBezTo>
                <a:cubicBezTo>
                  <a:pt x="370645" y="229231"/>
                  <a:pt x="366187" y="231952"/>
                  <a:pt x="361492" y="234431"/>
                </a:cubicBezTo>
                <a:cubicBezTo>
                  <a:pt x="356724" y="236723"/>
                  <a:pt x="352100" y="239471"/>
                  <a:pt x="347165" y="241521"/>
                </a:cubicBezTo>
                <a:cubicBezTo>
                  <a:pt x="327547" y="250421"/>
                  <a:pt x="306046" y="257074"/>
                  <a:pt x="283639" y="260316"/>
                </a:cubicBezTo>
                <a:cubicBezTo>
                  <a:pt x="261232" y="263484"/>
                  <a:pt x="237967" y="263346"/>
                  <a:pt x="215131" y="259982"/>
                </a:cubicBezTo>
                <a:cubicBezTo>
                  <a:pt x="212246" y="259505"/>
                  <a:pt x="209386" y="259216"/>
                  <a:pt x="206525" y="258575"/>
                </a:cubicBezTo>
                <a:lnTo>
                  <a:pt x="198039" y="256738"/>
                </a:lnTo>
                <a:cubicBezTo>
                  <a:pt x="192366" y="255667"/>
                  <a:pt x="186860" y="253925"/>
                  <a:pt x="181353" y="252348"/>
                </a:cubicBezTo>
                <a:cubicBezTo>
                  <a:pt x="175799" y="250896"/>
                  <a:pt x="170364" y="248696"/>
                  <a:pt x="164977" y="246721"/>
                </a:cubicBezTo>
                <a:cubicBezTo>
                  <a:pt x="159447" y="244858"/>
                  <a:pt x="154322" y="242501"/>
                  <a:pt x="149006" y="240254"/>
                </a:cubicBezTo>
                <a:cubicBezTo>
                  <a:pt x="128220" y="230927"/>
                  <a:pt x="108793" y="219140"/>
                  <a:pt x="91963" y="205450"/>
                </a:cubicBezTo>
                <a:lnTo>
                  <a:pt x="85789" y="200204"/>
                </a:lnTo>
                <a:lnTo>
                  <a:pt x="79759" y="194901"/>
                </a:lnTo>
                <a:cubicBezTo>
                  <a:pt x="75873" y="191278"/>
                  <a:pt x="72226" y="187485"/>
                  <a:pt x="68579" y="183785"/>
                </a:cubicBezTo>
                <a:cubicBezTo>
                  <a:pt x="61547" y="176108"/>
                  <a:pt x="54920" y="168429"/>
                  <a:pt x="49128" y="160369"/>
                </a:cubicBezTo>
                <a:cubicBezTo>
                  <a:pt x="37400" y="144453"/>
                  <a:pt x="28079" y="128091"/>
                  <a:pt x="21381" y="112155"/>
                </a:cubicBezTo>
                <a:cubicBezTo>
                  <a:pt x="14564" y="96287"/>
                  <a:pt x="10011" y="80994"/>
                  <a:pt x="6840" y="67334"/>
                </a:cubicBezTo>
                <a:cubicBezTo>
                  <a:pt x="3646" y="53561"/>
                  <a:pt x="2216" y="41309"/>
                  <a:pt x="1239" y="31235"/>
                </a:cubicBezTo>
                <a:cubicBezTo>
                  <a:pt x="285" y="21144"/>
                  <a:pt x="166" y="13129"/>
                  <a:pt x="237" y="7697"/>
                </a:cubicBezTo>
                <a:cubicBezTo>
                  <a:pt x="237" y="2227"/>
                  <a:pt x="500" y="-681"/>
                  <a:pt x="500" y="-681"/>
                </a:cubicBezTo>
                <a:lnTo>
                  <a:pt x="-168" y="-709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52" name="Vrije vorm 2053">
            <a:extLst>
              <a:ext uri="{FF2B5EF4-FFF2-40B4-BE49-F238E27FC236}">
                <a16:creationId xmlns:a16="http://schemas.microsoft.com/office/drawing/2014/main" id="{872AB5D2-80B2-4E6D-84CF-798DA08B1004}"/>
              </a:ext>
            </a:extLst>
          </p:cNvPr>
          <p:cNvSpPr/>
          <p:nvPr/>
        </p:nvSpPr>
        <p:spPr>
          <a:xfrm flipV="1">
            <a:off x="1910403" y="1528011"/>
            <a:ext cx="49084" cy="445"/>
          </a:xfrm>
          <a:custGeom>
            <a:avLst/>
            <a:gdLst>
              <a:gd name="connsiteX0" fmla="*/ -1713 w 17878"/>
              <a:gd name="connsiteY0" fmla="*/ -651 h 167"/>
              <a:gd name="connsiteX1" fmla="*/ -1713 w 17878"/>
              <a:gd name="connsiteY1" fmla="*/ -484 h 167"/>
              <a:gd name="connsiteX2" fmla="*/ -1713 w 17878"/>
              <a:gd name="connsiteY2" fmla="*/ -651 h 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878" h="167">
                <a:moveTo>
                  <a:pt x="-1713" y="-651"/>
                </a:moveTo>
                <a:cubicBezTo>
                  <a:pt x="-1713" y="-594"/>
                  <a:pt x="-1713" y="-549"/>
                  <a:pt x="-1713" y="-484"/>
                </a:cubicBezTo>
                <a:cubicBezTo>
                  <a:pt x="-1713" y="-549"/>
                  <a:pt x="-1713" y="-594"/>
                  <a:pt x="-1713" y="-651"/>
                </a:cubicBezTo>
              </a:path>
            </a:pathLst>
          </a:custGeom>
          <a:solidFill>
            <a:srgbClr val="675749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53" name="Vrije vorm 2054">
            <a:extLst>
              <a:ext uri="{FF2B5EF4-FFF2-40B4-BE49-F238E27FC236}">
                <a16:creationId xmlns:a16="http://schemas.microsoft.com/office/drawing/2014/main" id="{D7D1388F-C059-4C22-B7E9-F56C9E0F9156}"/>
              </a:ext>
            </a:extLst>
          </p:cNvPr>
          <p:cNvSpPr/>
          <p:nvPr/>
        </p:nvSpPr>
        <p:spPr>
          <a:xfrm flipV="1">
            <a:off x="465772" y="1527859"/>
            <a:ext cx="49084" cy="322"/>
          </a:xfrm>
          <a:custGeom>
            <a:avLst/>
            <a:gdLst>
              <a:gd name="connsiteX0" fmla="*/ -1522 w 17878"/>
              <a:gd name="connsiteY0" fmla="*/ -652 h 121"/>
              <a:gd name="connsiteX1" fmla="*/ -1522 w 17878"/>
              <a:gd name="connsiteY1" fmla="*/ -530 h 121"/>
              <a:gd name="connsiteX2" fmla="*/ -1522 w 17878"/>
              <a:gd name="connsiteY2" fmla="*/ -652 h 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878" h="121">
                <a:moveTo>
                  <a:pt x="-1522" y="-652"/>
                </a:moveTo>
                <a:cubicBezTo>
                  <a:pt x="-1522" y="-604"/>
                  <a:pt x="-1522" y="-587"/>
                  <a:pt x="-1522" y="-530"/>
                </a:cubicBezTo>
                <a:cubicBezTo>
                  <a:pt x="-1522" y="-587"/>
                  <a:pt x="-1522" y="-604"/>
                  <a:pt x="-1522" y="-652"/>
                </a:cubicBezTo>
              </a:path>
            </a:pathLst>
          </a:custGeom>
          <a:solidFill>
            <a:srgbClr val="666C79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54" name="Vrije vorm 2055">
            <a:extLst>
              <a:ext uri="{FF2B5EF4-FFF2-40B4-BE49-F238E27FC236}">
                <a16:creationId xmlns:a16="http://schemas.microsoft.com/office/drawing/2014/main" id="{A90A920B-B6B2-43CB-B587-2562A7E9F8BE}"/>
              </a:ext>
            </a:extLst>
          </p:cNvPr>
          <p:cNvSpPr/>
          <p:nvPr/>
        </p:nvSpPr>
        <p:spPr>
          <a:xfrm flipV="1">
            <a:off x="1910403" y="1526466"/>
            <a:ext cx="49084" cy="75"/>
          </a:xfrm>
          <a:custGeom>
            <a:avLst/>
            <a:gdLst>
              <a:gd name="connsiteX0" fmla="*/ -1713 w 17878"/>
              <a:gd name="connsiteY0" fmla="*/ -652 h 28"/>
              <a:gd name="connsiteX1" fmla="*/ -1713 w 17878"/>
              <a:gd name="connsiteY1" fmla="*/ -623 h 28"/>
              <a:gd name="connsiteX2" fmla="*/ -1713 w 17878"/>
              <a:gd name="connsiteY2" fmla="*/ -652 h 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878" h="28">
                <a:moveTo>
                  <a:pt x="-1713" y="-652"/>
                </a:moveTo>
                <a:cubicBezTo>
                  <a:pt x="-1713" y="-623"/>
                  <a:pt x="-1713" y="-623"/>
                  <a:pt x="-1713" y="-623"/>
                </a:cubicBezTo>
                <a:cubicBezTo>
                  <a:pt x="-1713" y="-623"/>
                  <a:pt x="-1713" y="-623"/>
                  <a:pt x="-1713" y="-652"/>
                </a:cubicBezTo>
              </a:path>
            </a:pathLst>
          </a:custGeom>
          <a:solidFill>
            <a:srgbClr val="675749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55" name="Vrije vorm 2056">
            <a:extLst>
              <a:ext uri="{FF2B5EF4-FFF2-40B4-BE49-F238E27FC236}">
                <a16:creationId xmlns:a16="http://schemas.microsoft.com/office/drawing/2014/main" id="{828A9478-60E2-4E25-A8DF-4F68206DD000}"/>
              </a:ext>
            </a:extLst>
          </p:cNvPr>
          <p:cNvSpPr/>
          <p:nvPr/>
        </p:nvSpPr>
        <p:spPr>
          <a:xfrm flipV="1">
            <a:off x="465772" y="1525971"/>
            <a:ext cx="49084" cy="176"/>
          </a:xfrm>
          <a:custGeom>
            <a:avLst/>
            <a:gdLst>
              <a:gd name="connsiteX0" fmla="*/ -1522 w 17878"/>
              <a:gd name="connsiteY0" fmla="*/ -652 h 66"/>
              <a:gd name="connsiteX1" fmla="*/ -1522 w 17878"/>
              <a:gd name="connsiteY1" fmla="*/ -585 h 66"/>
              <a:gd name="connsiteX2" fmla="*/ -1522 w 17878"/>
              <a:gd name="connsiteY2" fmla="*/ -652 h 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878" h="66">
                <a:moveTo>
                  <a:pt x="-1522" y="-652"/>
                </a:moveTo>
                <a:cubicBezTo>
                  <a:pt x="-1522" y="-633"/>
                  <a:pt x="-1522" y="-604"/>
                  <a:pt x="-1522" y="-585"/>
                </a:cubicBezTo>
                <a:cubicBezTo>
                  <a:pt x="-1522" y="-604"/>
                  <a:pt x="-1522" y="-633"/>
                  <a:pt x="-1522" y="-652"/>
                </a:cubicBezTo>
              </a:path>
            </a:pathLst>
          </a:custGeom>
          <a:solidFill>
            <a:srgbClr val="666C79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56" name="Vrije vorm 2057">
            <a:extLst>
              <a:ext uri="{FF2B5EF4-FFF2-40B4-BE49-F238E27FC236}">
                <a16:creationId xmlns:a16="http://schemas.microsoft.com/office/drawing/2014/main" id="{FB6A4BC5-2976-463F-B82B-6C7BC7BB9A3D}"/>
              </a:ext>
            </a:extLst>
          </p:cNvPr>
          <p:cNvSpPr/>
          <p:nvPr/>
        </p:nvSpPr>
        <p:spPr>
          <a:xfrm flipV="1">
            <a:off x="1910142" y="1511109"/>
            <a:ext cx="261" cy="13845"/>
          </a:xfrm>
          <a:custGeom>
            <a:avLst/>
            <a:gdLst>
              <a:gd name="connsiteX0" fmla="*/ -1618 w 95"/>
              <a:gd name="connsiteY0" fmla="*/ -653 h 5200"/>
              <a:gd name="connsiteX1" fmla="*/ -1618 w 95"/>
              <a:gd name="connsiteY1" fmla="*/ -532 h 5200"/>
              <a:gd name="connsiteX2" fmla="*/ -1618 w 95"/>
              <a:gd name="connsiteY2" fmla="*/ -653 h 5200"/>
              <a:gd name="connsiteX3" fmla="*/ -1618 w 95"/>
              <a:gd name="connsiteY3" fmla="*/ 46 h 5200"/>
              <a:gd name="connsiteX4" fmla="*/ -1618 w 95"/>
              <a:gd name="connsiteY4" fmla="*/ 91 h 5200"/>
              <a:gd name="connsiteX5" fmla="*/ -1618 w 95"/>
              <a:gd name="connsiteY5" fmla="*/ 46 h 5200"/>
              <a:gd name="connsiteX6" fmla="*/ -1642 w 95"/>
              <a:gd name="connsiteY6" fmla="*/ 613 h 5200"/>
              <a:gd name="connsiteX7" fmla="*/ -1642 w 95"/>
              <a:gd name="connsiteY7" fmla="*/ 735 h 5200"/>
              <a:gd name="connsiteX8" fmla="*/ -1642 w 95"/>
              <a:gd name="connsiteY8" fmla="*/ 613 h 5200"/>
              <a:gd name="connsiteX9" fmla="*/ -1642 w 95"/>
              <a:gd name="connsiteY9" fmla="*/ 1331 h 5200"/>
              <a:gd name="connsiteX10" fmla="*/ -1642 w 95"/>
              <a:gd name="connsiteY10" fmla="*/ 1331 h 5200"/>
              <a:gd name="connsiteX11" fmla="*/ -1642 w 95"/>
              <a:gd name="connsiteY11" fmla="*/ 1331 h 5200"/>
              <a:gd name="connsiteX12" fmla="*/ -1642 w 95"/>
              <a:gd name="connsiteY12" fmla="*/ 1899 h 5200"/>
              <a:gd name="connsiteX13" fmla="*/ -1642 w 95"/>
              <a:gd name="connsiteY13" fmla="*/ 2021 h 5200"/>
              <a:gd name="connsiteX14" fmla="*/ -1642 w 95"/>
              <a:gd name="connsiteY14" fmla="*/ 1899 h 5200"/>
              <a:gd name="connsiteX15" fmla="*/ -1666 w 95"/>
              <a:gd name="connsiteY15" fmla="*/ 3214 h 5200"/>
              <a:gd name="connsiteX16" fmla="*/ -1666 w 95"/>
              <a:gd name="connsiteY16" fmla="*/ 3287 h 5200"/>
              <a:gd name="connsiteX17" fmla="*/ -1666 w 95"/>
              <a:gd name="connsiteY17" fmla="*/ 3214 h 5200"/>
              <a:gd name="connsiteX18" fmla="*/ -1713 w 95"/>
              <a:gd name="connsiteY18" fmla="*/ 4528 h 5200"/>
              <a:gd name="connsiteX19" fmla="*/ -1713 w 95"/>
              <a:gd name="connsiteY19" fmla="*/ 4547 h 5200"/>
              <a:gd name="connsiteX20" fmla="*/ -1713 w 95"/>
              <a:gd name="connsiteY20" fmla="*/ 4528 h 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95" h="5200">
                <a:moveTo>
                  <a:pt x="-1618" y="-653"/>
                </a:moveTo>
                <a:cubicBezTo>
                  <a:pt x="-1618" y="-608"/>
                  <a:pt x="-1618" y="-579"/>
                  <a:pt x="-1618" y="-532"/>
                </a:cubicBezTo>
                <a:cubicBezTo>
                  <a:pt x="-1618" y="-579"/>
                  <a:pt x="-1618" y="-625"/>
                  <a:pt x="-1618" y="-653"/>
                </a:cubicBezTo>
                <a:moveTo>
                  <a:pt x="-1618" y="46"/>
                </a:moveTo>
                <a:cubicBezTo>
                  <a:pt x="-1618" y="65"/>
                  <a:pt x="-1618" y="65"/>
                  <a:pt x="-1618" y="91"/>
                </a:cubicBezTo>
                <a:cubicBezTo>
                  <a:pt x="-1618" y="65"/>
                  <a:pt x="-1618" y="46"/>
                  <a:pt x="-1618" y="46"/>
                </a:cubicBezTo>
                <a:moveTo>
                  <a:pt x="-1642" y="613"/>
                </a:moveTo>
                <a:cubicBezTo>
                  <a:pt x="-1642" y="661"/>
                  <a:pt x="-1642" y="706"/>
                  <a:pt x="-1642" y="735"/>
                </a:cubicBezTo>
                <a:cubicBezTo>
                  <a:pt x="-1642" y="706"/>
                  <a:pt x="-1642" y="661"/>
                  <a:pt x="-1642" y="613"/>
                </a:cubicBezTo>
                <a:moveTo>
                  <a:pt x="-1642" y="1331"/>
                </a:moveTo>
                <a:lnTo>
                  <a:pt x="-1642" y="1331"/>
                </a:lnTo>
                <a:lnTo>
                  <a:pt x="-1642" y="1331"/>
                </a:lnTo>
                <a:moveTo>
                  <a:pt x="-1642" y="1899"/>
                </a:moveTo>
                <a:cubicBezTo>
                  <a:pt x="-1642" y="1947"/>
                  <a:pt x="-1642" y="1992"/>
                  <a:pt x="-1642" y="2021"/>
                </a:cubicBezTo>
                <a:cubicBezTo>
                  <a:pt x="-1642" y="1973"/>
                  <a:pt x="-1642" y="1947"/>
                  <a:pt x="-1642" y="1899"/>
                </a:cubicBezTo>
                <a:moveTo>
                  <a:pt x="-1666" y="3214"/>
                </a:moveTo>
                <a:cubicBezTo>
                  <a:pt x="-1666" y="3242"/>
                  <a:pt x="-1666" y="3261"/>
                  <a:pt x="-1666" y="3287"/>
                </a:cubicBezTo>
                <a:cubicBezTo>
                  <a:pt x="-1666" y="3261"/>
                  <a:pt x="-1666" y="3242"/>
                  <a:pt x="-1666" y="3214"/>
                </a:cubicBezTo>
                <a:moveTo>
                  <a:pt x="-1713" y="4528"/>
                </a:moveTo>
                <a:cubicBezTo>
                  <a:pt x="-1713" y="4528"/>
                  <a:pt x="-1713" y="4528"/>
                  <a:pt x="-1713" y="4547"/>
                </a:cubicBezTo>
                <a:cubicBezTo>
                  <a:pt x="-1713" y="4528"/>
                  <a:pt x="-1713" y="4528"/>
                  <a:pt x="-1713" y="4528"/>
                </a:cubicBezTo>
              </a:path>
            </a:pathLst>
          </a:custGeom>
          <a:solidFill>
            <a:srgbClr val="675749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57" name="Vrije vorm 2058">
            <a:extLst>
              <a:ext uri="{FF2B5EF4-FFF2-40B4-BE49-F238E27FC236}">
                <a16:creationId xmlns:a16="http://schemas.microsoft.com/office/drawing/2014/main" id="{894C7E1A-CEA8-48A0-9214-8CFC2ECB566A}"/>
              </a:ext>
            </a:extLst>
          </p:cNvPr>
          <p:cNvSpPr/>
          <p:nvPr/>
        </p:nvSpPr>
        <p:spPr>
          <a:xfrm flipV="1">
            <a:off x="465772" y="891511"/>
            <a:ext cx="1444631" cy="1339484"/>
          </a:xfrm>
          <a:custGeom>
            <a:avLst/>
            <a:gdLst>
              <a:gd name="connsiteX0" fmla="*/ 261475 w 526184"/>
              <a:gd name="connsiteY0" fmla="*/ -646 h 503076"/>
              <a:gd name="connsiteX1" fmla="*/ -1618 w 526184"/>
              <a:gd name="connsiteY1" fmla="*/ 262672 h 503076"/>
              <a:gd name="connsiteX2" fmla="*/ -1618 w 526184"/>
              <a:gd name="connsiteY2" fmla="*/ 263314 h 503076"/>
              <a:gd name="connsiteX3" fmla="*/ -1618 w 526184"/>
              <a:gd name="connsiteY3" fmla="*/ 263436 h 503076"/>
              <a:gd name="connsiteX4" fmla="*/ -1618 w 526184"/>
              <a:gd name="connsiteY4" fmla="*/ 264077 h 503076"/>
              <a:gd name="connsiteX5" fmla="*/ -1618 w 526184"/>
              <a:gd name="connsiteY5" fmla="*/ 264144 h 503076"/>
              <a:gd name="connsiteX6" fmla="*/ 13567 w 526184"/>
              <a:gd name="connsiteY6" fmla="*/ 350859 h 503076"/>
              <a:gd name="connsiteX7" fmla="*/ 3174 w 526184"/>
              <a:gd name="connsiteY7" fmla="*/ 259418 h 503076"/>
              <a:gd name="connsiteX8" fmla="*/ 21052 w 526184"/>
              <a:gd name="connsiteY8" fmla="*/ 203696 h 503076"/>
              <a:gd name="connsiteX9" fmla="*/ 25676 w 526184"/>
              <a:gd name="connsiteY9" fmla="*/ 216630 h 503076"/>
              <a:gd name="connsiteX10" fmla="*/ 71634 w 526184"/>
              <a:gd name="connsiteY10" fmla="*/ 411400 h 503076"/>
              <a:gd name="connsiteX11" fmla="*/ 262857 w 526184"/>
              <a:gd name="connsiteY11" fmla="*/ 502431 h 503076"/>
              <a:gd name="connsiteX12" fmla="*/ 269508 w 526184"/>
              <a:gd name="connsiteY12" fmla="*/ 502386 h 503076"/>
              <a:gd name="connsiteX13" fmla="*/ 500515 w 526184"/>
              <a:gd name="connsiteY13" fmla="*/ 303319 h 503076"/>
              <a:gd name="connsiteX14" fmla="*/ 493149 w 526184"/>
              <a:gd name="connsiteY14" fmla="*/ 197014 h 503076"/>
              <a:gd name="connsiteX15" fmla="*/ 494460 w 526184"/>
              <a:gd name="connsiteY15" fmla="*/ 179485 h 503076"/>
              <a:gd name="connsiteX16" fmla="*/ 505068 w 526184"/>
              <a:gd name="connsiteY16" fmla="*/ 198328 h 503076"/>
              <a:gd name="connsiteX17" fmla="*/ 517630 w 526184"/>
              <a:gd name="connsiteY17" fmla="*/ 271188 h 503076"/>
              <a:gd name="connsiteX18" fmla="*/ 479061 w 526184"/>
              <a:gd name="connsiteY18" fmla="*/ 410682 h 503076"/>
              <a:gd name="connsiteX19" fmla="*/ 524471 w 526184"/>
              <a:gd name="connsiteY19" fmla="*/ 269726 h 503076"/>
              <a:gd name="connsiteX20" fmla="*/ 524471 w 526184"/>
              <a:gd name="connsiteY20" fmla="*/ 269707 h 503076"/>
              <a:gd name="connsiteX21" fmla="*/ 524519 w 526184"/>
              <a:gd name="connsiteY21" fmla="*/ 268467 h 503076"/>
              <a:gd name="connsiteX22" fmla="*/ 524519 w 526184"/>
              <a:gd name="connsiteY22" fmla="*/ 268393 h 503076"/>
              <a:gd name="connsiteX23" fmla="*/ 524543 w 526184"/>
              <a:gd name="connsiteY23" fmla="*/ 267200 h 503076"/>
              <a:gd name="connsiteX24" fmla="*/ 524543 w 526184"/>
              <a:gd name="connsiteY24" fmla="*/ 267078 h 503076"/>
              <a:gd name="connsiteX25" fmla="*/ 524543 w 526184"/>
              <a:gd name="connsiteY25" fmla="*/ 266510 h 503076"/>
              <a:gd name="connsiteX26" fmla="*/ 524543 w 526184"/>
              <a:gd name="connsiteY26" fmla="*/ 266510 h 503076"/>
              <a:gd name="connsiteX27" fmla="*/ 524543 w 526184"/>
              <a:gd name="connsiteY27" fmla="*/ 265914 h 503076"/>
              <a:gd name="connsiteX28" fmla="*/ 524543 w 526184"/>
              <a:gd name="connsiteY28" fmla="*/ 265792 h 503076"/>
              <a:gd name="connsiteX29" fmla="*/ 524567 w 526184"/>
              <a:gd name="connsiteY29" fmla="*/ 265270 h 503076"/>
              <a:gd name="connsiteX30" fmla="*/ 524567 w 526184"/>
              <a:gd name="connsiteY30" fmla="*/ 265225 h 503076"/>
              <a:gd name="connsiteX31" fmla="*/ 524567 w 526184"/>
              <a:gd name="connsiteY31" fmla="*/ 264647 h 503076"/>
              <a:gd name="connsiteX32" fmla="*/ 524567 w 526184"/>
              <a:gd name="connsiteY32" fmla="*/ 264526 h 503076"/>
              <a:gd name="connsiteX33" fmla="*/ 524567 w 526184"/>
              <a:gd name="connsiteY33" fmla="*/ 263958 h 503076"/>
              <a:gd name="connsiteX34" fmla="*/ 524567 w 526184"/>
              <a:gd name="connsiteY34" fmla="*/ 263929 h 503076"/>
              <a:gd name="connsiteX35" fmla="*/ 524567 w 526184"/>
              <a:gd name="connsiteY35" fmla="*/ 263378 h 503076"/>
              <a:gd name="connsiteX36" fmla="*/ 524567 w 526184"/>
              <a:gd name="connsiteY36" fmla="*/ 263211 h 503076"/>
              <a:gd name="connsiteX37" fmla="*/ 524567 w 526184"/>
              <a:gd name="connsiteY37" fmla="*/ 262672 h 503076"/>
              <a:gd name="connsiteX38" fmla="*/ 261475 w 526184"/>
              <a:gd name="connsiteY38" fmla="*/ -646 h 503076"/>
              <a:gd name="connsiteX39" fmla="*/ 51945 w 526184"/>
              <a:gd name="connsiteY39" fmla="*/ 132560 h 503076"/>
              <a:gd name="connsiteX40" fmla="*/ 53661 w 526184"/>
              <a:gd name="connsiteY40" fmla="*/ 128915 h 503076"/>
              <a:gd name="connsiteX41" fmla="*/ 59668 w 526184"/>
              <a:gd name="connsiteY41" fmla="*/ 119039 h 503076"/>
              <a:gd name="connsiteX42" fmla="*/ 69966 w 526184"/>
              <a:gd name="connsiteY42" fmla="*/ 104223 h 503076"/>
              <a:gd name="connsiteX43" fmla="*/ 84983 w 526184"/>
              <a:gd name="connsiteY43" fmla="*/ 86191 h 503076"/>
              <a:gd name="connsiteX44" fmla="*/ 104935 w 526184"/>
              <a:gd name="connsiteY44" fmla="*/ 66866 h 503076"/>
              <a:gd name="connsiteX45" fmla="*/ 116520 w 526184"/>
              <a:gd name="connsiteY45" fmla="*/ 57203 h 503076"/>
              <a:gd name="connsiteX46" fmla="*/ 122956 w 526184"/>
              <a:gd name="connsiteY46" fmla="*/ 52477 h 503076"/>
              <a:gd name="connsiteX47" fmla="*/ 129607 w 526184"/>
              <a:gd name="connsiteY47" fmla="*/ 47978 h 503076"/>
              <a:gd name="connsiteX48" fmla="*/ 136257 w 526184"/>
              <a:gd name="connsiteY48" fmla="*/ 43467 h 503076"/>
              <a:gd name="connsiteX49" fmla="*/ 143552 w 526184"/>
              <a:gd name="connsiteY49" fmla="*/ 39385 h 503076"/>
              <a:gd name="connsiteX50" fmla="*/ 158569 w 526184"/>
              <a:gd name="connsiteY50" fmla="*/ 31661 h 503076"/>
              <a:gd name="connsiteX51" fmla="*/ 190749 w 526184"/>
              <a:gd name="connsiteY51" fmla="*/ 19631 h 503076"/>
              <a:gd name="connsiteX52" fmla="*/ 198902 w 526184"/>
              <a:gd name="connsiteY52" fmla="*/ 17272 h 503076"/>
              <a:gd name="connsiteX53" fmla="*/ 207483 w 526184"/>
              <a:gd name="connsiteY53" fmla="*/ 15559 h 503076"/>
              <a:gd name="connsiteX54" fmla="*/ 211774 w 526184"/>
              <a:gd name="connsiteY54" fmla="*/ 14691 h 503076"/>
              <a:gd name="connsiteX55" fmla="*/ 215850 w 526184"/>
              <a:gd name="connsiteY55" fmla="*/ 14049 h 503076"/>
              <a:gd name="connsiteX56" fmla="*/ 224431 w 526184"/>
              <a:gd name="connsiteY56" fmla="*/ 12763 h 503076"/>
              <a:gd name="connsiteX57" fmla="*/ 241165 w 526184"/>
              <a:gd name="connsiteY57" fmla="*/ 11263 h 503076"/>
              <a:gd name="connsiteX58" fmla="*/ 257684 w 526184"/>
              <a:gd name="connsiteY58" fmla="*/ 11048 h 503076"/>
              <a:gd name="connsiteX59" fmla="*/ 273560 w 526184"/>
              <a:gd name="connsiteY59" fmla="*/ 11904 h 503076"/>
              <a:gd name="connsiteX60" fmla="*/ 288577 w 526184"/>
              <a:gd name="connsiteY60" fmla="*/ 13620 h 503076"/>
              <a:gd name="connsiteX61" fmla="*/ 302737 w 526184"/>
              <a:gd name="connsiteY61" fmla="*/ 16201 h 503076"/>
              <a:gd name="connsiteX62" fmla="*/ 315609 w 526184"/>
              <a:gd name="connsiteY62" fmla="*/ 18987 h 503076"/>
              <a:gd name="connsiteX63" fmla="*/ 327623 w 526184"/>
              <a:gd name="connsiteY63" fmla="*/ 22212 h 503076"/>
              <a:gd name="connsiteX64" fmla="*/ 338135 w 526184"/>
              <a:gd name="connsiteY64" fmla="*/ 25640 h 503076"/>
              <a:gd name="connsiteX65" fmla="*/ 355084 w 526184"/>
              <a:gd name="connsiteY65" fmla="*/ 31876 h 503076"/>
              <a:gd name="connsiteX66" fmla="*/ 369458 w 526184"/>
              <a:gd name="connsiteY66" fmla="*/ 37885 h 503076"/>
              <a:gd name="connsiteX67" fmla="*/ 354654 w 526184"/>
              <a:gd name="connsiteY67" fmla="*/ 32947 h 503076"/>
              <a:gd name="connsiteX68" fmla="*/ 337492 w 526184"/>
              <a:gd name="connsiteY68" fmla="*/ 28007 h 503076"/>
              <a:gd name="connsiteX69" fmla="*/ 314966 w 526184"/>
              <a:gd name="connsiteY69" fmla="*/ 22639 h 503076"/>
              <a:gd name="connsiteX70" fmla="*/ 301879 w 526184"/>
              <a:gd name="connsiteY70" fmla="*/ 20497 h 503076"/>
              <a:gd name="connsiteX71" fmla="*/ 287934 w 526184"/>
              <a:gd name="connsiteY71" fmla="*/ 18345 h 503076"/>
              <a:gd name="connsiteX72" fmla="*/ 273131 w 526184"/>
              <a:gd name="connsiteY72" fmla="*/ 17272 h 503076"/>
              <a:gd name="connsiteX73" fmla="*/ 257470 w 526184"/>
              <a:gd name="connsiteY73" fmla="*/ 16630 h 503076"/>
              <a:gd name="connsiteX74" fmla="*/ 241594 w 526184"/>
              <a:gd name="connsiteY74" fmla="*/ 17272 h 503076"/>
              <a:gd name="connsiteX75" fmla="*/ 233442 w 526184"/>
              <a:gd name="connsiteY75" fmla="*/ 17916 h 503076"/>
              <a:gd name="connsiteX76" fmla="*/ 225075 w 526184"/>
              <a:gd name="connsiteY76" fmla="*/ 18772 h 503076"/>
              <a:gd name="connsiteX77" fmla="*/ 216923 w 526184"/>
              <a:gd name="connsiteY77" fmla="*/ 20058 h 503076"/>
              <a:gd name="connsiteX78" fmla="*/ 212846 w 526184"/>
              <a:gd name="connsiteY78" fmla="*/ 20712 h 503076"/>
              <a:gd name="connsiteX79" fmla="*/ 208770 w 526184"/>
              <a:gd name="connsiteY79" fmla="*/ 21783 h 503076"/>
              <a:gd name="connsiteX80" fmla="*/ 200618 w 526184"/>
              <a:gd name="connsiteY80" fmla="*/ 23498 h 503076"/>
              <a:gd name="connsiteX81" fmla="*/ 192466 w 526184"/>
              <a:gd name="connsiteY81" fmla="*/ 25855 h 503076"/>
              <a:gd name="connsiteX82" fmla="*/ 161143 w 526184"/>
              <a:gd name="connsiteY82" fmla="*/ 37243 h 503076"/>
              <a:gd name="connsiteX83" fmla="*/ 132610 w 526184"/>
              <a:gd name="connsiteY83" fmla="*/ 52692 h 503076"/>
              <a:gd name="connsiteX84" fmla="*/ 119738 w 526184"/>
              <a:gd name="connsiteY84" fmla="*/ 61499 h 503076"/>
              <a:gd name="connsiteX85" fmla="*/ 107938 w 526184"/>
              <a:gd name="connsiteY85" fmla="*/ 70518 h 503076"/>
              <a:gd name="connsiteX86" fmla="*/ 87558 w 526184"/>
              <a:gd name="connsiteY86" fmla="*/ 88763 h 503076"/>
              <a:gd name="connsiteX87" fmla="*/ 71896 w 526184"/>
              <a:gd name="connsiteY87" fmla="*/ 105724 h 503076"/>
              <a:gd name="connsiteX88" fmla="*/ 60741 w 526184"/>
              <a:gd name="connsiteY88" fmla="*/ 119681 h 503076"/>
              <a:gd name="connsiteX89" fmla="*/ 54090 w 526184"/>
              <a:gd name="connsiteY89" fmla="*/ 129130 h 503076"/>
              <a:gd name="connsiteX90" fmla="*/ 51945 w 526184"/>
              <a:gd name="connsiteY90" fmla="*/ 132560 h 503076"/>
              <a:gd name="connsiteX91" fmla="*/ 261475 w 526184"/>
              <a:gd name="connsiteY91" fmla="*/ 497047 h 503076"/>
              <a:gd name="connsiteX92" fmla="*/ 27249 w 526184"/>
              <a:gd name="connsiteY92" fmla="*/ 262672 h 503076"/>
              <a:gd name="connsiteX93" fmla="*/ 261475 w 526184"/>
              <a:gd name="connsiteY93" fmla="*/ 28250 h 503076"/>
              <a:gd name="connsiteX94" fmla="*/ 495700 w 526184"/>
              <a:gd name="connsiteY94" fmla="*/ 262672 h 503076"/>
              <a:gd name="connsiteX95" fmla="*/ 261475 w 526184"/>
              <a:gd name="connsiteY95" fmla="*/ 497047 h 503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526184" h="503076">
                <a:moveTo>
                  <a:pt x="261475" y="-646"/>
                </a:moveTo>
                <a:cubicBezTo>
                  <a:pt x="116162" y="-646"/>
                  <a:pt x="-1618" y="117250"/>
                  <a:pt x="-1618" y="262672"/>
                </a:cubicBezTo>
                <a:cubicBezTo>
                  <a:pt x="-1618" y="262884"/>
                  <a:pt x="-1618" y="263099"/>
                  <a:pt x="-1618" y="263314"/>
                </a:cubicBezTo>
                <a:cubicBezTo>
                  <a:pt x="-1618" y="263362"/>
                  <a:pt x="-1618" y="263378"/>
                  <a:pt x="-1618" y="263436"/>
                </a:cubicBezTo>
                <a:cubicBezTo>
                  <a:pt x="-1618" y="263650"/>
                  <a:pt x="-1618" y="263865"/>
                  <a:pt x="-1618" y="264077"/>
                </a:cubicBezTo>
                <a:cubicBezTo>
                  <a:pt x="-1618" y="264096"/>
                  <a:pt x="-1618" y="264125"/>
                  <a:pt x="-1618" y="264144"/>
                </a:cubicBezTo>
                <a:cubicBezTo>
                  <a:pt x="-1451" y="294559"/>
                  <a:pt x="3889" y="323734"/>
                  <a:pt x="13567" y="350859"/>
                </a:cubicBezTo>
                <a:cubicBezTo>
                  <a:pt x="7059" y="323855"/>
                  <a:pt x="1028" y="289173"/>
                  <a:pt x="3174" y="259418"/>
                </a:cubicBezTo>
                <a:cubicBezTo>
                  <a:pt x="6010" y="220635"/>
                  <a:pt x="15307" y="203696"/>
                  <a:pt x="21052" y="203696"/>
                </a:cubicBezTo>
                <a:cubicBezTo>
                  <a:pt x="24007" y="203696"/>
                  <a:pt x="26010" y="208233"/>
                  <a:pt x="25676" y="216630"/>
                </a:cubicBezTo>
                <a:cubicBezTo>
                  <a:pt x="24603" y="241267"/>
                  <a:pt x="7465" y="333304"/>
                  <a:pt x="71634" y="411400"/>
                </a:cubicBezTo>
                <a:cubicBezTo>
                  <a:pt x="133659" y="486908"/>
                  <a:pt x="199617" y="502431"/>
                  <a:pt x="262857" y="502431"/>
                </a:cubicBezTo>
                <a:cubicBezTo>
                  <a:pt x="265074" y="502431"/>
                  <a:pt x="267315" y="502414"/>
                  <a:pt x="269508" y="502386"/>
                </a:cubicBezTo>
                <a:cubicBezTo>
                  <a:pt x="334750" y="501331"/>
                  <a:pt x="478489" y="443082"/>
                  <a:pt x="500515" y="303319"/>
                </a:cubicBezTo>
                <a:cubicBezTo>
                  <a:pt x="503232" y="285995"/>
                  <a:pt x="509692" y="253727"/>
                  <a:pt x="493149" y="197014"/>
                </a:cubicBezTo>
                <a:cubicBezTo>
                  <a:pt x="491409" y="191031"/>
                  <a:pt x="491290" y="179485"/>
                  <a:pt x="494460" y="179485"/>
                </a:cubicBezTo>
                <a:cubicBezTo>
                  <a:pt x="496510" y="179485"/>
                  <a:pt x="499895" y="184256"/>
                  <a:pt x="505068" y="198328"/>
                </a:cubicBezTo>
                <a:cubicBezTo>
                  <a:pt x="512434" y="218438"/>
                  <a:pt x="518369" y="243989"/>
                  <a:pt x="517630" y="271188"/>
                </a:cubicBezTo>
                <a:cubicBezTo>
                  <a:pt x="516391" y="314285"/>
                  <a:pt x="512290" y="358967"/>
                  <a:pt x="479061" y="410682"/>
                </a:cubicBezTo>
                <a:cubicBezTo>
                  <a:pt x="506546" y="370279"/>
                  <a:pt x="523113" y="321899"/>
                  <a:pt x="524471" y="269726"/>
                </a:cubicBezTo>
                <a:cubicBezTo>
                  <a:pt x="524471" y="269707"/>
                  <a:pt x="524471" y="269707"/>
                  <a:pt x="524471" y="269707"/>
                </a:cubicBezTo>
                <a:cubicBezTo>
                  <a:pt x="524495" y="269278"/>
                  <a:pt x="524495" y="268867"/>
                  <a:pt x="524519" y="268467"/>
                </a:cubicBezTo>
                <a:cubicBezTo>
                  <a:pt x="524519" y="268440"/>
                  <a:pt x="524519" y="268421"/>
                  <a:pt x="524519" y="268393"/>
                </a:cubicBezTo>
                <a:cubicBezTo>
                  <a:pt x="524519" y="267982"/>
                  <a:pt x="524519" y="267610"/>
                  <a:pt x="524543" y="267200"/>
                </a:cubicBezTo>
                <a:cubicBezTo>
                  <a:pt x="524543" y="267171"/>
                  <a:pt x="524543" y="267126"/>
                  <a:pt x="524543" y="267078"/>
                </a:cubicBezTo>
                <a:cubicBezTo>
                  <a:pt x="524543" y="266892"/>
                  <a:pt x="524543" y="266696"/>
                  <a:pt x="524543" y="266510"/>
                </a:cubicBezTo>
                <a:lnTo>
                  <a:pt x="524543" y="266510"/>
                </a:lnTo>
                <a:cubicBezTo>
                  <a:pt x="524543" y="266315"/>
                  <a:pt x="524543" y="266129"/>
                  <a:pt x="524543" y="265914"/>
                </a:cubicBezTo>
                <a:cubicBezTo>
                  <a:pt x="524543" y="265885"/>
                  <a:pt x="524543" y="265840"/>
                  <a:pt x="524543" y="265792"/>
                </a:cubicBezTo>
                <a:cubicBezTo>
                  <a:pt x="524567" y="265625"/>
                  <a:pt x="524567" y="265439"/>
                  <a:pt x="524567" y="265270"/>
                </a:cubicBezTo>
                <a:cubicBezTo>
                  <a:pt x="524567" y="265244"/>
                  <a:pt x="524567" y="265244"/>
                  <a:pt x="524567" y="265225"/>
                </a:cubicBezTo>
                <a:cubicBezTo>
                  <a:pt x="524567" y="265029"/>
                  <a:pt x="524567" y="264843"/>
                  <a:pt x="524567" y="264647"/>
                </a:cubicBezTo>
                <a:cubicBezTo>
                  <a:pt x="524567" y="264600"/>
                  <a:pt x="524567" y="264571"/>
                  <a:pt x="524567" y="264526"/>
                </a:cubicBezTo>
                <a:cubicBezTo>
                  <a:pt x="524567" y="264340"/>
                  <a:pt x="524567" y="264144"/>
                  <a:pt x="524567" y="263958"/>
                </a:cubicBezTo>
                <a:cubicBezTo>
                  <a:pt x="524567" y="263958"/>
                  <a:pt x="524567" y="263958"/>
                  <a:pt x="524567" y="263929"/>
                </a:cubicBezTo>
                <a:cubicBezTo>
                  <a:pt x="524567" y="263743"/>
                  <a:pt x="524567" y="263548"/>
                  <a:pt x="524567" y="263378"/>
                </a:cubicBezTo>
                <a:cubicBezTo>
                  <a:pt x="524567" y="263314"/>
                  <a:pt x="524567" y="263269"/>
                  <a:pt x="524567" y="263211"/>
                </a:cubicBezTo>
                <a:cubicBezTo>
                  <a:pt x="524567" y="263025"/>
                  <a:pt x="524567" y="262839"/>
                  <a:pt x="524567" y="262672"/>
                </a:cubicBezTo>
                <a:cubicBezTo>
                  <a:pt x="524567" y="117250"/>
                  <a:pt x="406787" y="-646"/>
                  <a:pt x="261475" y="-646"/>
                </a:cubicBezTo>
                <a:moveTo>
                  <a:pt x="51945" y="132560"/>
                </a:moveTo>
                <a:cubicBezTo>
                  <a:pt x="51945" y="132560"/>
                  <a:pt x="52374" y="131275"/>
                  <a:pt x="53661" y="128915"/>
                </a:cubicBezTo>
                <a:cubicBezTo>
                  <a:pt x="54948" y="126549"/>
                  <a:pt x="56879" y="123121"/>
                  <a:pt x="59668" y="119039"/>
                </a:cubicBezTo>
                <a:cubicBezTo>
                  <a:pt x="62457" y="114743"/>
                  <a:pt x="65890" y="109805"/>
                  <a:pt x="69966" y="104223"/>
                </a:cubicBezTo>
                <a:cubicBezTo>
                  <a:pt x="74256" y="98641"/>
                  <a:pt x="79191" y="92630"/>
                  <a:pt x="84983" y="86191"/>
                </a:cubicBezTo>
                <a:cubicBezTo>
                  <a:pt x="90776" y="79967"/>
                  <a:pt x="97212" y="73305"/>
                  <a:pt x="104935" y="66866"/>
                </a:cubicBezTo>
                <a:cubicBezTo>
                  <a:pt x="108582" y="63651"/>
                  <a:pt x="112444" y="60425"/>
                  <a:pt x="116520" y="57203"/>
                </a:cubicBezTo>
                <a:lnTo>
                  <a:pt x="122956" y="52477"/>
                </a:lnTo>
                <a:cubicBezTo>
                  <a:pt x="125101" y="50976"/>
                  <a:pt x="127247" y="49476"/>
                  <a:pt x="129607" y="47978"/>
                </a:cubicBezTo>
                <a:cubicBezTo>
                  <a:pt x="131752" y="46468"/>
                  <a:pt x="134112" y="44967"/>
                  <a:pt x="136257" y="43467"/>
                </a:cubicBezTo>
                <a:cubicBezTo>
                  <a:pt x="138832" y="42181"/>
                  <a:pt x="141192" y="40671"/>
                  <a:pt x="143552" y="39385"/>
                </a:cubicBezTo>
                <a:cubicBezTo>
                  <a:pt x="148271" y="36590"/>
                  <a:pt x="153420" y="34233"/>
                  <a:pt x="158569" y="31661"/>
                </a:cubicBezTo>
                <a:cubicBezTo>
                  <a:pt x="168867" y="27150"/>
                  <a:pt x="179593" y="22639"/>
                  <a:pt x="190749" y="19631"/>
                </a:cubicBezTo>
                <a:cubicBezTo>
                  <a:pt x="193538" y="18772"/>
                  <a:pt x="196327" y="17916"/>
                  <a:pt x="198902" y="17272"/>
                </a:cubicBezTo>
                <a:lnTo>
                  <a:pt x="207483" y="15559"/>
                </a:lnTo>
                <a:lnTo>
                  <a:pt x="211774" y="14691"/>
                </a:lnTo>
                <a:lnTo>
                  <a:pt x="215850" y="14049"/>
                </a:lnTo>
                <a:cubicBezTo>
                  <a:pt x="218853" y="13620"/>
                  <a:pt x="221642" y="13193"/>
                  <a:pt x="224431" y="12763"/>
                </a:cubicBezTo>
                <a:cubicBezTo>
                  <a:pt x="230009" y="11904"/>
                  <a:pt x="235587" y="11692"/>
                  <a:pt x="241165" y="11263"/>
                </a:cubicBezTo>
                <a:cubicBezTo>
                  <a:pt x="246743" y="11048"/>
                  <a:pt x="252107" y="11048"/>
                  <a:pt x="257684" y="11048"/>
                </a:cubicBezTo>
                <a:cubicBezTo>
                  <a:pt x="263048" y="11263"/>
                  <a:pt x="268197" y="11478"/>
                  <a:pt x="273560" y="11904"/>
                </a:cubicBezTo>
                <a:cubicBezTo>
                  <a:pt x="278494" y="12334"/>
                  <a:pt x="283643" y="13193"/>
                  <a:pt x="288577" y="13620"/>
                </a:cubicBezTo>
                <a:cubicBezTo>
                  <a:pt x="293297" y="14264"/>
                  <a:pt x="298017" y="15344"/>
                  <a:pt x="302737" y="16201"/>
                </a:cubicBezTo>
                <a:cubicBezTo>
                  <a:pt x="307242" y="17060"/>
                  <a:pt x="311533" y="17916"/>
                  <a:pt x="315609" y="18987"/>
                </a:cubicBezTo>
                <a:cubicBezTo>
                  <a:pt x="319900" y="20273"/>
                  <a:pt x="323761" y="21353"/>
                  <a:pt x="327623" y="22212"/>
                </a:cubicBezTo>
                <a:cubicBezTo>
                  <a:pt x="331485" y="23283"/>
                  <a:pt x="334703" y="24569"/>
                  <a:pt x="338135" y="25640"/>
                </a:cubicBezTo>
                <a:cubicBezTo>
                  <a:pt x="344786" y="28007"/>
                  <a:pt x="350364" y="29936"/>
                  <a:pt x="355084" y="31876"/>
                </a:cubicBezTo>
                <a:cubicBezTo>
                  <a:pt x="364309" y="35733"/>
                  <a:pt x="369458" y="37885"/>
                  <a:pt x="369458" y="37885"/>
                </a:cubicBezTo>
                <a:cubicBezTo>
                  <a:pt x="369458" y="37885"/>
                  <a:pt x="364094" y="36160"/>
                  <a:pt x="354654" y="32947"/>
                </a:cubicBezTo>
                <a:cubicBezTo>
                  <a:pt x="349935" y="31446"/>
                  <a:pt x="344142" y="29722"/>
                  <a:pt x="337492" y="28007"/>
                </a:cubicBezTo>
                <a:cubicBezTo>
                  <a:pt x="330841" y="26079"/>
                  <a:pt x="323118" y="24569"/>
                  <a:pt x="314966" y="22639"/>
                </a:cubicBezTo>
                <a:cubicBezTo>
                  <a:pt x="310675" y="21568"/>
                  <a:pt x="306384" y="21141"/>
                  <a:pt x="301879" y="20497"/>
                </a:cubicBezTo>
                <a:cubicBezTo>
                  <a:pt x="297374" y="19846"/>
                  <a:pt x="292654" y="18772"/>
                  <a:pt x="287934" y="18345"/>
                </a:cubicBezTo>
                <a:cubicBezTo>
                  <a:pt x="283000" y="18131"/>
                  <a:pt x="278065" y="17272"/>
                  <a:pt x="273131" y="17272"/>
                </a:cubicBezTo>
                <a:cubicBezTo>
                  <a:pt x="267982" y="17060"/>
                  <a:pt x="262833" y="16630"/>
                  <a:pt x="257470" y="16630"/>
                </a:cubicBezTo>
                <a:cubicBezTo>
                  <a:pt x="252321" y="16845"/>
                  <a:pt x="246958" y="16845"/>
                  <a:pt x="241594" y="17272"/>
                </a:cubicBezTo>
                <a:cubicBezTo>
                  <a:pt x="238805" y="17487"/>
                  <a:pt x="236016" y="17701"/>
                  <a:pt x="233442" y="17916"/>
                </a:cubicBezTo>
                <a:cubicBezTo>
                  <a:pt x="230653" y="18345"/>
                  <a:pt x="227864" y="18345"/>
                  <a:pt x="225075" y="18772"/>
                </a:cubicBezTo>
                <a:cubicBezTo>
                  <a:pt x="222501" y="19202"/>
                  <a:pt x="219712" y="19631"/>
                  <a:pt x="216923" y="20058"/>
                </a:cubicBezTo>
                <a:lnTo>
                  <a:pt x="212846" y="20712"/>
                </a:lnTo>
                <a:lnTo>
                  <a:pt x="208770" y="21783"/>
                </a:lnTo>
                <a:lnTo>
                  <a:pt x="200618" y="23498"/>
                </a:lnTo>
                <a:cubicBezTo>
                  <a:pt x="197829" y="24140"/>
                  <a:pt x="195254" y="24998"/>
                  <a:pt x="192466" y="25855"/>
                </a:cubicBezTo>
                <a:cubicBezTo>
                  <a:pt x="181739" y="28651"/>
                  <a:pt x="171227" y="32732"/>
                  <a:pt x="161143" y="37243"/>
                </a:cubicBezTo>
                <a:cubicBezTo>
                  <a:pt x="151060" y="41957"/>
                  <a:pt x="141406" y="46895"/>
                  <a:pt x="132610" y="52692"/>
                </a:cubicBezTo>
                <a:cubicBezTo>
                  <a:pt x="128105" y="55487"/>
                  <a:pt x="123814" y="58498"/>
                  <a:pt x="119738" y="61499"/>
                </a:cubicBezTo>
                <a:cubicBezTo>
                  <a:pt x="115662" y="64507"/>
                  <a:pt x="111586" y="67293"/>
                  <a:pt x="107938" y="70518"/>
                </a:cubicBezTo>
                <a:cubicBezTo>
                  <a:pt x="100430" y="76527"/>
                  <a:pt x="93779" y="82754"/>
                  <a:pt x="87558" y="88763"/>
                </a:cubicBezTo>
                <a:cubicBezTo>
                  <a:pt x="81551" y="94774"/>
                  <a:pt x="76402" y="100568"/>
                  <a:pt x="71896" y="105724"/>
                </a:cubicBezTo>
                <a:cubicBezTo>
                  <a:pt x="67392" y="111091"/>
                  <a:pt x="63530" y="115599"/>
                  <a:pt x="60741" y="119681"/>
                </a:cubicBezTo>
                <a:cubicBezTo>
                  <a:pt x="57737" y="123763"/>
                  <a:pt x="55592" y="126978"/>
                  <a:pt x="54090" y="129130"/>
                </a:cubicBezTo>
                <a:cubicBezTo>
                  <a:pt x="52588" y="131487"/>
                  <a:pt x="51945" y="132560"/>
                  <a:pt x="51945" y="132560"/>
                </a:cubicBezTo>
                <a:moveTo>
                  <a:pt x="261475" y="497047"/>
                </a:moveTo>
                <a:cubicBezTo>
                  <a:pt x="132324" y="497047"/>
                  <a:pt x="27249" y="391916"/>
                  <a:pt x="27249" y="262672"/>
                </a:cubicBezTo>
                <a:cubicBezTo>
                  <a:pt x="27249" y="133398"/>
                  <a:pt x="132324" y="28250"/>
                  <a:pt x="261475" y="28250"/>
                </a:cubicBezTo>
                <a:cubicBezTo>
                  <a:pt x="390649" y="28250"/>
                  <a:pt x="495700" y="133398"/>
                  <a:pt x="495700" y="262672"/>
                </a:cubicBezTo>
                <a:cubicBezTo>
                  <a:pt x="495700" y="391916"/>
                  <a:pt x="390649" y="497047"/>
                  <a:pt x="261475" y="497047"/>
                </a:cubicBezTo>
              </a:path>
            </a:pathLst>
          </a:custGeom>
          <a:solidFill>
            <a:srgbClr val="C9202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58" name="Vrije vorm 2059">
            <a:extLst>
              <a:ext uri="{FF2B5EF4-FFF2-40B4-BE49-F238E27FC236}">
                <a16:creationId xmlns:a16="http://schemas.microsoft.com/office/drawing/2014/main" id="{67E4B9B1-5E0A-4561-94C7-523AF0DB0742}"/>
              </a:ext>
            </a:extLst>
          </p:cNvPr>
          <p:cNvSpPr/>
          <p:nvPr/>
        </p:nvSpPr>
        <p:spPr>
          <a:xfrm flipV="1">
            <a:off x="549542" y="910117"/>
            <a:ext cx="1277222" cy="1239623"/>
          </a:xfrm>
          <a:custGeom>
            <a:avLst/>
            <a:gdLst>
              <a:gd name="connsiteX0" fmla="*/ 463591 w 465208"/>
              <a:gd name="connsiteY0" fmla="*/ 232149 h 465571"/>
              <a:gd name="connsiteX1" fmla="*/ 230963 w 465208"/>
              <a:gd name="connsiteY1" fmla="*/ -651 h 465571"/>
              <a:gd name="connsiteX2" fmla="*/ -1618 w 465208"/>
              <a:gd name="connsiteY2" fmla="*/ 232149 h 465571"/>
              <a:gd name="connsiteX3" fmla="*/ 230963 w 465208"/>
              <a:gd name="connsiteY3" fmla="*/ 464920 h 465571"/>
              <a:gd name="connsiteX4" fmla="*/ 463591 w 465208"/>
              <a:gd name="connsiteY4" fmla="*/ 232149 h 46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208" h="465571">
                <a:moveTo>
                  <a:pt x="463591" y="232149"/>
                </a:moveTo>
                <a:cubicBezTo>
                  <a:pt x="463591" y="103564"/>
                  <a:pt x="359422" y="-651"/>
                  <a:pt x="230963" y="-651"/>
                </a:cubicBezTo>
                <a:cubicBezTo>
                  <a:pt x="102503" y="-651"/>
                  <a:pt x="-1618" y="103564"/>
                  <a:pt x="-1618" y="232149"/>
                </a:cubicBezTo>
                <a:cubicBezTo>
                  <a:pt x="-1618" y="360693"/>
                  <a:pt x="102503" y="464920"/>
                  <a:pt x="230963" y="464920"/>
                </a:cubicBezTo>
                <a:cubicBezTo>
                  <a:pt x="359422" y="464920"/>
                  <a:pt x="463591" y="360693"/>
                  <a:pt x="463591" y="232149"/>
                </a:cubicBezTo>
              </a:path>
            </a:pathLst>
          </a:custGeom>
          <a:solidFill>
            <a:srgbClr val="FBFAEE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59" name="Vrije vorm 2060">
            <a:extLst>
              <a:ext uri="{FF2B5EF4-FFF2-40B4-BE49-F238E27FC236}">
                <a16:creationId xmlns:a16="http://schemas.microsoft.com/office/drawing/2014/main" id="{2C288A81-8899-4C0A-9F2F-E53F6AA6FA0D}"/>
              </a:ext>
            </a:extLst>
          </p:cNvPr>
          <p:cNvSpPr/>
          <p:nvPr/>
        </p:nvSpPr>
        <p:spPr>
          <a:xfrm flipV="1">
            <a:off x="545026" y="905849"/>
            <a:ext cx="1286123" cy="1248210"/>
          </a:xfrm>
          <a:custGeom>
            <a:avLst/>
            <a:gdLst>
              <a:gd name="connsiteX0" fmla="*/ 232608 w 468450"/>
              <a:gd name="connsiteY0" fmla="*/ 464949 h 468796"/>
              <a:gd name="connsiteX1" fmla="*/ 1577 w 468450"/>
              <a:gd name="connsiteY1" fmla="*/ 233771 h 468796"/>
              <a:gd name="connsiteX2" fmla="*/ 232608 w 468450"/>
              <a:gd name="connsiteY2" fmla="*/ 2591 h 468796"/>
              <a:gd name="connsiteX3" fmla="*/ 463639 w 468450"/>
              <a:gd name="connsiteY3" fmla="*/ 233771 h 468796"/>
              <a:gd name="connsiteX4" fmla="*/ 232608 w 468450"/>
              <a:gd name="connsiteY4" fmla="*/ 464949 h 468796"/>
              <a:gd name="connsiteX5" fmla="*/ 232608 w 468450"/>
              <a:gd name="connsiteY5" fmla="*/ -651 h 468796"/>
              <a:gd name="connsiteX6" fmla="*/ -1618 w 468450"/>
              <a:gd name="connsiteY6" fmla="*/ 233771 h 468796"/>
              <a:gd name="connsiteX7" fmla="*/ 232608 w 468450"/>
              <a:gd name="connsiteY7" fmla="*/ 468146 h 468796"/>
              <a:gd name="connsiteX8" fmla="*/ 466833 w 468450"/>
              <a:gd name="connsiteY8" fmla="*/ 233771 h 468796"/>
              <a:gd name="connsiteX9" fmla="*/ 232608 w 468450"/>
              <a:gd name="connsiteY9" fmla="*/ -651 h 468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68450" h="468796">
                <a:moveTo>
                  <a:pt x="232608" y="464949"/>
                </a:moveTo>
                <a:cubicBezTo>
                  <a:pt x="105245" y="464949"/>
                  <a:pt x="1577" y="361226"/>
                  <a:pt x="1577" y="233771"/>
                </a:cubicBezTo>
                <a:cubicBezTo>
                  <a:pt x="1577" y="106314"/>
                  <a:pt x="105245" y="2591"/>
                  <a:pt x="232608" y="2591"/>
                </a:cubicBezTo>
                <a:cubicBezTo>
                  <a:pt x="359970" y="2591"/>
                  <a:pt x="463639" y="106314"/>
                  <a:pt x="463639" y="233771"/>
                </a:cubicBezTo>
                <a:cubicBezTo>
                  <a:pt x="463639" y="361226"/>
                  <a:pt x="359970" y="464949"/>
                  <a:pt x="232608" y="464949"/>
                </a:cubicBezTo>
                <a:moveTo>
                  <a:pt x="232608" y="-651"/>
                </a:moveTo>
                <a:cubicBezTo>
                  <a:pt x="103457" y="-651"/>
                  <a:pt x="-1618" y="104497"/>
                  <a:pt x="-1618" y="233771"/>
                </a:cubicBezTo>
                <a:cubicBezTo>
                  <a:pt x="-1618" y="363015"/>
                  <a:pt x="103457" y="468146"/>
                  <a:pt x="232608" y="468146"/>
                </a:cubicBezTo>
                <a:cubicBezTo>
                  <a:pt x="361782" y="468146"/>
                  <a:pt x="466833" y="363015"/>
                  <a:pt x="466833" y="233771"/>
                </a:cubicBezTo>
                <a:cubicBezTo>
                  <a:pt x="466833" y="104497"/>
                  <a:pt x="361782" y="-651"/>
                  <a:pt x="232608" y="-651"/>
                </a:cubicBezTo>
              </a:path>
            </a:pathLst>
          </a:custGeom>
          <a:solidFill>
            <a:srgbClr val="83181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60" name="Vrije vorm 2061">
            <a:extLst>
              <a:ext uri="{FF2B5EF4-FFF2-40B4-BE49-F238E27FC236}">
                <a16:creationId xmlns:a16="http://schemas.microsoft.com/office/drawing/2014/main" id="{AD9BAF7D-43B9-4B45-8D91-317C2B106015}"/>
              </a:ext>
            </a:extLst>
          </p:cNvPr>
          <p:cNvSpPr/>
          <p:nvPr/>
        </p:nvSpPr>
        <p:spPr>
          <a:xfrm flipV="1">
            <a:off x="553795" y="914359"/>
            <a:ext cx="1268582" cy="1231068"/>
          </a:xfrm>
          <a:custGeom>
            <a:avLst/>
            <a:gdLst>
              <a:gd name="connsiteX0" fmla="*/ 229413 w 462061"/>
              <a:gd name="connsiteY0" fmla="*/ -651 h 462358"/>
              <a:gd name="connsiteX1" fmla="*/ -1618 w 462061"/>
              <a:gd name="connsiteY1" fmla="*/ 230529 h 462358"/>
              <a:gd name="connsiteX2" fmla="*/ 229413 w 462061"/>
              <a:gd name="connsiteY2" fmla="*/ 461707 h 462358"/>
              <a:gd name="connsiteX3" fmla="*/ 460444 w 462061"/>
              <a:gd name="connsiteY3" fmla="*/ 230529 h 462358"/>
              <a:gd name="connsiteX4" fmla="*/ 229413 w 462061"/>
              <a:gd name="connsiteY4" fmla="*/ -651 h 462358"/>
              <a:gd name="connsiteX5" fmla="*/ 220498 w 462061"/>
              <a:gd name="connsiteY5" fmla="*/ 17195 h 462358"/>
              <a:gd name="connsiteX6" fmla="*/ 223692 w 462061"/>
              <a:gd name="connsiteY6" fmla="*/ 13466 h 462358"/>
              <a:gd name="connsiteX7" fmla="*/ 230987 w 462061"/>
              <a:gd name="connsiteY7" fmla="*/ 11324 h 462358"/>
              <a:gd name="connsiteX8" fmla="*/ 240212 w 462061"/>
              <a:gd name="connsiteY8" fmla="*/ 15191 h 462358"/>
              <a:gd name="connsiteX9" fmla="*/ 241809 w 462061"/>
              <a:gd name="connsiteY9" fmla="*/ 17352 h 462358"/>
              <a:gd name="connsiteX10" fmla="*/ 329506 w 462061"/>
              <a:gd name="connsiteY10" fmla="*/ 41236 h 462358"/>
              <a:gd name="connsiteX11" fmla="*/ 332462 w 462061"/>
              <a:gd name="connsiteY11" fmla="*/ 40303 h 462358"/>
              <a:gd name="connsiteX12" fmla="*/ 335680 w 462061"/>
              <a:gd name="connsiteY12" fmla="*/ 40091 h 462358"/>
              <a:gd name="connsiteX13" fmla="*/ 343832 w 462061"/>
              <a:gd name="connsiteY13" fmla="*/ 41803 h 462358"/>
              <a:gd name="connsiteX14" fmla="*/ 350483 w 462061"/>
              <a:gd name="connsiteY14" fmla="*/ 47610 h 462358"/>
              <a:gd name="connsiteX15" fmla="*/ 352843 w 462061"/>
              <a:gd name="connsiteY15" fmla="*/ 55119 h 462358"/>
              <a:gd name="connsiteX16" fmla="*/ 352843 w 462061"/>
              <a:gd name="connsiteY16" fmla="*/ 55167 h 462358"/>
              <a:gd name="connsiteX17" fmla="*/ 412460 w 462061"/>
              <a:gd name="connsiteY17" fmla="*/ 116026 h 462358"/>
              <a:gd name="connsiteX18" fmla="*/ 415272 w 462061"/>
              <a:gd name="connsiteY18" fmla="*/ 116090 h 462358"/>
              <a:gd name="connsiteX19" fmla="*/ 422781 w 462061"/>
              <a:gd name="connsiteY19" fmla="*/ 115875 h 462358"/>
              <a:gd name="connsiteX20" fmla="*/ 424927 w 462061"/>
              <a:gd name="connsiteY20" fmla="*/ 115875 h 462358"/>
              <a:gd name="connsiteX21" fmla="*/ 424927 w 462061"/>
              <a:gd name="connsiteY21" fmla="*/ 118242 h 462358"/>
              <a:gd name="connsiteX22" fmla="*/ 421279 w 462061"/>
              <a:gd name="connsiteY22" fmla="*/ 118671 h 462358"/>
              <a:gd name="connsiteX23" fmla="*/ 419992 w 462061"/>
              <a:gd name="connsiteY23" fmla="*/ 119101 h 462358"/>
              <a:gd name="connsiteX24" fmla="*/ 419563 w 462061"/>
              <a:gd name="connsiteY24" fmla="*/ 120172 h 462358"/>
              <a:gd name="connsiteX25" fmla="*/ 419563 w 462061"/>
              <a:gd name="connsiteY25" fmla="*/ 125968 h 462358"/>
              <a:gd name="connsiteX26" fmla="*/ 422996 w 462061"/>
              <a:gd name="connsiteY26" fmla="*/ 125968 h 462358"/>
              <a:gd name="connsiteX27" fmla="*/ 424712 w 462061"/>
              <a:gd name="connsiteY27" fmla="*/ 125968 h 462358"/>
              <a:gd name="connsiteX28" fmla="*/ 424712 w 462061"/>
              <a:gd name="connsiteY28" fmla="*/ 127896 h 462358"/>
              <a:gd name="connsiteX29" fmla="*/ 424712 w 462061"/>
              <a:gd name="connsiteY29" fmla="*/ 130477 h 462358"/>
              <a:gd name="connsiteX30" fmla="*/ 424712 w 462061"/>
              <a:gd name="connsiteY30" fmla="*/ 130906 h 462358"/>
              <a:gd name="connsiteX31" fmla="*/ 421303 w 462061"/>
              <a:gd name="connsiteY31" fmla="*/ 130720 h 462358"/>
              <a:gd name="connsiteX32" fmla="*/ 448144 w 462061"/>
              <a:gd name="connsiteY32" fmla="*/ 235868 h 462358"/>
              <a:gd name="connsiteX33" fmla="*/ 229413 w 462061"/>
              <a:gd name="connsiteY33" fmla="*/ 454708 h 462358"/>
              <a:gd name="connsiteX34" fmla="*/ 10706 w 462061"/>
              <a:gd name="connsiteY34" fmla="*/ 235868 h 462358"/>
              <a:gd name="connsiteX35" fmla="*/ 57165 w 462061"/>
              <a:gd name="connsiteY35" fmla="*/ 100995 h 462358"/>
              <a:gd name="connsiteX36" fmla="*/ 57642 w 462061"/>
              <a:gd name="connsiteY36" fmla="*/ 98702 h 462358"/>
              <a:gd name="connsiteX37" fmla="*/ 59787 w 462061"/>
              <a:gd name="connsiteY37" fmla="*/ 95477 h 462358"/>
              <a:gd name="connsiteX38" fmla="*/ 62790 w 462061"/>
              <a:gd name="connsiteY38" fmla="*/ 93550 h 462358"/>
              <a:gd name="connsiteX39" fmla="*/ 63577 w 462061"/>
              <a:gd name="connsiteY39" fmla="*/ 93168 h 462358"/>
              <a:gd name="connsiteX40" fmla="*/ 135280 w 462061"/>
              <a:gd name="connsiteY40" fmla="*/ 38254 h 462358"/>
              <a:gd name="connsiteX41" fmla="*/ 131656 w 462061"/>
              <a:gd name="connsiteY41" fmla="*/ 31937 h 462358"/>
              <a:gd name="connsiteX42" fmla="*/ 131871 w 462061"/>
              <a:gd name="connsiteY42" fmla="*/ 31283 h 462358"/>
              <a:gd name="connsiteX43" fmla="*/ 135304 w 462061"/>
              <a:gd name="connsiteY43" fmla="*/ 31508 h 462358"/>
              <a:gd name="connsiteX44" fmla="*/ 138522 w 462061"/>
              <a:gd name="connsiteY44" fmla="*/ 31283 h 462358"/>
              <a:gd name="connsiteX45" fmla="*/ 140238 w 462061"/>
              <a:gd name="connsiteY45" fmla="*/ 35961 h 462358"/>
              <a:gd name="connsiteX46" fmla="*/ 220498 w 462061"/>
              <a:gd name="connsiteY46" fmla="*/ 17195 h 462358"/>
              <a:gd name="connsiteX47" fmla="*/ 231630 w 462061"/>
              <a:gd name="connsiteY47" fmla="*/ 14325 h 462358"/>
              <a:gd name="connsiteX48" fmla="*/ 227339 w 462061"/>
              <a:gd name="connsiteY48" fmla="*/ 16906 h 462358"/>
              <a:gd name="connsiteX49" fmla="*/ 227268 w 462061"/>
              <a:gd name="connsiteY49" fmla="*/ 17028 h 462358"/>
              <a:gd name="connsiteX50" fmla="*/ 229413 w 462061"/>
              <a:gd name="connsiteY50" fmla="*/ 16999 h 462358"/>
              <a:gd name="connsiteX51" fmla="*/ 235945 w 462061"/>
              <a:gd name="connsiteY51" fmla="*/ 17092 h 462358"/>
              <a:gd name="connsiteX52" fmla="*/ 235277 w 462061"/>
              <a:gd name="connsiteY52" fmla="*/ 16047 h 462358"/>
              <a:gd name="connsiteX53" fmla="*/ 231630 w 462061"/>
              <a:gd name="connsiteY53" fmla="*/ 14325 h 462358"/>
              <a:gd name="connsiteX54" fmla="*/ 338469 w 462061"/>
              <a:gd name="connsiteY54" fmla="*/ 43528 h 462358"/>
              <a:gd name="connsiteX55" fmla="*/ 335131 w 462061"/>
              <a:gd name="connsiteY55" fmla="*/ 44218 h 462358"/>
              <a:gd name="connsiteX56" fmla="*/ 345715 w 462061"/>
              <a:gd name="connsiteY56" fmla="*/ 50470 h 462358"/>
              <a:gd name="connsiteX57" fmla="*/ 343618 w 462061"/>
              <a:gd name="connsiteY57" fmla="*/ 45670 h 462358"/>
              <a:gd name="connsiteX58" fmla="*/ 338469 w 462061"/>
              <a:gd name="connsiteY58" fmla="*/ 43528 h 462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462061" h="462358">
                <a:moveTo>
                  <a:pt x="229413" y="-651"/>
                </a:moveTo>
                <a:cubicBezTo>
                  <a:pt x="102051" y="-651"/>
                  <a:pt x="-1618" y="103072"/>
                  <a:pt x="-1618" y="230529"/>
                </a:cubicBezTo>
                <a:cubicBezTo>
                  <a:pt x="-1618" y="357984"/>
                  <a:pt x="102051" y="461707"/>
                  <a:pt x="229413" y="461707"/>
                </a:cubicBezTo>
                <a:cubicBezTo>
                  <a:pt x="356776" y="461707"/>
                  <a:pt x="460444" y="357984"/>
                  <a:pt x="460444" y="230529"/>
                </a:cubicBezTo>
                <a:cubicBezTo>
                  <a:pt x="460444" y="103072"/>
                  <a:pt x="356776" y="-651"/>
                  <a:pt x="229413" y="-651"/>
                </a:cubicBezTo>
                <a:moveTo>
                  <a:pt x="220498" y="17195"/>
                </a:moveTo>
                <a:cubicBezTo>
                  <a:pt x="221332" y="15732"/>
                  <a:pt x="222453" y="14540"/>
                  <a:pt x="223692" y="13466"/>
                </a:cubicBezTo>
                <a:cubicBezTo>
                  <a:pt x="225623" y="11966"/>
                  <a:pt x="227983" y="11324"/>
                  <a:pt x="230987" y="11324"/>
                </a:cubicBezTo>
                <a:cubicBezTo>
                  <a:pt x="234634" y="11324"/>
                  <a:pt x="237637" y="12610"/>
                  <a:pt x="240212" y="15191"/>
                </a:cubicBezTo>
                <a:cubicBezTo>
                  <a:pt x="240831" y="15852"/>
                  <a:pt x="241356" y="16570"/>
                  <a:pt x="241809" y="17352"/>
                </a:cubicBezTo>
                <a:cubicBezTo>
                  <a:pt x="273274" y="19122"/>
                  <a:pt x="302975" y="27548"/>
                  <a:pt x="329506" y="41236"/>
                </a:cubicBezTo>
                <a:lnTo>
                  <a:pt x="332462" y="40303"/>
                </a:lnTo>
                <a:lnTo>
                  <a:pt x="335680" y="40091"/>
                </a:lnTo>
                <a:cubicBezTo>
                  <a:pt x="338898" y="40091"/>
                  <a:pt x="341472" y="40732"/>
                  <a:pt x="343832" y="41803"/>
                </a:cubicBezTo>
                <a:cubicBezTo>
                  <a:pt x="346836" y="43313"/>
                  <a:pt x="348981" y="45243"/>
                  <a:pt x="350483" y="47610"/>
                </a:cubicBezTo>
                <a:cubicBezTo>
                  <a:pt x="351985" y="50181"/>
                  <a:pt x="352843" y="52538"/>
                  <a:pt x="352843" y="55119"/>
                </a:cubicBezTo>
                <a:cubicBezTo>
                  <a:pt x="352843" y="55138"/>
                  <a:pt x="352843" y="55138"/>
                  <a:pt x="352843" y="55167"/>
                </a:cubicBezTo>
                <a:cubicBezTo>
                  <a:pt x="376466" y="71362"/>
                  <a:pt x="396751" y="92049"/>
                  <a:pt x="412460" y="116026"/>
                </a:cubicBezTo>
                <a:lnTo>
                  <a:pt x="415272" y="116090"/>
                </a:lnTo>
                <a:lnTo>
                  <a:pt x="422781" y="115875"/>
                </a:lnTo>
                <a:lnTo>
                  <a:pt x="424927" y="115875"/>
                </a:lnTo>
                <a:lnTo>
                  <a:pt x="424927" y="118242"/>
                </a:lnTo>
                <a:lnTo>
                  <a:pt x="421279" y="118671"/>
                </a:lnTo>
                <a:lnTo>
                  <a:pt x="419992" y="119101"/>
                </a:lnTo>
                <a:lnTo>
                  <a:pt x="419563" y="120172"/>
                </a:lnTo>
                <a:cubicBezTo>
                  <a:pt x="419563" y="121243"/>
                  <a:pt x="419563" y="122967"/>
                  <a:pt x="419563" y="125968"/>
                </a:cubicBezTo>
                <a:lnTo>
                  <a:pt x="422996" y="125968"/>
                </a:lnTo>
                <a:lnTo>
                  <a:pt x="424712" y="125968"/>
                </a:lnTo>
                <a:lnTo>
                  <a:pt x="424712" y="127896"/>
                </a:lnTo>
                <a:lnTo>
                  <a:pt x="424712" y="130477"/>
                </a:lnTo>
                <a:lnTo>
                  <a:pt x="424712" y="130906"/>
                </a:lnTo>
                <a:lnTo>
                  <a:pt x="421303" y="130720"/>
                </a:lnTo>
                <a:cubicBezTo>
                  <a:pt x="438419" y="161918"/>
                  <a:pt x="448144" y="197745"/>
                  <a:pt x="448144" y="235868"/>
                </a:cubicBezTo>
                <a:cubicBezTo>
                  <a:pt x="448144" y="356746"/>
                  <a:pt x="350197" y="454708"/>
                  <a:pt x="229413" y="454708"/>
                </a:cubicBezTo>
                <a:cubicBezTo>
                  <a:pt x="108606" y="454708"/>
                  <a:pt x="10706" y="356746"/>
                  <a:pt x="10706" y="235868"/>
                </a:cubicBezTo>
                <a:cubicBezTo>
                  <a:pt x="10706" y="184990"/>
                  <a:pt x="28060" y="138156"/>
                  <a:pt x="57165" y="100995"/>
                </a:cubicBezTo>
                <a:lnTo>
                  <a:pt x="57642" y="98702"/>
                </a:lnTo>
                <a:lnTo>
                  <a:pt x="59787" y="95477"/>
                </a:lnTo>
                <a:lnTo>
                  <a:pt x="62790" y="93550"/>
                </a:lnTo>
                <a:cubicBezTo>
                  <a:pt x="63029" y="93409"/>
                  <a:pt x="63291" y="93287"/>
                  <a:pt x="63577" y="93168"/>
                </a:cubicBezTo>
                <a:cubicBezTo>
                  <a:pt x="83291" y="70243"/>
                  <a:pt x="107676" y="51448"/>
                  <a:pt x="135280" y="38254"/>
                </a:cubicBezTo>
                <a:cubicBezTo>
                  <a:pt x="134231" y="36436"/>
                  <a:pt x="133015" y="34339"/>
                  <a:pt x="131656" y="31937"/>
                </a:cubicBezTo>
                <a:lnTo>
                  <a:pt x="131871" y="31283"/>
                </a:lnTo>
                <a:lnTo>
                  <a:pt x="135304" y="31508"/>
                </a:lnTo>
                <a:lnTo>
                  <a:pt x="138522" y="31283"/>
                </a:lnTo>
                <a:cubicBezTo>
                  <a:pt x="138975" y="32626"/>
                  <a:pt x="139499" y="34153"/>
                  <a:pt x="140238" y="35961"/>
                </a:cubicBezTo>
                <a:cubicBezTo>
                  <a:pt x="164910" y="24919"/>
                  <a:pt x="191989" y="18330"/>
                  <a:pt x="220498" y="17195"/>
                </a:cubicBezTo>
                <a:moveTo>
                  <a:pt x="231630" y="14325"/>
                </a:moveTo>
                <a:lnTo>
                  <a:pt x="227339" y="16906"/>
                </a:lnTo>
                <a:cubicBezTo>
                  <a:pt x="227315" y="16951"/>
                  <a:pt x="227292" y="16980"/>
                  <a:pt x="227268" y="17028"/>
                </a:cubicBezTo>
                <a:cubicBezTo>
                  <a:pt x="227983" y="16999"/>
                  <a:pt x="228698" y="16999"/>
                  <a:pt x="229413" y="16999"/>
                </a:cubicBezTo>
                <a:cubicBezTo>
                  <a:pt x="231606" y="16999"/>
                  <a:pt x="233776" y="17044"/>
                  <a:pt x="235945" y="17092"/>
                </a:cubicBezTo>
                <a:cubicBezTo>
                  <a:pt x="235754" y="16710"/>
                  <a:pt x="235540" y="16355"/>
                  <a:pt x="235277" y="16047"/>
                </a:cubicBezTo>
                <a:lnTo>
                  <a:pt x="231630" y="14325"/>
                </a:lnTo>
                <a:moveTo>
                  <a:pt x="338469" y="43528"/>
                </a:moveTo>
                <a:lnTo>
                  <a:pt x="335131" y="44218"/>
                </a:lnTo>
                <a:cubicBezTo>
                  <a:pt x="338731" y="46221"/>
                  <a:pt x="342235" y="48299"/>
                  <a:pt x="345715" y="50470"/>
                </a:cubicBezTo>
                <a:cubicBezTo>
                  <a:pt x="345525" y="48485"/>
                  <a:pt x="344881" y="46939"/>
                  <a:pt x="343618" y="45670"/>
                </a:cubicBezTo>
                <a:lnTo>
                  <a:pt x="338469" y="43528"/>
                </a:lnTo>
              </a:path>
            </a:pathLst>
          </a:custGeom>
          <a:solidFill>
            <a:srgbClr val="F0E1A0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61" name="Vrije vorm 2062">
            <a:extLst>
              <a:ext uri="{FF2B5EF4-FFF2-40B4-BE49-F238E27FC236}">
                <a16:creationId xmlns:a16="http://schemas.microsoft.com/office/drawing/2014/main" id="{D267AB04-41FB-4E45-B947-C29CE0D236D0}"/>
              </a:ext>
            </a:extLst>
          </p:cNvPr>
          <p:cNvSpPr/>
          <p:nvPr/>
        </p:nvSpPr>
        <p:spPr>
          <a:xfrm flipV="1">
            <a:off x="549542" y="910117"/>
            <a:ext cx="1277222" cy="1239623"/>
          </a:xfrm>
          <a:custGeom>
            <a:avLst/>
            <a:gdLst>
              <a:gd name="connsiteX0" fmla="*/ 230963 w 465208"/>
              <a:gd name="connsiteY0" fmla="*/ -651 h 465571"/>
              <a:gd name="connsiteX1" fmla="*/ -1618 w 465208"/>
              <a:gd name="connsiteY1" fmla="*/ 232149 h 465571"/>
              <a:gd name="connsiteX2" fmla="*/ 230963 w 465208"/>
              <a:gd name="connsiteY2" fmla="*/ 464920 h 465571"/>
              <a:gd name="connsiteX3" fmla="*/ 463591 w 465208"/>
              <a:gd name="connsiteY3" fmla="*/ 232149 h 465571"/>
              <a:gd name="connsiteX4" fmla="*/ 230963 w 465208"/>
              <a:gd name="connsiteY4" fmla="*/ -651 h 465571"/>
              <a:gd name="connsiteX5" fmla="*/ 230963 w 465208"/>
              <a:gd name="connsiteY5" fmla="*/ 463327 h 465571"/>
              <a:gd name="connsiteX6" fmla="*/ -68 w 465208"/>
              <a:gd name="connsiteY6" fmla="*/ 232149 h 465571"/>
              <a:gd name="connsiteX7" fmla="*/ 230963 w 465208"/>
              <a:gd name="connsiteY7" fmla="*/ 968 h 465571"/>
              <a:gd name="connsiteX8" fmla="*/ 461994 w 465208"/>
              <a:gd name="connsiteY8" fmla="*/ 232149 h 465571"/>
              <a:gd name="connsiteX9" fmla="*/ 230963 w 465208"/>
              <a:gd name="connsiteY9" fmla="*/ 463327 h 46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65208" h="465571">
                <a:moveTo>
                  <a:pt x="230963" y="-651"/>
                </a:moveTo>
                <a:cubicBezTo>
                  <a:pt x="102503" y="-651"/>
                  <a:pt x="-1618" y="103564"/>
                  <a:pt x="-1618" y="232149"/>
                </a:cubicBezTo>
                <a:cubicBezTo>
                  <a:pt x="-1618" y="360693"/>
                  <a:pt x="102503" y="464920"/>
                  <a:pt x="230963" y="464920"/>
                </a:cubicBezTo>
                <a:cubicBezTo>
                  <a:pt x="359422" y="464920"/>
                  <a:pt x="463591" y="360693"/>
                  <a:pt x="463591" y="232149"/>
                </a:cubicBezTo>
                <a:cubicBezTo>
                  <a:pt x="463591" y="103564"/>
                  <a:pt x="359422" y="-651"/>
                  <a:pt x="230963" y="-651"/>
                </a:cubicBezTo>
                <a:moveTo>
                  <a:pt x="230963" y="463327"/>
                </a:moveTo>
                <a:cubicBezTo>
                  <a:pt x="103600" y="463327"/>
                  <a:pt x="-68" y="359603"/>
                  <a:pt x="-68" y="232149"/>
                </a:cubicBezTo>
                <a:cubicBezTo>
                  <a:pt x="-68" y="104692"/>
                  <a:pt x="103600" y="968"/>
                  <a:pt x="230963" y="968"/>
                </a:cubicBezTo>
                <a:cubicBezTo>
                  <a:pt x="358325" y="968"/>
                  <a:pt x="461994" y="104692"/>
                  <a:pt x="461994" y="232149"/>
                </a:cubicBezTo>
                <a:cubicBezTo>
                  <a:pt x="461994" y="359603"/>
                  <a:pt x="358325" y="463327"/>
                  <a:pt x="230963" y="463327"/>
                </a:cubicBezTo>
              </a:path>
            </a:pathLst>
          </a:custGeom>
          <a:solidFill>
            <a:srgbClr val="7F171B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62" name="Vrije vorm 2063">
            <a:extLst>
              <a:ext uri="{FF2B5EF4-FFF2-40B4-BE49-F238E27FC236}">
                <a16:creationId xmlns:a16="http://schemas.microsoft.com/office/drawing/2014/main" id="{56197768-722B-4C63-A7BF-77613467033D}"/>
              </a:ext>
            </a:extLst>
          </p:cNvPr>
          <p:cNvSpPr/>
          <p:nvPr/>
        </p:nvSpPr>
        <p:spPr>
          <a:xfrm flipV="1">
            <a:off x="1119044" y="960358"/>
            <a:ext cx="68585" cy="106317"/>
          </a:xfrm>
          <a:custGeom>
            <a:avLst/>
            <a:gdLst>
              <a:gd name="connsiteX0" fmla="*/ 23368 w 24981"/>
              <a:gd name="connsiteY0" fmla="*/ -743 h 39930"/>
              <a:gd name="connsiteX1" fmla="*/ 13166 w 24981"/>
              <a:gd name="connsiteY1" fmla="*/ -464 h 39930"/>
              <a:gd name="connsiteX2" fmla="*/ 866 w 24981"/>
              <a:gd name="connsiteY2" fmla="*/ -743 h 39930"/>
              <a:gd name="connsiteX3" fmla="*/ 866 w 24981"/>
              <a:gd name="connsiteY3" fmla="*/ 1616 h 39930"/>
              <a:gd name="connsiteX4" fmla="*/ 6372 w 24981"/>
              <a:gd name="connsiteY4" fmla="*/ 2193 h 39930"/>
              <a:gd name="connsiteX5" fmla="*/ 7636 w 24981"/>
              <a:gd name="connsiteY5" fmla="*/ 2687 h 39930"/>
              <a:gd name="connsiteX6" fmla="*/ 8255 w 24981"/>
              <a:gd name="connsiteY6" fmla="*/ 4290 h 39930"/>
              <a:gd name="connsiteX7" fmla="*/ 8613 w 24981"/>
              <a:gd name="connsiteY7" fmla="*/ 14335 h 39930"/>
              <a:gd name="connsiteX8" fmla="*/ 8613 w 24981"/>
              <a:gd name="connsiteY8" fmla="*/ 21277 h 39930"/>
              <a:gd name="connsiteX9" fmla="*/ 8518 w 24981"/>
              <a:gd name="connsiteY9" fmla="*/ 29075 h 39930"/>
              <a:gd name="connsiteX10" fmla="*/ 8494 w 24981"/>
              <a:gd name="connsiteY10" fmla="*/ 31573 h 39930"/>
              <a:gd name="connsiteX11" fmla="*/ 8303 w 24981"/>
              <a:gd name="connsiteY11" fmla="*/ 32747 h 39930"/>
              <a:gd name="connsiteX12" fmla="*/ 7850 w 24981"/>
              <a:gd name="connsiteY12" fmla="*/ 32990 h 39930"/>
              <a:gd name="connsiteX13" fmla="*/ 6587 w 24981"/>
              <a:gd name="connsiteY13" fmla="*/ 32506 h 39930"/>
              <a:gd name="connsiteX14" fmla="*/ -660 w 24981"/>
              <a:gd name="connsiteY14" fmla="*/ 29168 h 39930"/>
              <a:gd name="connsiteX15" fmla="*/ -970 w 24981"/>
              <a:gd name="connsiteY15" fmla="*/ 29431 h 39930"/>
              <a:gd name="connsiteX16" fmla="*/ -1280 w 24981"/>
              <a:gd name="connsiteY16" fmla="*/ 31265 h 39930"/>
              <a:gd name="connsiteX17" fmla="*/ -1613 w 24981"/>
              <a:gd name="connsiteY17" fmla="*/ 33035 h 39930"/>
              <a:gd name="connsiteX18" fmla="*/ -1566 w 24981"/>
              <a:gd name="connsiteY18" fmla="*/ 33224 h 39930"/>
              <a:gd name="connsiteX19" fmla="*/ 6658 w 24981"/>
              <a:gd name="connsiteY19" fmla="*/ 35728 h 39930"/>
              <a:gd name="connsiteX20" fmla="*/ 16217 w 24981"/>
              <a:gd name="connsiteY20" fmla="*/ 39187 h 39930"/>
              <a:gd name="connsiteX21" fmla="*/ 16861 w 24981"/>
              <a:gd name="connsiteY21" fmla="*/ 38758 h 39930"/>
              <a:gd name="connsiteX22" fmla="*/ 16670 w 24981"/>
              <a:gd name="connsiteY22" fmla="*/ 36065 h 39930"/>
              <a:gd name="connsiteX23" fmla="*/ 16527 w 24981"/>
              <a:gd name="connsiteY23" fmla="*/ 33147 h 39930"/>
              <a:gd name="connsiteX24" fmla="*/ 16265 w 24981"/>
              <a:gd name="connsiteY24" fmla="*/ 20251 h 39930"/>
              <a:gd name="connsiteX25" fmla="*/ 16265 w 24981"/>
              <a:gd name="connsiteY25" fmla="*/ 15929 h 39930"/>
              <a:gd name="connsiteX26" fmla="*/ 16336 w 24981"/>
              <a:gd name="connsiteY26" fmla="*/ 7224 h 39930"/>
              <a:gd name="connsiteX27" fmla="*/ 16718 w 24981"/>
              <a:gd name="connsiteY27" fmla="*/ 2902 h 39930"/>
              <a:gd name="connsiteX28" fmla="*/ 17314 w 24981"/>
              <a:gd name="connsiteY28" fmla="*/ 2305 h 39930"/>
              <a:gd name="connsiteX29" fmla="*/ 21461 w 24981"/>
              <a:gd name="connsiteY29" fmla="*/ 1754 h 39930"/>
              <a:gd name="connsiteX30" fmla="*/ 23368 w 24981"/>
              <a:gd name="connsiteY30" fmla="*/ 1616 h 39930"/>
              <a:gd name="connsiteX31" fmla="*/ 23368 w 24981"/>
              <a:gd name="connsiteY31" fmla="*/ -743 h 39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81" h="39930">
                <a:moveTo>
                  <a:pt x="23368" y="-743"/>
                </a:moveTo>
                <a:cubicBezTo>
                  <a:pt x="19173" y="-529"/>
                  <a:pt x="15764" y="-464"/>
                  <a:pt x="13166" y="-464"/>
                </a:cubicBezTo>
                <a:cubicBezTo>
                  <a:pt x="11378" y="-464"/>
                  <a:pt x="7302" y="-529"/>
                  <a:pt x="866" y="-743"/>
                </a:cubicBezTo>
                <a:lnTo>
                  <a:pt x="866" y="1616"/>
                </a:lnTo>
                <a:lnTo>
                  <a:pt x="6372" y="2193"/>
                </a:lnTo>
                <a:lnTo>
                  <a:pt x="7636" y="2687"/>
                </a:lnTo>
                <a:lnTo>
                  <a:pt x="8255" y="4290"/>
                </a:lnTo>
                <a:cubicBezTo>
                  <a:pt x="8494" y="5791"/>
                  <a:pt x="8613" y="9135"/>
                  <a:pt x="8613" y="14335"/>
                </a:cubicBezTo>
                <a:lnTo>
                  <a:pt x="8613" y="21277"/>
                </a:lnTo>
                <a:cubicBezTo>
                  <a:pt x="8613" y="23682"/>
                  <a:pt x="8541" y="26280"/>
                  <a:pt x="8518" y="29075"/>
                </a:cubicBezTo>
                <a:lnTo>
                  <a:pt x="8494" y="31573"/>
                </a:lnTo>
                <a:lnTo>
                  <a:pt x="8303" y="32747"/>
                </a:lnTo>
                <a:lnTo>
                  <a:pt x="7850" y="32990"/>
                </a:lnTo>
                <a:lnTo>
                  <a:pt x="6587" y="32506"/>
                </a:lnTo>
                <a:cubicBezTo>
                  <a:pt x="2797" y="30838"/>
                  <a:pt x="413" y="29739"/>
                  <a:pt x="-660" y="29168"/>
                </a:cubicBezTo>
                <a:lnTo>
                  <a:pt x="-970" y="29431"/>
                </a:lnTo>
                <a:lnTo>
                  <a:pt x="-1280" y="31265"/>
                </a:lnTo>
                <a:lnTo>
                  <a:pt x="-1613" y="33035"/>
                </a:lnTo>
                <a:lnTo>
                  <a:pt x="-1566" y="33224"/>
                </a:lnTo>
                <a:cubicBezTo>
                  <a:pt x="1915" y="34247"/>
                  <a:pt x="4632" y="35087"/>
                  <a:pt x="6658" y="35728"/>
                </a:cubicBezTo>
                <a:cubicBezTo>
                  <a:pt x="8708" y="36446"/>
                  <a:pt x="11903" y="37594"/>
                  <a:pt x="16217" y="39187"/>
                </a:cubicBezTo>
                <a:lnTo>
                  <a:pt x="16861" y="38758"/>
                </a:lnTo>
                <a:lnTo>
                  <a:pt x="16670" y="36065"/>
                </a:lnTo>
                <a:lnTo>
                  <a:pt x="16527" y="33147"/>
                </a:lnTo>
                <a:cubicBezTo>
                  <a:pt x="16456" y="31480"/>
                  <a:pt x="16360" y="27164"/>
                  <a:pt x="16265" y="20251"/>
                </a:cubicBezTo>
                <a:lnTo>
                  <a:pt x="16265" y="15929"/>
                </a:lnTo>
                <a:cubicBezTo>
                  <a:pt x="16265" y="11754"/>
                  <a:pt x="16289" y="8846"/>
                  <a:pt x="16336" y="7224"/>
                </a:cubicBezTo>
                <a:cubicBezTo>
                  <a:pt x="16432" y="4736"/>
                  <a:pt x="16527" y="3283"/>
                  <a:pt x="16718" y="2902"/>
                </a:cubicBezTo>
                <a:lnTo>
                  <a:pt x="17314" y="2305"/>
                </a:lnTo>
                <a:cubicBezTo>
                  <a:pt x="17790" y="2043"/>
                  <a:pt x="19149" y="1876"/>
                  <a:pt x="21461" y="1754"/>
                </a:cubicBezTo>
                <a:lnTo>
                  <a:pt x="23368" y="1616"/>
                </a:lnTo>
                <a:lnTo>
                  <a:pt x="23368" y="-743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63" name="Vrije vorm 2064">
            <a:extLst>
              <a:ext uri="{FF2B5EF4-FFF2-40B4-BE49-F238E27FC236}">
                <a16:creationId xmlns:a16="http://schemas.microsoft.com/office/drawing/2014/main" id="{E0747196-8C97-4572-A9D2-E52D9E6072E5}"/>
              </a:ext>
            </a:extLst>
          </p:cNvPr>
          <p:cNvSpPr/>
          <p:nvPr/>
        </p:nvSpPr>
        <p:spPr>
          <a:xfrm flipV="1">
            <a:off x="1199278" y="962200"/>
            <a:ext cx="72511" cy="104475"/>
          </a:xfrm>
          <a:custGeom>
            <a:avLst/>
            <a:gdLst>
              <a:gd name="connsiteX0" fmla="*/ 24669 w 26411"/>
              <a:gd name="connsiteY0" fmla="*/ -743 h 39238"/>
              <a:gd name="connsiteX1" fmla="*/ 16087 w 26411"/>
              <a:gd name="connsiteY1" fmla="*/ -509 h 39238"/>
              <a:gd name="connsiteX2" fmla="*/ 11916 w 26411"/>
              <a:gd name="connsiteY2" fmla="*/ -436 h 39238"/>
              <a:gd name="connsiteX3" fmla="*/ -1624 w 26411"/>
              <a:gd name="connsiteY3" fmla="*/ -743 h 39238"/>
              <a:gd name="connsiteX4" fmla="*/ -1624 w 26411"/>
              <a:gd name="connsiteY4" fmla="*/ 2258 h 39238"/>
              <a:gd name="connsiteX5" fmla="*/ 3739 w 26411"/>
              <a:gd name="connsiteY5" fmla="*/ 7606 h 39238"/>
              <a:gd name="connsiteX6" fmla="*/ 9937 w 26411"/>
              <a:gd name="connsiteY6" fmla="*/ 14185 h 39238"/>
              <a:gd name="connsiteX7" fmla="*/ 13084 w 26411"/>
              <a:gd name="connsiteY7" fmla="*/ 18482 h 39238"/>
              <a:gd name="connsiteX8" fmla="*/ 14681 w 26411"/>
              <a:gd name="connsiteY8" fmla="*/ 22134 h 39238"/>
              <a:gd name="connsiteX9" fmla="*/ 15110 w 26411"/>
              <a:gd name="connsiteY9" fmla="*/ 25395 h 39238"/>
              <a:gd name="connsiteX10" fmla="*/ 13441 w 26411"/>
              <a:gd name="connsiteY10" fmla="*/ 30483 h 39238"/>
              <a:gd name="connsiteX11" fmla="*/ 8793 w 26411"/>
              <a:gd name="connsiteY11" fmla="*/ 32227 h 39238"/>
              <a:gd name="connsiteX12" fmla="*/ 5670 w 26411"/>
              <a:gd name="connsiteY12" fmla="*/ 31573 h 39238"/>
              <a:gd name="connsiteX13" fmla="*/ 3144 w 26411"/>
              <a:gd name="connsiteY13" fmla="*/ 29569 h 39238"/>
              <a:gd name="connsiteX14" fmla="*/ 1976 w 26411"/>
              <a:gd name="connsiteY14" fmla="*/ 24968 h 39238"/>
              <a:gd name="connsiteX15" fmla="*/ -241 w 26411"/>
              <a:gd name="connsiteY15" fmla="*/ 24968 h 39238"/>
              <a:gd name="connsiteX16" fmla="*/ 498 w 26411"/>
              <a:gd name="connsiteY16" fmla="*/ 31602 h 39238"/>
              <a:gd name="connsiteX17" fmla="*/ 855 w 26411"/>
              <a:gd name="connsiteY17" fmla="*/ 34824 h 39238"/>
              <a:gd name="connsiteX18" fmla="*/ 5218 w 26411"/>
              <a:gd name="connsiteY18" fmla="*/ 37566 h 39238"/>
              <a:gd name="connsiteX19" fmla="*/ 10700 w 26411"/>
              <a:gd name="connsiteY19" fmla="*/ 38496 h 39238"/>
              <a:gd name="connsiteX20" fmla="*/ 17661 w 26411"/>
              <a:gd name="connsiteY20" fmla="*/ 37043 h 39238"/>
              <a:gd name="connsiteX21" fmla="*/ 21617 w 26411"/>
              <a:gd name="connsiteY21" fmla="*/ 33128 h 39238"/>
              <a:gd name="connsiteX22" fmla="*/ 22905 w 26411"/>
              <a:gd name="connsiteY22" fmla="*/ 27976 h 39238"/>
              <a:gd name="connsiteX23" fmla="*/ 22404 w 26411"/>
              <a:gd name="connsiteY23" fmla="*/ 24641 h 39238"/>
              <a:gd name="connsiteX24" fmla="*/ 20712 w 26411"/>
              <a:gd name="connsiteY24" fmla="*/ 21034 h 39238"/>
              <a:gd name="connsiteX25" fmla="*/ 18090 w 26411"/>
              <a:gd name="connsiteY25" fmla="*/ 17623 h 39238"/>
              <a:gd name="connsiteX26" fmla="*/ 14824 w 26411"/>
              <a:gd name="connsiteY26" fmla="*/ 14233 h 39238"/>
              <a:gd name="connsiteX27" fmla="*/ 11797 w 26411"/>
              <a:gd name="connsiteY27" fmla="*/ 11251 h 39238"/>
              <a:gd name="connsiteX28" fmla="*/ 6600 w 26411"/>
              <a:gd name="connsiteY28" fmla="*/ 6368 h 39238"/>
              <a:gd name="connsiteX29" fmla="*/ 6719 w 26411"/>
              <a:gd name="connsiteY29" fmla="*/ 5986 h 39238"/>
              <a:gd name="connsiteX30" fmla="*/ 11797 w 26411"/>
              <a:gd name="connsiteY30" fmla="*/ 5986 h 39238"/>
              <a:gd name="connsiteX31" fmla="*/ 19448 w 26411"/>
              <a:gd name="connsiteY31" fmla="*/ 6153 h 39238"/>
              <a:gd name="connsiteX32" fmla="*/ 24574 w 26411"/>
              <a:gd name="connsiteY32" fmla="*/ 6368 h 39238"/>
              <a:gd name="connsiteX33" fmla="*/ 24788 w 26411"/>
              <a:gd name="connsiteY33" fmla="*/ 5986 h 39238"/>
              <a:gd name="connsiteX34" fmla="*/ 24526 w 26411"/>
              <a:gd name="connsiteY34" fmla="*/ 1979 h 39238"/>
              <a:gd name="connsiteX35" fmla="*/ 24788 w 26411"/>
              <a:gd name="connsiteY35" fmla="*/ -436 h 39238"/>
              <a:gd name="connsiteX36" fmla="*/ 24669 w 26411"/>
              <a:gd name="connsiteY36" fmla="*/ -743 h 39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6411" h="39238">
                <a:moveTo>
                  <a:pt x="24669" y="-743"/>
                </a:moveTo>
                <a:lnTo>
                  <a:pt x="16087" y="-509"/>
                </a:lnTo>
                <a:lnTo>
                  <a:pt x="11916" y="-436"/>
                </a:lnTo>
                <a:lnTo>
                  <a:pt x="-1624" y="-743"/>
                </a:lnTo>
                <a:lnTo>
                  <a:pt x="-1624" y="2258"/>
                </a:lnTo>
                <a:lnTo>
                  <a:pt x="3739" y="7606"/>
                </a:lnTo>
                <a:cubicBezTo>
                  <a:pt x="6505" y="10373"/>
                  <a:pt x="8602" y="12563"/>
                  <a:pt x="9937" y="14185"/>
                </a:cubicBezTo>
                <a:lnTo>
                  <a:pt x="13084" y="18482"/>
                </a:lnTo>
                <a:lnTo>
                  <a:pt x="14681" y="22134"/>
                </a:lnTo>
                <a:lnTo>
                  <a:pt x="15110" y="25395"/>
                </a:lnTo>
                <a:cubicBezTo>
                  <a:pt x="15110" y="27642"/>
                  <a:pt x="14562" y="29338"/>
                  <a:pt x="13441" y="30483"/>
                </a:cubicBezTo>
                <a:lnTo>
                  <a:pt x="8793" y="32227"/>
                </a:lnTo>
                <a:lnTo>
                  <a:pt x="5670" y="31573"/>
                </a:lnTo>
                <a:lnTo>
                  <a:pt x="3144" y="29569"/>
                </a:lnTo>
                <a:lnTo>
                  <a:pt x="1976" y="24968"/>
                </a:lnTo>
                <a:lnTo>
                  <a:pt x="-241" y="24968"/>
                </a:lnTo>
                <a:lnTo>
                  <a:pt x="498" y="31602"/>
                </a:lnTo>
                <a:lnTo>
                  <a:pt x="855" y="34824"/>
                </a:lnTo>
                <a:lnTo>
                  <a:pt x="5218" y="37566"/>
                </a:lnTo>
                <a:lnTo>
                  <a:pt x="10700" y="38496"/>
                </a:lnTo>
                <a:cubicBezTo>
                  <a:pt x="13584" y="38496"/>
                  <a:pt x="15897" y="37976"/>
                  <a:pt x="17661" y="37043"/>
                </a:cubicBezTo>
                <a:lnTo>
                  <a:pt x="21617" y="33128"/>
                </a:lnTo>
                <a:lnTo>
                  <a:pt x="22905" y="27976"/>
                </a:lnTo>
                <a:lnTo>
                  <a:pt x="22404" y="24641"/>
                </a:lnTo>
                <a:lnTo>
                  <a:pt x="20712" y="21034"/>
                </a:lnTo>
                <a:lnTo>
                  <a:pt x="18090" y="17623"/>
                </a:lnTo>
                <a:lnTo>
                  <a:pt x="14824" y="14233"/>
                </a:lnTo>
                <a:lnTo>
                  <a:pt x="11797" y="11251"/>
                </a:lnTo>
                <a:lnTo>
                  <a:pt x="6600" y="6368"/>
                </a:lnTo>
                <a:lnTo>
                  <a:pt x="6719" y="5986"/>
                </a:lnTo>
                <a:lnTo>
                  <a:pt x="11797" y="5986"/>
                </a:lnTo>
                <a:cubicBezTo>
                  <a:pt x="12536" y="5986"/>
                  <a:pt x="15110" y="6003"/>
                  <a:pt x="19448" y="6153"/>
                </a:cubicBezTo>
                <a:lnTo>
                  <a:pt x="24574" y="6368"/>
                </a:lnTo>
                <a:lnTo>
                  <a:pt x="24788" y="5986"/>
                </a:lnTo>
                <a:lnTo>
                  <a:pt x="24526" y="1979"/>
                </a:lnTo>
                <a:lnTo>
                  <a:pt x="24788" y="-436"/>
                </a:lnTo>
                <a:lnTo>
                  <a:pt x="24669" y="-743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64" name="Vrije vorm 2065">
            <a:extLst>
              <a:ext uri="{FF2B5EF4-FFF2-40B4-BE49-F238E27FC236}">
                <a16:creationId xmlns:a16="http://schemas.microsoft.com/office/drawing/2014/main" id="{8198BEB6-FD64-453C-9E1C-F6F8111E4797}"/>
              </a:ext>
            </a:extLst>
          </p:cNvPr>
          <p:cNvSpPr/>
          <p:nvPr/>
        </p:nvSpPr>
        <p:spPr>
          <a:xfrm flipV="1">
            <a:off x="1457329" y="1044770"/>
            <a:ext cx="68519" cy="106336"/>
          </a:xfrm>
          <a:custGeom>
            <a:avLst/>
            <a:gdLst>
              <a:gd name="connsiteX0" fmla="*/ 23300 w 24957"/>
              <a:gd name="connsiteY0" fmla="*/ -728 h 39937"/>
              <a:gd name="connsiteX1" fmla="*/ 13098 w 24957"/>
              <a:gd name="connsiteY1" fmla="*/ -411 h 39937"/>
              <a:gd name="connsiteX2" fmla="*/ 798 w 24957"/>
              <a:gd name="connsiteY2" fmla="*/ -728 h 39937"/>
              <a:gd name="connsiteX3" fmla="*/ 798 w 24957"/>
              <a:gd name="connsiteY3" fmla="*/ 1638 h 39937"/>
              <a:gd name="connsiteX4" fmla="*/ 6256 w 24957"/>
              <a:gd name="connsiteY4" fmla="*/ 2189 h 39937"/>
              <a:gd name="connsiteX5" fmla="*/ 7567 w 24957"/>
              <a:gd name="connsiteY5" fmla="*/ 2738 h 39937"/>
              <a:gd name="connsiteX6" fmla="*/ 8163 w 24957"/>
              <a:gd name="connsiteY6" fmla="*/ 4315 h 39937"/>
              <a:gd name="connsiteX7" fmla="*/ 8545 w 24957"/>
              <a:gd name="connsiteY7" fmla="*/ 14351 h 39937"/>
              <a:gd name="connsiteX8" fmla="*/ 8545 w 24957"/>
              <a:gd name="connsiteY8" fmla="*/ 21318 h 39937"/>
              <a:gd name="connsiteX9" fmla="*/ 8425 w 24957"/>
              <a:gd name="connsiteY9" fmla="*/ 29071 h 39937"/>
              <a:gd name="connsiteX10" fmla="*/ 8425 w 24957"/>
              <a:gd name="connsiteY10" fmla="*/ 31598 h 39937"/>
              <a:gd name="connsiteX11" fmla="*/ 8235 w 24957"/>
              <a:gd name="connsiteY11" fmla="*/ 32771 h 39937"/>
              <a:gd name="connsiteX12" fmla="*/ 7782 w 24957"/>
              <a:gd name="connsiteY12" fmla="*/ 33050 h 39937"/>
              <a:gd name="connsiteX13" fmla="*/ 6495 w 24957"/>
              <a:gd name="connsiteY13" fmla="*/ 32530 h 39937"/>
              <a:gd name="connsiteX14" fmla="*/ -728 w 24957"/>
              <a:gd name="connsiteY14" fmla="*/ 29241 h 39937"/>
              <a:gd name="connsiteX15" fmla="*/ -1038 w 24957"/>
              <a:gd name="connsiteY15" fmla="*/ 29455 h 39937"/>
              <a:gd name="connsiteX16" fmla="*/ -1348 w 24957"/>
              <a:gd name="connsiteY16" fmla="*/ 31261 h 39937"/>
              <a:gd name="connsiteX17" fmla="*/ -1658 w 24957"/>
              <a:gd name="connsiteY17" fmla="*/ 33050 h 39937"/>
              <a:gd name="connsiteX18" fmla="*/ -1634 w 24957"/>
              <a:gd name="connsiteY18" fmla="*/ 33265 h 39937"/>
              <a:gd name="connsiteX19" fmla="*/ 6614 w 24957"/>
              <a:gd name="connsiteY19" fmla="*/ 35772 h 39937"/>
              <a:gd name="connsiteX20" fmla="*/ 16125 w 24957"/>
              <a:gd name="connsiteY20" fmla="*/ 39210 h 39937"/>
              <a:gd name="connsiteX21" fmla="*/ 16816 w 24957"/>
              <a:gd name="connsiteY21" fmla="*/ 38802 h 39937"/>
              <a:gd name="connsiteX22" fmla="*/ 16625 w 24957"/>
              <a:gd name="connsiteY22" fmla="*/ 36061 h 39937"/>
              <a:gd name="connsiteX23" fmla="*/ 16458 w 24957"/>
              <a:gd name="connsiteY23" fmla="*/ 33201 h 39937"/>
              <a:gd name="connsiteX24" fmla="*/ 16196 w 24957"/>
              <a:gd name="connsiteY24" fmla="*/ 20267 h 39937"/>
              <a:gd name="connsiteX25" fmla="*/ 16196 w 24957"/>
              <a:gd name="connsiteY25" fmla="*/ 15999 h 39937"/>
              <a:gd name="connsiteX26" fmla="*/ 16292 w 24957"/>
              <a:gd name="connsiteY26" fmla="*/ 7249 h 39937"/>
              <a:gd name="connsiteX27" fmla="*/ 16625 w 24957"/>
              <a:gd name="connsiteY27" fmla="*/ 2907 h 39937"/>
              <a:gd name="connsiteX28" fmla="*/ 17221 w 24957"/>
              <a:gd name="connsiteY28" fmla="*/ 2311 h 39937"/>
              <a:gd name="connsiteX29" fmla="*/ 21393 w 24957"/>
              <a:gd name="connsiteY29" fmla="*/ 1808 h 39937"/>
              <a:gd name="connsiteX30" fmla="*/ 23300 w 24957"/>
              <a:gd name="connsiteY30" fmla="*/ 1638 h 39937"/>
              <a:gd name="connsiteX31" fmla="*/ 23300 w 24957"/>
              <a:gd name="connsiteY31" fmla="*/ -728 h 39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57" h="39937">
                <a:moveTo>
                  <a:pt x="23300" y="-728"/>
                </a:moveTo>
                <a:cubicBezTo>
                  <a:pt x="19104" y="-559"/>
                  <a:pt x="15672" y="-411"/>
                  <a:pt x="13098" y="-411"/>
                </a:cubicBezTo>
                <a:cubicBezTo>
                  <a:pt x="11333" y="-411"/>
                  <a:pt x="7233" y="-559"/>
                  <a:pt x="798" y="-728"/>
                </a:cubicBezTo>
                <a:lnTo>
                  <a:pt x="798" y="1638"/>
                </a:lnTo>
                <a:lnTo>
                  <a:pt x="6256" y="2189"/>
                </a:lnTo>
                <a:lnTo>
                  <a:pt x="7567" y="2738"/>
                </a:lnTo>
                <a:lnTo>
                  <a:pt x="8163" y="4315"/>
                </a:lnTo>
                <a:cubicBezTo>
                  <a:pt x="8425" y="5787"/>
                  <a:pt x="8545" y="9150"/>
                  <a:pt x="8545" y="14351"/>
                </a:cubicBezTo>
                <a:lnTo>
                  <a:pt x="8545" y="21318"/>
                </a:lnTo>
                <a:cubicBezTo>
                  <a:pt x="8545" y="23723"/>
                  <a:pt x="8497" y="26304"/>
                  <a:pt x="8425" y="29071"/>
                </a:cubicBezTo>
                <a:lnTo>
                  <a:pt x="8425" y="31598"/>
                </a:lnTo>
                <a:lnTo>
                  <a:pt x="8235" y="32771"/>
                </a:lnTo>
                <a:lnTo>
                  <a:pt x="7782" y="33050"/>
                </a:lnTo>
                <a:lnTo>
                  <a:pt x="6495" y="32530"/>
                </a:lnTo>
                <a:cubicBezTo>
                  <a:pt x="2728" y="30880"/>
                  <a:pt x="344" y="29789"/>
                  <a:pt x="-728" y="29241"/>
                </a:cubicBezTo>
                <a:lnTo>
                  <a:pt x="-1038" y="29455"/>
                </a:lnTo>
                <a:lnTo>
                  <a:pt x="-1348" y="31261"/>
                </a:lnTo>
                <a:lnTo>
                  <a:pt x="-1658" y="33050"/>
                </a:lnTo>
                <a:lnTo>
                  <a:pt x="-1634" y="33265"/>
                </a:lnTo>
                <a:cubicBezTo>
                  <a:pt x="1846" y="34272"/>
                  <a:pt x="4564" y="35083"/>
                  <a:pt x="6614" y="35772"/>
                </a:cubicBezTo>
                <a:cubicBezTo>
                  <a:pt x="8664" y="36462"/>
                  <a:pt x="11810" y="37609"/>
                  <a:pt x="16125" y="39210"/>
                </a:cubicBezTo>
                <a:lnTo>
                  <a:pt x="16816" y="38802"/>
                </a:lnTo>
                <a:lnTo>
                  <a:pt x="16625" y="36061"/>
                </a:lnTo>
                <a:lnTo>
                  <a:pt x="16458" y="33201"/>
                </a:lnTo>
                <a:cubicBezTo>
                  <a:pt x="16411" y="31476"/>
                  <a:pt x="16292" y="27189"/>
                  <a:pt x="16196" y="20267"/>
                </a:cubicBezTo>
                <a:lnTo>
                  <a:pt x="16196" y="15999"/>
                </a:lnTo>
                <a:cubicBezTo>
                  <a:pt x="16196" y="11796"/>
                  <a:pt x="16220" y="8871"/>
                  <a:pt x="16292" y="7249"/>
                </a:cubicBezTo>
                <a:cubicBezTo>
                  <a:pt x="16316" y="4790"/>
                  <a:pt x="16458" y="3334"/>
                  <a:pt x="16625" y="2907"/>
                </a:cubicBezTo>
                <a:lnTo>
                  <a:pt x="17221" y="2311"/>
                </a:lnTo>
                <a:cubicBezTo>
                  <a:pt x="17698" y="2068"/>
                  <a:pt x="19104" y="1901"/>
                  <a:pt x="21393" y="1808"/>
                </a:cubicBezTo>
                <a:lnTo>
                  <a:pt x="23300" y="1638"/>
                </a:lnTo>
                <a:lnTo>
                  <a:pt x="23300" y="-728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65" name="Vrije vorm 2066">
            <a:extLst>
              <a:ext uri="{FF2B5EF4-FFF2-40B4-BE49-F238E27FC236}">
                <a16:creationId xmlns:a16="http://schemas.microsoft.com/office/drawing/2014/main" id="{438E733C-DAA4-4822-A758-95E9CC0A2E1B}"/>
              </a:ext>
            </a:extLst>
          </p:cNvPr>
          <p:cNvSpPr/>
          <p:nvPr/>
        </p:nvSpPr>
        <p:spPr>
          <a:xfrm flipV="1">
            <a:off x="1643715" y="1238614"/>
            <a:ext cx="72643" cy="104475"/>
          </a:xfrm>
          <a:custGeom>
            <a:avLst/>
            <a:gdLst>
              <a:gd name="connsiteX0" fmla="*/ 24634 w 26459"/>
              <a:gd name="connsiteY0" fmla="*/ -694 h 39238"/>
              <a:gd name="connsiteX1" fmla="*/ 16005 w 26459"/>
              <a:gd name="connsiteY1" fmla="*/ -434 h 39238"/>
              <a:gd name="connsiteX2" fmla="*/ 11881 w 26459"/>
              <a:gd name="connsiteY2" fmla="*/ -341 h 39238"/>
              <a:gd name="connsiteX3" fmla="*/ -1683 w 26459"/>
              <a:gd name="connsiteY3" fmla="*/ -694 h 39238"/>
              <a:gd name="connsiteX4" fmla="*/ -1683 w 26459"/>
              <a:gd name="connsiteY4" fmla="*/ 2333 h 39238"/>
              <a:gd name="connsiteX5" fmla="*/ 3704 w 26459"/>
              <a:gd name="connsiteY5" fmla="*/ 7655 h 39238"/>
              <a:gd name="connsiteX6" fmla="*/ 9902 w 26459"/>
              <a:gd name="connsiteY6" fmla="*/ 14215 h 39238"/>
              <a:gd name="connsiteX7" fmla="*/ 13097 w 26459"/>
              <a:gd name="connsiteY7" fmla="*/ 18605 h 39238"/>
              <a:gd name="connsiteX8" fmla="*/ 14646 w 26459"/>
              <a:gd name="connsiteY8" fmla="*/ 22154 h 39238"/>
              <a:gd name="connsiteX9" fmla="*/ 15099 w 26459"/>
              <a:gd name="connsiteY9" fmla="*/ 25470 h 39238"/>
              <a:gd name="connsiteX10" fmla="*/ 13383 w 26459"/>
              <a:gd name="connsiteY10" fmla="*/ 30549 h 39238"/>
              <a:gd name="connsiteX11" fmla="*/ 8758 w 26459"/>
              <a:gd name="connsiteY11" fmla="*/ 32293 h 39238"/>
              <a:gd name="connsiteX12" fmla="*/ 5612 w 26459"/>
              <a:gd name="connsiteY12" fmla="*/ 31622 h 39238"/>
              <a:gd name="connsiteX13" fmla="*/ 3109 w 26459"/>
              <a:gd name="connsiteY13" fmla="*/ 29645 h 39238"/>
              <a:gd name="connsiteX14" fmla="*/ 1917 w 26459"/>
              <a:gd name="connsiteY14" fmla="*/ 25043 h 39238"/>
              <a:gd name="connsiteX15" fmla="*/ -300 w 26459"/>
              <a:gd name="connsiteY15" fmla="*/ 25043 h 39238"/>
              <a:gd name="connsiteX16" fmla="*/ 463 w 26459"/>
              <a:gd name="connsiteY16" fmla="*/ 31677 h 39238"/>
              <a:gd name="connsiteX17" fmla="*/ 796 w 26459"/>
              <a:gd name="connsiteY17" fmla="*/ 34845 h 39238"/>
              <a:gd name="connsiteX18" fmla="*/ 5159 w 26459"/>
              <a:gd name="connsiteY18" fmla="*/ 37612 h 39238"/>
              <a:gd name="connsiteX19" fmla="*/ 10689 w 26459"/>
              <a:gd name="connsiteY19" fmla="*/ 38545 h 39238"/>
              <a:gd name="connsiteX20" fmla="*/ 17649 w 26459"/>
              <a:gd name="connsiteY20" fmla="*/ 37138 h 39238"/>
              <a:gd name="connsiteX21" fmla="*/ 21582 w 26459"/>
              <a:gd name="connsiteY21" fmla="*/ 33197 h 39238"/>
              <a:gd name="connsiteX22" fmla="*/ 22894 w 26459"/>
              <a:gd name="connsiteY22" fmla="*/ 28044 h 39238"/>
              <a:gd name="connsiteX23" fmla="*/ 22417 w 26459"/>
              <a:gd name="connsiteY23" fmla="*/ 24678 h 39238"/>
              <a:gd name="connsiteX24" fmla="*/ 20677 w 26459"/>
              <a:gd name="connsiteY24" fmla="*/ 21129 h 39238"/>
              <a:gd name="connsiteX25" fmla="*/ 18055 w 26459"/>
              <a:gd name="connsiteY25" fmla="*/ 17672 h 39238"/>
              <a:gd name="connsiteX26" fmla="*/ 14765 w 26459"/>
              <a:gd name="connsiteY26" fmla="*/ 14328 h 39238"/>
              <a:gd name="connsiteX27" fmla="*/ 11762 w 26459"/>
              <a:gd name="connsiteY27" fmla="*/ 11327 h 39238"/>
              <a:gd name="connsiteX28" fmla="*/ 6541 w 26459"/>
              <a:gd name="connsiteY28" fmla="*/ 6434 h 39238"/>
              <a:gd name="connsiteX29" fmla="*/ 6660 w 26459"/>
              <a:gd name="connsiteY29" fmla="*/ 6052 h 39238"/>
              <a:gd name="connsiteX30" fmla="*/ 11762 w 26459"/>
              <a:gd name="connsiteY30" fmla="*/ 6052 h 39238"/>
              <a:gd name="connsiteX31" fmla="*/ 19437 w 26459"/>
              <a:gd name="connsiteY31" fmla="*/ 6191 h 39238"/>
              <a:gd name="connsiteX32" fmla="*/ 24562 w 26459"/>
              <a:gd name="connsiteY32" fmla="*/ 6434 h 39238"/>
              <a:gd name="connsiteX33" fmla="*/ 24777 w 26459"/>
              <a:gd name="connsiteY33" fmla="*/ 6052 h 39238"/>
              <a:gd name="connsiteX34" fmla="*/ 24491 w 26459"/>
              <a:gd name="connsiteY34" fmla="*/ 2045 h 39238"/>
              <a:gd name="connsiteX35" fmla="*/ 24777 w 26459"/>
              <a:gd name="connsiteY35" fmla="*/ -341 h 39238"/>
              <a:gd name="connsiteX36" fmla="*/ 24634 w 26459"/>
              <a:gd name="connsiteY36" fmla="*/ -694 h 39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6459" h="39238">
                <a:moveTo>
                  <a:pt x="24634" y="-694"/>
                </a:moveTo>
                <a:lnTo>
                  <a:pt x="16005" y="-434"/>
                </a:lnTo>
                <a:lnTo>
                  <a:pt x="11881" y="-341"/>
                </a:lnTo>
                <a:lnTo>
                  <a:pt x="-1683" y="-694"/>
                </a:lnTo>
                <a:lnTo>
                  <a:pt x="-1683" y="2333"/>
                </a:lnTo>
                <a:lnTo>
                  <a:pt x="3704" y="7655"/>
                </a:lnTo>
                <a:cubicBezTo>
                  <a:pt x="6494" y="10487"/>
                  <a:pt x="8544" y="12686"/>
                  <a:pt x="9902" y="14215"/>
                </a:cubicBezTo>
                <a:lnTo>
                  <a:pt x="13097" y="18605"/>
                </a:lnTo>
                <a:lnTo>
                  <a:pt x="14646" y="22154"/>
                </a:lnTo>
                <a:lnTo>
                  <a:pt x="15099" y="25470"/>
                </a:lnTo>
                <a:cubicBezTo>
                  <a:pt x="15099" y="27689"/>
                  <a:pt x="14527" y="29404"/>
                  <a:pt x="13383" y="30549"/>
                </a:cubicBezTo>
                <a:lnTo>
                  <a:pt x="8758" y="32293"/>
                </a:lnTo>
                <a:lnTo>
                  <a:pt x="5612" y="31622"/>
                </a:lnTo>
                <a:lnTo>
                  <a:pt x="3109" y="29645"/>
                </a:lnTo>
                <a:lnTo>
                  <a:pt x="1917" y="25043"/>
                </a:lnTo>
                <a:lnTo>
                  <a:pt x="-300" y="25043"/>
                </a:lnTo>
                <a:lnTo>
                  <a:pt x="463" y="31677"/>
                </a:lnTo>
                <a:lnTo>
                  <a:pt x="796" y="34845"/>
                </a:lnTo>
                <a:lnTo>
                  <a:pt x="5159" y="37612"/>
                </a:lnTo>
                <a:lnTo>
                  <a:pt x="10689" y="38545"/>
                </a:lnTo>
                <a:cubicBezTo>
                  <a:pt x="13549" y="38545"/>
                  <a:pt x="15861" y="38070"/>
                  <a:pt x="17649" y="37138"/>
                </a:cubicBezTo>
                <a:lnTo>
                  <a:pt x="21582" y="33197"/>
                </a:lnTo>
                <a:lnTo>
                  <a:pt x="22894" y="28044"/>
                </a:lnTo>
                <a:lnTo>
                  <a:pt x="22417" y="24678"/>
                </a:lnTo>
                <a:lnTo>
                  <a:pt x="20677" y="21129"/>
                </a:lnTo>
                <a:lnTo>
                  <a:pt x="18055" y="17672"/>
                </a:lnTo>
                <a:lnTo>
                  <a:pt x="14765" y="14328"/>
                </a:lnTo>
                <a:lnTo>
                  <a:pt x="11762" y="11327"/>
                </a:lnTo>
                <a:lnTo>
                  <a:pt x="6541" y="6434"/>
                </a:lnTo>
                <a:lnTo>
                  <a:pt x="6660" y="6052"/>
                </a:lnTo>
                <a:lnTo>
                  <a:pt x="11762" y="6052"/>
                </a:lnTo>
                <a:cubicBezTo>
                  <a:pt x="12548" y="6052"/>
                  <a:pt x="15099" y="6098"/>
                  <a:pt x="19437" y="6191"/>
                </a:cubicBezTo>
                <a:lnTo>
                  <a:pt x="24562" y="6434"/>
                </a:lnTo>
                <a:lnTo>
                  <a:pt x="24777" y="6052"/>
                </a:lnTo>
                <a:lnTo>
                  <a:pt x="24491" y="2045"/>
                </a:lnTo>
                <a:lnTo>
                  <a:pt x="24777" y="-341"/>
                </a:lnTo>
                <a:lnTo>
                  <a:pt x="24634" y="-694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66" name="Vrije vorm 2067">
            <a:extLst>
              <a:ext uri="{FF2B5EF4-FFF2-40B4-BE49-F238E27FC236}">
                <a16:creationId xmlns:a16="http://schemas.microsoft.com/office/drawing/2014/main" id="{80CABEA5-C11F-4A92-A68B-7AC09CA30B26}"/>
              </a:ext>
            </a:extLst>
          </p:cNvPr>
          <p:cNvSpPr/>
          <p:nvPr/>
        </p:nvSpPr>
        <p:spPr>
          <a:xfrm flipV="1">
            <a:off x="648953" y="1256209"/>
            <a:ext cx="68453" cy="106386"/>
          </a:xfrm>
          <a:custGeom>
            <a:avLst/>
            <a:gdLst>
              <a:gd name="connsiteX0" fmla="*/ 23383 w 24933"/>
              <a:gd name="connsiteY0" fmla="*/ -691 h 39956"/>
              <a:gd name="connsiteX1" fmla="*/ 13157 w 24933"/>
              <a:gd name="connsiteY1" fmla="*/ -364 h 39956"/>
              <a:gd name="connsiteX2" fmla="*/ 905 w 24933"/>
              <a:gd name="connsiteY2" fmla="*/ -691 h 39956"/>
              <a:gd name="connsiteX3" fmla="*/ 905 w 24933"/>
              <a:gd name="connsiteY3" fmla="*/ 1669 h 39956"/>
              <a:gd name="connsiteX4" fmla="*/ 6363 w 24933"/>
              <a:gd name="connsiteY4" fmla="*/ 2265 h 39956"/>
              <a:gd name="connsiteX5" fmla="*/ 7698 w 24933"/>
              <a:gd name="connsiteY5" fmla="*/ 2768 h 39956"/>
              <a:gd name="connsiteX6" fmla="*/ 8270 w 24933"/>
              <a:gd name="connsiteY6" fmla="*/ 4343 h 39956"/>
              <a:gd name="connsiteX7" fmla="*/ 8628 w 24933"/>
              <a:gd name="connsiteY7" fmla="*/ 14434 h 39956"/>
              <a:gd name="connsiteX8" fmla="*/ 8628 w 24933"/>
              <a:gd name="connsiteY8" fmla="*/ 21349 h 39956"/>
              <a:gd name="connsiteX9" fmla="*/ 8556 w 24933"/>
              <a:gd name="connsiteY9" fmla="*/ 29128 h 39956"/>
              <a:gd name="connsiteX10" fmla="*/ 8485 w 24933"/>
              <a:gd name="connsiteY10" fmla="*/ 31607 h 39956"/>
              <a:gd name="connsiteX11" fmla="*/ 8318 w 24933"/>
              <a:gd name="connsiteY11" fmla="*/ 32773 h 39956"/>
              <a:gd name="connsiteX12" fmla="*/ 7889 w 24933"/>
              <a:gd name="connsiteY12" fmla="*/ 33043 h 39956"/>
              <a:gd name="connsiteX13" fmla="*/ 6649 w 24933"/>
              <a:gd name="connsiteY13" fmla="*/ 32559 h 39956"/>
              <a:gd name="connsiteX14" fmla="*/ -621 w 24933"/>
              <a:gd name="connsiteY14" fmla="*/ 29298 h 39956"/>
              <a:gd name="connsiteX15" fmla="*/ -955 w 24933"/>
              <a:gd name="connsiteY15" fmla="*/ 29455 h 39956"/>
              <a:gd name="connsiteX16" fmla="*/ -1241 w 24933"/>
              <a:gd name="connsiteY16" fmla="*/ 31318 h 39956"/>
              <a:gd name="connsiteX17" fmla="*/ -1551 w 24933"/>
              <a:gd name="connsiteY17" fmla="*/ 33107 h 39956"/>
              <a:gd name="connsiteX18" fmla="*/ -1527 w 24933"/>
              <a:gd name="connsiteY18" fmla="*/ 33322 h 39956"/>
              <a:gd name="connsiteX19" fmla="*/ 6697 w 24933"/>
              <a:gd name="connsiteY19" fmla="*/ 35829 h 39956"/>
              <a:gd name="connsiteX20" fmla="*/ 16256 w 24933"/>
              <a:gd name="connsiteY20" fmla="*/ 39266 h 39956"/>
              <a:gd name="connsiteX21" fmla="*/ 16899 w 24933"/>
              <a:gd name="connsiteY21" fmla="*/ 38859 h 39956"/>
              <a:gd name="connsiteX22" fmla="*/ 16756 w 24933"/>
              <a:gd name="connsiteY22" fmla="*/ 36118 h 39956"/>
              <a:gd name="connsiteX23" fmla="*/ 16542 w 24933"/>
              <a:gd name="connsiteY23" fmla="*/ 33229 h 39956"/>
              <a:gd name="connsiteX24" fmla="*/ 16327 w 24933"/>
              <a:gd name="connsiteY24" fmla="*/ 20323 h 39956"/>
              <a:gd name="connsiteX25" fmla="*/ 16327 w 24933"/>
              <a:gd name="connsiteY25" fmla="*/ 16027 h 39956"/>
              <a:gd name="connsiteX26" fmla="*/ 16375 w 24933"/>
              <a:gd name="connsiteY26" fmla="*/ 7296 h 39956"/>
              <a:gd name="connsiteX27" fmla="*/ 16756 w 24933"/>
              <a:gd name="connsiteY27" fmla="*/ 2955 h 39956"/>
              <a:gd name="connsiteX28" fmla="*/ 17328 w 24933"/>
              <a:gd name="connsiteY28" fmla="*/ 2358 h 39956"/>
              <a:gd name="connsiteX29" fmla="*/ 21500 w 24933"/>
              <a:gd name="connsiteY29" fmla="*/ 1836 h 39956"/>
              <a:gd name="connsiteX30" fmla="*/ 23383 w 24933"/>
              <a:gd name="connsiteY30" fmla="*/ 1669 h 39956"/>
              <a:gd name="connsiteX31" fmla="*/ 23383 w 24933"/>
              <a:gd name="connsiteY31" fmla="*/ -691 h 39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33" h="39956">
                <a:moveTo>
                  <a:pt x="23383" y="-691"/>
                </a:moveTo>
                <a:cubicBezTo>
                  <a:pt x="19164" y="-502"/>
                  <a:pt x="15779" y="-364"/>
                  <a:pt x="13157" y="-364"/>
                </a:cubicBezTo>
                <a:cubicBezTo>
                  <a:pt x="11417" y="-364"/>
                  <a:pt x="7293" y="-502"/>
                  <a:pt x="905" y="-691"/>
                </a:cubicBezTo>
                <a:lnTo>
                  <a:pt x="905" y="1669"/>
                </a:lnTo>
                <a:lnTo>
                  <a:pt x="6363" y="2265"/>
                </a:lnTo>
                <a:lnTo>
                  <a:pt x="7698" y="2768"/>
                </a:lnTo>
                <a:lnTo>
                  <a:pt x="8270" y="4343"/>
                </a:lnTo>
                <a:cubicBezTo>
                  <a:pt x="8532" y="5843"/>
                  <a:pt x="8628" y="9207"/>
                  <a:pt x="8628" y="14434"/>
                </a:cubicBezTo>
                <a:lnTo>
                  <a:pt x="8628" y="21349"/>
                </a:lnTo>
                <a:cubicBezTo>
                  <a:pt x="8628" y="23735"/>
                  <a:pt x="8628" y="26361"/>
                  <a:pt x="8556" y="29128"/>
                </a:cubicBezTo>
                <a:lnTo>
                  <a:pt x="8485" y="31607"/>
                </a:lnTo>
                <a:lnTo>
                  <a:pt x="8318" y="32773"/>
                </a:lnTo>
                <a:lnTo>
                  <a:pt x="7889" y="33043"/>
                </a:lnTo>
                <a:lnTo>
                  <a:pt x="6649" y="32559"/>
                </a:lnTo>
                <a:cubicBezTo>
                  <a:pt x="2812" y="30936"/>
                  <a:pt x="451" y="29791"/>
                  <a:pt x="-621" y="29298"/>
                </a:cubicBezTo>
                <a:lnTo>
                  <a:pt x="-955" y="29455"/>
                </a:lnTo>
                <a:lnTo>
                  <a:pt x="-1241" y="31318"/>
                </a:lnTo>
                <a:lnTo>
                  <a:pt x="-1551" y="33107"/>
                </a:lnTo>
                <a:lnTo>
                  <a:pt x="-1527" y="33322"/>
                </a:lnTo>
                <a:cubicBezTo>
                  <a:pt x="1930" y="34328"/>
                  <a:pt x="4671" y="35140"/>
                  <a:pt x="6697" y="35829"/>
                </a:cubicBezTo>
                <a:cubicBezTo>
                  <a:pt x="8747" y="36518"/>
                  <a:pt x="11894" y="37647"/>
                  <a:pt x="16256" y="39266"/>
                </a:cubicBezTo>
                <a:lnTo>
                  <a:pt x="16899" y="38859"/>
                </a:lnTo>
                <a:lnTo>
                  <a:pt x="16756" y="36118"/>
                </a:lnTo>
                <a:lnTo>
                  <a:pt x="16542" y="33229"/>
                </a:lnTo>
                <a:cubicBezTo>
                  <a:pt x="16494" y="31561"/>
                  <a:pt x="16423" y="27220"/>
                  <a:pt x="16327" y="20323"/>
                </a:cubicBezTo>
                <a:lnTo>
                  <a:pt x="16327" y="16027"/>
                </a:lnTo>
                <a:cubicBezTo>
                  <a:pt x="16327" y="11833"/>
                  <a:pt x="16327" y="8918"/>
                  <a:pt x="16375" y="7296"/>
                </a:cubicBezTo>
                <a:cubicBezTo>
                  <a:pt x="16447" y="4818"/>
                  <a:pt x="16566" y="3336"/>
                  <a:pt x="16756" y="2955"/>
                </a:cubicBezTo>
                <a:lnTo>
                  <a:pt x="17328" y="2358"/>
                </a:lnTo>
                <a:cubicBezTo>
                  <a:pt x="17805" y="2124"/>
                  <a:pt x="19164" y="1957"/>
                  <a:pt x="21500" y="1836"/>
                </a:cubicBezTo>
                <a:lnTo>
                  <a:pt x="23383" y="1669"/>
                </a:lnTo>
                <a:lnTo>
                  <a:pt x="23383" y="-691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67" name="Vrije vorm 2068">
            <a:extLst>
              <a:ext uri="{FF2B5EF4-FFF2-40B4-BE49-F238E27FC236}">
                <a16:creationId xmlns:a16="http://schemas.microsoft.com/office/drawing/2014/main" id="{F217C9B8-8F23-4274-80B2-B95A35E6436E}"/>
              </a:ext>
            </a:extLst>
          </p:cNvPr>
          <p:cNvSpPr/>
          <p:nvPr/>
        </p:nvSpPr>
        <p:spPr>
          <a:xfrm flipV="1">
            <a:off x="730299" y="1258360"/>
            <a:ext cx="70743" cy="106908"/>
          </a:xfrm>
          <a:custGeom>
            <a:avLst/>
            <a:gdLst>
              <a:gd name="connsiteX0" fmla="*/ 10857 w 25767"/>
              <a:gd name="connsiteY0" fmla="*/ -690 h 40152"/>
              <a:gd name="connsiteX1" fmla="*/ 5113 w 25767"/>
              <a:gd name="connsiteY1" fmla="*/ 596 h 40152"/>
              <a:gd name="connsiteX2" fmla="*/ 1132 w 25767"/>
              <a:gd name="connsiteY2" fmla="*/ 4293 h 40152"/>
              <a:gd name="connsiteX3" fmla="*/ -1037 w 25767"/>
              <a:gd name="connsiteY3" fmla="*/ 10426 h 40152"/>
              <a:gd name="connsiteX4" fmla="*/ -1562 w 25767"/>
              <a:gd name="connsiteY4" fmla="*/ 18682 h 40152"/>
              <a:gd name="connsiteX5" fmla="*/ -847 w 25767"/>
              <a:gd name="connsiteY5" fmla="*/ 27888 h 40152"/>
              <a:gd name="connsiteX6" fmla="*/ 822 w 25767"/>
              <a:gd name="connsiteY6" fmla="*/ 32874 h 40152"/>
              <a:gd name="connsiteX7" fmla="*/ 3611 w 25767"/>
              <a:gd name="connsiteY7" fmla="*/ 36526 h 40152"/>
              <a:gd name="connsiteX8" fmla="*/ 7234 w 25767"/>
              <a:gd name="connsiteY8" fmla="*/ 38716 h 40152"/>
              <a:gd name="connsiteX9" fmla="*/ 11692 w 25767"/>
              <a:gd name="connsiteY9" fmla="*/ 39462 h 40152"/>
              <a:gd name="connsiteX10" fmla="*/ 19153 w 25767"/>
              <a:gd name="connsiteY10" fmla="*/ 37401 h 40152"/>
              <a:gd name="connsiteX11" fmla="*/ 22991 w 25767"/>
              <a:gd name="connsiteY11" fmla="*/ 31495 h 40152"/>
              <a:gd name="connsiteX12" fmla="*/ 24206 w 25767"/>
              <a:gd name="connsiteY12" fmla="*/ 20918 h 40152"/>
              <a:gd name="connsiteX13" fmla="*/ 23730 w 25767"/>
              <a:gd name="connsiteY13" fmla="*/ 12523 h 40152"/>
              <a:gd name="connsiteX14" fmla="*/ 21966 w 25767"/>
              <a:gd name="connsiteY14" fmla="*/ 6390 h 40152"/>
              <a:gd name="connsiteX15" fmla="*/ 19153 w 25767"/>
              <a:gd name="connsiteY15" fmla="*/ 2337 h 40152"/>
              <a:gd name="connsiteX16" fmla="*/ 15649 w 25767"/>
              <a:gd name="connsiteY16" fmla="*/ 73 h 40152"/>
              <a:gd name="connsiteX17" fmla="*/ 10857 w 25767"/>
              <a:gd name="connsiteY17" fmla="*/ -690 h 40152"/>
              <a:gd name="connsiteX18" fmla="*/ 10953 w 25767"/>
              <a:gd name="connsiteY18" fmla="*/ 36378 h 40152"/>
              <a:gd name="connsiteX19" fmla="*/ 8188 w 25767"/>
              <a:gd name="connsiteY19" fmla="*/ 35426 h 40152"/>
              <a:gd name="connsiteX20" fmla="*/ 6424 w 25767"/>
              <a:gd name="connsiteY20" fmla="*/ 32249 h 40152"/>
              <a:gd name="connsiteX21" fmla="*/ 5494 w 25767"/>
              <a:gd name="connsiteY21" fmla="*/ 22716 h 40152"/>
              <a:gd name="connsiteX22" fmla="*/ 6138 w 25767"/>
              <a:gd name="connsiteY22" fmla="*/ 10930 h 40152"/>
              <a:gd name="connsiteX23" fmla="*/ 8283 w 25767"/>
              <a:gd name="connsiteY23" fmla="*/ 3959 h 40152"/>
              <a:gd name="connsiteX24" fmla="*/ 11644 w 25767"/>
              <a:gd name="connsiteY24" fmla="*/ 2244 h 40152"/>
              <a:gd name="connsiteX25" fmla="*/ 15529 w 25767"/>
              <a:gd name="connsiteY25" fmla="*/ 4658 h 40152"/>
              <a:gd name="connsiteX26" fmla="*/ 17079 w 25767"/>
              <a:gd name="connsiteY26" fmla="*/ 16342 h 40152"/>
              <a:gd name="connsiteX27" fmla="*/ 16316 w 25767"/>
              <a:gd name="connsiteY27" fmla="*/ 28410 h 40152"/>
              <a:gd name="connsiteX28" fmla="*/ 15172 w 25767"/>
              <a:gd name="connsiteY28" fmla="*/ 33227 h 40152"/>
              <a:gd name="connsiteX29" fmla="*/ 13432 w 25767"/>
              <a:gd name="connsiteY29" fmla="*/ 35593 h 40152"/>
              <a:gd name="connsiteX30" fmla="*/ 10953 w 25767"/>
              <a:gd name="connsiteY30" fmla="*/ 36378 h 40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5767" h="40152">
                <a:moveTo>
                  <a:pt x="10857" y="-690"/>
                </a:moveTo>
                <a:cubicBezTo>
                  <a:pt x="8712" y="-690"/>
                  <a:pt x="6758" y="-263"/>
                  <a:pt x="5113" y="596"/>
                </a:cubicBezTo>
                <a:lnTo>
                  <a:pt x="1132" y="4293"/>
                </a:lnTo>
                <a:cubicBezTo>
                  <a:pt x="83" y="5944"/>
                  <a:pt x="-632" y="7993"/>
                  <a:pt x="-1037" y="10426"/>
                </a:cubicBezTo>
                <a:cubicBezTo>
                  <a:pt x="-1371" y="12886"/>
                  <a:pt x="-1562" y="15624"/>
                  <a:pt x="-1562" y="18682"/>
                </a:cubicBezTo>
                <a:cubicBezTo>
                  <a:pt x="-1562" y="22046"/>
                  <a:pt x="-1323" y="25121"/>
                  <a:pt x="-847" y="27888"/>
                </a:cubicBezTo>
                <a:lnTo>
                  <a:pt x="822" y="32874"/>
                </a:lnTo>
                <a:lnTo>
                  <a:pt x="3611" y="36526"/>
                </a:lnTo>
                <a:lnTo>
                  <a:pt x="7234" y="38716"/>
                </a:lnTo>
                <a:lnTo>
                  <a:pt x="11692" y="39462"/>
                </a:lnTo>
                <a:cubicBezTo>
                  <a:pt x="14862" y="39462"/>
                  <a:pt x="17365" y="38809"/>
                  <a:pt x="19153" y="37401"/>
                </a:cubicBezTo>
                <a:cubicBezTo>
                  <a:pt x="20917" y="35994"/>
                  <a:pt x="22204" y="34047"/>
                  <a:pt x="22991" y="31495"/>
                </a:cubicBezTo>
                <a:cubicBezTo>
                  <a:pt x="23801" y="28959"/>
                  <a:pt x="24206" y="25429"/>
                  <a:pt x="24206" y="20918"/>
                </a:cubicBezTo>
                <a:cubicBezTo>
                  <a:pt x="24206" y="17721"/>
                  <a:pt x="24040" y="14935"/>
                  <a:pt x="23730" y="12523"/>
                </a:cubicBezTo>
                <a:cubicBezTo>
                  <a:pt x="23396" y="10164"/>
                  <a:pt x="22824" y="8115"/>
                  <a:pt x="21966" y="6390"/>
                </a:cubicBezTo>
                <a:lnTo>
                  <a:pt x="19153" y="2337"/>
                </a:lnTo>
                <a:lnTo>
                  <a:pt x="15649" y="73"/>
                </a:lnTo>
                <a:lnTo>
                  <a:pt x="10857" y="-690"/>
                </a:lnTo>
                <a:moveTo>
                  <a:pt x="10953" y="36378"/>
                </a:moveTo>
                <a:lnTo>
                  <a:pt x="8188" y="35426"/>
                </a:lnTo>
                <a:lnTo>
                  <a:pt x="6424" y="32249"/>
                </a:lnTo>
                <a:cubicBezTo>
                  <a:pt x="5780" y="30152"/>
                  <a:pt x="5494" y="26955"/>
                  <a:pt x="5494" y="22716"/>
                </a:cubicBezTo>
                <a:cubicBezTo>
                  <a:pt x="5494" y="18346"/>
                  <a:pt x="5709" y="14415"/>
                  <a:pt x="6138" y="10930"/>
                </a:cubicBezTo>
                <a:cubicBezTo>
                  <a:pt x="6590" y="7444"/>
                  <a:pt x="7306" y="5104"/>
                  <a:pt x="8283" y="3959"/>
                </a:cubicBezTo>
                <a:lnTo>
                  <a:pt x="11644" y="2244"/>
                </a:lnTo>
                <a:lnTo>
                  <a:pt x="15529" y="4658"/>
                </a:lnTo>
                <a:cubicBezTo>
                  <a:pt x="16578" y="6233"/>
                  <a:pt x="17079" y="10138"/>
                  <a:pt x="17079" y="16342"/>
                </a:cubicBezTo>
                <a:cubicBezTo>
                  <a:pt x="17079" y="20378"/>
                  <a:pt x="16817" y="24403"/>
                  <a:pt x="16316" y="28410"/>
                </a:cubicBezTo>
                <a:lnTo>
                  <a:pt x="15172" y="33227"/>
                </a:lnTo>
                <a:lnTo>
                  <a:pt x="13432" y="35593"/>
                </a:lnTo>
                <a:lnTo>
                  <a:pt x="10953" y="36378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68" name="Vrije vorm 2069">
            <a:extLst>
              <a:ext uri="{FF2B5EF4-FFF2-40B4-BE49-F238E27FC236}">
                <a16:creationId xmlns:a16="http://schemas.microsoft.com/office/drawing/2014/main" id="{B8DFDEF4-0B34-419A-ACE6-94A15D847AAF}"/>
              </a:ext>
            </a:extLst>
          </p:cNvPr>
          <p:cNvSpPr/>
          <p:nvPr/>
        </p:nvSpPr>
        <p:spPr>
          <a:xfrm flipV="1">
            <a:off x="841033" y="1044770"/>
            <a:ext cx="68519" cy="106336"/>
          </a:xfrm>
          <a:custGeom>
            <a:avLst/>
            <a:gdLst>
              <a:gd name="connsiteX0" fmla="*/ 23382 w 24957"/>
              <a:gd name="connsiteY0" fmla="*/ -728 h 39937"/>
              <a:gd name="connsiteX1" fmla="*/ 13203 w 24957"/>
              <a:gd name="connsiteY1" fmla="*/ -411 h 39937"/>
              <a:gd name="connsiteX2" fmla="*/ 879 w 24957"/>
              <a:gd name="connsiteY2" fmla="*/ -728 h 39937"/>
              <a:gd name="connsiteX3" fmla="*/ 879 w 24957"/>
              <a:gd name="connsiteY3" fmla="*/ 1638 h 39937"/>
              <a:gd name="connsiteX4" fmla="*/ 6314 w 24957"/>
              <a:gd name="connsiteY4" fmla="*/ 2189 h 39937"/>
              <a:gd name="connsiteX5" fmla="*/ 7625 w 24957"/>
              <a:gd name="connsiteY5" fmla="*/ 2738 h 39937"/>
              <a:gd name="connsiteX6" fmla="*/ 8245 w 24957"/>
              <a:gd name="connsiteY6" fmla="*/ 4315 h 39937"/>
              <a:gd name="connsiteX7" fmla="*/ 8626 w 24957"/>
              <a:gd name="connsiteY7" fmla="*/ 14351 h 39937"/>
              <a:gd name="connsiteX8" fmla="*/ 8626 w 24957"/>
              <a:gd name="connsiteY8" fmla="*/ 21318 h 39937"/>
              <a:gd name="connsiteX9" fmla="*/ 8531 w 24957"/>
              <a:gd name="connsiteY9" fmla="*/ 29071 h 39937"/>
              <a:gd name="connsiteX10" fmla="*/ 8460 w 24957"/>
              <a:gd name="connsiteY10" fmla="*/ 31598 h 39937"/>
              <a:gd name="connsiteX11" fmla="*/ 8292 w 24957"/>
              <a:gd name="connsiteY11" fmla="*/ 32771 h 39937"/>
              <a:gd name="connsiteX12" fmla="*/ 7864 w 24957"/>
              <a:gd name="connsiteY12" fmla="*/ 33050 h 39937"/>
              <a:gd name="connsiteX13" fmla="*/ 6552 w 24957"/>
              <a:gd name="connsiteY13" fmla="*/ 32530 h 39937"/>
              <a:gd name="connsiteX14" fmla="*/ -623 w 24957"/>
              <a:gd name="connsiteY14" fmla="*/ 29241 h 39937"/>
              <a:gd name="connsiteX15" fmla="*/ -980 w 24957"/>
              <a:gd name="connsiteY15" fmla="*/ 29455 h 39937"/>
              <a:gd name="connsiteX16" fmla="*/ -1266 w 24957"/>
              <a:gd name="connsiteY16" fmla="*/ 31290 h 39937"/>
              <a:gd name="connsiteX17" fmla="*/ -1576 w 24957"/>
              <a:gd name="connsiteY17" fmla="*/ 33050 h 39937"/>
              <a:gd name="connsiteX18" fmla="*/ -1528 w 24957"/>
              <a:gd name="connsiteY18" fmla="*/ 33265 h 39937"/>
              <a:gd name="connsiteX19" fmla="*/ 6672 w 24957"/>
              <a:gd name="connsiteY19" fmla="*/ 35772 h 39937"/>
              <a:gd name="connsiteX20" fmla="*/ 16207 w 24957"/>
              <a:gd name="connsiteY20" fmla="*/ 39210 h 39937"/>
              <a:gd name="connsiteX21" fmla="*/ 16850 w 24957"/>
              <a:gd name="connsiteY21" fmla="*/ 38802 h 39937"/>
              <a:gd name="connsiteX22" fmla="*/ 16731 w 24957"/>
              <a:gd name="connsiteY22" fmla="*/ 36061 h 39937"/>
              <a:gd name="connsiteX23" fmla="*/ 16517 w 24957"/>
              <a:gd name="connsiteY23" fmla="*/ 33201 h 39937"/>
              <a:gd name="connsiteX24" fmla="*/ 16302 w 24957"/>
              <a:gd name="connsiteY24" fmla="*/ 20267 h 39937"/>
              <a:gd name="connsiteX25" fmla="*/ 16302 w 24957"/>
              <a:gd name="connsiteY25" fmla="*/ 15999 h 39937"/>
              <a:gd name="connsiteX26" fmla="*/ 16326 w 24957"/>
              <a:gd name="connsiteY26" fmla="*/ 7249 h 39937"/>
              <a:gd name="connsiteX27" fmla="*/ 16731 w 24957"/>
              <a:gd name="connsiteY27" fmla="*/ 2907 h 39937"/>
              <a:gd name="connsiteX28" fmla="*/ 17279 w 24957"/>
              <a:gd name="connsiteY28" fmla="*/ 2311 h 39937"/>
              <a:gd name="connsiteX29" fmla="*/ 21475 w 24957"/>
              <a:gd name="connsiteY29" fmla="*/ 1808 h 39937"/>
              <a:gd name="connsiteX30" fmla="*/ 23382 w 24957"/>
              <a:gd name="connsiteY30" fmla="*/ 1638 h 39937"/>
              <a:gd name="connsiteX31" fmla="*/ 23382 w 24957"/>
              <a:gd name="connsiteY31" fmla="*/ -728 h 39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57" h="39937">
                <a:moveTo>
                  <a:pt x="23382" y="-728"/>
                </a:moveTo>
                <a:cubicBezTo>
                  <a:pt x="19162" y="-559"/>
                  <a:pt x="15777" y="-411"/>
                  <a:pt x="13203" y="-411"/>
                </a:cubicBezTo>
                <a:cubicBezTo>
                  <a:pt x="11391" y="-411"/>
                  <a:pt x="7291" y="-559"/>
                  <a:pt x="879" y="-728"/>
                </a:cubicBezTo>
                <a:lnTo>
                  <a:pt x="879" y="1638"/>
                </a:lnTo>
                <a:lnTo>
                  <a:pt x="6314" y="2189"/>
                </a:lnTo>
                <a:lnTo>
                  <a:pt x="7625" y="2738"/>
                </a:lnTo>
                <a:lnTo>
                  <a:pt x="8245" y="4315"/>
                </a:lnTo>
                <a:cubicBezTo>
                  <a:pt x="8483" y="5787"/>
                  <a:pt x="8626" y="9150"/>
                  <a:pt x="8626" y="14351"/>
                </a:cubicBezTo>
                <a:lnTo>
                  <a:pt x="8626" y="21318"/>
                </a:lnTo>
                <a:cubicBezTo>
                  <a:pt x="8626" y="23723"/>
                  <a:pt x="8555" y="26304"/>
                  <a:pt x="8531" y="29071"/>
                </a:cubicBezTo>
                <a:lnTo>
                  <a:pt x="8460" y="31598"/>
                </a:lnTo>
                <a:lnTo>
                  <a:pt x="8292" y="32771"/>
                </a:lnTo>
                <a:lnTo>
                  <a:pt x="7864" y="33050"/>
                </a:lnTo>
                <a:lnTo>
                  <a:pt x="6552" y="32530"/>
                </a:lnTo>
                <a:cubicBezTo>
                  <a:pt x="2834" y="30880"/>
                  <a:pt x="355" y="29789"/>
                  <a:pt x="-623" y="29241"/>
                </a:cubicBezTo>
                <a:lnTo>
                  <a:pt x="-980" y="29455"/>
                </a:lnTo>
                <a:lnTo>
                  <a:pt x="-1266" y="31290"/>
                </a:lnTo>
                <a:lnTo>
                  <a:pt x="-1576" y="33050"/>
                </a:lnTo>
                <a:lnTo>
                  <a:pt x="-1528" y="33265"/>
                </a:lnTo>
                <a:cubicBezTo>
                  <a:pt x="1904" y="34272"/>
                  <a:pt x="4669" y="35111"/>
                  <a:pt x="6672" y="35772"/>
                </a:cubicBezTo>
                <a:cubicBezTo>
                  <a:pt x="8746" y="36462"/>
                  <a:pt x="11916" y="37609"/>
                  <a:pt x="16207" y="39210"/>
                </a:cubicBezTo>
                <a:lnTo>
                  <a:pt x="16850" y="38802"/>
                </a:lnTo>
                <a:lnTo>
                  <a:pt x="16731" y="36061"/>
                </a:lnTo>
                <a:lnTo>
                  <a:pt x="16517" y="33201"/>
                </a:lnTo>
                <a:cubicBezTo>
                  <a:pt x="16445" y="31476"/>
                  <a:pt x="16373" y="27189"/>
                  <a:pt x="16302" y="20267"/>
                </a:cubicBezTo>
                <a:lnTo>
                  <a:pt x="16302" y="15999"/>
                </a:lnTo>
                <a:cubicBezTo>
                  <a:pt x="16302" y="11796"/>
                  <a:pt x="16302" y="8871"/>
                  <a:pt x="16326" y="7249"/>
                </a:cubicBezTo>
                <a:cubicBezTo>
                  <a:pt x="16373" y="4790"/>
                  <a:pt x="16517" y="3334"/>
                  <a:pt x="16731" y="2907"/>
                </a:cubicBezTo>
                <a:lnTo>
                  <a:pt x="17279" y="2311"/>
                </a:lnTo>
                <a:cubicBezTo>
                  <a:pt x="17756" y="2068"/>
                  <a:pt x="19162" y="1901"/>
                  <a:pt x="21475" y="1808"/>
                </a:cubicBezTo>
                <a:lnTo>
                  <a:pt x="23382" y="1638"/>
                </a:lnTo>
                <a:lnTo>
                  <a:pt x="23382" y="-728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69" name="Vrije vorm 2070">
            <a:extLst>
              <a:ext uri="{FF2B5EF4-FFF2-40B4-BE49-F238E27FC236}">
                <a16:creationId xmlns:a16="http://schemas.microsoft.com/office/drawing/2014/main" id="{7A74F83B-35A0-4C67-B183-1D080A0FB466}"/>
              </a:ext>
            </a:extLst>
          </p:cNvPr>
          <p:cNvSpPr/>
          <p:nvPr/>
        </p:nvSpPr>
        <p:spPr>
          <a:xfrm flipV="1">
            <a:off x="916490" y="1044770"/>
            <a:ext cx="68453" cy="106336"/>
          </a:xfrm>
          <a:custGeom>
            <a:avLst/>
            <a:gdLst>
              <a:gd name="connsiteX0" fmla="*/ 23348 w 24933"/>
              <a:gd name="connsiteY0" fmla="*/ -728 h 39937"/>
              <a:gd name="connsiteX1" fmla="*/ 13145 w 24933"/>
              <a:gd name="connsiteY1" fmla="*/ -411 h 39937"/>
              <a:gd name="connsiteX2" fmla="*/ 845 w 24933"/>
              <a:gd name="connsiteY2" fmla="*/ -728 h 39937"/>
              <a:gd name="connsiteX3" fmla="*/ 845 w 24933"/>
              <a:gd name="connsiteY3" fmla="*/ 1638 h 39937"/>
              <a:gd name="connsiteX4" fmla="*/ 6352 w 24933"/>
              <a:gd name="connsiteY4" fmla="*/ 2189 h 39937"/>
              <a:gd name="connsiteX5" fmla="*/ 7639 w 24933"/>
              <a:gd name="connsiteY5" fmla="*/ 2738 h 39937"/>
              <a:gd name="connsiteX6" fmla="*/ 8235 w 24933"/>
              <a:gd name="connsiteY6" fmla="*/ 4315 h 39937"/>
              <a:gd name="connsiteX7" fmla="*/ 8592 w 24933"/>
              <a:gd name="connsiteY7" fmla="*/ 14351 h 39937"/>
              <a:gd name="connsiteX8" fmla="*/ 8592 w 24933"/>
              <a:gd name="connsiteY8" fmla="*/ 21318 h 39937"/>
              <a:gd name="connsiteX9" fmla="*/ 8545 w 24933"/>
              <a:gd name="connsiteY9" fmla="*/ 29071 h 39937"/>
              <a:gd name="connsiteX10" fmla="*/ 8473 w 24933"/>
              <a:gd name="connsiteY10" fmla="*/ 31598 h 39937"/>
              <a:gd name="connsiteX11" fmla="*/ 8306 w 24933"/>
              <a:gd name="connsiteY11" fmla="*/ 32771 h 39937"/>
              <a:gd name="connsiteX12" fmla="*/ 7853 w 24933"/>
              <a:gd name="connsiteY12" fmla="*/ 33050 h 39937"/>
              <a:gd name="connsiteX13" fmla="*/ 6590 w 24933"/>
              <a:gd name="connsiteY13" fmla="*/ 32530 h 39937"/>
              <a:gd name="connsiteX14" fmla="*/ -633 w 24933"/>
              <a:gd name="connsiteY14" fmla="*/ 29241 h 39937"/>
              <a:gd name="connsiteX15" fmla="*/ -990 w 24933"/>
              <a:gd name="connsiteY15" fmla="*/ 29455 h 39937"/>
              <a:gd name="connsiteX16" fmla="*/ -1300 w 24933"/>
              <a:gd name="connsiteY16" fmla="*/ 31290 h 39937"/>
              <a:gd name="connsiteX17" fmla="*/ -1586 w 24933"/>
              <a:gd name="connsiteY17" fmla="*/ 33050 h 39937"/>
              <a:gd name="connsiteX18" fmla="*/ -1538 w 24933"/>
              <a:gd name="connsiteY18" fmla="*/ 33265 h 39937"/>
              <a:gd name="connsiteX19" fmla="*/ 6661 w 24933"/>
              <a:gd name="connsiteY19" fmla="*/ 35772 h 39937"/>
              <a:gd name="connsiteX20" fmla="*/ 16268 w 24933"/>
              <a:gd name="connsiteY20" fmla="*/ 39210 h 39937"/>
              <a:gd name="connsiteX21" fmla="*/ 16864 w 24933"/>
              <a:gd name="connsiteY21" fmla="*/ 38802 h 39937"/>
              <a:gd name="connsiteX22" fmla="*/ 16673 w 24933"/>
              <a:gd name="connsiteY22" fmla="*/ 36061 h 39937"/>
              <a:gd name="connsiteX23" fmla="*/ 16506 w 24933"/>
              <a:gd name="connsiteY23" fmla="*/ 33201 h 39937"/>
              <a:gd name="connsiteX24" fmla="*/ 16268 w 24933"/>
              <a:gd name="connsiteY24" fmla="*/ 20267 h 39937"/>
              <a:gd name="connsiteX25" fmla="*/ 16268 w 24933"/>
              <a:gd name="connsiteY25" fmla="*/ 15999 h 39937"/>
              <a:gd name="connsiteX26" fmla="*/ 16363 w 24933"/>
              <a:gd name="connsiteY26" fmla="*/ 7249 h 39937"/>
              <a:gd name="connsiteX27" fmla="*/ 16721 w 24933"/>
              <a:gd name="connsiteY27" fmla="*/ 2907 h 39937"/>
              <a:gd name="connsiteX28" fmla="*/ 17317 w 24933"/>
              <a:gd name="connsiteY28" fmla="*/ 2311 h 39937"/>
              <a:gd name="connsiteX29" fmla="*/ 21465 w 24933"/>
              <a:gd name="connsiteY29" fmla="*/ 1808 h 39937"/>
              <a:gd name="connsiteX30" fmla="*/ 23348 w 24933"/>
              <a:gd name="connsiteY30" fmla="*/ 1638 h 39937"/>
              <a:gd name="connsiteX31" fmla="*/ 23348 w 24933"/>
              <a:gd name="connsiteY31" fmla="*/ -728 h 39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33" h="39937">
                <a:moveTo>
                  <a:pt x="23348" y="-728"/>
                </a:moveTo>
                <a:cubicBezTo>
                  <a:pt x="19176" y="-559"/>
                  <a:pt x="15767" y="-411"/>
                  <a:pt x="13145" y="-411"/>
                </a:cubicBezTo>
                <a:cubicBezTo>
                  <a:pt x="11381" y="-411"/>
                  <a:pt x="7305" y="-559"/>
                  <a:pt x="845" y="-728"/>
                </a:cubicBezTo>
                <a:lnTo>
                  <a:pt x="845" y="1638"/>
                </a:lnTo>
                <a:lnTo>
                  <a:pt x="6352" y="2189"/>
                </a:lnTo>
                <a:lnTo>
                  <a:pt x="7639" y="2738"/>
                </a:lnTo>
                <a:lnTo>
                  <a:pt x="8235" y="4315"/>
                </a:lnTo>
                <a:cubicBezTo>
                  <a:pt x="8473" y="5787"/>
                  <a:pt x="8592" y="9150"/>
                  <a:pt x="8592" y="14351"/>
                </a:cubicBezTo>
                <a:lnTo>
                  <a:pt x="8592" y="21318"/>
                </a:lnTo>
                <a:cubicBezTo>
                  <a:pt x="8592" y="23723"/>
                  <a:pt x="8592" y="26304"/>
                  <a:pt x="8545" y="29071"/>
                </a:cubicBezTo>
                <a:lnTo>
                  <a:pt x="8473" y="31598"/>
                </a:lnTo>
                <a:lnTo>
                  <a:pt x="8306" y="32771"/>
                </a:lnTo>
                <a:lnTo>
                  <a:pt x="7853" y="33050"/>
                </a:lnTo>
                <a:lnTo>
                  <a:pt x="6590" y="32530"/>
                </a:lnTo>
                <a:cubicBezTo>
                  <a:pt x="2776" y="30880"/>
                  <a:pt x="416" y="29789"/>
                  <a:pt x="-633" y="29241"/>
                </a:cubicBezTo>
                <a:lnTo>
                  <a:pt x="-990" y="29455"/>
                </a:lnTo>
                <a:lnTo>
                  <a:pt x="-1300" y="31290"/>
                </a:lnTo>
                <a:lnTo>
                  <a:pt x="-1586" y="33050"/>
                </a:lnTo>
                <a:lnTo>
                  <a:pt x="-1538" y="33265"/>
                </a:lnTo>
                <a:cubicBezTo>
                  <a:pt x="1870" y="34272"/>
                  <a:pt x="4635" y="35111"/>
                  <a:pt x="6661" y="35772"/>
                </a:cubicBezTo>
                <a:cubicBezTo>
                  <a:pt x="8712" y="36462"/>
                  <a:pt x="11906" y="37609"/>
                  <a:pt x="16268" y="39210"/>
                </a:cubicBezTo>
                <a:lnTo>
                  <a:pt x="16864" y="38802"/>
                </a:lnTo>
                <a:lnTo>
                  <a:pt x="16673" y="36061"/>
                </a:lnTo>
                <a:lnTo>
                  <a:pt x="16506" y="33201"/>
                </a:lnTo>
                <a:cubicBezTo>
                  <a:pt x="16459" y="31476"/>
                  <a:pt x="16363" y="27189"/>
                  <a:pt x="16268" y="20267"/>
                </a:cubicBezTo>
                <a:lnTo>
                  <a:pt x="16268" y="15999"/>
                </a:lnTo>
                <a:cubicBezTo>
                  <a:pt x="16268" y="11796"/>
                  <a:pt x="16292" y="8871"/>
                  <a:pt x="16363" y="7249"/>
                </a:cubicBezTo>
                <a:cubicBezTo>
                  <a:pt x="16411" y="4790"/>
                  <a:pt x="16506" y="3334"/>
                  <a:pt x="16721" y="2907"/>
                </a:cubicBezTo>
                <a:lnTo>
                  <a:pt x="17317" y="2311"/>
                </a:lnTo>
                <a:cubicBezTo>
                  <a:pt x="17770" y="2068"/>
                  <a:pt x="19152" y="1901"/>
                  <a:pt x="21465" y="1808"/>
                </a:cubicBezTo>
                <a:lnTo>
                  <a:pt x="23348" y="1638"/>
                </a:lnTo>
                <a:lnTo>
                  <a:pt x="23348" y="-728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70" name="Vrije vorm 2071">
            <a:extLst>
              <a:ext uri="{FF2B5EF4-FFF2-40B4-BE49-F238E27FC236}">
                <a16:creationId xmlns:a16="http://schemas.microsoft.com/office/drawing/2014/main" id="{8C644740-DED9-4577-B1AB-A2EFAD09367B}"/>
              </a:ext>
            </a:extLst>
          </p:cNvPr>
          <p:cNvSpPr/>
          <p:nvPr/>
        </p:nvSpPr>
        <p:spPr>
          <a:xfrm flipV="1">
            <a:off x="1119044" y="951332"/>
            <a:ext cx="68585" cy="106261"/>
          </a:xfrm>
          <a:custGeom>
            <a:avLst/>
            <a:gdLst>
              <a:gd name="connsiteX0" fmla="*/ 866 w 24981"/>
              <a:gd name="connsiteY0" fmla="*/ -745 h 39909"/>
              <a:gd name="connsiteX1" fmla="*/ 866 w 24981"/>
              <a:gd name="connsiteY1" fmla="*/ 1567 h 39909"/>
              <a:gd name="connsiteX2" fmla="*/ 6372 w 24981"/>
              <a:gd name="connsiteY2" fmla="*/ 2163 h 39909"/>
              <a:gd name="connsiteX3" fmla="*/ 7636 w 24981"/>
              <a:gd name="connsiteY3" fmla="*/ 2666 h 39909"/>
              <a:gd name="connsiteX4" fmla="*/ 8255 w 24981"/>
              <a:gd name="connsiteY4" fmla="*/ 4260 h 39909"/>
              <a:gd name="connsiteX5" fmla="*/ 8613 w 24981"/>
              <a:gd name="connsiteY5" fmla="*/ 14305 h 39909"/>
              <a:gd name="connsiteX6" fmla="*/ 8613 w 24981"/>
              <a:gd name="connsiteY6" fmla="*/ 21247 h 39909"/>
              <a:gd name="connsiteX7" fmla="*/ 8518 w 24981"/>
              <a:gd name="connsiteY7" fmla="*/ 29026 h 39909"/>
              <a:gd name="connsiteX8" fmla="*/ 8494 w 24981"/>
              <a:gd name="connsiteY8" fmla="*/ 31504 h 39909"/>
              <a:gd name="connsiteX9" fmla="*/ 8279 w 24981"/>
              <a:gd name="connsiteY9" fmla="*/ 32697 h 39909"/>
              <a:gd name="connsiteX10" fmla="*/ 7850 w 24981"/>
              <a:gd name="connsiteY10" fmla="*/ 32988 h 39909"/>
              <a:gd name="connsiteX11" fmla="*/ 6587 w 24981"/>
              <a:gd name="connsiteY11" fmla="*/ 32485 h 39909"/>
              <a:gd name="connsiteX12" fmla="*/ -660 w 24981"/>
              <a:gd name="connsiteY12" fmla="*/ 29195 h 39909"/>
              <a:gd name="connsiteX13" fmla="*/ -970 w 24981"/>
              <a:gd name="connsiteY13" fmla="*/ 29362 h 39909"/>
              <a:gd name="connsiteX14" fmla="*/ -1280 w 24981"/>
              <a:gd name="connsiteY14" fmla="*/ 31199 h 39909"/>
              <a:gd name="connsiteX15" fmla="*/ -1613 w 24981"/>
              <a:gd name="connsiteY15" fmla="*/ 32988 h 39909"/>
              <a:gd name="connsiteX16" fmla="*/ -1566 w 24981"/>
              <a:gd name="connsiteY16" fmla="*/ 33201 h 39909"/>
              <a:gd name="connsiteX17" fmla="*/ 6658 w 24981"/>
              <a:gd name="connsiteY17" fmla="*/ 35727 h 39909"/>
              <a:gd name="connsiteX18" fmla="*/ 16217 w 24981"/>
              <a:gd name="connsiteY18" fmla="*/ 39164 h 39909"/>
              <a:gd name="connsiteX19" fmla="*/ 16861 w 24981"/>
              <a:gd name="connsiteY19" fmla="*/ 38737 h 39909"/>
              <a:gd name="connsiteX20" fmla="*/ 16670 w 24981"/>
              <a:gd name="connsiteY20" fmla="*/ 36035 h 39909"/>
              <a:gd name="connsiteX21" fmla="*/ 16527 w 24981"/>
              <a:gd name="connsiteY21" fmla="*/ 33127 h 39909"/>
              <a:gd name="connsiteX22" fmla="*/ 16265 w 24981"/>
              <a:gd name="connsiteY22" fmla="*/ 20221 h 39909"/>
              <a:gd name="connsiteX23" fmla="*/ 16265 w 24981"/>
              <a:gd name="connsiteY23" fmla="*/ 15973 h 39909"/>
              <a:gd name="connsiteX24" fmla="*/ 16336 w 24981"/>
              <a:gd name="connsiteY24" fmla="*/ 7194 h 39909"/>
              <a:gd name="connsiteX25" fmla="*/ 16718 w 24981"/>
              <a:gd name="connsiteY25" fmla="*/ 2833 h 39909"/>
              <a:gd name="connsiteX26" fmla="*/ 17314 w 24981"/>
              <a:gd name="connsiteY26" fmla="*/ 2282 h 39909"/>
              <a:gd name="connsiteX27" fmla="*/ 21461 w 24981"/>
              <a:gd name="connsiteY27" fmla="*/ 1762 h 39909"/>
              <a:gd name="connsiteX28" fmla="*/ 23368 w 24981"/>
              <a:gd name="connsiteY28" fmla="*/ 1567 h 39909"/>
              <a:gd name="connsiteX29" fmla="*/ 23368 w 24981"/>
              <a:gd name="connsiteY29" fmla="*/ -745 h 39909"/>
              <a:gd name="connsiteX30" fmla="*/ 13166 w 24981"/>
              <a:gd name="connsiteY30" fmla="*/ -456 h 39909"/>
              <a:gd name="connsiteX31" fmla="*/ 866 w 24981"/>
              <a:gd name="connsiteY31" fmla="*/ -745 h 39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81" h="39909">
                <a:moveTo>
                  <a:pt x="866" y="-745"/>
                </a:moveTo>
                <a:lnTo>
                  <a:pt x="866" y="1567"/>
                </a:lnTo>
                <a:lnTo>
                  <a:pt x="6372" y="2163"/>
                </a:lnTo>
                <a:lnTo>
                  <a:pt x="7636" y="2666"/>
                </a:lnTo>
                <a:lnTo>
                  <a:pt x="8255" y="4260"/>
                </a:lnTo>
                <a:cubicBezTo>
                  <a:pt x="8494" y="5741"/>
                  <a:pt x="8613" y="9105"/>
                  <a:pt x="8613" y="14305"/>
                </a:cubicBezTo>
                <a:lnTo>
                  <a:pt x="8613" y="21247"/>
                </a:lnTo>
                <a:cubicBezTo>
                  <a:pt x="8613" y="23678"/>
                  <a:pt x="8541" y="26233"/>
                  <a:pt x="8518" y="29026"/>
                </a:cubicBezTo>
                <a:lnTo>
                  <a:pt x="8494" y="31504"/>
                </a:lnTo>
                <a:lnTo>
                  <a:pt x="8279" y="32697"/>
                </a:lnTo>
                <a:lnTo>
                  <a:pt x="7850" y="32988"/>
                </a:lnTo>
                <a:lnTo>
                  <a:pt x="6587" y="32485"/>
                </a:lnTo>
                <a:cubicBezTo>
                  <a:pt x="2797" y="30834"/>
                  <a:pt x="413" y="29670"/>
                  <a:pt x="-660" y="29195"/>
                </a:cubicBezTo>
                <a:lnTo>
                  <a:pt x="-970" y="29362"/>
                </a:lnTo>
                <a:lnTo>
                  <a:pt x="-1280" y="31199"/>
                </a:lnTo>
                <a:lnTo>
                  <a:pt x="-1613" y="32988"/>
                </a:lnTo>
                <a:lnTo>
                  <a:pt x="-1566" y="33201"/>
                </a:lnTo>
                <a:cubicBezTo>
                  <a:pt x="1915" y="34226"/>
                  <a:pt x="4632" y="35083"/>
                  <a:pt x="6658" y="35727"/>
                </a:cubicBezTo>
                <a:cubicBezTo>
                  <a:pt x="8708" y="36416"/>
                  <a:pt x="11903" y="37564"/>
                  <a:pt x="16217" y="39164"/>
                </a:cubicBezTo>
                <a:lnTo>
                  <a:pt x="16861" y="38737"/>
                </a:lnTo>
                <a:lnTo>
                  <a:pt x="16670" y="36035"/>
                </a:lnTo>
                <a:lnTo>
                  <a:pt x="16527" y="33127"/>
                </a:lnTo>
                <a:cubicBezTo>
                  <a:pt x="16456" y="31459"/>
                  <a:pt x="16360" y="27134"/>
                  <a:pt x="16265" y="20221"/>
                </a:cubicBezTo>
                <a:lnTo>
                  <a:pt x="16265" y="15973"/>
                </a:lnTo>
                <a:cubicBezTo>
                  <a:pt x="16265" y="11705"/>
                  <a:pt x="16289" y="8816"/>
                  <a:pt x="16336" y="7194"/>
                </a:cubicBezTo>
                <a:cubicBezTo>
                  <a:pt x="16432" y="4715"/>
                  <a:pt x="16527" y="3279"/>
                  <a:pt x="16718" y="2833"/>
                </a:cubicBezTo>
                <a:lnTo>
                  <a:pt x="17314" y="2282"/>
                </a:lnTo>
                <a:cubicBezTo>
                  <a:pt x="17790" y="2022"/>
                  <a:pt x="19149" y="1827"/>
                  <a:pt x="21461" y="1762"/>
                </a:cubicBezTo>
                <a:lnTo>
                  <a:pt x="23368" y="1567"/>
                </a:lnTo>
                <a:lnTo>
                  <a:pt x="23368" y="-745"/>
                </a:lnTo>
                <a:cubicBezTo>
                  <a:pt x="19197" y="-578"/>
                  <a:pt x="15764" y="-456"/>
                  <a:pt x="13166" y="-456"/>
                </a:cubicBezTo>
                <a:cubicBezTo>
                  <a:pt x="11378" y="-456"/>
                  <a:pt x="7278" y="-578"/>
                  <a:pt x="866" y="-745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71" name="Vrije vorm 2072">
            <a:extLst>
              <a:ext uri="{FF2B5EF4-FFF2-40B4-BE49-F238E27FC236}">
                <a16:creationId xmlns:a16="http://schemas.microsoft.com/office/drawing/2014/main" id="{6BC0C168-F575-4EA4-90E4-14F781292331}"/>
              </a:ext>
            </a:extLst>
          </p:cNvPr>
          <p:cNvSpPr/>
          <p:nvPr/>
        </p:nvSpPr>
        <p:spPr>
          <a:xfrm flipV="1">
            <a:off x="1199278" y="953313"/>
            <a:ext cx="72511" cy="104280"/>
          </a:xfrm>
          <a:custGeom>
            <a:avLst/>
            <a:gdLst>
              <a:gd name="connsiteX0" fmla="*/ -1624 w 26411"/>
              <a:gd name="connsiteY0" fmla="*/ -745 h 39165"/>
              <a:gd name="connsiteX1" fmla="*/ -1624 w 26411"/>
              <a:gd name="connsiteY1" fmla="*/ 2237 h 39165"/>
              <a:gd name="connsiteX2" fmla="*/ 3739 w 26411"/>
              <a:gd name="connsiteY2" fmla="*/ 7557 h 39165"/>
              <a:gd name="connsiteX3" fmla="*/ 9937 w 26411"/>
              <a:gd name="connsiteY3" fmla="*/ 14136 h 39165"/>
              <a:gd name="connsiteX4" fmla="*/ 13084 w 26411"/>
              <a:gd name="connsiteY4" fmla="*/ 18480 h 39165"/>
              <a:gd name="connsiteX5" fmla="*/ 14681 w 26411"/>
              <a:gd name="connsiteY5" fmla="*/ 22103 h 39165"/>
              <a:gd name="connsiteX6" fmla="*/ 15110 w 26411"/>
              <a:gd name="connsiteY6" fmla="*/ 25403 h 39165"/>
              <a:gd name="connsiteX7" fmla="*/ 13441 w 26411"/>
              <a:gd name="connsiteY7" fmla="*/ 30453 h 39165"/>
              <a:gd name="connsiteX8" fmla="*/ 8793 w 26411"/>
              <a:gd name="connsiteY8" fmla="*/ 32177 h 39165"/>
              <a:gd name="connsiteX9" fmla="*/ 5670 w 26411"/>
              <a:gd name="connsiteY9" fmla="*/ 31505 h 39165"/>
              <a:gd name="connsiteX10" fmla="*/ 3144 w 26411"/>
              <a:gd name="connsiteY10" fmla="*/ 29520 h 39165"/>
              <a:gd name="connsiteX11" fmla="*/ 1976 w 26411"/>
              <a:gd name="connsiteY11" fmla="*/ 24918 h 39165"/>
              <a:gd name="connsiteX12" fmla="*/ -241 w 26411"/>
              <a:gd name="connsiteY12" fmla="*/ 24918 h 39165"/>
              <a:gd name="connsiteX13" fmla="*/ 498 w 26411"/>
              <a:gd name="connsiteY13" fmla="*/ 31581 h 39165"/>
              <a:gd name="connsiteX14" fmla="*/ 855 w 26411"/>
              <a:gd name="connsiteY14" fmla="*/ 34778 h 39165"/>
              <a:gd name="connsiteX15" fmla="*/ 5218 w 26411"/>
              <a:gd name="connsiteY15" fmla="*/ 37516 h 39165"/>
              <a:gd name="connsiteX16" fmla="*/ 10700 w 26411"/>
              <a:gd name="connsiteY16" fmla="*/ 38420 h 39165"/>
              <a:gd name="connsiteX17" fmla="*/ 17661 w 26411"/>
              <a:gd name="connsiteY17" fmla="*/ 37013 h 39165"/>
              <a:gd name="connsiteX18" fmla="*/ 21617 w 26411"/>
              <a:gd name="connsiteY18" fmla="*/ 33098 h 39165"/>
              <a:gd name="connsiteX19" fmla="*/ 22905 w 26411"/>
              <a:gd name="connsiteY19" fmla="*/ 27974 h 39165"/>
              <a:gd name="connsiteX20" fmla="*/ 22404 w 26411"/>
              <a:gd name="connsiteY20" fmla="*/ 24611 h 39165"/>
              <a:gd name="connsiteX21" fmla="*/ 20712 w 26411"/>
              <a:gd name="connsiteY21" fmla="*/ 21004 h 39165"/>
              <a:gd name="connsiteX22" fmla="*/ 18090 w 26411"/>
              <a:gd name="connsiteY22" fmla="*/ 17547 h 39165"/>
              <a:gd name="connsiteX23" fmla="*/ 14824 w 26411"/>
              <a:gd name="connsiteY23" fmla="*/ 14229 h 39165"/>
              <a:gd name="connsiteX24" fmla="*/ 11797 w 26411"/>
              <a:gd name="connsiteY24" fmla="*/ 11228 h 39165"/>
              <a:gd name="connsiteX25" fmla="*/ 6600 w 26411"/>
              <a:gd name="connsiteY25" fmla="*/ 6338 h 39165"/>
              <a:gd name="connsiteX26" fmla="*/ 6719 w 26411"/>
              <a:gd name="connsiteY26" fmla="*/ 5956 h 39165"/>
              <a:gd name="connsiteX27" fmla="*/ 11797 w 26411"/>
              <a:gd name="connsiteY27" fmla="*/ 5956 h 39165"/>
              <a:gd name="connsiteX28" fmla="*/ 19448 w 26411"/>
              <a:gd name="connsiteY28" fmla="*/ 6094 h 39165"/>
              <a:gd name="connsiteX29" fmla="*/ 24574 w 26411"/>
              <a:gd name="connsiteY29" fmla="*/ 6338 h 39165"/>
              <a:gd name="connsiteX30" fmla="*/ 24788 w 26411"/>
              <a:gd name="connsiteY30" fmla="*/ 5956 h 39165"/>
              <a:gd name="connsiteX31" fmla="*/ 24526 w 26411"/>
              <a:gd name="connsiteY31" fmla="*/ 1977 h 39165"/>
              <a:gd name="connsiteX32" fmla="*/ 24788 w 26411"/>
              <a:gd name="connsiteY32" fmla="*/ -456 h 39165"/>
              <a:gd name="connsiteX33" fmla="*/ 24669 w 26411"/>
              <a:gd name="connsiteY33" fmla="*/ -745 h 39165"/>
              <a:gd name="connsiteX34" fmla="*/ 16087 w 26411"/>
              <a:gd name="connsiteY34" fmla="*/ -559 h 39165"/>
              <a:gd name="connsiteX35" fmla="*/ 11916 w 26411"/>
              <a:gd name="connsiteY35" fmla="*/ -456 h 39165"/>
              <a:gd name="connsiteX36" fmla="*/ -1624 w 26411"/>
              <a:gd name="connsiteY36" fmla="*/ -745 h 39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6411" h="39165">
                <a:moveTo>
                  <a:pt x="-1624" y="-745"/>
                </a:moveTo>
                <a:lnTo>
                  <a:pt x="-1624" y="2237"/>
                </a:lnTo>
                <a:lnTo>
                  <a:pt x="3739" y="7557"/>
                </a:lnTo>
                <a:cubicBezTo>
                  <a:pt x="6505" y="10343"/>
                  <a:pt x="8602" y="12562"/>
                  <a:pt x="9937" y="14136"/>
                </a:cubicBezTo>
                <a:lnTo>
                  <a:pt x="13084" y="18480"/>
                </a:lnTo>
                <a:lnTo>
                  <a:pt x="14681" y="22103"/>
                </a:lnTo>
                <a:lnTo>
                  <a:pt x="15110" y="25403"/>
                </a:lnTo>
                <a:cubicBezTo>
                  <a:pt x="15110" y="27593"/>
                  <a:pt x="14562" y="29289"/>
                  <a:pt x="13441" y="30453"/>
                </a:cubicBezTo>
                <a:lnTo>
                  <a:pt x="8793" y="32177"/>
                </a:lnTo>
                <a:lnTo>
                  <a:pt x="5670" y="31505"/>
                </a:lnTo>
                <a:lnTo>
                  <a:pt x="3144" y="29520"/>
                </a:lnTo>
                <a:lnTo>
                  <a:pt x="1976" y="24918"/>
                </a:lnTo>
                <a:lnTo>
                  <a:pt x="-241" y="24918"/>
                </a:lnTo>
                <a:lnTo>
                  <a:pt x="498" y="31581"/>
                </a:lnTo>
                <a:lnTo>
                  <a:pt x="855" y="34778"/>
                </a:lnTo>
                <a:lnTo>
                  <a:pt x="5218" y="37516"/>
                </a:lnTo>
                <a:lnTo>
                  <a:pt x="10700" y="38420"/>
                </a:lnTo>
                <a:cubicBezTo>
                  <a:pt x="13584" y="38420"/>
                  <a:pt x="15897" y="37946"/>
                  <a:pt x="17661" y="37013"/>
                </a:cubicBezTo>
                <a:lnTo>
                  <a:pt x="21617" y="33098"/>
                </a:lnTo>
                <a:lnTo>
                  <a:pt x="22905" y="27974"/>
                </a:lnTo>
                <a:lnTo>
                  <a:pt x="22404" y="24611"/>
                </a:lnTo>
                <a:lnTo>
                  <a:pt x="20712" y="21004"/>
                </a:lnTo>
                <a:lnTo>
                  <a:pt x="18090" y="17547"/>
                </a:lnTo>
                <a:lnTo>
                  <a:pt x="14824" y="14229"/>
                </a:lnTo>
                <a:lnTo>
                  <a:pt x="11797" y="11228"/>
                </a:lnTo>
                <a:lnTo>
                  <a:pt x="6600" y="6338"/>
                </a:lnTo>
                <a:lnTo>
                  <a:pt x="6719" y="5956"/>
                </a:lnTo>
                <a:lnTo>
                  <a:pt x="11797" y="5956"/>
                </a:lnTo>
                <a:cubicBezTo>
                  <a:pt x="12536" y="5956"/>
                  <a:pt x="15110" y="6001"/>
                  <a:pt x="19448" y="6094"/>
                </a:cubicBezTo>
                <a:lnTo>
                  <a:pt x="24574" y="6338"/>
                </a:lnTo>
                <a:lnTo>
                  <a:pt x="24788" y="5956"/>
                </a:lnTo>
                <a:lnTo>
                  <a:pt x="24526" y="1977"/>
                </a:lnTo>
                <a:lnTo>
                  <a:pt x="24788" y="-456"/>
                </a:lnTo>
                <a:lnTo>
                  <a:pt x="24669" y="-745"/>
                </a:lnTo>
                <a:lnTo>
                  <a:pt x="16087" y="-559"/>
                </a:lnTo>
                <a:lnTo>
                  <a:pt x="11916" y="-456"/>
                </a:lnTo>
                <a:lnTo>
                  <a:pt x="-1624" y="-745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72" name="Vrije vorm 2073">
            <a:extLst>
              <a:ext uri="{FF2B5EF4-FFF2-40B4-BE49-F238E27FC236}">
                <a16:creationId xmlns:a16="http://schemas.microsoft.com/office/drawing/2014/main" id="{25BD8E92-5B95-4C0A-A985-135A0CC8F951}"/>
              </a:ext>
            </a:extLst>
          </p:cNvPr>
          <p:cNvSpPr/>
          <p:nvPr/>
        </p:nvSpPr>
        <p:spPr>
          <a:xfrm flipV="1">
            <a:off x="1457329" y="1035688"/>
            <a:ext cx="68519" cy="106312"/>
          </a:xfrm>
          <a:custGeom>
            <a:avLst/>
            <a:gdLst>
              <a:gd name="connsiteX0" fmla="*/ 798 w 24957"/>
              <a:gd name="connsiteY0" fmla="*/ -730 h 39928"/>
              <a:gd name="connsiteX1" fmla="*/ 798 w 24957"/>
              <a:gd name="connsiteY1" fmla="*/ 1598 h 39928"/>
              <a:gd name="connsiteX2" fmla="*/ 6256 w 24957"/>
              <a:gd name="connsiteY2" fmla="*/ 2149 h 39928"/>
              <a:gd name="connsiteX3" fmla="*/ 7567 w 24957"/>
              <a:gd name="connsiteY3" fmla="*/ 2698 h 39928"/>
              <a:gd name="connsiteX4" fmla="*/ 8163 w 24957"/>
              <a:gd name="connsiteY4" fmla="*/ 4256 h 39928"/>
              <a:gd name="connsiteX5" fmla="*/ 8545 w 24957"/>
              <a:gd name="connsiteY5" fmla="*/ 14318 h 39928"/>
              <a:gd name="connsiteX6" fmla="*/ 8545 w 24957"/>
              <a:gd name="connsiteY6" fmla="*/ 21262 h 39928"/>
              <a:gd name="connsiteX7" fmla="*/ 8425 w 24957"/>
              <a:gd name="connsiteY7" fmla="*/ 29032 h 39928"/>
              <a:gd name="connsiteX8" fmla="*/ 8425 w 24957"/>
              <a:gd name="connsiteY8" fmla="*/ 31567 h 39928"/>
              <a:gd name="connsiteX9" fmla="*/ 8235 w 24957"/>
              <a:gd name="connsiteY9" fmla="*/ 32712 h 39928"/>
              <a:gd name="connsiteX10" fmla="*/ 7782 w 24957"/>
              <a:gd name="connsiteY10" fmla="*/ 32994 h 39928"/>
              <a:gd name="connsiteX11" fmla="*/ 6495 w 24957"/>
              <a:gd name="connsiteY11" fmla="*/ 32500 h 39928"/>
              <a:gd name="connsiteX12" fmla="*/ -728 w 24957"/>
              <a:gd name="connsiteY12" fmla="*/ 29201 h 39928"/>
              <a:gd name="connsiteX13" fmla="*/ -1038 w 24957"/>
              <a:gd name="connsiteY13" fmla="*/ 29397 h 39928"/>
              <a:gd name="connsiteX14" fmla="*/ -1348 w 24957"/>
              <a:gd name="connsiteY14" fmla="*/ 31260 h 39928"/>
              <a:gd name="connsiteX15" fmla="*/ -1658 w 24957"/>
              <a:gd name="connsiteY15" fmla="*/ 33039 h 39928"/>
              <a:gd name="connsiteX16" fmla="*/ -1634 w 24957"/>
              <a:gd name="connsiteY16" fmla="*/ 33235 h 39928"/>
              <a:gd name="connsiteX17" fmla="*/ 6614 w 24957"/>
              <a:gd name="connsiteY17" fmla="*/ 35713 h 39928"/>
              <a:gd name="connsiteX18" fmla="*/ 16125 w 24957"/>
              <a:gd name="connsiteY18" fmla="*/ 39198 h 39928"/>
              <a:gd name="connsiteX19" fmla="*/ 16816 w 24957"/>
              <a:gd name="connsiteY19" fmla="*/ 38743 h 39928"/>
              <a:gd name="connsiteX20" fmla="*/ 16625 w 24957"/>
              <a:gd name="connsiteY20" fmla="*/ 36021 h 39928"/>
              <a:gd name="connsiteX21" fmla="*/ 16458 w 24957"/>
              <a:gd name="connsiteY21" fmla="*/ 33142 h 39928"/>
              <a:gd name="connsiteX22" fmla="*/ 16196 w 24957"/>
              <a:gd name="connsiteY22" fmla="*/ 20236 h 39928"/>
              <a:gd name="connsiteX23" fmla="*/ 16196 w 24957"/>
              <a:gd name="connsiteY23" fmla="*/ 15940 h 39928"/>
              <a:gd name="connsiteX24" fmla="*/ 16292 w 24957"/>
              <a:gd name="connsiteY24" fmla="*/ 7238 h 39928"/>
              <a:gd name="connsiteX25" fmla="*/ 16625 w 24957"/>
              <a:gd name="connsiteY25" fmla="*/ 2867 h 39928"/>
              <a:gd name="connsiteX26" fmla="*/ 17221 w 24957"/>
              <a:gd name="connsiteY26" fmla="*/ 2297 h 39928"/>
              <a:gd name="connsiteX27" fmla="*/ 21393 w 24957"/>
              <a:gd name="connsiteY27" fmla="*/ 1749 h 39928"/>
              <a:gd name="connsiteX28" fmla="*/ 23300 w 24957"/>
              <a:gd name="connsiteY28" fmla="*/ 1598 h 39928"/>
              <a:gd name="connsiteX29" fmla="*/ 23300 w 24957"/>
              <a:gd name="connsiteY29" fmla="*/ -730 h 39928"/>
              <a:gd name="connsiteX30" fmla="*/ 13098 w 24957"/>
              <a:gd name="connsiteY30" fmla="*/ -451 h 39928"/>
              <a:gd name="connsiteX31" fmla="*/ 798 w 24957"/>
              <a:gd name="connsiteY31" fmla="*/ -730 h 39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57" h="39928">
                <a:moveTo>
                  <a:pt x="798" y="-730"/>
                </a:moveTo>
                <a:lnTo>
                  <a:pt x="798" y="1598"/>
                </a:lnTo>
                <a:lnTo>
                  <a:pt x="6256" y="2149"/>
                </a:lnTo>
                <a:lnTo>
                  <a:pt x="7567" y="2698"/>
                </a:lnTo>
                <a:lnTo>
                  <a:pt x="8163" y="4256"/>
                </a:lnTo>
                <a:cubicBezTo>
                  <a:pt x="8425" y="5756"/>
                  <a:pt x="8545" y="9120"/>
                  <a:pt x="8545" y="14318"/>
                </a:cubicBezTo>
                <a:lnTo>
                  <a:pt x="8545" y="21262"/>
                </a:lnTo>
                <a:cubicBezTo>
                  <a:pt x="8545" y="23693"/>
                  <a:pt x="8497" y="26245"/>
                  <a:pt x="8425" y="29032"/>
                </a:cubicBezTo>
                <a:lnTo>
                  <a:pt x="8425" y="31567"/>
                </a:lnTo>
                <a:lnTo>
                  <a:pt x="8235" y="32712"/>
                </a:lnTo>
                <a:lnTo>
                  <a:pt x="7782" y="32994"/>
                </a:lnTo>
                <a:lnTo>
                  <a:pt x="6495" y="32500"/>
                </a:lnTo>
                <a:cubicBezTo>
                  <a:pt x="2728" y="30849"/>
                  <a:pt x="344" y="29704"/>
                  <a:pt x="-728" y="29201"/>
                </a:cubicBezTo>
                <a:lnTo>
                  <a:pt x="-1038" y="29397"/>
                </a:lnTo>
                <a:lnTo>
                  <a:pt x="-1348" y="31260"/>
                </a:lnTo>
                <a:lnTo>
                  <a:pt x="-1658" y="33039"/>
                </a:lnTo>
                <a:lnTo>
                  <a:pt x="-1634" y="33235"/>
                </a:lnTo>
                <a:cubicBezTo>
                  <a:pt x="1846" y="34187"/>
                  <a:pt x="4564" y="35052"/>
                  <a:pt x="6614" y="35713"/>
                </a:cubicBezTo>
                <a:cubicBezTo>
                  <a:pt x="8664" y="36403"/>
                  <a:pt x="11810" y="37550"/>
                  <a:pt x="16125" y="39198"/>
                </a:cubicBezTo>
                <a:lnTo>
                  <a:pt x="16816" y="38743"/>
                </a:lnTo>
                <a:lnTo>
                  <a:pt x="16625" y="36021"/>
                </a:lnTo>
                <a:lnTo>
                  <a:pt x="16458" y="33142"/>
                </a:lnTo>
                <a:cubicBezTo>
                  <a:pt x="16411" y="31474"/>
                  <a:pt x="16292" y="27149"/>
                  <a:pt x="16196" y="20236"/>
                </a:cubicBezTo>
                <a:lnTo>
                  <a:pt x="16196" y="15940"/>
                </a:lnTo>
                <a:cubicBezTo>
                  <a:pt x="16196" y="11737"/>
                  <a:pt x="16220" y="8857"/>
                  <a:pt x="16292" y="7238"/>
                </a:cubicBezTo>
                <a:cubicBezTo>
                  <a:pt x="16316" y="4731"/>
                  <a:pt x="16458" y="3294"/>
                  <a:pt x="16625" y="2867"/>
                </a:cubicBezTo>
                <a:lnTo>
                  <a:pt x="17221" y="2297"/>
                </a:lnTo>
                <a:cubicBezTo>
                  <a:pt x="17698" y="2028"/>
                  <a:pt x="19104" y="1870"/>
                  <a:pt x="21393" y="1749"/>
                </a:cubicBezTo>
                <a:lnTo>
                  <a:pt x="23300" y="1598"/>
                </a:lnTo>
                <a:lnTo>
                  <a:pt x="23300" y="-730"/>
                </a:lnTo>
                <a:cubicBezTo>
                  <a:pt x="19104" y="-572"/>
                  <a:pt x="15672" y="-451"/>
                  <a:pt x="13098" y="-451"/>
                </a:cubicBezTo>
                <a:cubicBezTo>
                  <a:pt x="11333" y="-451"/>
                  <a:pt x="7233" y="-572"/>
                  <a:pt x="798" y="-730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73" name="Vrije vorm 2074">
            <a:extLst>
              <a:ext uri="{FF2B5EF4-FFF2-40B4-BE49-F238E27FC236}">
                <a16:creationId xmlns:a16="http://schemas.microsoft.com/office/drawing/2014/main" id="{EAB22D47-170F-4D0A-AFB6-6E8754872B0C}"/>
              </a:ext>
            </a:extLst>
          </p:cNvPr>
          <p:cNvSpPr/>
          <p:nvPr/>
        </p:nvSpPr>
        <p:spPr>
          <a:xfrm flipV="1">
            <a:off x="1643715" y="1229657"/>
            <a:ext cx="72643" cy="104355"/>
          </a:xfrm>
          <a:custGeom>
            <a:avLst/>
            <a:gdLst>
              <a:gd name="connsiteX0" fmla="*/ -1683 w 26459"/>
              <a:gd name="connsiteY0" fmla="*/ -695 h 39193"/>
              <a:gd name="connsiteX1" fmla="*/ -1683 w 26459"/>
              <a:gd name="connsiteY1" fmla="*/ 2286 h 39193"/>
              <a:gd name="connsiteX2" fmla="*/ 3704 w 26459"/>
              <a:gd name="connsiteY2" fmla="*/ 7628 h 39193"/>
              <a:gd name="connsiteX3" fmla="*/ 9902 w 26459"/>
              <a:gd name="connsiteY3" fmla="*/ 14188 h 39193"/>
              <a:gd name="connsiteX4" fmla="*/ 13097 w 26459"/>
              <a:gd name="connsiteY4" fmla="*/ 18558 h 39193"/>
              <a:gd name="connsiteX5" fmla="*/ 14646 w 26459"/>
              <a:gd name="connsiteY5" fmla="*/ 22181 h 39193"/>
              <a:gd name="connsiteX6" fmla="*/ 15099 w 26459"/>
              <a:gd name="connsiteY6" fmla="*/ 25442 h 39193"/>
              <a:gd name="connsiteX7" fmla="*/ 13383 w 26459"/>
              <a:gd name="connsiteY7" fmla="*/ 30504 h 39193"/>
              <a:gd name="connsiteX8" fmla="*/ 8758 w 26459"/>
              <a:gd name="connsiteY8" fmla="*/ 32217 h 39193"/>
              <a:gd name="connsiteX9" fmla="*/ 5612 w 26459"/>
              <a:gd name="connsiteY9" fmla="*/ 31602 h 39193"/>
              <a:gd name="connsiteX10" fmla="*/ 3109 w 26459"/>
              <a:gd name="connsiteY10" fmla="*/ 29617 h 39193"/>
              <a:gd name="connsiteX11" fmla="*/ 1917 w 26459"/>
              <a:gd name="connsiteY11" fmla="*/ 25042 h 39193"/>
              <a:gd name="connsiteX12" fmla="*/ -300 w 26459"/>
              <a:gd name="connsiteY12" fmla="*/ 25042 h 39193"/>
              <a:gd name="connsiteX13" fmla="*/ 463 w 26459"/>
              <a:gd name="connsiteY13" fmla="*/ 31602 h 39193"/>
              <a:gd name="connsiteX14" fmla="*/ 820 w 26459"/>
              <a:gd name="connsiteY14" fmla="*/ 34846 h 39193"/>
              <a:gd name="connsiteX15" fmla="*/ 5159 w 26459"/>
              <a:gd name="connsiteY15" fmla="*/ 37585 h 39193"/>
              <a:gd name="connsiteX16" fmla="*/ 10689 w 26459"/>
              <a:gd name="connsiteY16" fmla="*/ 38498 h 39193"/>
              <a:gd name="connsiteX17" fmla="*/ 17649 w 26459"/>
              <a:gd name="connsiteY17" fmla="*/ 37091 h 39193"/>
              <a:gd name="connsiteX18" fmla="*/ 21582 w 26459"/>
              <a:gd name="connsiteY18" fmla="*/ 33150 h 39193"/>
              <a:gd name="connsiteX19" fmla="*/ 22894 w 26459"/>
              <a:gd name="connsiteY19" fmla="*/ 28043 h 39193"/>
              <a:gd name="connsiteX20" fmla="*/ 22417 w 26459"/>
              <a:gd name="connsiteY20" fmla="*/ 24679 h 39193"/>
              <a:gd name="connsiteX21" fmla="*/ 20677 w 26459"/>
              <a:gd name="connsiteY21" fmla="*/ 21082 h 39193"/>
              <a:gd name="connsiteX22" fmla="*/ 18055 w 26459"/>
              <a:gd name="connsiteY22" fmla="*/ 17597 h 39193"/>
              <a:gd name="connsiteX23" fmla="*/ 14741 w 26459"/>
              <a:gd name="connsiteY23" fmla="*/ 14281 h 39193"/>
              <a:gd name="connsiteX24" fmla="*/ 11762 w 26459"/>
              <a:gd name="connsiteY24" fmla="*/ 11325 h 39193"/>
              <a:gd name="connsiteX25" fmla="*/ 6541 w 26459"/>
              <a:gd name="connsiteY25" fmla="*/ 6416 h 39193"/>
              <a:gd name="connsiteX26" fmla="*/ 6660 w 26459"/>
              <a:gd name="connsiteY26" fmla="*/ 6053 h 39193"/>
              <a:gd name="connsiteX27" fmla="*/ 11762 w 26459"/>
              <a:gd name="connsiteY27" fmla="*/ 6053 h 39193"/>
              <a:gd name="connsiteX28" fmla="*/ 19437 w 26459"/>
              <a:gd name="connsiteY28" fmla="*/ 6192 h 39193"/>
              <a:gd name="connsiteX29" fmla="*/ 24562 w 26459"/>
              <a:gd name="connsiteY29" fmla="*/ 6416 h 39193"/>
              <a:gd name="connsiteX30" fmla="*/ 24777 w 26459"/>
              <a:gd name="connsiteY30" fmla="*/ 6053 h 39193"/>
              <a:gd name="connsiteX31" fmla="*/ 24491 w 26459"/>
              <a:gd name="connsiteY31" fmla="*/ 2026 h 39193"/>
              <a:gd name="connsiteX32" fmla="*/ 24777 w 26459"/>
              <a:gd name="connsiteY32" fmla="*/ -388 h 39193"/>
              <a:gd name="connsiteX33" fmla="*/ 24634 w 26459"/>
              <a:gd name="connsiteY33" fmla="*/ -695 h 39193"/>
              <a:gd name="connsiteX34" fmla="*/ 16005 w 26459"/>
              <a:gd name="connsiteY34" fmla="*/ -462 h 39193"/>
              <a:gd name="connsiteX35" fmla="*/ 11881 w 26459"/>
              <a:gd name="connsiteY35" fmla="*/ -388 h 39193"/>
              <a:gd name="connsiteX36" fmla="*/ -1683 w 26459"/>
              <a:gd name="connsiteY36" fmla="*/ -695 h 39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6459" h="39193">
                <a:moveTo>
                  <a:pt x="-1683" y="-695"/>
                </a:moveTo>
                <a:lnTo>
                  <a:pt x="-1683" y="2286"/>
                </a:lnTo>
                <a:lnTo>
                  <a:pt x="3704" y="7628"/>
                </a:lnTo>
                <a:cubicBezTo>
                  <a:pt x="6494" y="10423"/>
                  <a:pt x="8544" y="12640"/>
                  <a:pt x="9902" y="14188"/>
                </a:cubicBezTo>
                <a:lnTo>
                  <a:pt x="13097" y="18558"/>
                </a:lnTo>
                <a:lnTo>
                  <a:pt x="14646" y="22181"/>
                </a:lnTo>
                <a:lnTo>
                  <a:pt x="15099" y="25442"/>
                </a:lnTo>
                <a:cubicBezTo>
                  <a:pt x="15099" y="27690"/>
                  <a:pt x="14527" y="29357"/>
                  <a:pt x="13383" y="30504"/>
                </a:cubicBezTo>
                <a:lnTo>
                  <a:pt x="8758" y="32217"/>
                </a:lnTo>
                <a:lnTo>
                  <a:pt x="5612" y="31602"/>
                </a:lnTo>
                <a:lnTo>
                  <a:pt x="3109" y="29617"/>
                </a:lnTo>
                <a:lnTo>
                  <a:pt x="1917" y="25042"/>
                </a:lnTo>
                <a:lnTo>
                  <a:pt x="-300" y="25042"/>
                </a:lnTo>
                <a:lnTo>
                  <a:pt x="463" y="31602"/>
                </a:lnTo>
                <a:lnTo>
                  <a:pt x="820" y="34846"/>
                </a:lnTo>
                <a:lnTo>
                  <a:pt x="5159" y="37585"/>
                </a:lnTo>
                <a:lnTo>
                  <a:pt x="10689" y="38498"/>
                </a:lnTo>
                <a:cubicBezTo>
                  <a:pt x="13549" y="38498"/>
                  <a:pt x="15861" y="38069"/>
                  <a:pt x="17649" y="37091"/>
                </a:cubicBezTo>
                <a:lnTo>
                  <a:pt x="21582" y="33150"/>
                </a:lnTo>
                <a:lnTo>
                  <a:pt x="22894" y="28043"/>
                </a:lnTo>
                <a:lnTo>
                  <a:pt x="22417" y="24679"/>
                </a:lnTo>
                <a:lnTo>
                  <a:pt x="20677" y="21082"/>
                </a:lnTo>
                <a:lnTo>
                  <a:pt x="18055" y="17597"/>
                </a:lnTo>
                <a:lnTo>
                  <a:pt x="14741" y="14281"/>
                </a:lnTo>
                <a:lnTo>
                  <a:pt x="11762" y="11325"/>
                </a:lnTo>
                <a:lnTo>
                  <a:pt x="6541" y="6416"/>
                </a:lnTo>
                <a:lnTo>
                  <a:pt x="6660" y="6053"/>
                </a:lnTo>
                <a:lnTo>
                  <a:pt x="11762" y="6053"/>
                </a:lnTo>
                <a:cubicBezTo>
                  <a:pt x="12548" y="6053"/>
                  <a:pt x="15099" y="6079"/>
                  <a:pt x="19437" y="6192"/>
                </a:cubicBezTo>
                <a:lnTo>
                  <a:pt x="24562" y="6416"/>
                </a:lnTo>
                <a:lnTo>
                  <a:pt x="24777" y="6053"/>
                </a:lnTo>
                <a:lnTo>
                  <a:pt x="24491" y="2026"/>
                </a:lnTo>
                <a:lnTo>
                  <a:pt x="24777" y="-388"/>
                </a:lnTo>
                <a:lnTo>
                  <a:pt x="24634" y="-695"/>
                </a:lnTo>
                <a:lnTo>
                  <a:pt x="16005" y="-462"/>
                </a:lnTo>
                <a:lnTo>
                  <a:pt x="11881" y="-388"/>
                </a:lnTo>
                <a:lnTo>
                  <a:pt x="-1683" y="-695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74" name="Vrije vorm 2075">
            <a:extLst>
              <a:ext uri="{FF2B5EF4-FFF2-40B4-BE49-F238E27FC236}">
                <a16:creationId xmlns:a16="http://schemas.microsoft.com/office/drawing/2014/main" id="{C3B9E5B4-3913-40DD-823F-1637AAAA9F4F}"/>
              </a:ext>
            </a:extLst>
          </p:cNvPr>
          <p:cNvSpPr/>
          <p:nvPr/>
        </p:nvSpPr>
        <p:spPr>
          <a:xfrm flipV="1">
            <a:off x="1708505" y="1490593"/>
            <a:ext cx="70614" cy="107081"/>
          </a:xfrm>
          <a:custGeom>
            <a:avLst/>
            <a:gdLst>
              <a:gd name="connsiteX0" fmla="*/ -213 w 25720"/>
              <a:gd name="connsiteY0" fmla="*/ 878 h 40217"/>
              <a:gd name="connsiteX1" fmla="*/ -905 w 25720"/>
              <a:gd name="connsiteY1" fmla="*/ 5222 h 40217"/>
              <a:gd name="connsiteX2" fmla="*/ -1691 w 25720"/>
              <a:gd name="connsiteY2" fmla="*/ 9628 h 40217"/>
              <a:gd name="connsiteX3" fmla="*/ 263 w 25720"/>
              <a:gd name="connsiteY3" fmla="*/ 10224 h 40217"/>
              <a:gd name="connsiteX4" fmla="*/ 2695 w 25720"/>
              <a:gd name="connsiteY4" fmla="*/ 5957 h 40217"/>
              <a:gd name="connsiteX5" fmla="*/ 5794 w 25720"/>
              <a:gd name="connsiteY5" fmla="*/ 3526 h 40217"/>
              <a:gd name="connsiteX6" fmla="*/ 9560 w 25720"/>
              <a:gd name="connsiteY6" fmla="*/ 2760 h 40217"/>
              <a:gd name="connsiteX7" fmla="*/ 14780 w 25720"/>
              <a:gd name="connsiteY7" fmla="*/ 4812 h 40217"/>
              <a:gd name="connsiteX8" fmla="*/ 16783 w 25720"/>
              <a:gd name="connsiteY8" fmla="*/ 10468 h 40217"/>
              <a:gd name="connsiteX9" fmla="*/ 14590 w 25720"/>
              <a:gd name="connsiteY9" fmla="*/ 16050 h 40217"/>
              <a:gd name="connsiteX10" fmla="*/ 9036 w 25720"/>
              <a:gd name="connsiteY10" fmla="*/ 17932 h 40217"/>
              <a:gd name="connsiteX11" fmla="*/ 5651 w 25720"/>
              <a:gd name="connsiteY11" fmla="*/ 17457 h 40217"/>
              <a:gd name="connsiteX12" fmla="*/ 5269 w 25720"/>
              <a:gd name="connsiteY12" fmla="*/ 17820 h 40217"/>
              <a:gd name="connsiteX13" fmla="*/ 5365 w 25720"/>
              <a:gd name="connsiteY13" fmla="*/ 18173 h 40217"/>
              <a:gd name="connsiteX14" fmla="*/ 5865 w 25720"/>
              <a:gd name="connsiteY14" fmla="*/ 19888 h 40217"/>
              <a:gd name="connsiteX15" fmla="*/ 6366 w 25720"/>
              <a:gd name="connsiteY15" fmla="*/ 22152 h 40217"/>
              <a:gd name="connsiteX16" fmla="*/ 6676 w 25720"/>
              <a:gd name="connsiteY16" fmla="*/ 22209 h 40217"/>
              <a:gd name="connsiteX17" fmla="*/ 8773 w 25720"/>
              <a:gd name="connsiteY17" fmla="*/ 22152 h 40217"/>
              <a:gd name="connsiteX18" fmla="*/ 11872 w 25720"/>
              <a:gd name="connsiteY18" fmla="*/ 22972 h 40217"/>
              <a:gd name="connsiteX19" fmla="*/ 14208 w 25720"/>
              <a:gd name="connsiteY19" fmla="*/ 25255 h 40217"/>
              <a:gd name="connsiteX20" fmla="*/ 15090 w 25720"/>
              <a:gd name="connsiteY20" fmla="*/ 28330 h 40217"/>
              <a:gd name="connsiteX21" fmla="*/ 13469 w 25720"/>
              <a:gd name="connsiteY21" fmla="*/ 32104 h 40217"/>
              <a:gd name="connsiteX22" fmla="*/ 9179 w 25720"/>
              <a:gd name="connsiteY22" fmla="*/ 33652 h 40217"/>
              <a:gd name="connsiteX23" fmla="*/ 6080 w 25720"/>
              <a:gd name="connsiteY23" fmla="*/ 33130 h 40217"/>
              <a:gd name="connsiteX24" fmla="*/ 4030 w 25720"/>
              <a:gd name="connsiteY24" fmla="*/ 31770 h 40217"/>
              <a:gd name="connsiteX25" fmla="*/ 2647 w 25720"/>
              <a:gd name="connsiteY25" fmla="*/ 28936 h 40217"/>
              <a:gd name="connsiteX26" fmla="*/ 2194 w 25720"/>
              <a:gd name="connsiteY26" fmla="*/ 27689 h 40217"/>
              <a:gd name="connsiteX27" fmla="*/ 73 w 25720"/>
              <a:gd name="connsiteY27" fmla="*/ 27856 h 40217"/>
              <a:gd name="connsiteX28" fmla="*/ 1360 w 25720"/>
              <a:gd name="connsiteY28" fmla="*/ 33726 h 40217"/>
              <a:gd name="connsiteX29" fmla="*/ 1837 w 25720"/>
              <a:gd name="connsiteY29" fmla="*/ 36737 h 40217"/>
              <a:gd name="connsiteX30" fmla="*/ 6056 w 25720"/>
              <a:gd name="connsiteY30" fmla="*/ 38850 h 40217"/>
              <a:gd name="connsiteX31" fmla="*/ 11253 w 25720"/>
              <a:gd name="connsiteY31" fmla="*/ 39568 h 40217"/>
              <a:gd name="connsiteX32" fmla="*/ 19000 w 25720"/>
              <a:gd name="connsiteY32" fmla="*/ 37138 h 40217"/>
              <a:gd name="connsiteX33" fmla="*/ 21717 w 25720"/>
              <a:gd name="connsiteY33" fmla="*/ 31219 h 40217"/>
              <a:gd name="connsiteX34" fmla="*/ 20120 w 25720"/>
              <a:gd name="connsiteY34" fmla="*/ 26429 h 40217"/>
              <a:gd name="connsiteX35" fmla="*/ 15257 w 25720"/>
              <a:gd name="connsiteY35" fmla="*/ 22610 h 40217"/>
              <a:gd name="connsiteX36" fmla="*/ 17021 w 25720"/>
              <a:gd name="connsiteY36" fmla="*/ 22367 h 40217"/>
              <a:gd name="connsiteX37" fmla="*/ 19810 w 25720"/>
              <a:gd name="connsiteY37" fmla="*/ 21296 h 40217"/>
              <a:gd name="connsiteX38" fmla="*/ 22122 w 25720"/>
              <a:gd name="connsiteY38" fmla="*/ 19487 h 40217"/>
              <a:gd name="connsiteX39" fmla="*/ 23576 w 25720"/>
              <a:gd name="connsiteY39" fmla="*/ 17009 h 40217"/>
              <a:gd name="connsiteX40" fmla="*/ 24029 w 25720"/>
              <a:gd name="connsiteY40" fmla="*/ 13710 h 40217"/>
              <a:gd name="connsiteX41" fmla="*/ 19548 w 25720"/>
              <a:gd name="connsiteY41" fmla="*/ 4103 h 40217"/>
              <a:gd name="connsiteX42" fmla="*/ 6890 w 25720"/>
              <a:gd name="connsiteY42" fmla="*/ -649 h 40217"/>
              <a:gd name="connsiteX43" fmla="*/ 3243 w 25720"/>
              <a:gd name="connsiteY43" fmla="*/ -341 h 40217"/>
              <a:gd name="connsiteX44" fmla="*/ -213 w 25720"/>
              <a:gd name="connsiteY44" fmla="*/ 878 h 40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25720" h="40217">
                <a:moveTo>
                  <a:pt x="-213" y="878"/>
                </a:moveTo>
                <a:lnTo>
                  <a:pt x="-905" y="5222"/>
                </a:lnTo>
                <a:cubicBezTo>
                  <a:pt x="-1262" y="7393"/>
                  <a:pt x="-1548" y="8874"/>
                  <a:pt x="-1691" y="9628"/>
                </a:cubicBezTo>
                <a:lnTo>
                  <a:pt x="263" y="10224"/>
                </a:lnTo>
                <a:lnTo>
                  <a:pt x="2695" y="5957"/>
                </a:lnTo>
                <a:lnTo>
                  <a:pt x="5794" y="3526"/>
                </a:lnTo>
                <a:lnTo>
                  <a:pt x="9560" y="2760"/>
                </a:lnTo>
                <a:lnTo>
                  <a:pt x="14780" y="4812"/>
                </a:lnTo>
                <a:cubicBezTo>
                  <a:pt x="16115" y="6200"/>
                  <a:pt x="16783" y="8082"/>
                  <a:pt x="16783" y="10468"/>
                </a:cubicBezTo>
                <a:cubicBezTo>
                  <a:pt x="16783" y="12946"/>
                  <a:pt x="16020" y="14857"/>
                  <a:pt x="14590" y="16050"/>
                </a:cubicBezTo>
                <a:cubicBezTo>
                  <a:pt x="13136" y="17317"/>
                  <a:pt x="11276" y="17932"/>
                  <a:pt x="9036" y="17932"/>
                </a:cubicBezTo>
                <a:lnTo>
                  <a:pt x="5651" y="17457"/>
                </a:lnTo>
                <a:lnTo>
                  <a:pt x="5269" y="17820"/>
                </a:lnTo>
                <a:lnTo>
                  <a:pt x="5365" y="18173"/>
                </a:lnTo>
                <a:lnTo>
                  <a:pt x="5865" y="19888"/>
                </a:lnTo>
                <a:lnTo>
                  <a:pt x="6366" y="22152"/>
                </a:lnTo>
                <a:lnTo>
                  <a:pt x="6676" y="22209"/>
                </a:lnTo>
                <a:lnTo>
                  <a:pt x="8773" y="22152"/>
                </a:lnTo>
                <a:lnTo>
                  <a:pt x="11872" y="22972"/>
                </a:lnTo>
                <a:lnTo>
                  <a:pt x="14208" y="25255"/>
                </a:lnTo>
                <a:lnTo>
                  <a:pt x="15090" y="28330"/>
                </a:lnTo>
                <a:lnTo>
                  <a:pt x="13469" y="32104"/>
                </a:lnTo>
                <a:lnTo>
                  <a:pt x="9179" y="33652"/>
                </a:lnTo>
                <a:lnTo>
                  <a:pt x="6080" y="33130"/>
                </a:lnTo>
                <a:lnTo>
                  <a:pt x="4030" y="31770"/>
                </a:lnTo>
                <a:lnTo>
                  <a:pt x="2647" y="28936"/>
                </a:lnTo>
                <a:lnTo>
                  <a:pt x="2194" y="27689"/>
                </a:lnTo>
                <a:lnTo>
                  <a:pt x="73" y="27856"/>
                </a:lnTo>
                <a:lnTo>
                  <a:pt x="1360" y="33726"/>
                </a:lnTo>
                <a:lnTo>
                  <a:pt x="1837" y="36737"/>
                </a:lnTo>
                <a:lnTo>
                  <a:pt x="6056" y="38850"/>
                </a:lnTo>
                <a:lnTo>
                  <a:pt x="11253" y="39568"/>
                </a:lnTo>
                <a:cubicBezTo>
                  <a:pt x="14637" y="39568"/>
                  <a:pt x="17235" y="38786"/>
                  <a:pt x="19000" y="37138"/>
                </a:cubicBezTo>
                <a:cubicBezTo>
                  <a:pt x="20787" y="35561"/>
                  <a:pt x="21717" y="33586"/>
                  <a:pt x="21717" y="31219"/>
                </a:cubicBezTo>
                <a:lnTo>
                  <a:pt x="20120" y="26429"/>
                </a:lnTo>
                <a:cubicBezTo>
                  <a:pt x="19047" y="25022"/>
                  <a:pt x="17426" y="23755"/>
                  <a:pt x="15257" y="22610"/>
                </a:cubicBezTo>
                <a:lnTo>
                  <a:pt x="17021" y="22367"/>
                </a:lnTo>
                <a:lnTo>
                  <a:pt x="19810" y="21296"/>
                </a:lnTo>
                <a:lnTo>
                  <a:pt x="22122" y="19487"/>
                </a:lnTo>
                <a:lnTo>
                  <a:pt x="23576" y="17009"/>
                </a:lnTo>
                <a:lnTo>
                  <a:pt x="24029" y="13710"/>
                </a:lnTo>
                <a:cubicBezTo>
                  <a:pt x="24029" y="9945"/>
                  <a:pt x="22528" y="6768"/>
                  <a:pt x="19548" y="4103"/>
                </a:cubicBezTo>
                <a:cubicBezTo>
                  <a:pt x="15996" y="926"/>
                  <a:pt x="11753" y="-649"/>
                  <a:pt x="6890" y="-649"/>
                </a:cubicBezTo>
                <a:lnTo>
                  <a:pt x="3243" y="-341"/>
                </a:lnTo>
                <a:lnTo>
                  <a:pt x="-213" y="878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75" name="Vrije vorm 2076">
            <a:extLst>
              <a:ext uri="{FF2B5EF4-FFF2-40B4-BE49-F238E27FC236}">
                <a16:creationId xmlns:a16="http://schemas.microsoft.com/office/drawing/2014/main" id="{24ABEDC7-40AB-497E-AD6F-0E60C08E04C2}"/>
              </a:ext>
            </a:extLst>
          </p:cNvPr>
          <p:cNvSpPr/>
          <p:nvPr/>
        </p:nvSpPr>
        <p:spPr>
          <a:xfrm flipV="1">
            <a:off x="1650128" y="1720265"/>
            <a:ext cx="74869" cy="105944"/>
          </a:xfrm>
          <a:custGeom>
            <a:avLst/>
            <a:gdLst>
              <a:gd name="connsiteX0" fmla="*/ 2559 w 27270"/>
              <a:gd name="connsiteY0" fmla="*/ 14180 h 39790"/>
              <a:gd name="connsiteX1" fmla="*/ 12929 w 27270"/>
              <a:gd name="connsiteY1" fmla="*/ 14180 h 39790"/>
              <a:gd name="connsiteX2" fmla="*/ 13096 w 27270"/>
              <a:gd name="connsiteY2" fmla="*/ 24729 h 39790"/>
              <a:gd name="connsiteX3" fmla="*/ 13119 w 27270"/>
              <a:gd name="connsiteY3" fmla="*/ 28493 h 39790"/>
              <a:gd name="connsiteX4" fmla="*/ 13238 w 27270"/>
              <a:gd name="connsiteY4" fmla="*/ 33937 h 39790"/>
              <a:gd name="connsiteX5" fmla="*/ 7422 w 27270"/>
              <a:gd name="connsiteY5" fmla="*/ 24151 h 39790"/>
              <a:gd name="connsiteX6" fmla="*/ 2559 w 27270"/>
              <a:gd name="connsiteY6" fmla="*/ 14180 h 39790"/>
              <a:gd name="connsiteX7" fmla="*/ 5968 w 27270"/>
              <a:gd name="connsiteY7" fmla="*/ -608 h 39790"/>
              <a:gd name="connsiteX8" fmla="*/ 5968 w 27270"/>
              <a:gd name="connsiteY8" fmla="*/ 1759 h 39790"/>
              <a:gd name="connsiteX9" fmla="*/ 11308 w 27270"/>
              <a:gd name="connsiteY9" fmla="*/ 2236 h 39790"/>
              <a:gd name="connsiteX10" fmla="*/ 12237 w 27270"/>
              <a:gd name="connsiteY10" fmla="*/ 2637 h 39790"/>
              <a:gd name="connsiteX11" fmla="*/ 12714 w 27270"/>
              <a:gd name="connsiteY11" fmla="*/ 4407 h 39790"/>
              <a:gd name="connsiteX12" fmla="*/ 12929 w 27270"/>
              <a:gd name="connsiteY12" fmla="*/ 9466 h 39790"/>
              <a:gd name="connsiteX13" fmla="*/ 9115 w 27270"/>
              <a:gd name="connsiteY13" fmla="*/ 9466 h 39790"/>
              <a:gd name="connsiteX14" fmla="*/ -1302 w 27270"/>
              <a:gd name="connsiteY14" fmla="*/ 9316 h 39790"/>
              <a:gd name="connsiteX15" fmla="*/ -1684 w 27270"/>
              <a:gd name="connsiteY15" fmla="*/ 11730 h 39790"/>
              <a:gd name="connsiteX16" fmla="*/ 1987 w 27270"/>
              <a:gd name="connsiteY16" fmla="*/ 19547 h 39790"/>
              <a:gd name="connsiteX17" fmla="*/ 8805 w 27270"/>
              <a:gd name="connsiteY17" fmla="*/ 31792 h 39790"/>
              <a:gd name="connsiteX18" fmla="*/ 12833 w 27270"/>
              <a:gd name="connsiteY18" fmla="*/ 37804 h 39790"/>
              <a:gd name="connsiteX19" fmla="*/ 16242 w 27270"/>
              <a:gd name="connsiteY19" fmla="*/ 38474 h 39790"/>
              <a:gd name="connsiteX20" fmla="*/ 20080 w 27270"/>
              <a:gd name="connsiteY20" fmla="*/ 39182 h 39790"/>
              <a:gd name="connsiteX21" fmla="*/ 20604 w 27270"/>
              <a:gd name="connsiteY21" fmla="*/ 38688 h 39790"/>
              <a:gd name="connsiteX22" fmla="*/ 20294 w 27270"/>
              <a:gd name="connsiteY22" fmla="*/ 32603 h 39790"/>
              <a:gd name="connsiteX23" fmla="*/ 20080 w 27270"/>
              <a:gd name="connsiteY23" fmla="*/ 20769 h 39790"/>
              <a:gd name="connsiteX24" fmla="*/ 20080 w 27270"/>
              <a:gd name="connsiteY24" fmla="*/ 14180 h 39790"/>
              <a:gd name="connsiteX25" fmla="*/ 21153 w 27270"/>
              <a:gd name="connsiteY25" fmla="*/ 14180 h 39790"/>
              <a:gd name="connsiteX26" fmla="*/ 25229 w 27270"/>
              <a:gd name="connsiteY26" fmla="*/ 14349 h 39790"/>
              <a:gd name="connsiteX27" fmla="*/ 25395 w 27270"/>
              <a:gd name="connsiteY27" fmla="*/ 13994 h 39790"/>
              <a:gd name="connsiteX28" fmla="*/ 25324 w 27270"/>
              <a:gd name="connsiteY28" fmla="*/ 11515 h 39790"/>
              <a:gd name="connsiteX29" fmla="*/ 25395 w 27270"/>
              <a:gd name="connsiteY29" fmla="*/ 9438 h 39790"/>
              <a:gd name="connsiteX30" fmla="*/ 23560 w 27270"/>
              <a:gd name="connsiteY30" fmla="*/ 9466 h 39790"/>
              <a:gd name="connsiteX31" fmla="*/ 20080 w 27270"/>
              <a:gd name="connsiteY31" fmla="*/ 9466 h 39790"/>
              <a:gd name="connsiteX32" fmla="*/ 20223 w 27270"/>
              <a:gd name="connsiteY32" fmla="*/ 3689 h 39790"/>
              <a:gd name="connsiteX33" fmla="*/ 20676 w 27270"/>
              <a:gd name="connsiteY33" fmla="*/ 2637 h 39790"/>
              <a:gd name="connsiteX34" fmla="*/ 21844 w 27270"/>
              <a:gd name="connsiteY34" fmla="*/ 2159 h 39790"/>
              <a:gd name="connsiteX35" fmla="*/ 25586 w 27270"/>
              <a:gd name="connsiteY35" fmla="*/ 1759 h 39790"/>
              <a:gd name="connsiteX36" fmla="*/ 25586 w 27270"/>
              <a:gd name="connsiteY36" fmla="*/ -608 h 39790"/>
              <a:gd name="connsiteX37" fmla="*/ 23322 w 27270"/>
              <a:gd name="connsiteY37" fmla="*/ -579 h 39790"/>
              <a:gd name="connsiteX38" fmla="*/ 15884 w 27270"/>
              <a:gd name="connsiteY38" fmla="*/ -412 h 39790"/>
              <a:gd name="connsiteX39" fmla="*/ 5968 w 27270"/>
              <a:gd name="connsiteY39" fmla="*/ -608 h 39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7270" h="39790">
                <a:moveTo>
                  <a:pt x="2559" y="14180"/>
                </a:moveTo>
                <a:lnTo>
                  <a:pt x="12929" y="14180"/>
                </a:lnTo>
                <a:lnTo>
                  <a:pt x="13096" y="24729"/>
                </a:lnTo>
                <a:lnTo>
                  <a:pt x="13119" y="28493"/>
                </a:lnTo>
                <a:lnTo>
                  <a:pt x="13238" y="33937"/>
                </a:lnTo>
                <a:cubicBezTo>
                  <a:pt x="10545" y="29528"/>
                  <a:pt x="8590" y="26303"/>
                  <a:pt x="7422" y="24151"/>
                </a:cubicBezTo>
                <a:cubicBezTo>
                  <a:pt x="6254" y="22009"/>
                  <a:pt x="4609" y="18739"/>
                  <a:pt x="2559" y="14180"/>
                </a:cubicBezTo>
                <a:close/>
                <a:moveTo>
                  <a:pt x="5968" y="-608"/>
                </a:moveTo>
                <a:lnTo>
                  <a:pt x="5968" y="1759"/>
                </a:lnTo>
                <a:cubicBezTo>
                  <a:pt x="9043" y="1947"/>
                  <a:pt x="10855" y="2114"/>
                  <a:pt x="11308" y="2236"/>
                </a:cubicBezTo>
                <a:lnTo>
                  <a:pt x="12237" y="2637"/>
                </a:lnTo>
                <a:lnTo>
                  <a:pt x="12714" y="4407"/>
                </a:lnTo>
                <a:cubicBezTo>
                  <a:pt x="12762" y="4741"/>
                  <a:pt x="12833" y="6410"/>
                  <a:pt x="12929" y="9466"/>
                </a:cubicBezTo>
                <a:lnTo>
                  <a:pt x="9115" y="9466"/>
                </a:lnTo>
                <a:cubicBezTo>
                  <a:pt x="5611" y="9466"/>
                  <a:pt x="2130" y="9409"/>
                  <a:pt x="-1302" y="9316"/>
                </a:cubicBezTo>
                <a:lnTo>
                  <a:pt x="-1684" y="11730"/>
                </a:lnTo>
                <a:cubicBezTo>
                  <a:pt x="-1183" y="13157"/>
                  <a:pt x="57" y="15783"/>
                  <a:pt x="1987" y="19547"/>
                </a:cubicBezTo>
                <a:cubicBezTo>
                  <a:pt x="4657" y="24748"/>
                  <a:pt x="6921" y="28829"/>
                  <a:pt x="8805" y="31792"/>
                </a:cubicBezTo>
                <a:cubicBezTo>
                  <a:pt x="10640" y="34774"/>
                  <a:pt x="11975" y="36778"/>
                  <a:pt x="12833" y="37804"/>
                </a:cubicBezTo>
                <a:lnTo>
                  <a:pt x="16242" y="38474"/>
                </a:lnTo>
                <a:cubicBezTo>
                  <a:pt x="18411" y="38922"/>
                  <a:pt x="19722" y="39182"/>
                  <a:pt x="20080" y="39182"/>
                </a:cubicBezTo>
                <a:lnTo>
                  <a:pt x="20604" y="38688"/>
                </a:lnTo>
                <a:cubicBezTo>
                  <a:pt x="20461" y="37374"/>
                  <a:pt x="20366" y="35370"/>
                  <a:pt x="20294" y="32603"/>
                </a:cubicBezTo>
                <a:cubicBezTo>
                  <a:pt x="20199" y="30814"/>
                  <a:pt x="20175" y="26854"/>
                  <a:pt x="20080" y="20769"/>
                </a:cubicBezTo>
                <a:lnTo>
                  <a:pt x="20080" y="14180"/>
                </a:lnTo>
                <a:lnTo>
                  <a:pt x="21153" y="14180"/>
                </a:lnTo>
                <a:lnTo>
                  <a:pt x="25229" y="14349"/>
                </a:lnTo>
                <a:lnTo>
                  <a:pt x="25395" y="13994"/>
                </a:lnTo>
                <a:lnTo>
                  <a:pt x="25324" y="11515"/>
                </a:lnTo>
                <a:lnTo>
                  <a:pt x="25395" y="9438"/>
                </a:lnTo>
                <a:lnTo>
                  <a:pt x="23560" y="9466"/>
                </a:lnTo>
                <a:lnTo>
                  <a:pt x="20080" y="9466"/>
                </a:lnTo>
                <a:cubicBezTo>
                  <a:pt x="20080" y="6549"/>
                  <a:pt x="20127" y="4667"/>
                  <a:pt x="20223" y="3689"/>
                </a:cubicBezTo>
                <a:lnTo>
                  <a:pt x="20676" y="2637"/>
                </a:lnTo>
                <a:lnTo>
                  <a:pt x="21844" y="2159"/>
                </a:lnTo>
                <a:lnTo>
                  <a:pt x="25586" y="1759"/>
                </a:lnTo>
                <a:lnTo>
                  <a:pt x="25586" y="-608"/>
                </a:lnTo>
                <a:lnTo>
                  <a:pt x="23322" y="-579"/>
                </a:lnTo>
                <a:lnTo>
                  <a:pt x="15884" y="-412"/>
                </a:lnTo>
                <a:lnTo>
                  <a:pt x="5968" y="-608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76" name="Vrije vorm 2077">
            <a:extLst>
              <a:ext uri="{FF2B5EF4-FFF2-40B4-BE49-F238E27FC236}">
                <a16:creationId xmlns:a16="http://schemas.microsoft.com/office/drawing/2014/main" id="{FD5F19AD-E3B6-4E93-9A1B-40EC9C7B9D85}"/>
              </a:ext>
            </a:extLst>
          </p:cNvPr>
          <p:cNvSpPr/>
          <p:nvPr/>
        </p:nvSpPr>
        <p:spPr>
          <a:xfrm flipV="1">
            <a:off x="1456412" y="1921408"/>
            <a:ext cx="70416" cy="106514"/>
          </a:xfrm>
          <a:custGeom>
            <a:avLst/>
            <a:gdLst>
              <a:gd name="connsiteX0" fmla="*/ 2490 w 25648"/>
              <a:gd name="connsiteY0" fmla="*/ 16835 h 40004"/>
              <a:gd name="connsiteX1" fmla="*/ 1346 w 25648"/>
              <a:gd name="connsiteY1" fmla="*/ 17412 h 40004"/>
              <a:gd name="connsiteX2" fmla="*/ 1560 w 25648"/>
              <a:gd name="connsiteY2" fmla="*/ 21802 h 40004"/>
              <a:gd name="connsiteX3" fmla="*/ 1703 w 25648"/>
              <a:gd name="connsiteY3" fmla="*/ 26454 h 40004"/>
              <a:gd name="connsiteX4" fmla="*/ 1703 w 25648"/>
              <a:gd name="connsiteY4" fmla="*/ 30227 h 40004"/>
              <a:gd name="connsiteX5" fmla="*/ 1560 w 25648"/>
              <a:gd name="connsiteY5" fmla="*/ 33441 h 40004"/>
              <a:gd name="connsiteX6" fmla="*/ 1536 w 25648"/>
              <a:gd name="connsiteY6" fmla="*/ 35995 h 40004"/>
              <a:gd name="connsiteX7" fmla="*/ 1441 w 25648"/>
              <a:gd name="connsiteY7" fmla="*/ 37429 h 40004"/>
              <a:gd name="connsiteX8" fmla="*/ 1274 w 25648"/>
              <a:gd name="connsiteY8" fmla="*/ 39097 h 40004"/>
              <a:gd name="connsiteX9" fmla="*/ 1632 w 25648"/>
              <a:gd name="connsiteY9" fmla="*/ 39433 h 40004"/>
              <a:gd name="connsiteX10" fmla="*/ 13694 w 25648"/>
              <a:gd name="connsiteY10" fmla="*/ 39097 h 40004"/>
              <a:gd name="connsiteX11" fmla="*/ 16745 w 25648"/>
              <a:gd name="connsiteY11" fmla="*/ 39116 h 40004"/>
              <a:gd name="connsiteX12" fmla="*/ 22251 w 25648"/>
              <a:gd name="connsiteY12" fmla="*/ 39433 h 40004"/>
              <a:gd name="connsiteX13" fmla="*/ 22537 w 25648"/>
              <a:gd name="connsiteY13" fmla="*/ 38930 h 40004"/>
              <a:gd name="connsiteX14" fmla="*/ 22179 w 25648"/>
              <a:gd name="connsiteY14" fmla="*/ 34829 h 40004"/>
              <a:gd name="connsiteX15" fmla="*/ 22251 w 25648"/>
              <a:gd name="connsiteY15" fmla="*/ 32844 h 40004"/>
              <a:gd name="connsiteX16" fmla="*/ 21989 w 25648"/>
              <a:gd name="connsiteY16" fmla="*/ 32463 h 40004"/>
              <a:gd name="connsiteX17" fmla="*/ 19438 w 25648"/>
              <a:gd name="connsiteY17" fmla="*/ 32565 h 40004"/>
              <a:gd name="connsiteX18" fmla="*/ 13431 w 25648"/>
              <a:gd name="connsiteY18" fmla="*/ 32658 h 40004"/>
              <a:gd name="connsiteX19" fmla="*/ 4850 w 25648"/>
              <a:gd name="connsiteY19" fmla="*/ 32463 h 40004"/>
              <a:gd name="connsiteX20" fmla="*/ 4611 w 25648"/>
              <a:gd name="connsiteY20" fmla="*/ 23283 h 40004"/>
              <a:gd name="connsiteX21" fmla="*/ 8759 w 25648"/>
              <a:gd name="connsiteY21" fmla="*/ 24812 h 40004"/>
              <a:gd name="connsiteX22" fmla="*/ 12478 w 25648"/>
              <a:gd name="connsiteY22" fmla="*/ 25213 h 40004"/>
              <a:gd name="connsiteX23" fmla="*/ 20869 w 25648"/>
              <a:gd name="connsiteY23" fmla="*/ 22305 h 40004"/>
              <a:gd name="connsiteX24" fmla="*/ 23991 w 25648"/>
              <a:gd name="connsiteY24" fmla="*/ 14526 h 40004"/>
              <a:gd name="connsiteX25" fmla="*/ 21727 w 25648"/>
              <a:gd name="connsiteY25" fmla="*/ 7033 h 40004"/>
              <a:gd name="connsiteX26" fmla="*/ 15004 w 25648"/>
              <a:gd name="connsiteY26" fmla="*/ 1143 h 40004"/>
              <a:gd name="connsiteX27" fmla="*/ 6947 w 25648"/>
              <a:gd name="connsiteY27" fmla="*/ -572 h 40004"/>
              <a:gd name="connsiteX28" fmla="*/ 3682 w 25648"/>
              <a:gd name="connsiteY28" fmla="*/ -264 h 40004"/>
              <a:gd name="connsiteX29" fmla="*/ 297 w 25648"/>
              <a:gd name="connsiteY29" fmla="*/ 762 h 40004"/>
              <a:gd name="connsiteX30" fmla="*/ -156 w 25648"/>
              <a:gd name="connsiteY30" fmla="*/ 3333 h 40004"/>
              <a:gd name="connsiteX31" fmla="*/ -1658 w 25648"/>
              <a:gd name="connsiteY31" fmla="*/ 9111 h 40004"/>
              <a:gd name="connsiteX32" fmla="*/ 273 w 25648"/>
              <a:gd name="connsiteY32" fmla="*/ 9781 h 40004"/>
              <a:gd name="connsiteX33" fmla="*/ 2514 w 25648"/>
              <a:gd name="connsiteY33" fmla="*/ 6100 h 40004"/>
              <a:gd name="connsiteX34" fmla="*/ 5684 w 25648"/>
              <a:gd name="connsiteY34" fmla="*/ 3744 h 40004"/>
              <a:gd name="connsiteX35" fmla="*/ 9593 w 25648"/>
              <a:gd name="connsiteY35" fmla="*/ 2887 h 40004"/>
              <a:gd name="connsiteX36" fmla="*/ 14862 w 25648"/>
              <a:gd name="connsiteY36" fmla="*/ 5077 h 40004"/>
              <a:gd name="connsiteX37" fmla="*/ 16912 w 25648"/>
              <a:gd name="connsiteY37" fmla="*/ 10948 h 40004"/>
              <a:gd name="connsiteX38" fmla="*/ 14790 w 25648"/>
              <a:gd name="connsiteY38" fmla="*/ 17005 h 40004"/>
              <a:gd name="connsiteX39" fmla="*/ 9069 w 25648"/>
              <a:gd name="connsiteY39" fmla="*/ 19202 h 40004"/>
              <a:gd name="connsiteX40" fmla="*/ 6519 w 25648"/>
              <a:gd name="connsiteY40" fmla="*/ 18896 h 40004"/>
              <a:gd name="connsiteX41" fmla="*/ 4611 w 25648"/>
              <a:gd name="connsiteY41" fmla="*/ 18197 h 40004"/>
              <a:gd name="connsiteX42" fmla="*/ 2490 w 25648"/>
              <a:gd name="connsiteY42" fmla="*/ 16835 h 40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25648" h="40004">
                <a:moveTo>
                  <a:pt x="2490" y="16835"/>
                </a:moveTo>
                <a:lnTo>
                  <a:pt x="1346" y="17412"/>
                </a:lnTo>
                <a:lnTo>
                  <a:pt x="1560" y="21802"/>
                </a:lnTo>
                <a:lnTo>
                  <a:pt x="1703" y="26454"/>
                </a:lnTo>
                <a:lnTo>
                  <a:pt x="1703" y="30227"/>
                </a:lnTo>
                <a:lnTo>
                  <a:pt x="1560" y="33441"/>
                </a:lnTo>
                <a:lnTo>
                  <a:pt x="1536" y="35995"/>
                </a:lnTo>
                <a:lnTo>
                  <a:pt x="1441" y="37429"/>
                </a:lnTo>
                <a:lnTo>
                  <a:pt x="1274" y="39097"/>
                </a:lnTo>
                <a:lnTo>
                  <a:pt x="1632" y="39433"/>
                </a:lnTo>
                <a:cubicBezTo>
                  <a:pt x="6304" y="39218"/>
                  <a:pt x="10356" y="39097"/>
                  <a:pt x="13694" y="39097"/>
                </a:cubicBezTo>
                <a:lnTo>
                  <a:pt x="16745" y="39116"/>
                </a:lnTo>
                <a:lnTo>
                  <a:pt x="22251" y="39433"/>
                </a:lnTo>
                <a:lnTo>
                  <a:pt x="22537" y="38930"/>
                </a:lnTo>
                <a:lnTo>
                  <a:pt x="22179" y="34829"/>
                </a:lnTo>
                <a:lnTo>
                  <a:pt x="22251" y="32844"/>
                </a:lnTo>
                <a:lnTo>
                  <a:pt x="21989" y="32463"/>
                </a:lnTo>
                <a:lnTo>
                  <a:pt x="19438" y="32565"/>
                </a:lnTo>
                <a:cubicBezTo>
                  <a:pt x="16339" y="32630"/>
                  <a:pt x="14313" y="32658"/>
                  <a:pt x="13431" y="32658"/>
                </a:cubicBezTo>
                <a:cubicBezTo>
                  <a:pt x="9283" y="32658"/>
                  <a:pt x="6471" y="32630"/>
                  <a:pt x="4850" y="32463"/>
                </a:cubicBezTo>
                <a:lnTo>
                  <a:pt x="4611" y="23283"/>
                </a:lnTo>
                <a:lnTo>
                  <a:pt x="8759" y="24812"/>
                </a:lnTo>
                <a:lnTo>
                  <a:pt x="12478" y="25213"/>
                </a:lnTo>
                <a:cubicBezTo>
                  <a:pt x="16006" y="25213"/>
                  <a:pt x="18842" y="24280"/>
                  <a:pt x="20869" y="22305"/>
                </a:cubicBezTo>
                <a:cubicBezTo>
                  <a:pt x="22966" y="20349"/>
                  <a:pt x="23991" y="17720"/>
                  <a:pt x="23991" y="14526"/>
                </a:cubicBezTo>
                <a:cubicBezTo>
                  <a:pt x="23991" y="11952"/>
                  <a:pt x="23228" y="9464"/>
                  <a:pt x="21727" y="7033"/>
                </a:cubicBezTo>
                <a:cubicBezTo>
                  <a:pt x="20273" y="4600"/>
                  <a:pt x="18032" y="2644"/>
                  <a:pt x="15004" y="1143"/>
                </a:cubicBezTo>
                <a:cubicBezTo>
                  <a:pt x="12668" y="25"/>
                  <a:pt x="10023" y="-572"/>
                  <a:pt x="6947" y="-572"/>
                </a:cubicBezTo>
                <a:lnTo>
                  <a:pt x="3682" y="-264"/>
                </a:lnTo>
                <a:lnTo>
                  <a:pt x="297" y="762"/>
                </a:lnTo>
                <a:lnTo>
                  <a:pt x="-156" y="3333"/>
                </a:lnTo>
                <a:cubicBezTo>
                  <a:pt x="-418" y="4199"/>
                  <a:pt x="-871" y="6129"/>
                  <a:pt x="-1658" y="9111"/>
                </a:cubicBezTo>
                <a:lnTo>
                  <a:pt x="273" y="9781"/>
                </a:lnTo>
                <a:lnTo>
                  <a:pt x="2514" y="6100"/>
                </a:lnTo>
                <a:lnTo>
                  <a:pt x="5684" y="3744"/>
                </a:lnTo>
                <a:lnTo>
                  <a:pt x="9593" y="2887"/>
                </a:lnTo>
                <a:lnTo>
                  <a:pt x="14862" y="5077"/>
                </a:lnTo>
                <a:cubicBezTo>
                  <a:pt x="16244" y="6511"/>
                  <a:pt x="16912" y="8467"/>
                  <a:pt x="16912" y="10948"/>
                </a:cubicBezTo>
                <a:cubicBezTo>
                  <a:pt x="16912" y="13546"/>
                  <a:pt x="16220" y="15578"/>
                  <a:pt x="14790" y="17005"/>
                </a:cubicBezTo>
                <a:cubicBezTo>
                  <a:pt x="13431" y="18486"/>
                  <a:pt x="11477" y="19202"/>
                  <a:pt x="9069" y="19202"/>
                </a:cubicBezTo>
                <a:lnTo>
                  <a:pt x="6519" y="18896"/>
                </a:lnTo>
                <a:lnTo>
                  <a:pt x="4611" y="18197"/>
                </a:lnTo>
                <a:lnTo>
                  <a:pt x="2490" y="16835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77" name="Vrije vorm 2078">
            <a:extLst>
              <a:ext uri="{FF2B5EF4-FFF2-40B4-BE49-F238E27FC236}">
                <a16:creationId xmlns:a16="http://schemas.microsoft.com/office/drawing/2014/main" id="{9FBF3ED4-5488-4349-B4A1-40CED524DBE3}"/>
              </a:ext>
            </a:extLst>
          </p:cNvPr>
          <p:cNvSpPr/>
          <p:nvPr/>
        </p:nvSpPr>
        <p:spPr>
          <a:xfrm flipV="1">
            <a:off x="1157525" y="1997627"/>
            <a:ext cx="70155" cy="107081"/>
          </a:xfrm>
          <a:custGeom>
            <a:avLst/>
            <a:gdLst>
              <a:gd name="connsiteX0" fmla="*/ 5962 w 25553"/>
              <a:gd name="connsiteY0" fmla="*/ 12793 h 40217"/>
              <a:gd name="connsiteX1" fmla="*/ 7416 w 25553"/>
              <a:gd name="connsiteY1" fmla="*/ 5134 h 40217"/>
              <a:gd name="connsiteX2" fmla="*/ 11754 w 25553"/>
              <a:gd name="connsiteY2" fmla="*/ 2424 h 40217"/>
              <a:gd name="connsiteX3" fmla="*/ 15449 w 25553"/>
              <a:gd name="connsiteY3" fmla="*/ 4277 h 40217"/>
              <a:gd name="connsiteX4" fmla="*/ 16903 w 25553"/>
              <a:gd name="connsiteY4" fmla="*/ 10558 h 40217"/>
              <a:gd name="connsiteX5" fmla="*/ 16117 w 25553"/>
              <a:gd name="connsiteY5" fmla="*/ 15730 h 40217"/>
              <a:gd name="connsiteX6" fmla="*/ 13947 w 25553"/>
              <a:gd name="connsiteY6" fmla="*/ 18619 h 40217"/>
              <a:gd name="connsiteX7" fmla="*/ 11039 w 25553"/>
              <a:gd name="connsiteY7" fmla="*/ 19549 h 40217"/>
              <a:gd name="connsiteX8" fmla="*/ 8322 w 25553"/>
              <a:gd name="connsiteY8" fmla="*/ 18805 h 40217"/>
              <a:gd name="connsiteX9" fmla="*/ 6510 w 25553"/>
              <a:gd name="connsiteY9" fmla="*/ 16708 h 40217"/>
              <a:gd name="connsiteX10" fmla="*/ 19644 w 25553"/>
              <a:gd name="connsiteY10" fmla="*/ 39659 h 40217"/>
              <a:gd name="connsiteX11" fmla="*/ 21909 w 25553"/>
              <a:gd name="connsiteY11" fmla="*/ 37822 h 40217"/>
              <a:gd name="connsiteX12" fmla="*/ 21027 w 25553"/>
              <a:gd name="connsiteY12" fmla="*/ 36863 h 40217"/>
              <a:gd name="connsiteX13" fmla="*/ 19072 w 25553"/>
              <a:gd name="connsiteY13" fmla="*/ 36985 h 40217"/>
              <a:gd name="connsiteX14" fmla="*/ 13828 w 25553"/>
              <a:gd name="connsiteY14" fmla="*/ 35651 h 40217"/>
              <a:gd name="connsiteX15" fmla="*/ 9704 w 25553"/>
              <a:gd name="connsiteY15" fmla="*/ 31970 h 40217"/>
              <a:gd name="connsiteX16" fmla="*/ 7178 w 25553"/>
              <a:gd name="connsiteY16" fmla="*/ 26753 h 40217"/>
              <a:gd name="connsiteX17" fmla="*/ 6105 w 25553"/>
              <a:gd name="connsiteY17" fmla="*/ 19998 h 40217"/>
              <a:gd name="connsiteX18" fmla="*/ 10372 w 25553"/>
              <a:gd name="connsiteY18" fmla="*/ 23679 h 40217"/>
              <a:gd name="connsiteX19" fmla="*/ 12279 w 25553"/>
              <a:gd name="connsiteY19" fmla="*/ 24320 h 40217"/>
              <a:gd name="connsiteX20" fmla="*/ 15163 w 25553"/>
              <a:gd name="connsiteY20" fmla="*/ 24676 h 40217"/>
              <a:gd name="connsiteX21" fmla="*/ 21170 w 25553"/>
              <a:gd name="connsiteY21" fmla="*/ 22002 h 40217"/>
              <a:gd name="connsiteX22" fmla="*/ 23935 w 25553"/>
              <a:gd name="connsiteY22" fmla="*/ 13652 h 40217"/>
              <a:gd name="connsiteX23" fmla="*/ 20264 w 25553"/>
              <a:gd name="connsiteY23" fmla="*/ 3280 h 40217"/>
              <a:gd name="connsiteX24" fmla="*/ 11111 w 25553"/>
              <a:gd name="connsiteY24" fmla="*/ -558 h 40217"/>
              <a:gd name="connsiteX25" fmla="*/ 3888 w 25553"/>
              <a:gd name="connsiteY25" fmla="*/ 1632 h 40217"/>
              <a:gd name="connsiteX26" fmla="*/ -283 w 25553"/>
              <a:gd name="connsiteY26" fmla="*/ 7211 h 40217"/>
              <a:gd name="connsiteX27" fmla="*/ -1618 w 25553"/>
              <a:gd name="connsiteY27" fmla="*/ 15804 h 40217"/>
              <a:gd name="connsiteX28" fmla="*/ 193 w 25553"/>
              <a:gd name="connsiteY28" fmla="*/ 26221 h 40217"/>
              <a:gd name="connsiteX29" fmla="*/ 5080 w 25553"/>
              <a:gd name="connsiteY29" fmla="*/ 33452 h 40217"/>
              <a:gd name="connsiteX30" fmla="*/ 11802 w 25553"/>
              <a:gd name="connsiteY30" fmla="*/ 38037 h 40217"/>
              <a:gd name="connsiteX31" fmla="*/ 19644 w 25553"/>
              <a:gd name="connsiteY31" fmla="*/ 39659 h 40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5553" h="40217">
                <a:moveTo>
                  <a:pt x="5962" y="12793"/>
                </a:moveTo>
                <a:cubicBezTo>
                  <a:pt x="5962" y="9523"/>
                  <a:pt x="6415" y="7025"/>
                  <a:pt x="7416" y="5134"/>
                </a:cubicBezTo>
                <a:lnTo>
                  <a:pt x="11754" y="2424"/>
                </a:lnTo>
                <a:lnTo>
                  <a:pt x="15449" y="4277"/>
                </a:lnTo>
                <a:cubicBezTo>
                  <a:pt x="16403" y="5499"/>
                  <a:pt x="16903" y="7596"/>
                  <a:pt x="16903" y="10558"/>
                </a:cubicBezTo>
                <a:lnTo>
                  <a:pt x="16117" y="15730"/>
                </a:lnTo>
                <a:lnTo>
                  <a:pt x="13947" y="18619"/>
                </a:lnTo>
                <a:lnTo>
                  <a:pt x="11039" y="19549"/>
                </a:lnTo>
                <a:lnTo>
                  <a:pt x="8322" y="18805"/>
                </a:lnTo>
                <a:lnTo>
                  <a:pt x="6510" y="16708"/>
                </a:lnTo>
                <a:close/>
                <a:moveTo>
                  <a:pt x="19644" y="39659"/>
                </a:moveTo>
                <a:lnTo>
                  <a:pt x="21909" y="37822"/>
                </a:lnTo>
                <a:lnTo>
                  <a:pt x="21027" y="36863"/>
                </a:lnTo>
                <a:lnTo>
                  <a:pt x="19072" y="36985"/>
                </a:lnTo>
                <a:lnTo>
                  <a:pt x="13828" y="35651"/>
                </a:lnTo>
                <a:lnTo>
                  <a:pt x="9704" y="31970"/>
                </a:lnTo>
                <a:lnTo>
                  <a:pt x="7178" y="26753"/>
                </a:lnTo>
                <a:cubicBezTo>
                  <a:pt x="6748" y="25298"/>
                  <a:pt x="6415" y="23082"/>
                  <a:pt x="6105" y="19998"/>
                </a:cubicBezTo>
                <a:cubicBezTo>
                  <a:pt x="8489" y="22169"/>
                  <a:pt x="9871" y="23435"/>
                  <a:pt x="10372" y="23679"/>
                </a:cubicBezTo>
                <a:lnTo>
                  <a:pt x="12279" y="24320"/>
                </a:lnTo>
                <a:lnTo>
                  <a:pt x="15163" y="24676"/>
                </a:lnTo>
                <a:cubicBezTo>
                  <a:pt x="17380" y="24676"/>
                  <a:pt x="19358" y="23817"/>
                  <a:pt x="21170" y="22002"/>
                </a:cubicBezTo>
                <a:cubicBezTo>
                  <a:pt x="23006" y="20239"/>
                  <a:pt x="23935" y="17471"/>
                  <a:pt x="23935" y="13652"/>
                </a:cubicBezTo>
                <a:cubicBezTo>
                  <a:pt x="23935" y="9337"/>
                  <a:pt x="22720" y="5880"/>
                  <a:pt x="20264" y="3280"/>
                </a:cubicBezTo>
                <a:cubicBezTo>
                  <a:pt x="17833" y="680"/>
                  <a:pt x="14758" y="-558"/>
                  <a:pt x="11111" y="-558"/>
                </a:cubicBezTo>
                <a:cubicBezTo>
                  <a:pt x="8131" y="-558"/>
                  <a:pt x="5724" y="148"/>
                  <a:pt x="3888" y="1632"/>
                </a:cubicBezTo>
                <a:cubicBezTo>
                  <a:pt x="2005" y="3065"/>
                  <a:pt x="598" y="4919"/>
                  <a:pt x="-283" y="7211"/>
                </a:cubicBezTo>
                <a:cubicBezTo>
                  <a:pt x="-1189" y="9478"/>
                  <a:pt x="-1618" y="12319"/>
                  <a:pt x="-1618" y="15804"/>
                </a:cubicBezTo>
                <a:cubicBezTo>
                  <a:pt x="-1618" y="19931"/>
                  <a:pt x="-1046" y="23435"/>
                  <a:pt x="193" y="26221"/>
                </a:cubicBezTo>
                <a:cubicBezTo>
                  <a:pt x="1361" y="29091"/>
                  <a:pt x="3006" y="31477"/>
                  <a:pt x="5080" y="33452"/>
                </a:cubicBezTo>
                <a:cubicBezTo>
                  <a:pt x="7130" y="35484"/>
                  <a:pt x="9323" y="36985"/>
                  <a:pt x="11802" y="38037"/>
                </a:cubicBezTo>
                <a:cubicBezTo>
                  <a:pt x="14209" y="39108"/>
                  <a:pt x="16832" y="39659"/>
                  <a:pt x="19644" y="39659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78" name="Vrije vorm 2079">
            <a:extLst>
              <a:ext uri="{FF2B5EF4-FFF2-40B4-BE49-F238E27FC236}">
                <a16:creationId xmlns:a16="http://schemas.microsoft.com/office/drawing/2014/main" id="{CA4DA837-9B88-4CAB-914F-0566B57A45D5}"/>
              </a:ext>
            </a:extLst>
          </p:cNvPr>
          <p:cNvSpPr/>
          <p:nvPr/>
        </p:nvSpPr>
        <p:spPr>
          <a:xfrm flipV="1">
            <a:off x="913023" y="1947831"/>
            <a:ext cx="72250" cy="103612"/>
          </a:xfrm>
          <a:custGeom>
            <a:avLst/>
            <a:gdLst>
              <a:gd name="connsiteX0" fmla="*/ 1084 w 26316"/>
              <a:gd name="connsiteY0" fmla="*/ -567 h 38914"/>
              <a:gd name="connsiteX1" fmla="*/ 774 w 26316"/>
              <a:gd name="connsiteY1" fmla="*/ 86 h 38914"/>
              <a:gd name="connsiteX2" fmla="*/ 8974 w 26316"/>
              <a:gd name="connsiteY2" fmla="*/ 14111 h 38914"/>
              <a:gd name="connsiteX3" fmla="*/ 14409 w 26316"/>
              <a:gd name="connsiteY3" fmla="*/ 23242 h 38914"/>
              <a:gd name="connsiteX4" fmla="*/ 18414 w 26316"/>
              <a:gd name="connsiteY4" fmla="*/ 30668 h 38914"/>
              <a:gd name="connsiteX5" fmla="*/ 18223 w 26316"/>
              <a:gd name="connsiteY5" fmla="*/ 31162 h 38914"/>
              <a:gd name="connsiteX6" fmla="*/ 10881 w 26316"/>
              <a:gd name="connsiteY6" fmla="*/ 31162 h 38914"/>
              <a:gd name="connsiteX7" fmla="*/ 6280 w 26316"/>
              <a:gd name="connsiteY7" fmla="*/ 31117 h 38914"/>
              <a:gd name="connsiteX8" fmla="*/ 2705 w 26316"/>
              <a:gd name="connsiteY8" fmla="*/ 30902 h 38914"/>
              <a:gd name="connsiteX9" fmla="*/ 2109 w 26316"/>
              <a:gd name="connsiteY9" fmla="*/ 30547 h 38914"/>
              <a:gd name="connsiteX10" fmla="*/ 1585 w 26316"/>
              <a:gd name="connsiteY10" fmla="*/ 29616 h 38914"/>
              <a:gd name="connsiteX11" fmla="*/ 774 w 26316"/>
              <a:gd name="connsiteY11" fmla="*/ 24249 h 38914"/>
              <a:gd name="connsiteX12" fmla="*/ -1586 w 26316"/>
              <a:gd name="connsiteY12" fmla="*/ 24294 h 38914"/>
              <a:gd name="connsiteX13" fmla="*/ -1467 w 26316"/>
              <a:gd name="connsiteY13" fmla="*/ 30733 h 38914"/>
              <a:gd name="connsiteX14" fmla="*/ -1586 w 26316"/>
              <a:gd name="connsiteY14" fmla="*/ 38059 h 38914"/>
              <a:gd name="connsiteX15" fmla="*/ -1204 w 26316"/>
              <a:gd name="connsiteY15" fmla="*/ 38347 h 38914"/>
              <a:gd name="connsiteX16" fmla="*/ 6328 w 26316"/>
              <a:gd name="connsiteY16" fmla="*/ 38152 h 38914"/>
              <a:gd name="connsiteX17" fmla="*/ 12335 w 26316"/>
              <a:gd name="connsiteY17" fmla="*/ 38059 h 38914"/>
              <a:gd name="connsiteX18" fmla="*/ 24730 w 26316"/>
              <a:gd name="connsiteY18" fmla="*/ 38254 h 38914"/>
              <a:gd name="connsiteX19" fmla="*/ 24730 w 26316"/>
              <a:gd name="connsiteY19" fmla="*/ 35580 h 38914"/>
              <a:gd name="connsiteX20" fmla="*/ 19343 w 26316"/>
              <a:gd name="connsiteY20" fmla="*/ 25673 h 38914"/>
              <a:gd name="connsiteX21" fmla="*/ 14552 w 26316"/>
              <a:gd name="connsiteY21" fmla="*/ 15974 h 38914"/>
              <a:gd name="connsiteX22" fmla="*/ 10476 w 26316"/>
              <a:gd name="connsiteY22" fmla="*/ 6692 h 38914"/>
              <a:gd name="connsiteX23" fmla="*/ 7663 w 26316"/>
              <a:gd name="connsiteY23" fmla="*/ -567 h 38914"/>
              <a:gd name="connsiteX24" fmla="*/ 4493 w 26316"/>
              <a:gd name="connsiteY24" fmla="*/ -417 h 38914"/>
              <a:gd name="connsiteX25" fmla="*/ 1084 w 26316"/>
              <a:gd name="connsiteY25" fmla="*/ -567 h 38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316" h="38914">
                <a:moveTo>
                  <a:pt x="1084" y="-567"/>
                </a:moveTo>
                <a:lnTo>
                  <a:pt x="774" y="86"/>
                </a:lnTo>
                <a:cubicBezTo>
                  <a:pt x="5375" y="7978"/>
                  <a:pt x="8092" y="12675"/>
                  <a:pt x="8974" y="14111"/>
                </a:cubicBezTo>
                <a:cubicBezTo>
                  <a:pt x="12264" y="19645"/>
                  <a:pt x="14099" y="22691"/>
                  <a:pt x="14409" y="23242"/>
                </a:cubicBezTo>
                <a:lnTo>
                  <a:pt x="18414" y="30668"/>
                </a:lnTo>
                <a:lnTo>
                  <a:pt x="18223" y="31162"/>
                </a:lnTo>
                <a:lnTo>
                  <a:pt x="10881" y="31162"/>
                </a:lnTo>
                <a:lnTo>
                  <a:pt x="6280" y="31117"/>
                </a:lnTo>
                <a:lnTo>
                  <a:pt x="2705" y="30902"/>
                </a:lnTo>
                <a:lnTo>
                  <a:pt x="2109" y="30547"/>
                </a:lnTo>
                <a:lnTo>
                  <a:pt x="1585" y="29616"/>
                </a:lnTo>
                <a:cubicBezTo>
                  <a:pt x="1418" y="28927"/>
                  <a:pt x="1155" y="27155"/>
                  <a:pt x="774" y="24249"/>
                </a:cubicBezTo>
                <a:lnTo>
                  <a:pt x="-1586" y="24294"/>
                </a:lnTo>
                <a:cubicBezTo>
                  <a:pt x="-1514" y="26866"/>
                  <a:pt x="-1467" y="28991"/>
                  <a:pt x="-1467" y="30733"/>
                </a:cubicBezTo>
                <a:cubicBezTo>
                  <a:pt x="-1467" y="32570"/>
                  <a:pt x="-1514" y="35029"/>
                  <a:pt x="-1586" y="38059"/>
                </a:cubicBezTo>
                <a:lnTo>
                  <a:pt x="-1204" y="38347"/>
                </a:lnTo>
                <a:lnTo>
                  <a:pt x="6328" y="38152"/>
                </a:lnTo>
                <a:lnTo>
                  <a:pt x="12335" y="38059"/>
                </a:lnTo>
                <a:cubicBezTo>
                  <a:pt x="13742" y="38059"/>
                  <a:pt x="17865" y="38152"/>
                  <a:pt x="24730" y="38254"/>
                </a:cubicBezTo>
                <a:lnTo>
                  <a:pt x="24730" y="35580"/>
                </a:lnTo>
                <a:cubicBezTo>
                  <a:pt x="21822" y="30380"/>
                  <a:pt x="20035" y="27035"/>
                  <a:pt x="19343" y="25673"/>
                </a:cubicBezTo>
                <a:cubicBezTo>
                  <a:pt x="17365" y="21770"/>
                  <a:pt x="15768" y="18517"/>
                  <a:pt x="14552" y="15974"/>
                </a:cubicBezTo>
                <a:cubicBezTo>
                  <a:pt x="13336" y="13364"/>
                  <a:pt x="11978" y="10318"/>
                  <a:pt x="10476" y="6692"/>
                </a:cubicBezTo>
                <a:cubicBezTo>
                  <a:pt x="9308" y="3879"/>
                  <a:pt x="8378" y="1417"/>
                  <a:pt x="7663" y="-567"/>
                </a:cubicBezTo>
                <a:lnTo>
                  <a:pt x="4493" y="-417"/>
                </a:lnTo>
                <a:lnTo>
                  <a:pt x="1084" y="-567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79" name="Vrije vorm 2080">
            <a:extLst>
              <a:ext uri="{FF2B5EF4-FFF2-40B4-BE49-F238E27FC236}">
                <a16:creationId xmlns:a16="http://schemas.microsoft.com/office/drawing/2014/main" id="{15FB100F-F355-4B87-A61E-2D340D4D0A88}"/>
              </a:ext>
            </a:extLst>
          </p:cNvPr>
          <p:cNvSpPr/>
          <p:nvPr/>
        </p:nvSpPr>
        <p:spPr>
          <a:xfrm flipV="1">
            <a:off x="714266" y="1781553"/>
            <a:ext cx="70155" cy="107081"/>
          </a:xfrm>
          <a:custGeom>
            <a:avLst/>
            <a:gdLst>
              <a:gd name="connsiteX0" fmla="*/ 13840 w 25553"/>
              <a:gd name="connsiteY0" fmla="*/ 23781 h 40217"/>
              <a:gd name="connsiteX1" fmla="*/ 16414 w 25553"/>
              <a:gd name="connsiteY1" fmla="*/ 26577 h 40217"/>
              <a:gd name="connsiteX2" fmla="*/ 17344 w 25553"/>
              <a:gd name="connsiteY2" fmla="*/ 30312 h 40217"/>
              <a:gd name="connsiteX3" fmla="*/ 15675 w 25553"/>
              <a:gd name="connsiteY3" fmla="*/ 34804 h 40217"/>
              <a:gd name="connsiteX4" fmla="*/ 11051 w 25553"/>
              <a:gd name="connsiteY4" fmla="*/ 36500 h 40217"/>
              <a:gd name="connsiteX5" fmla="*/ 7046 w 25553"/>
              <a:gd name="connsiteY5" fmla="*/ 34990 h 40217"/>
              <a:gd name="connsiteX6" fmla="*/ 5520 w 25553"/>
              <a:gd name="connsiteY6" fmla="*/ 31226 h 40217"/>
              <a:gd name="connsiteX7" fmla="*/ 5783 w 25553"/>
              <a:gd name="connsiteY7" fmla="*/ 29558 h 40217"/>
              <a:gd name="connsiteX8" fmla="*/ 6641 w 25553"/>
              <a:gd name="connsiteY8" fmla="*/ 28001 h 40217"/>
              <a:gd name="connsiteX9" fmla="*/ 8047 w 25553"/>
              <a:gd name="connsiteY9" fmla="*/ 26641 h 40217"/>
              <a:gd name="connsiteX10" fmla="*/ 10192 w 25553"/>
              <a:gd name="connsiteY10" fmla="*/ 25403 h 40217"/>
              <a:gd name="connsiteX11" fmla="*/ 12290 w 25553"/>
              <a:gd name="connsiteY11" fmla="*/ 24422 h 40217"/>
              <a:gd name="connsiteX12" fmla="*/ 7833 w 25553"/>
              <a:gd name="connsiteY12" fmla="*/ 18339 h 40217"/>
              <a:gd name="connsiteX13" fmla="*/ 4710 w 25553"/>
              <a:gd name="connsiteY13" fmla="*/ 14806 h 40217"/>
              <a:gd name="connsiteX14" fmla="*/ 3709 w 25553"/>
              <a:gd name="connsiteY14" fmla="*/ 10539 h 40217"/>
              <a:gd name="connsiteX15" fmla="*/ 5854 w 25553"/>
              <a:gd name="connsiteY15" fmla="*/ 4771 h 40217"/>
              <a:gd name="connsiteX16" fmla="*/ 11074 w 25553"/>
              <a:gd name="connsiteY16" fmla="*/ 2526 h 40217"/>
              <a:gd name="connsiteX17" fmla="*/ 15723 w 25553"/>
              <a:gd name="connsiteY17" fmla="*/ 4389 h 40217"/>
              <a:gd name="connsiteX18" fmla="*/ 17558 w 25553"/>
              <a:gd name="connsiteY18" fmla="*/ 9179 h 40217"/>
              <a:gd name="connsiteX19" fmla="*/ 16843 w 25553"/>
              <a:gd name="connsiteY19" fmla="*/ 12664 h 40217"/>
              <a:gd name="connsiteX20" fmla="*/ 14340 w 25553"/>
              <a:gd name="connsiteY20" fmla="*/ 15188 h 40217"/>
              <a:gd name="connsiteX21" fmla="*/ 8619 w 25553"/>
              <a:gd name="connsiteY21" fmla="*/ 18013 h 40217"/>
              <a:gd name="connsiteX22" fmla="*/ 5329 w 25553"/>
              <a:gd name="connsiteY22" fmla="*/ 19465 h 40217"/>
              <a:gd name="connsiteX23" fmla="*/ 1897 w 25553"/>
              <a:gd name="connsiteY23" fmla="*/ 21944 h 40217"/>
              <a:gd name="connsiteX24" fmla="*/ 157 w 25553"/>
              <a:gd name="connsiteY24" fmla="*/ 24787 h 40217"/>
              <a:gd name="connsiteX25" fmla="*/ -487 w 25553"/>
              <a:gd name="connsiteY25" fmla="*/ 28597 h 40217"/>
              <a:gd name="connsiteX26" fmla="*/ 1182 w 25553"/>
              <a:gd name="connsiteY26" fmla="*/ 34422 h 40217"/>
              <a:gd name="connsiteX27" fmla="*/ 5520 w 25553"/>
              <a:gd name="connsiteY27" fmla="*/ 38289 h 40217"/>
              <a:gd name="connsiteX28" fmla="*/ 12099 w 25553"/>
              <a:gd name="connsiteY28" fmla="*/ 39620 h 40217"/>
              <a:gd name="connsiteX29" fmla="*/ 19632 w 25553"/>
              <a:gd name="connsiteY29" fmla="*/ 37142 h 40217"/>
              <a:gd name="connsiteX30" fmla="*/ 22230 w 25553"/>
              <a:gd name="connsiteY30" fmla="*/ 31133 h 40217"/>
              <a:gd name="connsiteX31" fmla="*/ 21515 w 25553"/>
              <a:gd name="connsiteY31" fmla="*/ 27574 h 40217"/>
              <a:gd name="connsiteX32" fmla="*/ 19346 w 25553"/>
              <a:gd name="connsiteY32" fmla="*/ 24618 h 40217"/>
              <a:gd name="connsiteX33" fmla="*/ 16700 w 25553"/>
              <a:gd name="connsiteY33" fmla="*/ 22710 h 40217"/>
              <a:gd name="connsiteX34" fmla="*/ 20490 w 25553"/>
              <a:gd name="connsiteY34" fmla="*/ 20677 h 40217"/>
              <a:gd name="connsiteX35" fmla="*/ 22540 w 25553"/>
              <a:gd name="connsiteY35" fmla="*/ 18459 h 40217"/>
              <a:gd name="connsiteX36" fmla="*/ 23661 w 25553"/>
              <a:gd name="connsiteY36" fmla="*/ 15813 h 40217"/>
              <a:gd name="connsiteX37" fmla="*/ 23994 w 25553"/>
              <a:gd name="connsiteY37" fmla="*/ 12664 h 40217"/>
              <a:gd name="connsiteX38" fmla="*/ 21968 w 25553"/>
              <a:gd name="connsiteY38" fmla="*/ 5338 h 40217"/>
              <a:gd name="connsiteX39" fmla="*/ 16199 w 25553"/>
              <a:gd name="connsiteY39" fmla="*/ 522 h 40217"/>
              <a:gd name="connsiteX40" fmla="*/ 10025 w 25553"/>
              <a:gd name="connsiteY40" fmla="*/ -597 h 40217"/>
              <a:gd name="connsiteX41" fmla="*/ 4471 w 25553"/>
              <a:gd name="connsiteY41" fmla="*/ 448 h 40217"/>
              <a:gd name="connsiteX42" fmla="*/ 1468 w 25553"/>
              <a:gd name="connsiteY42" fmla="*/ 2526 h 40217"/>
              <a:gd name="connsiteX43" fmla="*/ -749 w 25553"/>
              <a:gd name="connsiteY43" fmla="*/ 5601 h 40217"/>
              <a:gd name="connsiteX44" fmla="*/ -1560 w 25553"/>
              <a:gd name="connsiteY44" fmla="*/ 9878 h 40217"/>
              <a:gd name="connsiteX45" fmla="*/ -1011 w 25553"/>
              <a:gd name="connsiteY45" fmla="*/ 13380 h 40217"/>
              <a:gd name="connsiteX46" fmla="*/ 538 w 25553"/>
              <a:gd name="connsiteY46" fmla="*/ 16121 h 40217"/>
              <a:gd name="connsiteX47" fmla="*/ 2660 w 25553"/>
              <a:gd name="connsiteY47" fmla="*/ 17984 h 40217"/>
              <a:gd name="connsiteX48" fmla="*/ 5329 w 25553"/>
              <a:gd name="connsiteY48" fmla="*/ 19465 h 40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5553" h="40217">
                <a:moveTo>
                  <a:pt x="13840" y="23781"/>
                </a:moveTo>
                <a:lnTo>
                  <a:pt x="16414" y="26577"/>
                </a:lnTo>
                <a:lnTo>
                  <a:pt x="17344" y="30312"/>
                </a:lnTo>
                <a:lnTo>
                  <a:pt x="15675" y="34804"/>
                </a:lnTo>
                <a:lnTo>
                  <a:pt x="11051" y="36500"/>
                </a:lnTo>
                <a:lnTo>
                  <a:pt x="7046" y="34990"/>
                </a:lnTo>
                <a:lnTo>
                  <a:pt x="5520" y="31226"/>
                </a:lnTo>
                <a:lnTo>
                  <a:pt x="5783" y="29558"/>
                </a:lnTo>
                <a:lnTo>
                  <a:pt x="6641" y="28001"/>
                </a:lnTo>
                <a:lnTo>
                  <a:pt x="8047" y="26641"/>
                </a:lnTo>
                <a:lnTo>
                  <a:pt x="10192" y="25403"/>
                </a:lnTo>
                <a:lnTo>
                  <a:pt x="12290" y="24422"/>
                </a:lnTo>
                <a:close/>
                <a:moveTo>
                  <a:pt x="7833" y="18339"/>
                </a:moveTo>
                <a:lnTo>
                  <a:pt x="4710" y="14806"/>
                </a:lnTo>
                <a:lnTo>
                  <a:pt x="3709" y="10539"/>
                </a:lnTo>
                <a:cubicBezTo>
                  <a:pt x="3709" y="8182"/>
                  <a:pt x="4448" y="6271"/>
                  <a:pt x="5854" y="4771"/>
                </a:cubicBezTo>
                <a:lnTo>
                  <a:pt x="11074" y="2526"/>
                </a:lnTo>
                <a:lnTo>
                  <a:pt x="15723" y="4389"/>
                </a:lnTo>
                <a:lnTo>
                  <a:pt x="17558" y="9179"/>
                </a:lnTo>
                <a:lnTo>
                  <a:pt x="16843" y="12664"/>
                </a:lnTo>
                <a:lnTo>
                  <a:pt x="14340" y="15188"/>
                </a:lnTo>
                <a:cubicBezTo>
                  <a:pt x="13267" y="15906"/>
                  <a:pt x="11337" y="16865"/>
                  <a:pt x="8619" y="18013"/>
                </a:cubicBezTo>
                <a:close/>
                <a:moveTo>
                  <a:pt x="5329" y="19465"/>
                </a:moveTo>
                <a:lnTo>
                  <a:pt x="1897" y="21944"/>
                </a:lnTo>
                <a:lnTo>
                  <a:pt x="157" y="24787"/>
                </a:lnTo>
                <a:lnTo>
                  <a:pt x="-487" y="28597"/>
                </a:lnTo>
                <a:cubicBezTo>
                  <a:pt x="-487" y="30796"/>
                  <a:pt x="85" y="32755"/>
                  <a:pt x="1182" y="34422"/>
                </a:cubicBezTo>
                <a:lnTo>
                  <a:pt x="5520" y="38289"/>
                </a:lnTo>
                <a:cubicBezTo>
                  <a:pt x="7260" y="39165"/>
                  <a:pt x="9453" y="39620"/>
                  <a:pt x="12099" y="39620"/>
                </a:cubicBezTo>
                <a:cubicBezTo>
                  <a:pt x="15341" y="39620"/>
                  <a:pt x="17820" y="38783"/>
                  <a:pt x="19632" y="37142"/>
                </a:cubicBezTo>
                <a:cubicBezTo>
                  <a:pt x="21396" y="35493"/>
                  <a:pt x="22230" y="33490"/>
                  <a:pt x="22230" y="31133"/>
                </a:cubicBezTo>
                <a:lnTo>
                  <a:pt x="21515" y="27574"/>
                </a:lnTo>
                <a:lnTo>
                  <a:pt x="19346" y="24618"/>
                </a:lnTo>
                <a:lnTo>
                  <a:pt x="16700" y="22710"/>
                </a:lnTo>
                <a:lnTo>
                  <a:pt x="20490" y="20677"/>
                </a:lnTo>
                <a:lnTo>
                  <a:pt x="22540" y="18459"/>
                </a:lnTo>
                <a:lnTo>
                  <a:pt x="23661" y="15813"/>
                </a:lnTo>
                <a:lnTo>
                  <a:pt x="23994" y="12664"/>
                </a:lnTo>
                <a:cubicBezTo>
                  <a:pt x="23994" y="9897"/>
                  <a:pt x="23351" y="7464"/>
                  <a:pt x="21968" y="5338"/>
                </a:cubicBezTo>
                <a:cubicBezTo>
                  <a:pt x="20585" y="3242"/>
                  <a:pt x="18678" y="1622"/>
                  <a:pt x="16199" y="522"/>
                </a:cubicBezTo>
                <a:cubicBezTo>
                  <a:pt x="14459" y="-196"/>
                  <a:pt x="12433" y="-597"/>
                  <a:pt x="10025" y="-597"/>
                </a:cubicBezTo>
                <a:cubicBezTo>
                  <a:pt x="7785" y="-597"/>
                  <a:pt x="5949" y="-260"/>
                  <a:pt x="4471" y="448"/>
                </a:cubicBezTo>
                <a:lnTo>
                  <a:pt x="1468" y="2526"/>
                </a:lnTo>
                <a:lnTo>
                  <a:pt x="-749" y="5601"/>
                </a:lnTo>
                <a:lnTo>
                  <a:pt x="-1560" y="9878"/>
                </a:lnTo>
                <a:lnTo>
                  <a:pt x="-1011" y="13380"/>
                </a:lnTo>
                <a:lnTo>
                  <a:pt x="538" y="16121"/>
                </a:lnTo>
                <a:lnTo>
                  <a:pt x="2660" y="17984"/>
                </a:lnTo>
                <a:lnTo>
                  <a:pt x="5329" y="19465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80" name="Vrije vorm 2081">
            <a:extLst>
              <a:ext uri="{FF2B5EF4-FFF2-40B4-BE49-F238E27FC236}">
                <a16:creationId xmlns:a16="http://schemas.microsoft.com/office/drawing/2014/main" id="{3E6FEF35-09FF-41AD-996F-860FBDF95110}"/>
              </a:ext>
            </a:extLst>
          </p:cNvPr>
          <p:cNvSpPr/>
          <p:nvPr/>
        </p:nvSpPr>
        <p:spPr>
          <a:xfrm flipV="1">
            <a:off x="614135" y="1511407"/>
            <a:ext cx="70090" cy="107233"/>
          </a:xfrm>
          <a:custGeom>
            <a:avLst/>
            <a:gdLst>
              <a:gd name="connsiteX0" fmla="*/ 16451 w 25529"/>
              <a:gd name="connsiteY0" fmla="*/ 26237 h 40274"/>
              <a:gd name="connsiteX1" fmla="*/ 14949 w 25529"/>
              <a:gd name="connsiteY1" fmla="*/ 33880 h 40274"/>
              <a:gd name="connsiteX2" fmla="*/ 10587 w 25529"/>
              <a:gd name="connsiteY2" fmla="*/ 36590 h 40274"/>
              <a:gd name="connsiteX3" fmla="*/ 6892 w 25529"/>
              <a:gd name="connsiteY3" fmla="*/ 34737 h 40274"/>
              <a:gd name="connsiteX4" fmla="*/ 5438 w 25529"/>
              <a:gd name="connsiteY4" fmla="*/ 28530 h 40274"/>
              <a:gd name="connsiteX5" fmla="*/ 6272 w 25529"/>
              <a:gd name="connsiteY5" fmla="*/ 23332 h 40274"/>
              <a:gd name="connsiteX6" fmla="*/ 8418 w 25529"/>
              <a:gd name="connsiteY6" fmla="*/ 20424 h 40274"/>
              <a:gd name="connsiteX7" fmla="*/ 11350 w 25529"/>
              <a:gd name="connsiteY7" fmla="*/ 19491 h 40274"/>
              <a:gd name="connsiteX8" fmla="*/ 14043 w 25529"/>
              <a:gd name="connsiteY8" fmla="*/ 20257 h 40274"/>
              <a:gd name="connsiteX9" fmla="*/ 15831 w 25529"/>
              <a:gd name="connsiteY9" fmla="*/ 22354 h 40274"/>
              <a:gd name="connsiteX10" fmla="*/ 2720 w 25529"/>
              <a:gd name="connsiteY10" fmla="*/ -645 h 40274"/>
              <a:gd name="connsiteX11" fmla="*/ 432 w 25529"/>
              <a:gd name="connsiteY11" fmla="*/ 1266 h 40274"/>
              <a:gd name="connsiteX12" fmla="*/ 1124 w 25529"/>
              <a:gd name="connsiteY12" fmla="*/ 2337 h 40274"/>
              <a:gd name="connsiteX13" fmla="*/ 3221 w 25529"/>
              <a:gd name="connsiteY13" fmla="*/ 2029 h 40274"/>
              <a:gd name="connsiteX14" fmla="*/ 8608 w 25529"/>
              <a:gd name="connsiteY14" fmla="*/ 3408 h 40274"/>
              <a:gd name="connsiteX15" fmla="*/ 12708 w 25529"/>
              <a:gd name="connsiteY15" fmla="*/ 7153 h 40274"/>
              <a:gd name="connsiteX16" fmla="*/ 15211 w 25529"/>
              <a:gd name="connsiteY16" fmla="*/ 12308 h 40274"/>
              <a:gd name="connsiteX17" fmla="*/ 16284 w 25529"/>
              <a:gd name="connsiteY17" fmla="*/ 19016 h 40274"/>
              <a:gd name="connsiteX18" fmla="*/ 12446 w 25529"/>
              <a:gd name="connsiteY18" fmla="*/ 15672 h 40274"/>
              <a:gd name="connsiteX19" fmla="*/ 11445 w 25529"/>
              <a:gd name="connsiteY19" fmla="*/ 15056 h 40274"/>
              <a:gd name="connsiteX20" fmla="*/ 7321 w 25529"/>
              <a:gd name="connsiteY20" fmla="*/ 14338 h 40274"/>
              <a:gd name="connsiteX21" fmla="*/ 1004 w 25529"/>
              <a:gd name="connsiteY21" fmla="*/ 17227 h 40274"/>
              <a:gd name="connsiteX22" fmla="*/ -1546 w 25529"/>
              <a:gd name="connsiteY22" fmla="*/ 25362 h 40274"/>
              <a:gd name="connsiteX23" fmla="*/ 2101 w 25529"/>
              <a:gd name="connsiteY23" fmla="*/ 35734 h 40274"/>
              <a:gd name="connsiteX24" fmla="*/ 11326 w 25529"/>
              <a:gd name="connsiteY24" fmla="*/ 39629 h 40274"/>
              <a:gd name="connsiteX25" fmla="*/ 18477 w 25529"/>
              <a:gd name="connsiteY25" fmla="*/ 37430 h 40274"/>
              <a:gd name="connsiteX26" fmla="*/ 22625 w 25529"/>
              <a:gd name="connsiteY26" fmla="*/ 31848 h 40274"/>
              <a:gd name="connsiteX27" fmla="*/ 23983 w 25529"/>
              <a:gd name="connsiteY27" fmla="*/ 23191 h 40274"/>
              <a:gd name="connsiteX28" fmla="*/ 22196 w 25529"/>
              <a:gd name="connsiteY28" fmla="*/ 12793 h 40274"/>
              <a:gd name="connsiteX29" fmla="*/ 17309 w 25529"/>
              <a:gd name="connsiteY29" fmla="*/ 5560 h 40274"/>
              <a:gd name="connsiteX30" fmla="*/ 10587 w 25529"/>
              <a:gd name="connsiteY30" fmla="*/ 977 h 40274"/>
              <a:gd name="connsiteX31" fmla="*/ 2720 w 25529"/>
              <a:gd name="connsiteY31" fmla="*/ -645 h 4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5529" h="40274">
                <a:moveTo>
                  <a:pt x="16451" y="26237"/>
                </a:moveTo>
                <a:cubicBezTo>
                  <a:pt x="16451" y="29510"/>
                  <a:pt x="15950" y="32063"/>
                  <a:pt x="14949" y="33880"/>
                </a:cubicBezTo>
                <a:lnTo>
                  <a:pt x="10587" y="36590"/>
                </a:lnTo>
                <a:lnTo>
                  <a:pt x="6892" y="34737"/>
                </a:lnTo>
                <a:cubicBezTo>
                  <a:pt x="5939" y="33515"/>
                  <a:pt x="5438" y="31447"/>
                  <a:pt x="5438" y="28530"/>
                </a:cubicBezTo>
                <a:cubicBezTo>
                  <a:pt x="5438" y="26359"/>
                  <a:pt x="5677" y="24644"/>
                  <a:pt x="6272" y="23332"/>
                </a:cubicBezTo>
                <a:lnTo>
                  <a:pt x="8418" y="20424"/>
                </a:lnTo>
                <a:lnTo>
                  <a:pt x="11350" y="19491"/>
                </a:lnTo>
                <a:lnTo>
                  <a:pt x="14043" y="20257"/>
                </a:lnTo>
                <a:lnTo>
                  <a:pt x="15831" y="22354"/>
                </a:lnTo>
                <a:close/>
                <a:moveTo>
                  <a:pt x="2720" y="-645"/>
                </a:moveTo>
                <a:lnTo>
                  <a:pt x="432" y="1266"/>
                </a:lnTo>
                <a:lnTo>
                  <a:pt x="1124" y="2337"/>
                </a:lnTo>
                <a:lnTo>
                  <a:pt x="3221" y="2029"/>
                </a:lnTo>
                <a:lnTo>
                  <a:pt x="8608" y="3408"/>
                </a:lnTo>
                <a:lnTo>
                  <a:pt x="12708" y="7153"/>
                </a:lnTo>
                <a:lnTo>
                  <a:pt x="15211" y="12308"/>
                </a:lnTo>
                <a:cubicBezTo>
                  <a:pt x="15593" y="13771"/>
                  <a:pt x="15950" y="15989"/>
                  <a:pt x="16284" y="19016"/>
                </a:cubicBezTo>
                <a:lnTo>
                  <a:pt x="12446" y="15672"/>
                </a:lnTo>
                <a:lnTo>
                  <a:pt x="11445" y="15056"/>
                </a:lnTo>
                <a:lnTo>
                  <a:pt x="7321" y="14338"/>
                </a:lnTo>
                <a:cubicBezTo>
                  <a:pt x="4794" y="14338"/>
                  <a:pt x="2720" y="15316"/>
                  <a:pt x="1004" y="17227"/>
                </a:cubicBezTo>
                <a:cubicBezTo>
                  <a:pt x="-688" y="19109"/>
                  <a:pt x="-1546" y="21831"/>
                  <a:pt x="-1546" y="25362"/>
                </a:cubicBezTo>
                <a:cubicBezTo>
                  <a:pt x="-1546" y="29706"/>
                  <a:pt x="-354" y="33162"/>
                  <a:pt x="2101" y="35734"/>
                </a:cubicBezTo>
                <a:cubicBezTo>
                  <a:pt x="4508" y="38315"/>
                  <a:pt x="7559" y="39629"/>
                  <a:pt x="11326" y="39629"/>
                </a:cubicBezTo>
                <a:cubicBezTo>
                  <a:pt x="14210" y="39629"/>
                  <a:pt x="16618" y="38883"/>
                  <a:pt x="18477" y="37430"/>
                </a:cubicBezTo>
                <a:cubicBezTo>
                  <a:pt x="20384" y="35994"/>
                  <a:pt x="21719" y="34140"/>
                  <a:pt x="22625" y="31848"/>
                </a:cubicBezTo>
                <a:cubicBezTo>
                  <a:pt x="23507" y="29555"/>
                  <a:pt x="23983" y="26667"/>
                  <a:pt x="23983" y="23191"/>
                </a:cubicBezTo>
                <a:cubicBezTo>
                  <a:pt x="23983" y="19081"/>
                  <a:pt x="23387" y="15605"/>
                  <a:pt x="22196" y="12793"/>
                </a:cubicBezTo>
                <a:cubicBezTo>
                  <a:pt x="21004" y="9949"/>
                  <a:pt x="19383" y="7537"/>
                  <a:pt x="17309" y="5560"/>
                </a:cubicBezTo>
                <a:cubicBezTo>
                  <a:pt x="15235" y="3558"/>
                  <a:pt x="12971" y="2029"/>
                  <a:pt x="10587" y="977"/>
                </a:cubicBezTo>
                <a:cubicBezTo>
                  <a:pt x="8132" y="-68"/>
                  <a:pt x="5533" y="-645"/>
                  <a:pt x="2720" y="-645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81" name="Vrije vorm 2082">
            <a:extLst>
              <a:ext uri="{FF2B5EF4-FFF2-40B4-BE49-F238E27FC236}">
                <a16:creationId xmlns:a16="http://schemas.microsoft.com/office/drawing/2014/main" id="{61C18EAF-C299-41D0-BFFD-E02B01149C0D}"/>
              </a:ext>
            </a:extLst>
          </p:cNvPr>
          <p:cNvSpPr/>
          <p:nvPr/>
        </p:nvSpPr>
        <p:spPr>
          <a:xfrm flipV="1">
            <a:off x="648953" y="1247124"/>
            <a:ext cx="68453" cy="106464"/>
          </a:xfrm>
          <a:custGeom>
            <a:avLst/>
            <a:gdLst>
              <a:gd name="connsiteX0" fmla="*/ 905 w 24933"/>
              <a:gd name="connsiteY0" fmla="*/ -692 h 39985"/>
              <a:gd name="connsiteX1" fmla="*/ 905 w 24933"/>
              <a:gd name="connsiteY1" fmla="*/ 1693 h 39985"/>
              <a:gd name="connsiteX2" fmla="*/ 6363 w 24933"/>
              <a:gd name="connsiteY2" fmla="*/ 2244 h 39985"/>
              <a:gd name="connsiteX3" fmla="*/ 7698 w 24933"/>
              <a:gd name="connsiteY3" fmla="*/ 2748 h 39985"/>
              <a:gd name="connsiteX4" fmla="*/ 8270 w 24933"/>
              <a:gd name="connsiteY4" fmla="*/ 4322 h 39985"/>
              <a:gd name="connsiteX5" fmla="*/ 8628 w 24933"/>
              <a:gd name="connsiteY5" fmla="*/ 14367 h 39985"/>
              <a:gd name="connsiteX6" fmla="*/ 8628 w 24933"/>
              <a:gd name="connsiteY6" fmla="*/ 21328 h 39985"/>
              <a:gd name="connsiteX7" fmla="*/ 8556 w 24933"/>
              <a:gd name="connsiteY7" fmla="*/ 29110 h 39985"/>
              <a:gd name="connsiteX8" fmla="*/ 8485 w 24933"/>
              <a:gd name="connsiteY8" fmla="*/ 31605 h 39985"/>
              <a:gd name="connsiteX9" fmla="*/ 8318 w 24933"/>
              <a:gd name="connsiteY9" fmla="*/ 32798 h 39985"/>
              <a:gd name="connsiteX10" fmla="*/ 7889 w 24933"/>
              <a:gd name="connsiteY10" fmla="*/ 33089 h 39985"/>
              <a:gd name="connsiteX11" fmla="*/ 6649 w 24933"/>
              <a:gd name="connsiteY11" fmla="*/ 32566 h 39985"/>
              <a:gd name="connsiteX12" fmla="*/ -621 w 24933"/>
              <a:gd name="connsiteY12" fmla="*/ 29248 h 39985"/>
              <a:gd name="connsiteX13" fmla="*/ -955 w 24933"/>
              <a:gd name="connsiteY13" fmla="*/ 29463 h 39985"/>
              <a:gd name="connsiteX14" fmla="*/ -1241 w 24933"/>
              <a:gd name="connsiteY14" fmla="*/ 31345 h 39985"/>
              <a:gd name="connsiteX15" fmla="*/ -1551 w 24933"/>
              <a:gd name="connsiteY15" fmla="*/ 33115 h 39985"/>
              <a:gd name="connsiteX16" fmla="*/ -1527 w 24933"/>
              <a:gd name="connsiteY16" fmla="*/ 33301 h 39985"/>
              <a:gd name="connsiteX17" fmla="*/ 6721 w 24933"/>
              <a:gd name="connsiteY17" fmla="*/ 35808 h 39985"/>
              <a:gd name="connsiteX18" fmla="*/ 16256 w 24933"/>
              <a:gd name="connsiteY18" fmla="*/ 39293 h 39985"/>
              <a:gd name="connsiteX19" fmla="*/ 16899 w 24933"/>
              <a:gd name="connsiteY19" fmla="*/ 38838 h 39985"/>
              <a:gd name="connsiteX20" fmla="*/ 16756 w 24933"/>
              <a:gd name="connsiteY20" fmla="*/ 36097 h 39985"/>
              <a:gd name="connsiteX21" fmla="*/ 16542 w 24933"/>
              <a:gd name="connsiteY21" fmla="*/ 33208 h 39985"/>
              <a:gd name="connsiteX22" fmla="*/ 16327 w 24933"/>
              <a:gd name="connsiteY22" fmla="*/ 20302 h 39985"/>
              <a:gd name="connsiteX23" fmla="*/ 16327 w 24933"/>
              <a:gd name="connsiteY23" fmla="*/ 16035 h 39985"/>
              <a:gd name="connsiteX24" fmla="*/ 16375 w 24933"/>
              <a:gd name="connsiteY24" fmla="*/ 7275 h 39985"/>
              <a:gd name="connsiteX25" fmla="*/ 16756 w 24933"/>
              <a:gd name="connsiteY25" fmla="*/ 2934 h 39985"/>
              <a:gd name="connsiteX26" fmla="*/ 17328 w 24933"/>
              <a:gd name="connsiteY26" fmla="*/ 2337 h 39985"/>
              <a:gd name="connsiteX27" fmla="*/ 21500 w 24933"/>
              <a:gd name="connsiteY27" fmla="*/ 1815 h 39985"/>
              <a:gd name="connsiteX28" fmla="*/ 23383 w 24933"/>
              <a:gd name="connsiteY28" fmla="*/ 1693 h 39985"/>
              <a:gd name="connsiteX29" fmla="*/ 23383 w 24933"/>
              <a:gd name="connsiteY29" fmla="*/ -692 h 39985"/>
              <a:gd name="connsiteX30" fmla="*/ 13157 w 24933"/>
              <a:gd name="connsiteY30" fmla="*/ -384 h 39985"/>
              <a:gd name="connsiteX31" fmla="*/ 905 w 24933"/>
              <a:gd name="connsiteY31" fmla="*/ -692 h 39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33" h="39985">
                <a:moveTo>
                  <a:pt x="905" y="-692"/>
                </a:moveTo>
                <a:lnTo>
                  <a:pt x="905" y="1693"/>
                </a:lnTo>
                <a:lnTo>
                  <a:pt x="6363" y="2244"/>
                </a:lnTo>
                <a:lnTo>
                  <a:pt x="7698" y="2748"/>
                </a:lnTo>
                <a:lnTo>
                  <a:pt x="8270" y="4322"/>
                </a:lnTo>
                <a:cubicBezTo>
                  <a:pt x="8532" y="5851"/>
                  <a:pt x="8628" y="9215"/>
                  <a:pt x="8628" y="14367"/>
                </a:cubicBezTo>
                <a:lnTo>
                  <a:pt x="8628" y="21328"/>
                </a:lnTo>
                <a:cubicBezTo>
                  <a:pt x="8628" y="23759"/>
                  <a:pt x="8628" y="26359"/>
                  <a:pt x="8556" y="29110"/>
                </a:cubicBezTo>
                <a:lnTo>
                  <a:pt x="8485" y="31605"/>
                </a:lnTo>
                <a:lnTo>
                  <a:pt x="8318" y="32798"/>
                </a:lnTo>
                <a:lnTo>
                  <a:pt x="7889" y="33089"/>
                </a:lnTo>
                <a:lnTo>
                  <a:pt x="6649" y="32566"/>
                </a:lnTo>
                <a:cubicBezTo>
                  <a:pt x="2812" y="30944"/>
                  <a:pt x="451" y="29816"/>
                  <a:pt x="-621" y="29248"/>
                </a:cubicBezTo>
                <a:lnTo>
                  <a:pt x="-955" y="29463"/>
                </a:lnTo>
                <a:lnTo>
                  <a:pt x="-1241" y="31345"/>
                </a:lnTo>
                <a:lnTo>
                  <a:pt x="-1551" y="33115"/>
                </a:lnTo>
                <a:lnTo>
                  <a:pt x="-1527" y="33301"/>
                </a:lnTo>
                <a:cubicBezTo>
                  <a:pt x="1930" y="34282"/>
                  <a:pt x="4671" y="35119"/>
                  <a:pt x="6721" y="35808"/>
                </a:cubicBezTo>
                <a:cubicBezTo>
                  <a:pt x="8747" y="36498"/>
                  <a:pt x="11894" y="37645"/>
                  <a:pt x="16256" y="39293"/>
                </a:cubicBezTo>
                <a:lnTo>
                  <a:pt x="16899" y="38838"/>
                </a:lnTo>
                <a:lnTo>
                  <a:pt x="16756" y="36097"/>
                </a:lnTo>
                <a:lnTo>
                  <a:pt x="16542" y="33208"/>
                </a:lnTo>
                <a:cubicBezTo>
                  <a:pt x="16494" y="31512"/>
                  <a:pt x="16423" y="27199"/>
                  <a:pt x="16327" y="20302"/>
                </a:cubicBezTo>
                <a:lnTo>
                  <a:pt x="16327" y="16035"/>
                </a:lnTo>
                <a:cubicBezTo>
                  <a:pt x="16327" y="11832"/>
                  <a:pt x="16327" y="8926"/>
                  <a:pt x="16375" y="7275"/>
                </a:cubicBezTo>
                <a:cubicBezTo>
                  <a:pt x="16447" y="4825"/>
                  <a:pt x="16566" y="3363"/>
                  <a:pt x="16756" y="2934"/>
                </a:cubicBezTo>
                <a:lnTo>
                  <a:pt x="17328" y="2337"/>
                </a:lnTo>
                <a:cubicBezTo>
                  <a:pt x="17805" y="2104"/>
                  <a:pt x="19164" y="1908"/>
                  <a:pt x="21500" y="1815"/>
                </a:cubicBezTo>
                <a:lnTo>
                  <a:pt x="23383" y="1693"/>
                </a:lnTo>
                <a:lnTo>
                  <a:pt x="23383" y="-692"/>
                </a:lnTo>
                <a:cubicBezTo>
                  <a:pt x="19164" y="-497"/>
                  <a:pt x="15779" y="-384"/>
                  <a:pt x="13157" y="-384"/>
                </a:cubicBezTo>
                <a:cubicBezTo>
                  <a:pt x="11417" y="-384"/>
                  <a:pt x="7293" y="-497"/>
                  <a:pt x="905" y="-692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82" name="Vrije vorm 2083">
            <a:extLst>
              <a:ext uri="{FF2B5EF4-FFF2-40B4-BE49-F238E27FC236}">
                <a16:creationId xmlns:a16="http://schemas.microsoft.com/office/drawing/2014/main" id="{943D3052-4E8E-4CA2-B088-AB27F2893C4A}"/>
              </a:ext>
            </a:extLst>
          </p:cNvPr>
          <p:cNvSpPr/>
          <p:nvPr/>
        </p:nvSpPr>
        <p:spPr>
          <a:xfrm flipV="1">
            <a:off x="730299" y="1249355"/>
            <a:ext cx="70743" cy="106959"/>
          </a:xfrm>
          <a:custGeom>
            <a:avLst/>
            <a:gdLst>
              <a:gd name="connsiteX0" fmla="*/ 5494 w 25767"/>
              <a:gd name="connsiteY0" fmla="*/ 22686 h 40171"/>
              <a:gd name="connsiteX1" fmla="*/ 6138 w 25767"/>
              <a:gd name="connsiteY1" fmla="*/ 10899 h 40171"/>
              <a:gd name="connsiteX2" fmla="*/ 8283 w 25767"/>
              <a:gd name="connsiteY2" fmla="*/ 3958 h 40171"/>
              <a:gd name="connsiteX3" fmla="*/ 11644 w 25767"/>
              <a:gd name="connsiteY3" fmla="*/ 2271 h 40171"/>
              <a:gd name="connsiteX4" fmla="*/ 15529 w 25767"/>
              <a:gd name="connsiteY4" fmla="*/ 4702 h 40171"/>
              <a:gd name="connsiteX5" fmla="*/ 17079 w 25767"/>
              <a:gd name="connsiteY5" fmla="*/ 16369 h 40171"/>
              <a:gd name="connsiteX6" fmla="*/ 16316 w 25767"/>
              <a:gd name="connsiteY6" fmla="*/ 28409 h 40171"/>
              <a:gd name="connsiteX7" fmla="*/ 15172 w 25767"/>
              <a:gd name="connsiteY7" fmla="*/ 33254 h 40171"/>
              <a:gd name="connsiteX8" fmla="*/ 13432 w 25767"/>
              <a:gd name="connsiteY8" fmla="*/ 35611 h 40171"/>
              <a:gd name="connsiteX9" fmla="*/ 10953 w 25767"/>
              <a:gd name="connsiteY9" fmla="*/ 36376 h 40171"/>
              <a:gd name="connsiteX10" fmla="*/ 8188 w 25767"/>
              <a:gd name="connsiteY10" fmla="*/ 35444 h 40171"/>
              <a:gd name="connsiteX11" fmla="*/ 6424 w 25767"/>
              <a:gd name="connsiteY11" fmla="*/ 32228 h 40171"/>
              <a:gd name="connsiteX12" fmla="*/ 5494 w 25767"/>
              <a:gd name="connsiteY12" fmla="*/ 22686 h 40171"/>
              <a:gd name="connsiteX13" fmla="*/ -1562 w 25767"/>
              <a:gd name="connsiteY13" fmla="*/ 18681 h 40171"/>
              <a:gd name="connsiteX14" fmla="*/ -847 w 25767"/>
              <a:gd name="connsiteY14" fmla="*/ 27915 h 40171"/>
              <a:gd name="connsiteX15" fmla="*/ 822 w 25767"/>
              <a:gd name="connsiteY15" fmla="*/ 32844 h 40171"/>
              <a:gd name="connsiteX16" fmla="*/ 3611 w 25767"/>
              <a:gd name="connsiteY16" fmla="*/ 36572 h 40171"/>
              <a:gd name="connsiteX17" fmla="*/ 7234 w 25767"/>
              <a:gd name="connsiteY17" fmla="*/ 38743 h 40171"/>
              <a:gd name="connsiteX18" fmla="*/ 11692 w 25767"/>
              <a:gd name="connsiteY18" fmla="*/ 39480 h 40171"/>
              <a:gd name="connsiteX19" fmla="*/ 19153 w 25767"/>
              <a:gd name="connsiteY19" fmla="*/ 37400 h 40171"/>
              <a:gd name="connsiteX20" fmla="*/ 22991 w 25767"/>
              <a:gd name="connsiteY20" fmla="*/ 31539 h 40171"/>
              <a:gd name="connsiteX21" fmla="*/ 24206 w 25767"/>
              <a:gd name="connsiteY21" fmla="*/ 20916 h 40171"/>
              <a:gd name="connsiteX22" fmla="*/ 23730 w 25767"/>
              <a:gd name="connsiteY22" fmla="*/ 12567 h 40171"/>
              <a:gd name="connsiteX23" fmla="*/ 21966 w 25767"/>
              <a:gd name="connsiteY23" fmla="*/ 6417 h 40171"/>
              <a:gd name="connsiteX24" fmla="*/ 19153 w 25767"/>
              <a:gd name="connsiteY24" fmla="*/ 2383 h 40171"/>
              <a:gd name="connsiteX25" fmla="*/ 15649 w 25767"/>
              <a:gd name="connsiteY25" fmla="*/ 100 h 40171"/>
              <a:gd name="connsiteX26" fmla="*/ 10857 w 25767"/>
              <a:gd name="connsiteY26" fmla="*/ -692 h 40171"/>
              <a:gd name="connsiteX27" fmla="*/ 5113 w 25767"/>
              <a:gd name="connsiteY27" fmla="*/ 594 h 40171"/>
              <a:gd name="connsiteX28" fmla="*/ 1132 w 25767"/>
              <a:gd name="connsiteY28" fmla="*/ 4320 h 40171"/>
              <a:gd name="connsiteX29" fmla="*/ -1037 w 25767"/>
              <a:gd name="connsiteY29" fmla="*/ 10453 h 40171"/>
              <a:gd name="connsiteX30" fmla="*/ -1562 w 25767"/>
              <a:gd name="connsiteY30" fmla="*/ 18681 h 4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5767" h="40171">
                <a:moveTo>
                  <a:pt x="5494" y="22686"/>
                </a:moveTo>
                <a:cubicBezTo>
                  <a:pt x="5494" y="18344"/>
                  <a:pt x="5709" y="14459"/>
                  <a:pt x="6138" y="10899"/>
                </a:cubicBezTo>
                <a:cubicBezTo>
                  <a:pt x="6590" y="7443"/>
                  <a:pt x="7306" y="5103"/>
                  <a:pt x="8283" y="3958"/>
                </a:cubicBezTo>
                <a:lnTo>
                  <a:pt x="11644" y="2271"/>
                </a:lnTo>
                <a:lnTo>
                  <a:pt x="15529" y="4702"/>
                </a:lnTo>
                <a:cubicBezTo>
                  <a:pt x="16578" y="6250"/>
                  <a:pt x="17079" y="10162"/>
                  <a:pt x="17079" y="16369"/>
                </a:cubicBezTo>
                <a:cubicBezTo>
                  <a:pt x="17079" y="20422"/>
                  <a:pt x="16817" y="24430"/>
                  <a:pt x="16316" y="28409"/>
                </a:cubicBezTo>
                <a:cubicBezTo>
                  <a:pt x="16030" y="30580"/>
                  <a:pt x="15673" y="32183"/>
                  <a:pt x="15172" y="33254"/>
                </a:cubicBezTo>
                <a:lnTo>
                  <a:pt x="13432" y="35611"/>
                </a:lnTo>
                <a:lnTo>
                  <a:pt x="10953" y="36376"/>
                </a:lnTo>
                <a:lnTo>
                  <a:pt x="8188" y="35444"/>
                </a:lnTo>
                <a:lnTo>
                  <a:pt x="6424" y="32228"/>
                </a:lnTo>
                <a:cubicBezTo>
                  <a:pt x="5780" y="30150"/>
                  <a:pt x="5494" y="27001"/>
                  <a:pt x="5494" y="22686"/>
                </a:cubicBezTo>
                <a:close/>
                <a:moveTo>
                  <a:pt x="-1562" y="18681"/>
                </a:moveTo>
                <a:cubicBezTo>
                  <a:pt x="-1562" y="22064"/>
                  <a:pt x="-1323" y="25148"/>
                  <a:pt x="-847" y="27915"/>
                </a:cubicBezTo>
                <a:lnTo>
                  <a:pt x="822" y="32844"/>
                </a:lnTo>
                <a:lnTo>
                  <a:pt x="3611" y="36572"/>
                </a:lnTo>
                <a:lnTo>
                  <a:pt x="7234" y="38743"/>
                </a:lnTo>
                <a:lnTo>
                  <a:pt x="11692" y="39480"/>
                </a:lnTo>
                <a:cubicBezTo>
                  <a:pt x="14862" y="39480"/>
                  <a:pt x="17365" y="38807"/>
                  <a:pt x="19153" y="37400"/>
                </a:cubicBezTo>
                <a:cubicBezTo>
                  <a:pt x="20917" y="36021"/>
                  <a:pt x="22204" y="34065"/>
                  <a:pt x="22991" y="31539"/>
                </a:cubicBezTo>
                <a:cubicBezTo>
                  <a:pt x="23801" y="29005"/>
                  <a:pt x="24206" y="25456"/>
                  <a:pt x="24206" y="20916"/>
                </a:cubicBezTo>
                <a:cubicBezTo>
                  <a:pt x="24206" y="17703"/>
                  <a:pt x="24040" y="14952"/>
                  <a:pt x="23730" y="12567"/>
                </a:cubicBezTo>
                <a:cubicBezTo>
                  <a:pt x="23396" y="10162"/>
                  <a:pt x="22824" y="8161"/>
                  <a:pt x="21966" y="6417"/>
                </a:cubicBezTo>
                <a:lnTo>
                  <a:pt x="19153" y="2383"/>
                </a:lnTo>
                <a:lnTo>
                  <a:pt x="15649" y="100"/>
                </a:lnTo>
                <a:lnTo>
                  <a:pt x="10857" y="-692"/>
                </a:lnTo>
                <a:cubicBezTo>
                  <a:pt x="8712" y="-692"/>
                  <a:pt x="6758" y="-236"/>
                  <a:pt x="5113" y="594"/>
                </a:cubicBezTo>
                <a:lnTo>
                  <a:pt x="1132" y="4320"/>
                </a:lnTo>
                <a:cubicBezTo>
                  <a:pt x="83" y="5942"/>
                  <a:pt x="-632" y="8011"/>
                  <a:pt x="-1037" y="10453"/>
                </a:cubicBezTo>
                <a:cubicBezTo>
                  <a:pt x="-1371" y="12903"/>
                  <a:pt x="-1562" y="15651"/>
                  <a:pt x="-1562" y="18681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83" name="Vrije vorm 2084">
            <a:extLst>
              <a:ext uri="{FF2B5EF4-FFF2-40B4-BE49-F238E27FC236}">
                <a16:creationId xmlns:a16="http://schemas.microsoft.com/office/drawing/2014/main" id="{219BAEBB-0BF0-4C16-974E-58FEA20CBEE0}"/>
              </a:ext>
            </a:extLst>
          </p:cNvPr>
          <p:cNvSpPr/>
          <p:nvPr/>
        </p:nvSpPr>
        <p:spPr>
          <a:xfrm flipV="1">
            <a:off x="841033" y="1035688"/>
            <a:ext cx="68519" cy="106312"/>
          </a:xfrm>
          <a:custGeom>
            <a:avLst/>
            <a:gdLst>
              <a:gd name="connsiteX0" fmla="*/ 879 w 24957"/>
              <a:gd name="connsiteY0" fmla="*/ -730 h 39928"/>
              <a:gd name="connsiteX1" fmla="*/ 879 w 24957"/>
              <a:gd name="connsiteY1" fmla="*/ 1598 h 39928"/>
              <a:gd name="connsiteX2" fmla="*/ 6314 w 24957"/>
              <a:gd name="connsiteY2" fmla="*/ 2149 h 39928"/>
              <a:gd name="connsiteX3" fmla="*/ 7625 w 24957"/>
              <a:gd name="connsiteY3" fmla="*/ 2698 h 39928"/>
              <a:gd name="connsiteX4" fmla="*/ 8245 w 24957"/>
              <a:gd name="connsiteY4" fmla="*/ 4256 h 39928"/>
              <a:gd name="connsiteX5" fmla="*/ 8626 w 24957"/>
              <a:gd name="connsiteY5" fmla="*/ 14318 h 39928"/>
              <a:gd name="connsiteX6" fmla="*/ 8626 w 24957"/>
              <a:gd name="connsiteY6" fmla="*/ 21262 h 39928"/>
              <a:gd name="connsiteX7" fmla="*/ 8531 w 24957"/>
              <a:gd name="connsiteY7" fmla="*/ 29032 h 39928"/>
              <a:gd name="connsiteX8" fmla="*/ 8460 w 24957"/>
              <a:gd name="connsiteY8" fmla="*/ 31567 h 39928"/>
              <a:gd name="connsiteX9" fmla="*/ 8269 w 24957"/>
              <a:gd name="connsiteY9" fmla="*/ 32712 h 39928"/>
              <a:gd name="connsiteX10" fmla="*/ 7864 w 24957"/>
              <a:gd name="connsiteY10" fmla="*/ 32994 h 39928"/>
              <a:gd name="connsiteX11" fmla="*/ 6552 w 24957"/>
              <a:gd name="connsiteY11" fmla="*/ 32500 h 39928"/>
              <a:gd name="connsiteX12" fmla="*/ -623 w 24957"/>
              <a:gd name="connsiteY12" fmla="*/ 29201 h 39928"/>
              <a:gd name="connsiteX13" fmla="*/ -980 w 24957"/>
              <a:gd name="connsiteY13" fmla="*/ 29397 h 39928"/>
              <a:gd name="connsiteX14" fmla="*/ -1266 w 24957"/>
              <a:gd name="connsiteY14" fmla="*/ 31260 h 39928"/>
              <a:gd name="connsiteX15" fmla="*/ -1576 w 24957"/>
              <a:gd name="connsiteY15" fmla="*/ 33039 h 39928"/>
              <a:gd name="connsiteX16" fmla="*/ -1528 w 24957"/>
              <a:gd name="connsiteY16" fmla="*/ 33235 h 39928"/>
              <a:gd name="connsiteX17" fmla="*/ 6672 w 24957"/>
              <a:gd name="connsiteY17" fmla="*/ 35713 h 39928"/>
              <a:gd name="connsiteX18" fmla="*/ 16207 w 24957"/>
              <a:gd name="connsiteY18" fmla="*/ 39198 h 39928"/>
              <a:gd name="connsiteX19" fmla="*/ 16850 w 24957"/>
              <a:gd name="connsiteY19" fmla="*/ 38743 h 39928"/>
              <a:gd name="connsiteX20" fmla="*/ 16731 w 24957"/>
              <a:gd name="connsiteY20" fmla="*/ 36021 h 39928"/>
              <a:gd name="connsiteX21" fmla="*/ 16517 w 24957"/>
              <a:gd name="connsiteY21" fmla="*/ 33142 h 39928"/>
              <a:gd name="connsiteX22" fmla="*/ 16302 w 24957"/>
              <a:gd name="connsiteY22" fmla="*/ 20236 h 39928"/>
              <a:gd name="connsiteX23" fmla="*/ 16302 w 24957"/>
              <a:gd name="connsiteY23" fmla="*/ 15940 h 39928"/>
              <a:gd name="connsiteX24" fmla="*/ 16326 w 24957"/>
              <a:gd name="connsiteY24" fmla="*/ 7238 h 39928"/>
              <a:gd name="connsiteX25" fmla="*/ 16731 w 24957"/>
              <a:gd name="connsiteY25" fmla="*/ 2867 h 39928"/>
              <a:gd name="connsiteX26" fmla="*/ 17279 w 24957"/>
              <a:gd name="connsiteY26" fmla="*/ 2297 h 39928"/>
              <a:gd name="connsiteX27" fmla="*/ 21475 w 24957"/>
              <a:gd name="connsiteY27" fmla="*/ 1749 h 39928"/>
              <a:gd name="connsiteX28" fmla="*/ 23382 w 24957"/>
              <a:gd name="connsiteY28" fmla="*/ 1598 h 39928"/>
              <a:gd name="connsiteX29" fmla="*/ 23382 w 24957"/>
              <a:gd name="connsiteY29" fmla="*/ -730 h 39928"/>
              <a:gd name="connsiteX30" fmla="*/ 13203 w 24957"/>
              <a:gd name="connsiteY30" fmla="*/ -451 h 39928"/>
              <a:gd name="connsiteX31" fmla="*/ 879 w 24957"/>
              <a:gd name="connsiteY31" fmla="*/ -730 h 39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57" h="39928">
                <a:moveTo>
                  <a:pt x="879" y="-730"/>
                </a:moveTo>
                <a:lnTo>
                  <a:pt x="879" y="1598"/>
                </a:lnTo>
                <a:lnTo>
                  <a:pt x="6314" y="2149"/>
                </a:lnTo>
                <a:lnTo>
                  <a:pt x="7625" y="2698"/>
                </a:lnTo>
                <a:lnTo>
                  <a:pt x="8245" y="4256"/>
                </a:lnTo>
                <a:cubicBezTo>
                  <a:pt x="8483" y="5756"/>
                  <a:pt x="8626" y="9120"/>
                  <a:pt x="8626" y="14318"/>
                </a:cubicBezTo>
                <a:lnTo>
                  <a:pt x="8626" y="21262"/>
                </a:lnTo>
                <a:cubicBezTo>
                  <a:pt x="8626" y="23693"/>
                  <a:pt x="8555" y="26245"/>
                  <a:pt x="8531" y="29032"/>
                </a:cubicBezTo>
                <a:lnTo>
                  <a:pt x="8460" y="31567"/>
                </a:lnTo>
                <a:lnTo>
                  <a:pt x="8269" y="32712"/>
                </a:lnTo>
                <a:lnTo>
                  <a:pt x="7864" y="32994"/>
                </a:lnTo>
                <a:lnTo>
                  <a:pt x="6552" y="32500"/>
                </a:lnTo>
                <a:cubicBezTo>
                  <a:pt x="2834" y="30849"/>
                  <a:pt x="355" y="29704"/>
                  <a:pt x="-623" y="29201"/>
                </a:cubicBezTo>
                <a:lnTo>
                  <a:pt x="-980" y="29397"/>
                </a:lnTo>
                <a:lnTo>
                  <a:pt x="-1266" y="31260"/>
                </a:lnTo>
                <a:lnTo>
                  <a:pt x="-1576" y="33039"/>
                </a:lnTo>
                <a:lnTo>
                  <a:pt x="-1528" y="33235"/>
                </a:lnTo>
                <a:cubicBezTo>
                  <a:pt x="1904" y="34187"/>
                  <a:pt x="4669" y="35052"/>
                  <a:pt x="6672" y="35713"/>
                </a:cubicBezTo>
                <a:cubicBezTo>
                  <a:pt x="8746" y="36403"/>
                  <a:pt x="11916" y="37550"/>
                  <a:pt x="16207" y="39198"/>
                </a:cubicBezTo>
                <a:lnTo>
                  <a:pt x="16850" y="38743"/>
                </a:lnTo>
                <a:lnTo>
                  <a:pt x="16731" y="36021"/>
                </a:lnTo>
                <a:lnTo>
                  <a:pt x="16517" y="33142"/>
                </a:lnTo>
                <a:cubicBezTo>
                  <a:pt x="16445" y="31474"/>
                  <a:pt x="16373" y="27149"/>
                  <a:pt x="16302" y="20236"/>
                </a:cubicBezTo>
                <a:lnTo>
                  <a:pt x="16302" y="15940"/>
                </a:lnTo>
                <a:cubicBezTo>
                  <a:pt x="16302" y="11737"/>
                  <a:pt x="16302" y="8857"/>
                  <a:pt x="16326" y="7238"/>
                </a:cubicBezTo>
                <a:cubicBezTo>
                  <a:pt x="16373" y="4731"/>
                  <a:pt x="16517" y="3294"/>
                  <a:pt x="16731" y="2867"/>
                </a:cubicBezTo>
                <a:lnTo>
                  <a:pt x="17279" y="2297"/>
                </a:lnTo>
                <a:cubicBezTo>
                  <a:pt x="17756" y="2028"/>
                  <a:pt x="19186" y="1870"/>
                  <a:pt x="21475" y="1749"/>
                </a:cubicBezTo>
                <a:lnTo>
                  <a:pt x="23382" y="1598"/>
                </a:lnTo>
                <a:lnTo>
                  <a:pt x="23382" y="-730"/>
                </a:lnTo>
                <a:cubicBezTo>
                  <a:pt x="19186" y="-572"/>
                  <a:pt x="15777" y="-451"/>
                  <a:pt x="13203" y="-451"/>
                </a:cubicBezTo>
                <a:cubicBezTo>
                  <a:pt x="11391" y="-451"/>
                  <a:pt x="7268" y="-572"/>
                  <a:pt x="879" y="-730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84" name="Vrije vorm 2085">
            <a:extLst>
              <a:ext uri="{FF2B5EF4-FFF2-40B4-BE49-F238E27FC236}">
                <a16:creationId xmlns:a16="http://schemas.microsoft.com/office/drawing/2014/main" id="{9046F6CD-2FA6-4348-B854-E4BB3D65E87C}"/>
              </a:ext>
            </a:extLst>
          </p:cNvPr>
          <p:cNvSpPr/>
          <p:nvPr/>
        </p:nvSpPr>
        <p:spPr>
          <a:xfrm flipV="1">
            <a:off x="916490" y="1035688"/>
            <a:ext cx="68453" cy="106312"/>
          </a:xfrm>
          <a:custGeom>
            <a:avLst/>
            <a:gdLst>
              <a:gd name="connsiteX0" fmla="*/ 845 w 24933"/>
              <a:gd name="connsiteY0" fmla="*/ -730 h 39928"/>
              <a:gd name="connsiteX1" fmla="*/ 845 w 24933"/>
              <a:gd name="connsiteY1" fmla="*/ 1598 h 39928"/>
              <a:gd name="connsiteX2" fmla="*/ 6352 w 24933"/>
              <a:gd name="connsiteY2" fmla="*/ 2149 h 39928"/>
              <a:gd name="connsiteX3" fmla="*/ 7639 w 24933"/>
              <a:gd name="connsiteY3" fmla="*/ 2698 h 39928"/>
              <a:gd name="connsiteX4" fmla="*/ 8235 w 24933"/>
              <a:gd name="connsiteY4" fmla="*/ 4256 h 39928"/>
              <a:gd name="connsiteX5" fmla="*/ 8592 w 24933"/>
              <a:gd name="connsiteY5" fmla="*/ 14318 h 39928"/>
              <a:gd name="connsiteX6" fmla="*/ 8592 w 24933"/>
              <a:gd name="connsiteY6" fmla="*/ 21262 h 39928"/>
              <a:gd name="connsiteX7" fmla="*/ 8545 w 24933"/>
              <a:gd name="connsiteY7" fmla="*/ 29032 h 39928"/>
              <a:gd name="connsiteX8" fmla="*/ 8473 w 24933"/>
              <a:gd name="connsiteY8" fmla="*/ 31567 h 39928"/>
              <a:gd name="connsiteX9" fmla="*/ 8306 w 24933"/>
              <a:gd name="connsiteY9" fmla="*/ 32712 h 39928"/>
              <a:gd name="connsiteX10" fmla="*/ 7853 w 24933"/>
              <a:gd name="connsiteY10" fmla="*/ 32994 h 39928"/>
              <a:gd name="connsiteX11" fmla="*/ 6590 w 24933"/>
              <a:gd name="connsiteY11" fmla="*/ 32500 h 39928"/>
              <a:gd name="connsiteX12" fmla="*/ -633 w 24933"/>
              <a:gd name="connsiteY12" fmla="*/ 29201 h 39928"/>
              <a:gd name="connsiteX13" fmla="*/ -990 w 24933"/>
              <a:gd name="connsiteY13" fmla="*/ 29397 h 39928"/>
              <a:gd name="connsiteX14" fmla="*/ -1300 w 24933"/>
              <a:gd name="connsiteY14" fmla="*/ 31260 h 39928"/>
              <a:gd name="connsiteX15" fmla="*/ -1586 w 24933"/>
              <a:gd name="connsiteY15" fmla="*/ 33039 h 39928"/>
              <a:gd name="connsiteX16" fmla="*/ -1538 w 24933"/>
              <a:gd name="connsiteY16" fmla="*/ 33235 h 39928"/>
              <a:gd name="connsiteX17" fmla="*/ 6661 w 24933"/>
              <a:gd name="connsiteY17" fmla="*/ 35713 h 39928"/>
              <a:gd name="connsiteX18" fmla="*/ 16268 w 24933"/>
              <a:gd name="connsiteY18" fmla="*/ 39198 h 39928"/>
              <a:gd name="connsiteX19" fmla="*/ 16864 w 24933"/>
              <a:gd name="connsiteY19" fmla="*/ 38743 h 39928"/>
              <a:gd name="connsiteX20" fmla="*/ 16673 w 24933"/>
              <a:gd name="connsiteY20" fmla="*/ 36021 h 39928"/>
              <a:gd name="connsiteX21" fmla="*/ 16530 w 24933"/>
              <a:gd name="connsiteY21" fmla="*/ 33142 h 39928"/>
              <a:gd name="connsiteX22" fmla="*/ 16268 w 24933"/>
              <a:gd name="connsiteY22" fmla="*/ 20236 h 39928"/>
              <a:gd name="connsiteX23" fmla="*/ 16268 w 24933"/>
              <a:gd name="connsiteY23" fmla="*/ 15940 h 39928"/>
              <a:gd name="connsiteX24" fmla="*/ 16363 w 24933"/>
              <a:gd name="connsiteY24" fmla="*/ 7238 h 39928"/>
              <a:gd name="connsiteX25" fmla="*/ 16721 w 24933"/>
              <a:gd name="connsiteY25" fmla="*/ 2867 h 39928"/>
              <a:gd name="connsiteX26" fmla="*/ 17317 w 24933"/>
              <a:gd name="connsiteY26" fmla="*/ 2297 h 39928"/>
              <a:gd name="connsiteX27" fmla="*/ 21488 w 24933"/>
              <a:gd name="connsiteY27" fmla="*/ 1749 h 39928"/>
              <a:gd name="connsiteX28" fmla="*/ 23348 w 24933"/>
              <a:gd name="connsiteY28" fmla="*/ 1598 h 39928"/>
              <a:gd name="connsiteX29" fmla="*/ 23348 w 24933"/>
              <a:gd name="connsiteY29" fmla="*/ -730 h 39928"/>
              <a:gd name="connsiteX30" fmla="*/ 13145 w 24933"/>
              <a:gd name="connsiteY30" fmla="*/ -451 h 39928"/>
              <a:gd name="connsiteX31" fmla="*/ 845 w 24933"/>
              <a:gd name="connsiteY31" fmla="*/ -730 h 39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33" h="39928">
                <a:moveTo>
                  <a:pt x="845" y="-730"/>
                </a:moveTo>
                <a:lnTo>
                  <a:pt x="845" y="1598"/>
                </a:lnTo>
                <a:lnTo>
                  <a:pt x="6352" y="2149"/>
                </a:lnTo>
                <a:lnTo>
                  <a:pt x="7639" y="2698"/>
                </a:lnTo>
                <a:lnTo>
                  <a:pt x="8235" y="4256"/>
                </a:lnTo>
                <a:cubicBezTo>
                  <a:pt x="8473" y="5756"/>
                  <a:pt x="8592" y="9120"/>
                  <a:pt x="8592" y="14318"/>
                </a:cubicBezTo>
                <a:lnTo>
                  <a:pt x="8592" y="21262"/>
                </a:lnTo>
                <a:cubicBezTo>
                  <a:pt x="8592" y="23693"/>
                  <a:pt x="8592" y="26245"/>
                  <a:pt x="8545" y="29032"/>
                </a:cubicBezTo>
                <a:lnTo>
                  <a:pt x="8473" y="31567"/>
                </a:lnTo>
                <a:lnTo>
                  <a:pt x="8306" y="32712"/>
                </a:lnTo>
                <a:lnTo>
                  <a:pt x="7853" y="32994"/>
                </a:lnTo>
                <a:lnTo>
                  <a:pt x="6590" y="32500"/>
                </a:lnTo>
                <a:cubicBezTo>
                  <a:pt x="2776" y="30849"/>
                  <a:pt x="416" y="29704"/>
                  <a:pt x="-633" y="29201"/>
                </a:cubicBezTo>
                <a:lnTo>
                  <a:pt x="-990" y="29397"/>
                </a:lnTo>
                <a:lnTo>
                  <a:pt x="-1300" y="31260"/>
                </a:lnTo>
                <a:lnTo>
                  <a:pt x="-1586" y="33039"/>
                </a:lnTo>
                <a:lnTo>
                  <a:pt x="-1538" y="33235"/>
                </a:lnTo>
                <a:cubicBezTo>
                  <a:pt x="1870" y="34187"/>
                  <a:pt x="4635" y="35052"/>
                  <a:pt x="6661" y="35713"/>
                </a:cubicBezTo>
                <a:cubicBezTo>
                  <a:pt x="8712" y="36403"/>
                  <a:pt x="11906" y="37550"/>
                  <a:pt x="16268" y="39198"/>
                </a:cubicBezTo>
                <a:lnTo>
                  <a:pt x="16864" y="38743"/>
                </a:lnTo>
                <a:lnTo>
                  <a:pt x="16673" y="36021"/>
                </a:lnTo>
                <a:lnTo>
                  <a:pt x="16530" y="33142"/>
                </a:lnTo>
                <a:cubicBezTo>
                  <a:pt x="16459" y="31474"/>
                  <a:pt x="16363" y="27149"/>
                  <a:pt x="16268" y="20236"/>
                </a:cubicBezTo>
                <a:lnTo>
                  <a:pt x="16268" y="15940"/>
                </a:lnTo>
                <a:cubicBezTo>
                  <a:pt x="16268" y="11737"/>
                  <a:pt x="16292" y="8857"/>
                  <a:pt x="16363" y="7238"/>
                </a:cubicBezTo>
                <a:cubicBezTo>
                  <a:pt x="16411" y="4731"/>
                  <a:pt x="16530" y="3294"/>
                  <a:pt x="16721" y="2867"/>
                </a:cubicBezTo>
                <a:lnTo>
                  <a:pt x="17317" y="2297"/>
                </a:lnTo>
                <a:cubicBezTo>
                  <a:pt x="17770" y="2028"/>
                  <a:pt x="19152" y="1870"/>
                  <a:pt x="21488" y="1749"/>
                </a:cubicBezTo>
                <a:lnTo>
                  <a:pt x="23348" y="1598"/>
                </a:lnTo>
                <a:lnTo>
                  <a:pt x="23348" y="-730"/>
                </a:lnTo>
                <a:cubicBezTo>
                  <a:pt x="19176" y="-572"/>
                  <a:pt x="15767" y="-451"/>
                  <a:pt x="13145" y="-451"/>
                </a:cubicBezTo>
                <a:cubicBezTo>
                  <a:pt x="11381" y="-451"/>
                  <a:pt x="7305" y="-572"/>
                  <a:pt x="845" y="-730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85" name="Vrije vorm 2086">
            <a:extLst>
              <a:ext uri="{FF2B5EF4-FFF2-40B4-BE49-F238E27FC236}">
                <a16:creationId xmlns:a16="http://schemas.microsoft.com/office/drawing/2014/main" id="{442C39DB-AF53-42E9-8EA3-410AF930B0B3}"/>
              </a:ext>
            </a:extLst>
          </p:cNvPr>
          <p:cNvSpPr/>
          <p:nvPr/>
        </p:nvSpPr>
        <p:spPr>
          <a:xfrm flipV="1">
            <a:off x="1149280" y="1181278"/>
            <a:ext cx="98689" cy="302518"/>
          </a:xfrm>
          <a:custGeom>
            <a:avLst/>
            <a:gdLst>
              <a:gd name="connsiteX0" fmla="*/ 8321 w 35946"/>
              <a:gd name="connsiteY0" fmla="*/ -686 h 113618"/>
              <a:gd name="connsiteX1" fmla="*/ 5913 w 35946"/>
              <a:gd name="connsiteY1" fmla="*/ 68307 h 113618"/>
              <a:gd name="connsiteX2" fmla="*/ 5699 w 35946"/>
              <a:gd name="connsiteY2" fmla="*/ 90420 h 113618"/>
              <a:gd name="connsiteX3" fmla="*/ 5913 w 35946"/>
              <a:gd name="connsiteY3" fmla="*/ 72818 h 113618"/>
              <a:gd name="connsiteX4" fmla="*/ 8536 w 35946"/>
              <a:gd name="connsiteY4" fmla="*/ -593 h 113618"/>
              <a:gd name="connsiteX5" fmla="*/ 8321 w 35946"/>
              <a:gd name="connsiteY5" fmla="*/ -686 h 113618"/>
              <a:gd name="connsiteX6" fmla="*/ 22313 w 35946"/>
              <a:gd name="connsiteY6" fmla="*/ 320 h 113618"/>
              <a:gd name="connsiteX7" fmla="*/ 22147 w 35946"/>
              <a:gd name="connsiteY7" fmla="*/ 339 h 113618"/>
              <a:gd name="connsiteX8" fmla="*/ 24507 w 35946"/>
              <a:gd name="connsiteY8" fmla="*/ 65251 h 113618"/>
              <a:gd name="connsiteX9" fmla="*/ 24888 w 35946"/>
              <a:gd name="connsiteY9" fmla="*/ 83142 h 113618"/>
              <a:gd name="connsiteX10" fmla="*/ 24912 w 35946"/>
              <a:gd name="connsiteY10" fmla="*/ 78323 h 113618"/>
              <a:gd name="connsiteX11" fmla="*/ 24507 w 35946"/>
              <a:gd name="connsiteY11" fmla="*/ 60695 h 113618"/>
              <a:gd name="connsiteX12" fmla="*/ 22313 w 35946"/>
              <a:gd name="connsiteY12" fmla="*/ 320 h 113618"/>
              <a:gd name="connsiteX13" fmla="*/ -1619 w 35946"/>
              <a:gd name="connsiteY13" fmla="*/ 105804 h 113618"/>
              <a:gd name="connsiteX14" fmla="*/ -856 w 35946"/>
              <a:gd name="connsiteY14" fmla="*/ 107286 h 113618"/>
              <a:gd name="connsiteX15" fmla="*/ -618 w 35946"/>
              <a:gd name="connsiteY15" fmla="*/ 107286 h 113618"/>
              <a:gd name="connsiteX16" fmla="*/ -570 w 35946"/>
              <a:gd name="connsiteY16" fmla="*/ 107546 h 113618"/>
              <a:gd name="connsiteX17" fmla="*/ -356 w 35946"/>
              <a:gd name="connsiteY17" fmla="*/ 108218 h 113618"/>
              <a:gd name="connsiteX18" fmla="*/ 979 w 35946"/>
              <a:gd name="connsiteY18" fmla="*/ 110501 h 113618"/>
              <a:gd name="connsiteX19" fmla="*/ 1194 w 35946"/>
              <a:gd name="connsiteY19" fmla="*/ 110528 h 113618"/>
              <a:gd name="connsiteX20" fmla="*/ 6295 w 35946"/>
              <a:gd name="connsiteY20" fmla="*/ 110761 h 113618"/>
              <a:gd name="connsiteX21" fmla="*/ 5937 w 35946"/>
              <a:gd name="connsiteY21" fmla="*/ 106234 h 113618"/>
              <a:gd name="connsiteX22" fmla="*/ 1194 w 35946"/>
              <a:gd name="connsiteY22" fmla="*/ 106000 h 113618"/>
              <a:gd name="connsiteX23" fmla="*/ -1619 w 35946"/>
              <a:gd name="connsiteY23" fmla="*/ 105804 h 113618"/>
              <a:gd name="connsiteX24" fmla="*/ 26199 w 35946"/>
              <a:gd name="connsiteY24" fmla="*/ 108357 h 113618"/>
              <a:gd name="connsiteX25" fmla="*/ 24816 w 35946"/>
              <a:gd name="connsiteY25" fmla="*/ 108450 h 113618"/>
              <a:gd name="connsiteX26" fmla="*/ 24816 w 35946"/>
              <a:gd name="connsiteY26" fmla="*/ 108693 h 113618"/>
              <a:gd name="connsiteX27" fmla="*/ 24507 w 35946"/>
              <a:gd name="connsiteY27" fmla="*/ 112932 h 113618"/>
              <a:gd name="connsiteX28" fmla="*/ 26199 w 35946"/>
              <a:gd name="connsiteY28" fmla="*/ 112839 h 113618"/>
              <a:gd name="connsiteX29" fmla="*/ 31658 w 35946"/>
              <a:gd name="connsiteY29" fmla="*/ 112868 h 113618"/>
              <a:gd name="connsiteX30" fmla="*/ 32087 w 35946"/>
              <a:gd name="connsiteY30" fmla="*/ 112913 h 113618"/>
              <a:gd name="connsiteX31" fmla="*/ 32635 w 35946"/>
              <a:gd name="connsiteY31" fmla="*/ 111890 h 113618"/>
              <a:gd name="connsiteX32" fmla="*/ 34328 w 35946"/>
              <a:gd name="connsiteY32" fmla="*/ 108526 h 113618"/>
              <a:gd name="connsiteX33" fmla="*/ 31658 w 35946"/>
              <a:gd name="connsiteY33" fmla="*/ 108385 h 113618"/>
              <a:gd name="connsiteX34" fmla="*/ 26199 w 35946"/>
              <a:gd name="connsiteY34" fmla="*/ 108357 h 11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35946" h="113618">
                <a:moveTo>
                  <a:pt x="8321" y="-686"/>
                </a:moveTo>
                <a:cubicBezTo>
                  <a:pt x="7320" y="22126"/>
                  <a:pt x="6033" y="61747"/>
                  <a:pt x="5913" y="68307"/>
                </a:cubicBezTo>
                <a:cubicBezTo>
                  <a:pt x="5866" y="72119"/>
                  <a:pt x="5675" y="81661"/>
                  <a:pt x="5699" y="90420"/>
                </a:cubicBezTo>
                <a:cubicBezTo>
                  <a:pt x="5723" y="83094"/>
                  <a:pt x="5866" y="75986"/>
                  <a:pt x="5913" y="72818"/>
                </a:cubicBezTo>
                <a:cubicBezTo>
                  <a:pt x="6057" y="65819"/>
                  <a:pt x="7511" y="21072"/>
                  <a:pt x="8536" y="-593"/>
                </a:cubicBezTo>
                <a:cubicBezTo>
                  <a:pt x="8464" y="-639"/>
                  <a:pt x="8393" y="-658"/>
                  <a:pt x="8321" y="-686"/>
                </a:cubicBezTo>
                <a:moveTo>
                  <a:pt x="22313" y="320"/>
                </a:moveTo>
                <a:cubicBezTo>
                  <a:pt x="22266" y="320"/>
                  <a:pt x="22218" y="339"/>
                  <a:pt x="22147" y="339"/>
                </a:cubicBezTo>
                <a:cubicBezTo>
                  <a:pt x="22885" y="20952"/>
                  <a:pt x="24292" y="60955"/>
                  <a:pt x="24507" y="65251"/>
                </a:cubicBezTo>
                <a:cubicBezTo>
                  <a:pt x="24697" y="68262"/>
                  <a:pt x="24816" y="75742"/>
                  <a:pt x="24888" y="83142"/>
                </a:cubicBezTo>
                <a:cubicBezTo>
                  <a:pt x="24888" y="80831"/>
                  <a:pt x="24888" y="79042"/>
                  <a:pt x="24912" y="78323"/>
                </a:cubicBezTo>
                <a:cubicBezTo>
                  <a:pt x="25007" y="72481"/>
                  <a:pt x="24864" y="66565"/>
                  <a:pt x="24507" y="60695"/>
                </a:cubicBezTo>
                <a:cubicBezTo>
                  <a:pt x="24316" y="56735"/>
                  <a:pt x="23076" y="21744"/>
                  <a:pt x="22313" y="320"/>
                </a:cubicBezTo>
                <a:moveTo>
                  <a:pt x="-1619" y="105804"/>
                </a:moveTo>
                <a:lnTo>
                  <a:pt x="-856" y="107286"/>
                </a:lnTo>
                <a:lnTo>
                  <a:pt x="-618" y="107286"/>
                </a:lnTo>
                <a:lnTo>
                  <a:pt x="-570" y="107546"/>
                </a:lnTo>
                <a:lnTo>
                  <a:pt x="-356" y="108218"/>
                </a:lnTo>
                <a:cubicBezTo>
                  <a:pt x="73" y="108982"/>
                  <a:pt x="526" y="109736"/>
                  <a:pt x="979" y="110501"/>
                </a:cubicBezTo>
                <a:lnTo>
                  <a:pt x="1194" y="110528"/>
                </a:lnTo>
                <a:lnTo>
                  <a:pt x="6295" y="110761"/>
                </a:lnTo>
                <a:cubicBezTo>
                  <a:pt x="6152" y="109671"/>
                  <a:pt x="6033" y="108116"/>
                  <a:pt x="5937" y="106234"/>
                </a:cubicBezTo>
                <a:lnTo>
                  <a:pt x="1194" y="106000"/>
                </a:lnTo>
                <a:lnTo>
                  <a:pt x="-1619" y="105804"/>
                </a:lnTo>
                <a:moveTo>
                  <a:pt x="26199" y="108357"/>
                </a:moveTo>
                <a:lnTo>
                  <a:pt x="24816" y="108450"/>
                </a:lnTo>
                <a:cubicBezTo>
                  <a:pt x="24816" y="108526"/>
                  <a:pt x="24816" y="108619"/>
                  <a:pt x="24816" y="108693"/>
                </a:cubicBezTo>
                <a:lnTo>
                  <a:pt x="24507" y="112932"/>
                </a:lnTo>
                <a:lnTo>
                  <a:pt x="26199" y="112839"/>
                </a:lnTo>
                <a:lnTo>
                  <a:pt x="31658" y="112868"/>
                </a:lnTo>
                <a:lnTo>
                  <a:pt x="32087" y="112913"/>
                </a:lnTo>
                <a:cubicBezTo>
                  <a:pt x="32278" y="112550"/>
                  <a:pt x="32444" y="112224"/>
                  <a:pt x="32635" y="111890"/>
                </a:cubicBezTo>
                <a:lnTo>
                  <a:pt x="34328" y="108526"/>
                </a:lnTo>
                <a:lnTo>
                  <a:pt x="31658" y="108385"/>
                </a:lnTo>
                <a:lnTo>
                  <a:pt x="26199" y="108357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86" name="Vrije vorm 2087">
            <a:extLst>
              <a:ext uri="{FF2B5EF4-FFF2-40B4-BE49-F238E27FC236}">
                <a16:creationId xmlns:a16="http://schemas.microsoft.com/office/drawing/2014/main" id="{B29302B3-764E-4E3E-A7B6-1A1F9C1CA400}"/>
              </a:ext>
            </a:extLst>
          </p:cNvPr>
          <p:cNvSpPr/>
          <p:nvPr/>
        </p:nvSpPr>
        <p:spPr>
          <a:xfrm rot="12242661" flipV="1">
            <a:off x="1047704" y="1486571"/>
            <a:ext cx="98689" cy="397221"/>
          </a:xfrm>
          <a:custGeom>
            <a:avLst/>
            <a:gdLst>
              <a:gd name="connsiteX0" fmla="*/ 32635 w 35946"/>
              <a:gd name="connsiteY0" fmla="*/ 128557 h 149186"/>
              <a:gd name="connsiteX1" fmla="*/ 24507 w 35946"/>
              <a:gd name="connsiteY1" fmla="*/ 140699 h 149186"/>
              <a:gd name="connsiteX2" fmla="*/ 17188 w 35946"/>
              <a:gd name="connsiteY2" fmla="*/ 148497 h 149186"/>
              <a:gd name="connsiteX3" fmla="*/ 16020 w 35946"/>
              <a:gd name="connsiteY3" fmla="*/ 147378 h 149186"/>
              <a:gd name="connsiteX4" fmla="*/ 16092 w 35946"/>
              <a:gd name="connsiteY4" fmla="*/ 147304 h 149186"/>
              <a:gd name="connsiteX5" fmla="*/ 15067 w 35946"/>
              <a:gd name="connsiteY5" fmla="*/ 146355 h 149186"/>
              <a:gd name="connsiteX6" fmla="*/ 11920 w 35946"/>
              <a:gd name="connsiteY6" fmla="*/ 142627 h 149186"/>
              <a:gd name="connsiteX7" fmla="*/ 5818 w 35946"/>
              <a:gd name="connsiteY7" fmla="*/ 134595 h 149186"/>
              <a:gd name="connsiteX8" fmla="*/ -356 w 35946"/>
              <a:gd name="connsiteY8" fmla="*/ 124886 h 149186"/>
              <a:gd name="connsiteX9" fmla="*/ -570 w 35946"/>
              <a:gd name="connsiteY9" fmla="*/ 124261 h 149186"/>
              <a:gd name="connsiteX10" fmla="*/ -618 w 35946"/>
              <a:gd name="connsiteY10" fmla="*/ 124001 h 149186"/>
              <a:gd name="connsiteX11" fmla="*/ -761 w 35946"/>
              <a:gd name="connsiteY11" fmla="*/ 123982 h 149186"/>
              <a:gd name="connsiteX12" fmla="*/ -1619 w 35946"/>
              <a:gd name="connsiteY12" fmla="*/ 122472 h 149186"/>
              <a:gd name="connsiteX13" fmla="*/ 1194 w 35946"/>
              <a:gd name="connsiteY13" fmla="*/ 122712 h 149186"/>
              <a:gd name="connsiteX14" fmla="*/ 6295 w 35946"/>
              <a:gd name="connsiteY14" fmla="*/ 122946 h 149186"/>
              <a:gd name="connsiteX15" fmla="*/ 5913 w 35946"/>
              <a:gd name="connsiteY15" fmla="*/ 85003 h 149186"/>
              <a:gd name="connsiteX16" fmla="*/ 9012 w 35946"/>
              <a:gd name="connsiteY16" fmla="*/ 2796 h 149186"/>
              <a:gd name="connsiteX17" fmla="*/ 8917 w 35946"/>
              <a:gd name="connsiteY17" fmla="*/ 1911 h 149186"/>
              <a:gd name="connsiteX18" fmla="*/ 8965 w 35946"/>
              <a:gd name="connsiteY18" fmla="*/ 1174 h 149186"/>
              <a:gd name="connsiteX19" fmla="*/ 9012 w 35946"/>
              <a:gd name="connsiteY19" fmla="*/ 933 h 149186"/>
              <a:gd name="connsiteX20" fmla="*/ 10657 w 35946"/>
              <a:gd name="connsiteY20" fmla="*/ -353 h 149186"/>
              <a:gd name="connsiteX21" fmla="*/ 13232 w 35946"/>
              <a:gd name="connsiteY21" fmla="*/ -446 h 149186"/>
              <a:gd name="connsiteX22" fmla="*/ 17546 w 35946"/>
              <a:gd name="connsiteY22" fmla="*/ -689 h 149186"/>
              <a:gd name="connsiteX23" fmla="*/ 21098 w 35946"/>
              <a:gd name="connsiteY23" fmla="*/ 625 h 149186"/>
              <a:gd name="connsiteX24" fmla="*/ 21122 w 35946"/>
              <a:gd name="connsiteY24" fmla="*/ 718 h 149186"/>
              <a:gd name="connsiteX25" fmla="*/ 21717 w 35946"/>
              <a:gd name="connsiteY25" fmla="*/ 792 h 149186"/>
              <a:gd name="connsiteX26" fmla="*/ 24507 w 35946"/>
              <a:gd name="connsiteY26" fmla="*/ 77436 h 149186"/>
              <a:gd name="connsiteX27" fmla="*/ 24912 w 35946"/>
              <a:gd name="connsiteY27" fmla="*/ 112221 h 149186"/>
              <a:gd name="connsiteX28" fmla="*/ 24816 w 35946"/>
              <a:gd name="connsiteY28" fmla="*/ 120878 h 149186"/>
              <a:gd name="connsiteX29" fmla="*/ 24507 w 35946"/>
              <a:gd name="connsiteY29" fmla="*/ 125117 h 149186"/>
              <a:gd name="connsiteX30" fmla="*/ 26199 w 35946"/>
              <a:gd name="connsiteY30" fmla="*/ 125024 h 149186"/>
              <a:gd name="connsiteX31" fmla="*/ 31658 w 35946"/>
              <a:gd name="connsiteY31" fmla="*/ 125053 h 149186"/>
              <a:gd name="connsiteX32" fmla="*/ 34328 w 35946"/>
              <a:gd name="connsiteY32" fmla="*/ 125220 h 149186"/>
              <a:gd name="connsiteX33" fmla="*/ 32635 w 35946"/>
              <a:gd name="connsiteY33" fmla="*/ 128557 h 14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946" h="149186">
                <a:moveTo>
                  <a:pt x="32635" y="128557"/>
                </a:moveTo>
                <a:cubicBezTo>
                  <a:pt x="30347" y="132972"/>
                  <a:pt x="27844" y="136999"/>
                  <a:pt x="24507" y="140699"/>
                </a:cubicBezTo>
                <a:cubicBezTo>
                  <a:pt x="22242" y="143297"/>
                  <a:pt x="19763" y="146019"/>
                  <a:pt x="17188" y="148497"/>
                </a:cubicBezTo>
                <a:lnTo>
                  <a:pt x="16020" y="147378"/>
                </a:lnTo>
                <a:lnTo>
                  <a:pt x="16092" y="147304"/>
                </a:lnTo>
                <a:lnTo>
                  <a:pt x="15067" y="146355"/>
                </a:lnTo>
                <a:lnTo>
                  <a:pt x="11920" y="142627"/>
                </a:lnTo>
                <a:cubicBezTo>
                  <a:pt x="9823" y="139981"/>
                  <a:pt x="7797" y="137362"/>
                  <a:pt x="5818" y="134595"/>
                </a:cubicBezTo>
                <a:cubicBezTo>
                  <a:pt x="3601" y="131446"/>
                  <a:pt x="1527" y="128249"/>
                  <a:pt x="-356" y="124886"/>
                </a:cubicBezTo>
                <a:lnTo>
                  <a:pt x="-570" y="124261"/>
                </a:lnTo>
                <a:lnTo>
                  <a:pt x="-618" y="124001"/>
                </a:lnTo>
                <a:lnTo>
                  <a:pt x="-761" y="123982"/>
                </a:lnTo>
                <a:lnTo>
                  <a:pt x="-1619" y="122472"/>
                </a:lnTo>
                <a:lnTo>
                  <a:pt x="1194" y="122712"/>
                </a:lnTo>
                <a:lnTo>
                  <a:pt x="6295" y="122946"/>
                </a:lnTo>
                <a:cubicBezTo>
                  <a:pt x="5317" y="116152"/>
                  <a:pt x="5818" y="91749"/>
                  <a:pt x="5913" y="85003"/>
                </a:cubicBezTo>
                <a:cubicBezTo>
                  <a:pt x="6080" y="76811"/>
                  <a:pt x="8059" y="16866"/>
                  <a:pt x="9012" y="2796"/>
                </a:cubicBezTo>
                <a:lnTo>
                  <a:pt x="8917" y="1911"/>
                </a:lnTo>
                <a:lnTo>
                  <a:pt x="8965" y="1174"/>
                </a:lnTo>
                <a:lnTo>
                  <a:pt x="9012" y="933"/>
                </a:lnTo>
                <a:lnTo>
                  <a:pt x="10657" y="-353"/>
                </a:lnTo>
                <a:lnTo>
                  <a:pt x="13232" y="-446"/>
                </a:lnTo>
                <a:lnTo>
                  <a:pt x="17546" y="-689"/>
                </a:lnTo>
                <a:lnTo>
                  <a:pt x="21098" y="625"/>
                </a:lnTo>
                <a:lnTo>
                  <a:pt x="21122" y="718"/>
                </a:lnTo>
                <a:lnTo>
                  <a:pt x="21717" y="792"/>
                </a:lnTo>
                <a:cubicBezTo>
                  <a:pt x="21980" y="6374"/>
                  <a:pt x="24221" y="71854"/>
                  <a:pt x="24507" y="77436"/>
                </a:cubicBezTo>
                <a:cubicBezTo>
                  <a:pt x="24864" y="83306"/>
                  <a:pt x="25007" y="106322"/>
                  <a:pt x="24912" y="112221"/>
                </a:cubicBezTo>
                <a:cubicBezTo>
                  <a:pt x="24888" y="115081"/>
                  <a:pt x="24793" y="117989"/>
                  <a:pt x="24816" y="120878"/>
                </a:cubicBezTo>
                <a:lnTo>
                  <a:pt x="24507" y="125117"/>
                </a:lnTo>
                <a:lnTo>
                  <a:pt x="26199" y="125024"/>
                </a:lnTo>
                <a:lnTo>
                  <a:pt x="31658" y="125053"/>
                </a:lnTo>
                <a:lnTo>
                  <a:pt x="34328" y="125220"/>
                </a:lnTo>
                <a:lnTo>
                  <a:pt x="32635" y="128557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88" name="Vrije vorm 2089">
            <a:extLst>
              <a:ext uri="{FF2B5EF4-FFF2-40B4-BE49-F238E27FC236}">
                <a16:creationId xmlns:a16="http://schemas.microsoft.com/office/drawing/2014/main" id="{77B6F003-3EDB-498D-BA34-C9F5D0389852}"/>
              </a:ext>
            </a:extLst>
          </p:cNvPr>
          <p:cNvSpPr/>
          <p:nvPr/>
        </p:nvSpPr>
        <p:spPr>
          <a:xfrm flipV="1">
            <a:off x="1198951" y="1123662"/>
            <a:ext cx="12695" cy="356558"/>
          </a:xfrm>
          <a:custGeom>
            <a:avLst/>
            <a:gdLst>
              <a:gd name="connsiteX0" fmla="*/ 2885 w 4624"/>
              <a:gd name="connsiteY0" fmla="*/ -692 h 133914"/>
              <a:gd name="connsiteX1" fmla="*/ 2838 w 4624"/>
              <a:gd name="connsiteY1" fmla="*/ -692 h 133914"/>
              <a:gd name="connsiteX2" fmla="*/ 2981 w 4624"/>
              <a:gd name="connsiteY2" fmla="*/ 7490 h 133914"/>
              <a:gd name="connsiteX3" fmla="*/ 3004 w 4624"/>
              <a:gd name="connsiteY3" fmla="*/ 7490 h 133914"/>
              <a:gd name="connsiteX4" fmla="*/ 2885 w 4624"/>
              <a:gd name="connsiteY4" fmla="*/ -692 h 133914"/>
              <a:gd name="connsiteX5" fmla="*/ -1143 w 4624"/>
              <a:gd name="connsiteY5" fmla="*/ 132559 h 133914"/>
              <a:gd name="connsiteX6" fmla="*/ -1620 w 4624"/>
              <a:gd name="connsiteY6" fmla="*/ 133223 h 133914"/>
              <a:gd name="connsiteX7" fmla="*/ -1143 w 4624"/>
              <a:gd name="connsiteY7" fmla="*/ 132559 h 133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24" h="133914">
                <a:moveTo>
                  <a:pt x="2885" y="-692"/>
                </a:moveTo>
                <a:cubicBezTo>
                  <a:pt x="2862" y="-692"/>
                  <a:pt x="2862" y="-692"/>
                  <a:pt x="2838" y="-692"/>
                </a:cubicBezTo>
                <a:cubicBezTo>
                  <a:pt x="2885" y="1758"/>
                  <a:pt x="2933" y="4508"/>
                  <a:pt x="2981" y="7490"/>
                </a:cubicBezTo>
                <a:cubicBezTo>
                  <a:pt x="2981" y="7490"/>
                  <a:pt x="2981" y="7490"/>
                  <a:pt x="3004" y="7490"/>
                </a:cubicBezTo>
                <a:cubicBezTo>
                  <a:pt x="2957" y="4525"/>
                  <a:pt x="2909" y="1758"/>
                  <a:pt x="2885" y="-692"/>
                </a:cubicBezTo>
                <a:moveTo>
                  <a:pt x="-1143" y="132559"/>
                </a:moveTo>
                <a:cubicBezTo>
                  <a:pt x="-1310" y="132774"/>
                  <a:pt x="-1453" y="133008"/>
                  <a:pt x="-1620" y="133223"/>
                </a:cubicBezTo>
                <a:lnTo>
                  <a:pt x="-1143" y="132559"/>
                </a:lnTo>
              </a:path>
            </a:pathLst>
          </a:custGeom>
          <a:solidFill>
            <a:srgbClr val="2947A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89" name="Vrije vorm 2093">
            <a:extLst>
              <a:ext uri="{FF2B5EF4-FFF2-40B4-BE49-F238E27FC236}">
                <a16:creationId xmlns:a16="http://schemas.microsoft.com/office/drawing/2014/main" id="{B2F18B35-2629-47DD-887A-9273F0E8D801}"/>
              </a:ext>
            </a:extLst>
          </p:cNvPr>
          <p:cNvSpPr/>
          <p:nvPr/>
        </p:nvSpPr>
        <p:spPr>
          <a:xfrm flipV="1">
            <a:off x="9245080" y="4182570"/>
            <a:ext cx="1862167" cy="700090"/>
          </a:xfrm>
          <a:custGeom>
            <a:avLst/>
            <a:gdLst>
              <a:gd name="connsiteX0" fmla="*/ -2808 w 678265"/>
              <a:gd name="connsiteY0" fmla="*/ -115 h 262936"/>
              <a:gd name="connsiteX1" fmla="*/ 675458 w 678265"/>
              <a:gd name="connsiteY1" fmla="*/ -115 h 262936"/>
              <a:gd name="connsiteX2" fmla="*/ 675458 w 678265"/>
              <a:gd name="connsiteY2" fmla="*/ 262821 h 262936"/>
              <a:gd name="connsiteX3" fmla="*/ -2808 w 678265"/>
              <a:gd name="connsiteY3" fmla="*/ 262821 h 262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8265" h="262936">
                <a:moveTo>
                  <a:pt x="-2808" y="-115"/>
                </a:moveTo>
                <a:lnTo>
                  <a:pt x="675458" y="-115"/>
                </a:lnTo>
                <a:lnTo>
                  <a:pt x="675458" y="262821"/>
                </a:lnTo>
                <a:lnTo>
                  <a:pt x="-2808" y="262821"/>
                </a:lnTo>
                <a:close/>
              </a:path>
            </a:pathLst>
          </a:custGeom>
          <a:solidFill>
            <a:srgbClr val="9B9880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90" name="Vrije vorm 2094">
            <a:extLst>
              <a:ext uri="{FF2B5EF4-FFF2-40B4-BE49-F238E27FC236}">
                <a16:creationId xmlns:a16="http://schemas.microsoft.com/office/drawing/2014/main" id="{EE5A9D8C-F570-47F2-B920-8520C44DF7E4}"/>
              </a:ext>
            </a:extLst>
          </p:cNvPr>
          <p:cNvSpPr/>
          <p:nvPr/>
        </p:nvSpPr>
        <p:spPr>
          <a:xfrm flipV="1">
            <a:off x="9140106" y="749492"/>
            <a:ext cx="2063804" cy="4133168"/>
          </a:xfrm>
          <a:custGeom>
            <a:avLst/>
            <a:gdLst>
              <a:gd name="connsiteX0" fmla="*/ 748901 w 751708"/>
              <a:gd name="connsiteY0" fmla="*/ 1551892 h 1552313"/>
              <a:gd name="connsiteX1" fmla="*/ -2807 w 751708"/>
              <a:gd name="connsiteY1" fmla="*/ 1551892 h 1552313"/>
              <a:gd name="connsiteX2" fmla="*/ -2807 w 751708"/>
              <a:gd name="connsiteY2" fmla="*/ -422 h 1552313"/>
              <a:gd name="connsiteX3" fmla="*/ 35428 w 751708"/>
              <a:gd name="connsiteY3" fmla="*/ -422 h 1552313"/>
              <a:gd name="connsiteX4" fmla="*/ 35428 w 751708"/>
              <a:gd name="connsiteY4" fmla="*/ 1504499 h 1552313"/>
              <a:gd name="connsiteX5" fmla="*/ 710714 w 751708"/>
              <a:gd name="connsiteY5" fmla="*/ 1504499 h 1552313"/>
              <a:gd name="connsiteX6" fmla="*/ 710714 w 751708"/>
              <a:gd name="connsiteY6" fmla="*/ -422 h 1552313"/>
              <a:gd name="connsiteX7" fmla="*/ 748901 w 751708"/>
              <a:gd name="connsiteY7" fmla="*/ -422 h 1552313"/>
              <a:gd name="connsiteX8" fmla="*/ 748901 w 751708"/>
              <a:gd name="connsiteY8" fmla="*/ 1551892 h 1552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51708" h="1552313">
                <a:moveTo>
                  <a:pt x="748901" y="1551892"/>
                </a:moveTo>
                <a:lnTo>
                  <a:pt x="-2807" y="1551892"/>
                </a:lnTo>
                <a:lnTo>
                  <a:pt x="-2807" y="-422"/>
                </a:lnTo>
                <a:lnTo>
                  <a:pt x="35428" y="-422"/>
                </a:lnTo>
                <a:lnTo>
                  <a:pt x="35428" y="1504499"/>
                </a:lnTo>
                <a:lnTo>
                  <a:pt x="710714" y="1504499"/>
                </a:lnTo>
                <a:lnTo>
                  <a:pt x="710714" y="-422"/>
                </a:lnTo>
                <a:lnTo>
                  <a:pt x="748901" y="-422"/>
                </a:lnTo>
                <a:lnTo>
                  <a:pt x="748901" y="1551892"/>
                </a:lnTo>
              </a:path>
            </a:pathLst>
          </a:custGeom>
          <a:solidFill>
            <a:srgbClr val="B5462D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91" name="Vrije vorm 2095">
            <a:extLst>
              <a:ext uri="{FF2B5EF4-FFF2-40B4-BE49-F238E27FC236}">
                <a16:creationId xmlns:a16="http://schemas.microsoft.com/office/drawing/2014/main" id="{9EB2B8E3-C1EC-4976-9C5C-76FA816C1CCF}"/>
              </a:ext>
            </a:extLst>
          </p:cNvPr>
          <p:cNvSpPr/>
          <p:nvPr/>
        </p:nvSpPr>
        <p:spPr>
          <a:xfrm flipV="1">
            <a:off x="11099068" y="749492"/>
            <a:ext cx="104842" cy="4133168"/>
          </a:xfrm>
          <a:custGeom>
            <a:avLst/>
            <a:gdLst>
              <a:gd name="connsiteX0" fmla="*/ -2937 w 38187"/>
              <a:gd name="connsiteY0" fmla="*/ 1504499 h 1552313"/>
              <a:gd name="connsiteX1" fmla="*/ -2937 w 38187"/>
              <a:gd name="connsiteY1" fmla="*/ -422 h 1552313"/>
              <a:gd name="connsiteX2" fmla="*/ 35250 w 38187"/>
              <a:gd name="connsiteY2" fmla="*/ -422 h 1552313"/>
              <a:gd name="connsiteX3" fmla="*/ 35250 w 38187"/>
              <a:gd name="connsiteY3" fmla="*/ 1551892 h 1552313"/>
              <a:gd name="connsiteX4" fmla="*/ -2937 w 38187"/>
              <a:gd name="connsiteY4" fmla="*/ 1504499 h 1552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187" h="1552313">
                <a:moveTo>
                  <a:pt x="-2937" y="1504499"/>
                </a:moveTo>
                <a:lnTo>
                  <a:pt x="-2937" y="-422"/>
                </a:lnTo>
                <a:lnTo>
                  <a:pt x="35250" y="-422"/>
                </a:lnTo>
                <a:lnTo>
                  <a:pt x="35250" y="1551892"/>
                </a:lnTo>
                <a:lnTo>
                  <a:pt x="-2937" y="1504499"/>
                </a:lnTo>
              </a:path>
            </a:pathLst>
          </a:custGeom>
          <a:solidFill>
            <a:srgbClr val="80342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92" name="Vrije vorm 2096">
            <a:extLst>
              <a:ext uri="{FF2B5EF4-FFF2-40B4-BE49-F238E27FC236}">
                <a16:creationId xmlns:a16="http://schemas.microsoft.com/office/drawing/2014/main" id="{AAB51F14-2098-4626-BDF3-09C6A3C86B53}"/>
              </a:ext>
            </a:extLst>
          </p:cNvPr>
          <p:cNvSpPr/>
          <p:nvPr/>
        </p:nvSpPr>
        <p:spPr>
          <a:xfrm flipV="1">
            <a:off x="11099068" y="867617"/>
            <a:ext cx="21728" cy="4015040"/>
          </a:xfrm>
          <a:custGeom>
            <a:avLst/>
            <a:gdLst>
              <a:gd name="connsiteX0" fmla="*/ 4983 w 7914"/>
              <a:gd name="connsiteY0" fmla="*/ -411 h 1507947"/>
              <a:gd name="connsiteX1" fmla="*/ -2932 w 7914"/>
              <a:gd name="connsiteY1" fmla="*/ -411 h 1507947"/>
              <a:gd name="connsiteX2" fmla="*/ -2932 w 7914"/>
              <a:gd name="connsiteY2" fmla="*/ 1504510 h 1507947"/>
              <a:gd name="connsiteX3" fmla="*/ 48 w 7914"/>
              <a:gd name="connsiteY3" fmla="*/ 1507537 h 1507947"/>
              <a:gd name="connsiteX4" fmla="*/ 4983 w 7914"/>
              <a:gd name="connsiteY4" fmla="*/ 737498 h 1507947"/>
              <a:gd name="connsiteX5" fmla="*/ 4983 w 7914"/>
              <a:gd name="connsiteY5" fmla="*/ -411 h 1507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14" h="1507947">
                <a:moveTo>
                  <a:pt x="4983" y="-411"/>
                </a:moveTo>
                <a:lnTo>
                  <a:pt x="-2932" y="-411"/>
                </a:lnTo>
                <a:lnTo>
                  <a:pt x="-2932" y="1504510"/>
                </a:lnTo>
                <a:lnTo>
                  <a:pt x="48" y="1507537"/>
                </a:lnTo>
                <a:lnTo>
                  <a:pt x="4983" y="737498"/>
                </a:lnTo>
                <a:lnTo>
                  <a:pt x="4983" y="-411"/>
                </a:lnTo>
              </a:path>
            </a:pathLst>
          </a:custGeom>
          <a:solidFill>
            <a:srgbClr val="581F1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93" name="Vrije vorm 2097">
            <a:extLst>
              <a:ext uri="{FF2B5EF4-FFF2-40B4-BE49-F238E27FC236}">
                <a16:creationId xmlns:a16="http://schemas.microsoft.com/office/drawing/2014/main" id="{AE8E11FF-C511-4198-BA4C-4A8E56D3C1E4}"/>
              </a:ext>
            </a:extLst>
          </p:cNvPr>
          <p:cNvSpPr/>
          <p:nvPr/>
        </p:nvSpPr>
        <p:spPr>
          <a:xfrm flipV="1">
            <a:off x="9140106" y="749492"/>
            <a:ext cx="104974" cy="4133168"/>
          </a:xfrm>
          <a:custGeom>
            <a:avLst/>
            <a:gdLst>
              <a:gd name="connsiteX0" fmla="*/ -2678 w 38235"/>
              <a:gd name="connsiteY0" fmla="*/ 1551892 h 1552313"/>
              <a:gd name="connsiteX1" fmla="*/ -2678 w 38235"/>
              <a:gd name="connsiteY1" fmla="*/ -422 h 1552313"/>
              <a:gd name="connsiteX2" fmla="*/ 35557 w 38235"/>
              <a:gd name="connsiteY2" fmla="*/ -422 h 1552313"/>
              <a:gd name="connsiteX3" fmla="*/ 35557 w 38235"/>
              <a:gd name="connsiteY3" fmla="*/ 1504499 h 1552313"/>
              <a:gd name="connsiteX4" fmla="*/ -2678 w 38235"/>
              <a:gd name="connsiteY4" fmla="*/ 1551892 h 1552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235" h="1552313">
                <a:moveTo>
                  <a:pt x="-2678" y="1551892"/>
                </a:moveTo>
                <a:lnTo>
                  <a:pt x="-2678" y="-422"/>
                </a:lnTo>
                <a:lnTo>
                  <a:pt x="35557" y="-422"/>
                </a:lnTo>
                <a:lnTo>
                  <a:pt x="35557" y="1504499"/>
                </a:lnTo>
                <a:lnTo>
                  <a:pt x="-2678" y="1551892"/>
                </a:lnTo>
              </a:path>
            </a:pathLst>
          </a:custGeom>
          <a:solidFill>
            <a:srgbClr val="B5462D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94" name="Vrije vorm 2098">
            <a:extLst>
              <a:ext uri="{FF2B5EF4-FFF2-40B4-BE49-F238E27FC236}">
                <a16:creationId xmlns:a16="http://schemas.microsoft.com/office/drawing/2014/main" id="{65C70F64-3FA0-4413-8DC4-B8D6C05FCD35}"/>
              </a:ext>
            </a:extLst>
          </p:cNvPr>
          <p:cNvSpPr/>
          <p:nvPr/>
        </p:nvSpPr>
        <p:spPr>
          <a:xfrm flipV="1">
            <a:off x="9140106" y="749492"/>
            <a:ext cx="2063804" cy="126185"/>
          </a:xfrm>
          <a:custGeom>
            <a:avLst/>
            <a:gdLst>
              <a:gd name="connsiteX0" fmla="*/ 35428 w 751708"/>
              <a:gd name="connsiteY0" fmla="*/ -779 h 47392"/>
              <a:gd name="connsiteX1" fmla="*/ 710714 w 751708"/>
              <a:gd name="connsiteY1" fmla="*/ -779 h 47392"/>
              <a:gd name="connsiteX2" fmla="*/ 748901 w 751708"/>
              <a:gd name="connsiteY2" fmla="*/ 46613 h 47392"/>
              <a:gd name="connsiteX3" fmla="*/ -2807 w 751708"/>
              <a:gd name="connsiteY3" fmla="*/ 46613 h 47392"/>
              <a:gd name="connsiteX4" fmla="*/ 35428 w 751708"/>
              <a:gd name="connsiteY4" fmla="*/ -779 h 47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1708" h="47392">
                <a:moveTo>
                  <a:pt x="35428" y="-779"/>
                </a:moveTo>
                <a:lnTo>
                  <a:pt x="710714" y="-779"/>
                </a:lnTo>
                <a:lnTo>
                  <a:pt x="748901" y="46613"/>
                </a:lnTo>
                <a:lnTo>
                  <a:pt x="-2807" y="46613"/>
                </a:lnTo>
                <a:lnTo>
                  <a:pt x="35428" y="-779"/>
                </a:lnTo>
              </a:path>
            </a:pathLst>
          </a:custGeom>
          <a:solidFill>
            <a:srgbClr val="A24027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95" name="Vrije vorm 2099">
            <a:extLst>
              <a:ext uri="{FF2B5EF4-FFF2-40B4-BE49-F238E27FC236}">
                <a16:creationId xmlns:a16="http://schemas.microsoft.com/office/drawing/2014/main" id="{0CE7F94F-2964-480C-ADB6-02696D3FEA48}"/>
              </a:ext>
            </a:extLst>
          </p:cNvPr>
          <p:cNvSpPr/>
          <p:nvPr/>
        </p:nvSpPr>
        <p:spPr>
          <a:xfrm flipV="1">
            <a:off x="11099068" y="749492"/>
            <a:ext cx="104842" cy="126185"/>
          </a:xfrm>
          <a:custGeom>
            <a:avLst/>
            <a:gdLst>
              <a:gd name="connsiteX0" fmla="*/ 35250 w 38187"/>
              <a:gd name="connsiteY0" fmla="*/ 46613 h 47392"/>
              <a:gd name="connsiteX1" fmla="*/ -2937 w 38187"/>
              <a:gd name="connsiteY1" fmla="*/ -779 h 47392"/>
              <a:gd name="connsiteX2" fmla="*/ 34988 w 38187"/>
              <a:gd name="connsiteY2" fmla="*/ 37498 h 47392"/>
              <a:gd name="connsiteX3" fmla="*/ 35250 w 38187"/>
              <a:gd name="connsiteY3" fmla="*/ 46613 h 47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187" h="47392">
                <a:moveTo>
                  <a:pt x="35250" y="46613"/>
                </a:moveTo>
                <a:lnTo>
                  <a:pt x="-2937" y="-779"/>
                </a:lnTo>
                <a:lnTo>
                  <a:pt x="34988" y="37498"/>
                </a:lnTo>
                <a:lnTo>
                  <a:pt x="35250" y="46613"/>
                </a:lnTo>
              </a:path>
            </a:pathLst>
          </a:custGeom>
          <a:solidFill>
            <a:srgbClr val="CE4B30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96" name="Vrije vorm 2100">
            <a:extLst>
              <a:ext uri="{FF2B5EF4-FFF2-40B4-BE49-F238E27FC236}">
                <a16:creationId xmlns:a16="http://schemas.microsoft.com/office/drawing/2014/main" id="{40337292-70C9-4532-9CAE-26430A29A21E}"/>
              </a:ext>
            </a:extLst>
          </p:cNvPr>
          <p:cNvSpPr/>
          <p:nvPr/>
        </p:nvSpPr>
        <p:spPr>
          <a:xfrm flipV="1">
            <a:off x="9144032" y="749492"/>
            <a:ext cx="105037" cy="126185"/>
          </a:xfrm>
          <a:custGeom>
            <a:avLst/>
            <a:gdLst>
              <a:gd name="connsiteX0" fmla="*/ -2678 w 38258"/>
              <a:gd name="connsiteY0" fmla="*/ 46613 h 47392"/>
              <a:gd name="connsiteX1" fmla="*/ 35581 w 38258"/>
              <a:gd name="connsiteY1" fmla="*/ -779 h 47392"/>
              <a:gd name="connsiteX2" fmla="*/ -2392 w 38258"/>
              <a:gd name="connsiteY2" fmla="*/ 37498 h 47392"/>
              <a:gd name="connsiteX3" fmla="*/ -2678 w 38258"/>
              <a:gd name="connsiteY3" fmla="*/ 46613 h 47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258" h="47392">
                <a:moveTo>
                  <a:pt x="-2678" y="46613"/>
                </a:moveTo>
                <a:lnTo>
                  <a:pt x="35581" y="-779"/>
                </a:lnTo>
                <a:lnTo>
                  <a:pt x="-2392" y="37498"/>
                </a:lnTo>
                <a:lnTo>
                  <a:pt x="-2678" y="46613"/>
                </a:lnTo>
              </a:path>
            </a:pathLst>
          </a:custGeom>
          <a:solidFill>
            <a:srgbClr val="CE4B30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97" name="Vrije vorm 2101">
            <a:extLst>
              <a:ext uri="{FF2B5EF4-FFF2-40B4-BE49-F238E27FC236}">
                <a16:creationId xmlns:a16="http://schemas.microsoft.com/office/drawing/2014/main" id="{6BFA1046-D3D7-4EC7-8BFF-F2BD0591E24F}"/>
              </a:ext>
            </a:extLst>
          </p:cNvPr>
          <p:cNvSpPr/>
          <p:nvPr/>
        </p:nvSpPr>
        <p:spPr>
          <a:xfrm flipV="1">
            <a:off x="9211179" y="838592"/>
            <a:ext cx="33901" cy="4044068"/>
          </a:xfrm>
          <a:custGeom>
            <a:avLst/>
            <a:gdLst>
              <a:gd name="connsiteX0" fmla="*/ 9666 w 12348"/>
              <a:gd name="connsiteY0" fmla="*/ -414 h 1518849"/>
              <a:gd name="connsiteX1" fmla="*/ 9666 w 12348"/>
              <a:gd name="connsiteY1" fmla="*/ -414 h 1518849"/>
              <a:gd name="connsiteX2" fmla="*/ -2682 w 12348"/>
              <a:gd name="connsiteY2" fmla="*/ 1518436 h 1518849"/>
              <a:gd name="connsiteX3" fmla="*/ 3349 w 12348"/>
              <a:gd name="connsiteY3" fmla="*/ 1512324 h 1518849"/>
              <a:gd name="connsiteX4" fmla="*/ 9666 w 12348"/>
              <a:gd name="connsiteY4" fmla="*/ 1504507 h 1518849"/>
              <a:gd name="connsiteX5" fmla="*/ 9666 w 12348"/>
              <a:gd name="connsiteY5" fmla="*/ 262522 h 1518849"/>
              <a:gd name="connsiteX6" fmla="*/ 9666 w 12348"/>
              <a:gd name="connsiteY6" fmla="*/ -414 h 1518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348" h="1518849">
                <a:moveTo>
                  <a:pt x="9666" y="-414"/>
                </a:moveTo>
                <a:lnTo>
                  <a:pt x="9666" y="-414"/>
                </a:lnTo>
                <a:lnTo>
                  <a:pt x="-2682" y="1518436"/>
                </a:lnTo>
                <a:lnTo>
                  <a:pt x="3349" y="1512324"/>
                </a:lnTo>
                <a:lnTo>
                  <a:pt x="9666" y="1504507"/>
                </a:lnTo>
                <a:lnTo>
                  <a:pt x="9666" y="262522"/>
                </a:lnTo>
                <a:lnTo>
                  <a:pt x="9666" y="-414"/>
                </a:lnTo>
              </a:path>
            </a:pathLst>
          </a:custGeom>
          <a:solidFill>
            <a:srgbClr val="E26A4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98" name="Vrije vorm 2102">
            <a:extLst>
              <a:ext uri="{FF2B5EF4-FFF2-40B4-BE49-F238E27FC236}">
                <a16:creationId xmlns:a16="http://schemas.microsoft.com/office/drawing/2014/main" id="{C6C71A59-6DFA-43BE-869A-985D5992B3A2}"/>
              </a:ext>
            </a:extLst>
          </p:cNvPr>
          <p:cNvSpPr/>
          <p:nvPr/>
        </p:nvSpPr>
        <p:spPr>
          <a:xfrm flipV="1">
            <a:off x="9216873" y="836952"/>
            <a:ext cx="801699" cy="38725"/>
          </a:xfrm>
          <a:custGeom>
            <a:avLst/>
            <a:gdLst>
              <a:gd name="connsiteX0" fmla="*/ 289273 w 292006"/>
              <a:gd name="connsiteY0" fmla="*/ -771 h 14544"/>
              <a:gd name="connsiteX1" fmla="*/ 8994 w 292006"/>
              <a:gd name="connsiteY1" fmla="*/ -771 h 14544"/>
              <a:gd name="connsiteX2" fmla="*/ -2734 w 292006"/>
              <a:gd name="connsiteY2" fmla="*/ 13773 h 14544"/>
              <a:gd name="connsiteX3" fmla="*/ 289249 w 292006"/>
              <a:gd name="connsiteY3" fmla="*/ 7521 h 14544"/>
              <a:gd name="connsiteX4" fmla="*/ 289273 w 292006"/>
              <a:gd name="connsiteY4" fmla="*/ -771 h 14544"/>
              <a:gd name="connsiteX5" fmla="*/ 8994 w 292006"/>
              <a:gd name="connsiteY5" fmla="*/ -771 h 14544"/>
              <a:gd name="connsiteX6" fmla="*/ 7540 w 292006"/>
              <a:gd name="connsiteY6" fmla="*/ -771 h 14544"/>
              <a:gd name="connsiteX7" fmla="*/ 1223 w 292006"/>
              <a:gd name="connsiteY7" fmla="*/ 7046 h 14544"/>
              <a:gd name="connsiteX8" fmla="*/ 8994 w 292006"/>
              <a:gd name="connsiteY8" fmla="*/ -771 h 14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2006" h="14544">
                <a:moveTo>
                  <a:pt x="289273" y="-771"/>
                </a:moveTo>
                <a:lnTo>
                  <a:pt x="8994" y="-771"/>
                </a:lnTo>
                <a:lnTo>
                  <a:pt x="-2734" y="13773"/>
                </a:lnTo>
                <a:lnTo>
                  <a:pt x="289249" y="7521"/>
                </a:lnTo>
                <a:lnTo>
                  <a:pt x="289273" y="-771"/>
                </a:lnTo>
                <a:moveTo>
                  <a:pt x="8994" y="-771"/>
                </a:moveTo>
                <a:lnTo>
                  <a:pt x="7540" y="-771"/>
                </a:lnTo>
                <a:lnTo>
                  <a:pt x="1223" y="7046"/>
                </a:lnTo>
                <a:lnTo>
                  <a:pt x="8994" y="-771"/>
                </a:lnTo>
              </a:path>
            </a:pathLst>
          </a:custGeom>
          <a:solidFill>
            <a:srgbClr val="DB653E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99" name="Vrije vorm 2103">
            <a:extLst>
              <a:ext uri="{FF2B5EF4-FFF2-40B4-BE49-F238E27FC236}">
                <a16:creationId xmlns:a16="http://schemas.microsoft.com/office/drawing/2014/main" id="{456EFEAF-F71A-490D-9603-45D1829F22E8}"/>
              </a:ext>
            </a:extLst>
          </p:cNvPr>
          <p:cNvSpPr/>
          <p:nvPr/>
        </p:nvSpPr>
        <p:spPr>
          <a:xfrm flipV="1">
            <a:off x="9211179" y="836824"/>
            <a:ext cx="37890" cy="38852"/>
          </a:xfrm>
          <a:custGeom>
            <a:avLst/>
            <a:gdLst>
              <a:gd name="connsiteX0" fmla="*/ 11119 w 13801"/>
              <a:gd name="connsiteY0" fmla="*/ -771 h 14592"/>
              <a:gd name="connsiteX1" fmla="*/ 11119 w 13801"/>
              <a:gd name="connsiteY1" fmla="*/ -771 h 14592"/>
              <a:gd name="connsiteX2" fmla="*/ 11119 w 13801"/>
              <a:gd name="connsiteY2" fmla="*/ -771 h 14592"/>
              <a:gd name="connsiteX3" fmla="*/ 3348 w 13801"/>
              <a:gd name="connsiteY3" fmla="*/ 7046 h 14592"/>
              <a:gd name="connsiteX4" fmla="*/ -2683 w 13801"/>
              <a:gd name="connsiteY4" fmla="*/ 13157 h 14592"/>
              <a:gd name="connsiteX5" fmla="*/ -2683 w 13801"/>
              <a:gd name="connsiteY5" fmla="*/ 13821 h 14592"/>
              <a:gd name="connsiteX6" fmla="*/ -608 w 13801"/>
              <a:gd name="connsiteY6" fmla="*/ 13773 h 14592"/>
              <a:gd name="connsiteX7" fmla="*/ 11119 w 13801"/>
              <a:gd name="connsiteY7" fmla="*/ -771 h 14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01" h="14592">
                <a:moveTo>
                  <a:pt x="11119" y="-771"/>
                </a:moveTo>
                <a:lnTo>
                  <a:pt x="11119" y="-771"/>
                </a:lnTo>
                <a:moveTo>
                  <a:pt x="11119" y="-771"/>
                </a:moveTo>
                <a:lnTo>
                  <a:pt x="3348" y="7046"/>
                </a:lnTo>
                <a:lnTo>
                  <a:pt x="-2683" y="13157"/>
                </a:lnTo>
                <a:lnTo>
                  <a:pt x="-2683" y="13821"/>
                </a:lnTo>
                <a:lnTo>
                  <a:pt x="-608" y="13773"/>
                </a:lnTo>
                <a:lnTo>
                  <a:pt x="11119" y="-771"/>
                </a:lnTo>
              </a:path>
            </a:pathLst>
          </a:custGeom>
          <a:solidFill>
            <a:srgbClr val="EB704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0" name="Vrije vorm 2123">
            <a:extLst>
              <a:ext uri="{FF2B5EF4-FFF2-40B4-BE49-F238E27FC236}">
                <a16:creationId xmlns:a16="http://schemas.microsoft.com/office/drawing/2014/main" id="{E700D7C3-328F-4369-8F4C-3DE1FC760A28}"/>
              </a:ext>
            </a:extLst>
          </p:cNvPr>
          <p:cNvSpPr/>
          <p:nvPr/>
        </p:nvSpPr>
        <p:spPr>
          <a:xfrm flipV="1">
            <a:off x="10341218" y="3043606"/>
            <a:ext cx="8964" cy="23817"/>
          </a:xfrm>
          <a:custGeom>
            <a:avLst/>
            <a:gdLst>
              <a:gd name="connsiteX0" fmla="*/ -2830 w 3265"/>
              <a:gd name="connsiteY0" fmla="*/ -379 h 8945"/>
              <a:gd name="connsiteX1" fmla="*/ -2830 w 3265"/>
              <a:gd name="connsiteY1" fmla="*/ 7822 h 8945"/>
              <a:gd name="connsiteX2" fmla="*/ 435 w 3265"/>
              <a:gd name="connsiteY2" fmla="*/ 8567 h 8945"/>
              <a:gd name="connsiteX3" fmla="*/ 435 w 3265"/>
              <a:gd name="connsiteY3" fmla="*/ 191 h 8945"/>
              <a:gd name="connsiteX4" fmla="*/ -2830 w 3265"/>
              <a:gd name="connsiteY4" fmla="*/ -379 h 8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5" h="8945">
                <a:moveTo>
                  <a:pt x="-2830" y="-379"/>
                </a:moveTo>
                <a:lnTo>
                  <a:pt x="-2830" y="7822"/>
                </a:lnTo>
                <a:cubicBezTo>
                  <a:pt x="-1734" y="8063"/>
                  <a:pt x="-637" y="8326"/>
                  <a:pt x="435" y="8567"/>
                </a:cubicBezTo>
                <a:lnTo>
                  <a:pt x="435" y="191"/>
                </a:lnTo>
                <a:cubicBezTo>
                  <a:pt x="-637" y="3"/>
                  <a:pt x="-1734" y="-193"/>
                  <a:pt x="-2830" y="-379"/>
                </a:cubicBezTo>
              </a:path>
            </a:pathLst>
          </a:custGeom>
          <a:solidFill>
            <a:srgbClr val="321B1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1" name="Vrije vorm 2128">
            <a:extLst>
              <a:ext uri="{FF2B5EF4-FFF2-40B4-BE49-F238E27FC236}">
                <a16:creationId xmlns:a16="http://schemas.microsoft.com/office/drawing/2014/main" id="{958D8DAF-A617-47A0-BF87-16335E8A55E8}"/>
              </a:ext>
            </a:extLst>
          </p:cNvPr>
          <p:cNvSpPr/>
          <p:nvPr/>
        </p:nvSpPr>
        <p:spPr>
          <a:xfrm flipV="1">
            <a:off x="10452605" y="2991973"/>
            <a:ext cx="49084" cy="120"/>
          </a:xfrm>
          <a:custGeom>
            <a:avLst/>
            <a:gdLst>
              <a:gd name="connsiteX0" fmla="*/ -2844 w 17878"/>
              <a:gd name="connsiteY0" fmla="*/ -390 h 45"/>
              <a:gd name="connsiteX1" fmla="*/ -2844 w 17878"/>
              <a:gd name="connsiteY1" fmla="*/ -374 h 45"/>
              <a:gd name="connsiteX2" fmla="*/ -2844 w 17878"/>
              <a:gd name="connsiteY2" fmla="*/ -345 h 45"/>
              <a:gd name="connsiteX3" fmla="*/ -2844 w 17878"/>
              <a:gd name="connsiteY3" fmla="*/ -390 h 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878" h="45">
                <a:moveTo>
                  <a:pt x="-2844" y="-390"/>
                </a:moveTo>
                <a:lnTo>
                  <a:pt x="-2844" y="-374"/>
                </a:lnTo>
                <a:cubicBezTo>
                  <a:pt x="-2844" y="-374"/>
                  <a:pt x="-2844" y="-374"/>
                  <a:pt x="-2844" y="-345"/>
                </a:cubicBezTo>
                <a:cubicBezTo>
                  <a:pt x="-2844" y="-374"/>
                  <a:pt x="-2844" y="-390"/>
                  <a:pt x="-2844" y="-390"/>
                </a:cubicBezTo>
              </a:path>
            </a:pathLst>
          </a:custGeom>
          <a:solidFill>
            <a:srgbClr val="EEF0F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2" name="Vrije vorm 2129">
            <a:extLst>
              <a:ext uri="{FF2B5EF4-FFF2-40B4-BE49-F238E27FC236}">
                <a16:creationId xmlns:a16="http://schemas.microsoft.com/office/drawing/2014/main" id="{AD19B8D0-DD2B-4929-A50F-288DC383ABA0}"/>
              </a:ext>
            </a:extLst>
          </p:cNvPr>
          <p:cNvSpPr/>
          <p:nvPr/>
        </p:nvSpPr>
        <p:spPr>
          <a:xfrm flipV="1">
            <a:off x="10291676" y="2930813"/>
            <a:ext cx="161108" cy="61234"/>
          </a:xfrm>
          <a:custGeom>
            <a:avLst/>
            <a:gdLst>
              <a:gd name="connsiteX0" fmla="*/ 55782 w 58681"/>
              <a:gd name="connsiteY0" fmla="*/ -396 h 22998"/>
              <a:gd name="connsiteX1" fmla="*/ 48702 w 58681"/>
              <a:gd name="connsiteY1" fmla="*/ 19771 h 22998"/>
              <a:gd name="connsiteX2" fmla="*/ -2834 w 58681"/>
              <a:gd name="connsiteY2" fmla="*/ 9771 h 22998"/>
              <a:gd name="connsiteX3" fmla="*/ 48416 w 58681"/>
              <a:gd name="connsiteY3" fmla="*/ 22603 h 22998"/>
              <a:gd name="connsiteX4" fmla="*/ 55782 w 58681"/>
              <a:gd name="connsiteY4" fmla="*/ -367 h 22998"/>
              <a:gd name="connsiteX5" fmla="*/ 55782 w 58681"/>
              <a:gd name="connsiteY5" fmla="*/ -396 h 22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681" h="22998">
                <a:moveTo>
                  <a:pt x="55782" y="-396"/>
                </a:moveTo>
                <a:cubicBezTo>
                  <a:pt x="55663" y="15212"/>
                  <a:pt x="48702" y="19771"/>
                  <a:pt x="48702" y="19771"/>
                </a:cubicBezTo>
                <a:cubicBezTo>
                  <a:pt x="28322" y="15978"/>
                  <a:pt x="18048" y="13946"/>
                  <a:pt x="-2834" y="9771"/>
                </a:cubicBezTo>
                <a:cubicBezTo>
                  <a:pt x="17952" y="15110"/>
                  <a:pt x="28155" y="17710"/>
                  <a:pt x="48416" y="22603"/>
                </a:cubicBezTo>
                <a:cubicBezTo>
                  <a:pt x="56879" y="21625"/>
                  <a:pt x="55830" y="630"/>
                  <a:pt x="55782" y="-367"/>
                </a:cubicBezTo>
                <a:cubicBezTo>
                  <a:pt x="55782" y="-396"/>
                  <a:pt x="55782" y="-396"/>
                  <a:pt x="55782" y="-396"/>
                </a:cubicBezTo>
              </a:path>
            </a:pathLst>
          </a:custGeom>
          <a:solidFill>
            <a:srgbClr val="F4F6F7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3" name="Vrije vorm 2130">
            <a:extLst>
              <a:ext uri="{FF2B5EF4-FFF2-40B4-BE49-F238E27FC236}">
                <a16:creationId xmlns:a16="http://schemas.microsoft.com/office/drawing/2014/main" id="{CF6CF7CB-9951-44F6-B4BC-812C3B18A0FF}"/>
              </a:ext>
            </a:extLst>
          </p:cNvPr>
          <p:cNvSpPr/>
          <p:nvPr/>
        </p:nvSpPr>
        <p:spPr>
          <a:xfrm flipV="1">
            <a:off x="11088273" y="1626633"/>
            <a:ext cx="20091" cy="297627"/>
          </a:xfrm>
          <a:custGeom>
            <a:avLst/>
            <a:gdLst>
              <a:gd name="connsiteX0" fmla="*/ 4388 w 7318"/>
              <a:gd name="connsiteY0" fmla="*/ 771 h 111781"/>
              <a:gd name="connsiteX1" fmla="*/ 789 w 7318"/>
              <a:gd name="connsiteY1" fmla="*/ -607 h 111781"/>
              <a:gd name="connsiteX2" fmla="*/ -2906 w 7318"/>
              <a:gd name="connsiteY2" fmla="*/ 4824 h 111781"/>
              <a:gd name="connsiteX3" fmla="*/ -2930 w 7318"/>
              <a:gd name="connsiteY3" fmla="*/ 109860 h 111781"/>
              <a:gd name="connsiteX4" fmla="*/ 741 w 7318"/>
              <a:gd name="connsiteY4" fmla="*/ 111174 h 111781"/>
              <a:gd name="connsiteX5" fmla="*/ 4388 w 7318"/>
              <a:gd name="connsiteY5" fmla="*/ 105611 h 111781"/>
              <a:gd name="connsiteX6" fmla="*/ 4388 w 7318"/>
              <a:gd name="connsiteY6" fmla="*/ 771 h 111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8" h="111781">
                <a:moveTo>
                  <a:pt x="4388" y="771"/>
                </a:moveTo>
                <a:lnTo>
                  <a:pt x="789" y="-607"/>
                </a:lnTo>
                <a:lnTo>
                  <a:pt x="-2906" y="4824"/>
                </a:lnTo>
                <a:cubicBezTo>
                  <a:pt x="-2906" y="39870"/>
                  <a:pt x="-2906" y="74860"/>
                  <a:pt x="-2930" y="109860"/>
                </a:cubicBezTo>
                <a:lnTo>
                  <a:pt x="741" y="111174"/>
                </a:lnTo>
                <a:lnTo>
                  <a:pt x="4388" y="105611"/>
                </a:lnTo>
                <a:cubicBezTo>
                  <a:pt x="4388" y="70669"/>
                  <a:pt x="4388" y="35743"/>
                  <a:pt x="4388" y="771"/>
                </a:cubicBezTo>
              </a:path>
            </a:pathLst>
          </a:custGeom>
          <a:solidFill>
            <a:srgbClr val="7F818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4" name="Vrije vorm 2131">
            <a:extLst>
              <a:ext uri="{FF2B5EF4-FFF2-40B4-BE49-F238E27FC236}">
                <a16:creationId xmlns:a16="http://schemas.microsoft.com/office/drawing/2014/main" id="{1850F087-FC0F-46A2-BEC1-DB4B5265848E}"/>
              </a:ext>
            </a:extLst>
          </p:cNvPr>
          <p:cNvSpPr/>
          <p:nvPr/>
        </p:nvSpPr>
        <p:spPr>
          <a:xfrm flipV="1">
            <a:off x="11097564" y="1626308"/>
            <a:ext cx="10798" cy="297951"/>
          </a:xfrm>
          <a:custGeom>
            <a:avLst/>
            <a:gdLst>
              <a:gd name="connsiteX0" fmla="*/ -2644 w 3933"/>
              <a:gd name="connsiteY0" fmla="*/ 111174 h 111903"/>
              <a:gd name="connsiteX1" fmla="*/ -2931 w 3933"/>
              <a:gd name="connsiteY1" fmla="*/ 111296 h 111903"/>
              <a:gd name="connsiteX2" fmla="*/ -2907 w 3933"/>
              <a:gd name="connsiteY2" fmla="*/ -421 h 111903"/>
              <a:gd name="connsiteX3" fmla="*/ -2597 w 3933"/>
              <a:gd name="connsiteY3" fmla="*/ -607 h 111903"/>
              <a:gd name="connsiteX4" fmla="*/ 1003 w 3933"/>
              <a:gd name="connsiteY4" fmla="*/ 771 h 111903"/>
              <a:gd name="connsiteX5" fmla="*/ 1003 w 3933"/>
              <a:gd name="connsiteY5" fmla="*/ 105611 h 111903"/>
              <a:gd name="connsiteX6" fmla="*/ -2644 w 3933"/>
              <a:gd name="connsiteY6" fmla="*/ 111174 h 111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33" h="111903">
                <a:moveTo>
                  <a:pt x="-2644" y="111174"/>
                </a:moveTo>
                <a:lnTo>
                  <a:pt x="-2931" y="111296"/>
                </a:lnTo>
                <a:cubicBezTo>
                  <a:pt x="-2931" y="74032"/>
                  <a:pt x="-2931" y="36814"/>
                  <a:pt x="-2907" y="-421"/>
                </a:cubicBezTo>
                <a:lnTo>
                  <a:pt x="-2597" y="-607"/>
                </a:lnTo>
                <a:lnTo>
                  <a:pt x="1003" y="771"/>
                </a:lnTo>
                <a:cubicBezTo>
                  <a:pt x="1003" y="35743"/>
                  <a:pt x="1003" y="70669"/>
                  <a:pt x="1003" y="105611"/>
                </a:cubicBezTo>
                <a:lnTo>
                  <a:pt x="-2644" y="111174"/>
                </a:lnTo>
              </a:path>
            </a:pathLst>
          </a:custGeom>
          <a:solidFill>
            <a:srgbClr val="4F505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5" name="Vrije vorm 2132">
            <a:extLst>
              <a:ext uri="{FF2B5EF4-FFF2-40B4-BE49-F238E27FC236}">
                <a16:creationId xmlns:a16="http://schemas.microsoft.com/office/drawing/2014/main" id="{A7232967-6EFC-41BF-B8D3-D1C7153969A2}"/>
              </a:ext>
            </a:extLst>
          </p:cNvPr>
          <p:cNvSpPr/>
          <p:nvPr/>
        </p:nvSpPr>
        <p:spPr>
          <a:xfrm flipV="1">
            <a:off x="11088273" y="3756271"/>
            <a:ext cx="20091" cy="297677"/>
          </a:xfrm>
          <a:custGeom>
            <a:avLst/>
            <a:gdLst>
              <a:gd name="connsiteX0" fmla="*/ 4388 w 7318"/>
              <a:gd name="connsiteY0" fmla="*/ 1199 h 111800"/>
              <a:gd name="connsiteX1" fmla="*/ 789 w 7318"/>
              <a:gd name="connsiteY1" fmla="*/ -227 h 111800"/>
              <a:gd name="connsiteX2" fmla="*/ -2906 w 7318"/>
              <a:gd name="connsiteY2" fmla="*/ 5233 h 111800"/>
              <a:gd name="connsiteX3" fmla="*/ -2930 w 7318"/>
              <a:gd name="connsiteY3" fmla="*/ 110269 h 111800"/>
              <a:gd name="connsiteX4" fmla="*/ 741 w 7318"/>
              <a:gd name="connsiteY4" fmla="*/ 111573 h 111800"/>
              <a:gd name="connsiteX5" fmla="*/ 4388 w 7318"/>
              <a:gd name="connsiteY5" fmla="*/ 105972 h 111800"/>
              <a:gd name="connsiteX6" fmla="*/ 4388 w 7318"/>
              <a:gd name="connsiteY6" fmla="*/ 1199 h 11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8" h="111800">
                <a:moveTo>
                  <a:pt x="4388" y="1199"/>
                </a:moveTo>
                <a:lnTo>
                  <a:pt x="789" y="-227"/>
                </a:lnTo>
                <a:lnTo>
                  <a:pt x="-2906" y="5233"/>
                </a:lnTo>
                <a:cubicBezTo>
                  <a:pt x="-2906" y="40278"/>
                  <a:pt x="-2906" y="75269"/>
                  <a:pt x="-2930" y="110269"/>
                </a:cubicBezTo>
                <a:lnTo>
                  <a:pt x="741" y="111573"/>
                </a:lnTo>
                <a:lnTo>
                  <a:pt x="4388" y="105972"/>
                </a:lnTo>
                <a:cubicBezTo>
                  <a:pt x="4388" y="71077"/>
                  <a:pt x="4388" y="36151"/>
                  <a:pt x="4388" y="1199"/>
                </a:cubicBezTo>
              </a:path>
            </a:pathLst>
          </a:custGeom>
          <a:solidFill>
            <a:srgbClr val="7F818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6" name="Vrije vorm 2133">
            <a:extLst>
              <a:ext uri="{FF2B5EF4-FFF2-40B4-BE49-F238E27FC236}">
                <a16:creationId xmlns:a16="http://schemas.microsoft.com/office/drawing/2014/main" id="{34CD3F4F-04FD-45D6-8DA3-20C762D7B239}"/>
              </a:ext>
            </a:extLst>
          </p:cNvPr>
          <p:cNvSpPr/>
          <p:nvPr/>
        </p:nvSpPr>
        <p:spPr>
          <a:xfrm flipV="1">
            <a:off x="11097564" y="3756000"/>
            <a:ext cx="10798" cy="297951"/>
          </a:xfrm>
          <a:custGeom>
            <a:avLst/>
            <a:gdLst>
              <a:gd name="connsiteX0" fmla="*/ -2644 w 3933"/>
              <a:gd name="connsiteY0" fmla="*/ 111573 h 111903"/>
              <a:gd name="connsiteX1" fmla="*/ -2931 w 3933"/>
              <a:gd name="connsiteY1" fmla="*/ 111676 h 111903"/>
              <a:gd name="connsiteX2" fmla="*/ -2907 w 3933"/>
              <a:gd name="connsiteY2" fmla="*/ -13 h 111903"/>
              <a:gd name="connsiteX3" fmla="*/ -2597 w 3933"/>
              <a:gd name="connsiteY3" fmla="*/ -227 h 111903"/>
              <a:gd name="connsiteX4" fmla="*/ 1003 w 3933"/>
              <a:gd name="connsiteY4" fmla="*/ 1199 h 111903"/>
              <a:gd name="connsiteX5" fmla="*/ 1003 w 3933"/>
              <a:gd name="connsiteY5" fmla="*/ 105972 h 111903"/>
              <a:gd name="connsiteX6" fmla="*/ -2644 w 3933"/>
              <a:gd name="connsiteY6" fmla="*/ 111573 h 111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33" h="111903">
                <a:moveTo>
                  <a:pt x="-2644" y="111573"/>
                </a:moveTo>
                <a:lnTo>
                  <a:pt x="-2931" y="111676"/>
                </a:lnTo>
                <a:cubicBezTo>
                  <a:pt x="-2931" y="74460"/>
                  <a:pt x="-2931" y="37222"/>
                  <a:pt x="-2907" y="-13"/>
                </a:cubicBezTo>
                <a:lnTo>
                  <a:pt x="-2597" y="-227"/>
                </a:lnTo>
                <a:lnTo>
                  <a:pt x="1003" y="1199"/>
                </a:lnTo>
                <a:cubicBezTo>
                  <a:pt x="1003" y="36151"/>
                  <a:pt x="1003" y="71077"/>
                  <a:pt x="1003" y="105972"/>
                </a:cubicBezTo>
                <a:lnTo>
                  <a:pt x="-2644" y="111573"/>
                </a:lnTo>
              </a:path>
            </a:pathLst>
          </a:custGeom>
          <a:solidFill>
            <a:srgbClr val="4F505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7" name="Vrije vorm 2134">
            <a:extLst>
              <a:ext uri="{FF2B5EF4-FFF2-40B4-BE49-F238E27FC236}">
                <a16:creationId xmlns:a16="http://schemas.microsoft.com/office/drawing/2014/main" id="{82ED7121-654A-4509-BCDA-E01DFFC22EED}"/>
              </a:ext>
            </a:extLst>
          </p:cNvPr>
          <p:cNvSpPr/>
          <p:nvPr/>
        </p:nvSpPr>
        <p:spPr>
          <a:xfrm flipV="1">
            <a:off x="2216621" y="827298"/>
            <a:ext cx="6317529" cy="2861562"/>
          </a:xfrm>
          <a:custGeom>
            <a:avLst/>
            <a:gdLst>
              <a:gd name="connsiteX0" fmla="*/ 1253886 w 2301060"/>
              <a:gd name="connsiteY0" fmla="*/ -521 h 1074730"/>
              <a:gd name="connsiteX1" fmla="*/ 833468 w 2301060"/>
              <a:gd name="connsiteY1" fmla="*/ 38076 h 1074730"/>
              <a:gd name="connsiteX2" fmla="*/ 315555 w 2301060"/>
              <a:gd name="connsiteY2" fmla="*/ 193944 h 1074730"/>
              <a:gd name="connsiteX3" fmla="*/ -2172 w 2301060"/>
              <a:gd name="connsiteY3" fmla="*/ 375809 h 1074730"/>
              <a:gd name="connsiteX4" fmla="*/ -2172 w 2301060"/>
              <a:gd name="connsiteY4" fmla="*/ 1074210 h 1074730"/>
              <a:gd name="connsiteX5" fmla="*/ 2298889 w 2301060"/>
              <a:gd name="connsiteY5" fmla="*/ 1074210 h 1074730"/>
              <a:gd name="connsiteX6" fmla="*/ 2298889 w 2301060"/>
              <a:gd name="connsiteY6" fmla="*/ 233872 h 1074730"/>
              <a:gd name="connsiteX7" fmla="*/ 1378769 w 2301060"/>
              <a:gd name="connsiteY7" fmla="*/ 2816 h 1074730"/>
              <a:gd name="connsiteX8" fmla="*/ 1253886 w 2301060"/>
              <a:gd name="connsiteY8" fmla="*/ -521 h 1074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1060" h="1074730">
                <a:moveTo>
                  <a:pt x="1253886" y="-521"/>
                </a:moveTo>
                <a:cubicBezTo>
                  <a:pt x="1112483" y="-521"/>
                  <a:pt x="971343" y="12310"/>
                  <a:pt x="833468" y="38076"/>
                </a:cubicBezTo>
                <a:cubicBezTo>
                  <a:pt x="654235" y="71537"/>
                  <a:pt x="475479" y="120926"/>
                  <a:pt x="315555" y="193944"/>
                </a:cubicBezTo>
                <a:cubicBezTo>
                  <a:pt x="202256" y="245678"/>
                  <a:pt x="96180" y="307133"/>
                  <a:pt x="-2172" y="375809"/>
                </a:cubicBezTo>
                <a:lnTo>
                  <a:pt x="-2172" y="1074210"/>
                </a:lnTo>
                <a:lnTo>
                  <a:pt x="2298889" y="1074210"/>
                </a:lnTo>
                <a:lnTo>
                  <a:pt x="2298889" y="233872"/>
                </a:lnTo>
                <a:cubicBezTo>
                  <a:pt x="2013771" y="112241"/>
                  <a:pt x="1703267" y="20232"/>
                  <a:pt x="1378769" y="2816"/>
                </a:cubicBezTo>
                <a:cubicBezTo>
                  <a:pt x="1337173" y="598"/>
                  <a:pt x="1295506" y="-521"/>
                  <a:pt x="1253886" y="-521"/>
                </a:cubicBezTo>
              </a:path>
            </a:pathLst>
          </a:custGeom>
          <a:solidFill>
            <a:srgbClr val="9BB69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8" name="Vrije vorm 2135">
            <a:extLst>
              <a:ext uri="{FF2B5EF4-FFF2-40B4-BE49-F238E27FC236}">
                <a16:creationId xmlns:a16="http://schemas.microsoft.com/office/drawing/2014/main" id="{F837E654-309B-410F-B194-41D75E774D14}"/>
              </a:ext>
            </a:extLst>
          </p:cNvPr>
          <p:cNvSpPr/>
          <p:nvPr/>
        </p:nvSpPr>
        <p:spPr>
          <a:xfrm flipV="1">
            <a:off x="2216621" y="2686851"/>
            <a:ext cx="6317529" cy="1349759"/>
          </a:xfrm>
          <a:custGeom>
            <a:avLst/>
            <a:gdLst>
              <a:gd name="connsiteX0" fmla="*/ 2298889 w 2301060"/>
              <a:gd name="connsiteY0" fmla="*/ -324 h 506935"/>
              <a:gd name="connsiteX1" fmla="*/ -2172 w 2301060"/>
              <a:gd name="connsiteY1" fmla="*/ -324 h 506935"/>
              <a:gd name="connsiteX2" fmla="*/ -2172 w 2301060"/>
              <a:gd name="connsiteY2" fmla="*/ 506612 h 506935"/>
              <a:gd name="connsiteX3" fmla="*/ 315555 w 2301060"/>
              <a:gd name="connsiteY3" fmla="*/ 324747 h 506935"/>
              <a:gd name="connsiteX4" fmla="*/ 833468 w 2301060"/>
              <a:gd name="connsiteY4" fmla="*/ 168879 h 506935"/>
              <a:gd name="connsiteX5" fmla="*/ 1253886 w 2301060"/>
              <a:gd name="connsiteY5" fmla="*/ 130281 h 506935"/>
              <a:gd name="connsiteX6" fmla="*/ 1378769 w 2301060"/>
              <a:gd name="connsiteY6" fmla="*/ 133619 h 506935"/>
              <a:gd name="connsiteX7" fmla="*/ 2298889 w 2301060"/>
              <a:gd name="connsiteY7" fmla="*/ 364675 h 506935"/>
              <a:gd name="connsiteX8" fmla="*/ 2298889 w 2301060"/>
              <a:gd name="connsiteY8" fmla="*/ -324 h 506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1060" h="506935">
                <a:moveTo>
                  <a:pt x="2298889" y="-324"/>
                </a:moveTo>
                <a:lnTo>
                  <a:pt x="-2172" y="-324"/>
                </a:lnTo>
                <a:lnTo>
                  <a:pt x="-2172" y="506612"/>
                </a:lnTo>
                <a:cubicBezTo>
                  <a:pt x="96180" y="437936"/>
                  <a:pt x="202256" y="376481"/>
                  <a:pt x="315555" y="324747"/>
                </a:cubicBezTo>
                <a:cubicBezTo>
                  <a:pt x="475479" y="251729"/>
                  <a:pt x="654235" y="202340"/>
                  <a:pt x="833468" y="168879"/>
                </a:cubicBezTo>
                <a:cubicBezTo>
                  <a:pt x="971343" y="143113"/>
                  <a:pt x="1112483" y="130281"/>
                  <a:pt x="1253886" y="130281"/>
                </a:cubicBezTo>
                <a:cubicBezTo>
                  <a:pt x="1295506" y="130281"/>
                  <a:pt x="1337173" y="131400"/>
                  <a:pt x="1378769" y="133619"/>
                </a:cubicBezTo>
                <a:cubicBezTo>
                  <a:pt x="1703267" y="151035"/>
                  <a:pt x="2013771" y="243044"/>
                  <a:pt x="2298889" y="364675"/>
                </a:cubicBezTo>
                <a:lnTo>
                  <a:pt x="2298889" y="-324"/>
                </a:lnTo>
              </a:path>
            </a:pathLst>
          </a:custGeom>
          <a:solidFill>
            <a:srgbClr val="79A78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9" name="Vrije vorm 2136">
            <a:extLst>
              <a:ext uri="{FF2B5EF4-FFF2-40B4-BE49-F238E27FC236}">
                <a16:creationId xmlns:a16="http://schemas.microsoft.com/office/drawing/2014/main" id="{929DCB70-E0EC-4B86-A02E-F464B8276CC8}"/>
              </a:ext>
            </a:extLst>
          </p:cNvPr>
          <p:cNvSpPr/>
          <p:nvPr/>
        </p:nvSpPr>
        <p:spPr>
          <a:xfrm flipV="1">
            <a:off x="2174082" y="774949"/>
            <a:ext cx="6317529" cy="3209261"/>
          </a:xfrm>
          <a:custGeom>
            <a:avLst/>
            <a:gdLst>
              <a:gd name="connsiteX0" fmla="*/ 2298894 w 2301060"/>
              <a:gd name="connsiteY0" fmla="*/ -500 h 1205317"/>
              <a:gd name="connsiteX1" fmla="*/ -2166 w 2301060"/>
              <a:gd name="connsiteY1" fmla="*/ -500 h 1205317"/>
              <a:gd name="connsiteX2" fmla="*/ -2166 w 2301060"/>
              <a:gd name="connsiteY2" fmla="*/ 1204818 h 1205317"/>
              <a:gd name="connsiteX3" fmla="*/ 2298894 w 2301060"/>
              <a:gd name="connsiteY3" fmla="*/ 1204818 h 1205317"/>
              <a:gd name="connsiteX4" fmla="*/ 2298894 w 2301060"/>
              <a:gd name="connsiteY4" fmla="*/ -500 h 1205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1060" h="1205317">
                <a:moveTo>
                  <a:pt x="2298894" y="-500"/>
                </a:moveTo>
                <a:lnTo>
                  <a:pt x="-2166" y="-500"/>
                </a:lnTo>
                <a:lnTo>
                  <a:pt x="-2166" y="1204818"/>
                </a:lnTo>
                <a:lnTo>
                  <a:pt x="2298894" y="1204818"/>
                </a:lnTo>
                <a:lnTo>
                  <a:pt x="2298894" y="-500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10" name="Vrije vorm 2137">
            <a:extLst>
              <a:ext uri="{FF2B5EF4-FFF2-40B4-BE49-F238E27FC236}">
                <a16:creationId xmlns:a16="http://schemas.microsoft.com/office/drawing/2014/main" id="{D9A61809-930A-45BE-B17B-760C98CC93B0}"/>
              </a:ext>
            </a:extLst>
          </p:cNvPr>
          <p:cNvSpPr/>
          <p:nvPr/>
        </p:nvSpPr>
        <p:spPr>
          <a:xfrm flipV="1">
            <a:off x="2267994" y="900913"/>
            <a:ext cx="6129573" cy="2957351"/>
          </a:xfrm>
          <a:custGeom>
            <a:avLst/>
            <a:gdLst>
              <a:gd name="connsiteX0" fmla="*/ 2230434 w 2232600"/>
              <a:gd name="connsiteY0" fmla="*/ -500 h 1110706"/>
              <a:gd name="connsiteX1" fmla="*/ -2166 w 2232600"/>
              <a:gd name="connsiteY1" fmla="*/ -500 h 1110706"/>
              <a:gd name="connsiteX2" fmla="*/ -2166 w 2232600"/>
              <a:gd name="connsiteY2" fmla="*/ 1110207 h 1110706"/>
              <a:gd name="connsiteX3" fmla="*/ 2230434 w 2232600"/>
              <a:gd name="connsiteY3" fmla="*/ 1110207 h 1110706"/>
              <a:gd name="connsiteX4" fmla="*/ 2230434 w 2232600"/>
              <a:gd name="connsiteY4" fmla="*/ -500 h 1110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32600" h="1110706">
                <a:moveTo>
                  <a:pt x="2230434" y="-500"/>
                </a:moveTo>
                <a:lnTo>
                  <a:pt x="-2166" y="-500"/>
                </a:lnTo>
                <a:lnTo>
                  <a:pt x="-2166" y="1110207"/>
                </a:lnTo>
                <a:lnTo>
                  <a:pt x="2230434" y="1110207"/>
                </a:lnTo>
                <a:lnTo>
                  <a:pt x="2230434" y="-500"/>
                </a:lnTo>
              </a:path>
            </a:pathLst>
          </a:custGeom>
          <a:solidFill>
            <a:srgbClr val="1A251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11" name="Vrije vorm 2138">
            <a:extLst>
              <a:ext uri="{FF2B5EF4-FFF2-40B4-BE49-F238E27FC236}">
                <a16:creationId xmlns:a16="http://schemas.microsoft.com/office/drawing/2014/main" id="{3874818A-744A-44E4-9F26-A57D642F2854}"/>
              </a:ext>
            </a:extLst>
          </p:cNvPr>
          <p:cNvSpPr/>
          <p:nvPr/>
        </p:nvSpPr>
        <p:spPr>
          <a:xfrm flipV="1">
            <a:off x="2305297" y="934704"/>
            <a:ext cx="6054899" cy="2877391"/>
          </a:xfrm>
          <a:custGeom>
            <a:avLst/>
            <a:gdLst>
              <a:gd name="connsiteX0" fmla="*/ 2203235 w 2205401"/>
              <a:gd name="connsiteY0" fmla="*/ -501 h 1080675"/>
              <a:gd name="connsiteX1" fmla="*/ -2166 w 2205401"/>
              <a:gd name="connsiteY1" fmla="*/ -501 h 1080675"/>
              <a:gd name="connsiteX2" fmla="*/ -2166 w 2205401"/>
              <a:gd name="connsiteY2" fmla="*/ 1080175 h 1080675"/>
              <a:gd name="connsiteX3" fmla="*/ 2203235 w 2205401"/>
              <a:gd name="connsiteY3" fmla="*/ 1080175 h 1080675"/>
              <a:gd name="connsiteX4" fmla="*/ 2203235 w 2205401"/>
              <a:gd name="connsiteY4" fmla="*/ -501 h 1080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5401" h="1080675">
                <a:moveTo>
                  <a:pt x="2203235" y="-501"/>
                </a:moveTo>
                <a:lnTo>
                  <a:pt x="-2166" y="-501"/>
                </a:lnTo>
                <a:lnTo>
                  <a:pt x="-2166" y="1080175"/>
                </a:lnTo>
                <a:lnTo>
                  <a:pt x="2203235" y="1080175"/>
                </a:lnTo>
                <a:lnTo>
                  <a:pt x="2203235" y="-501"/>
                </a:lnTo>
              </a:path>
            </a:pathLst>
          </a:custGeom>
          <a:solidFill>
            <a:srgbClr val="36363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12" name="Vrije vorm 2139">
            <a:extLst>
              <a:ext uri="{FF2B5EF4-FFF2-40B4-BE49-F238E27FC236}">
                <a16:creationId xmlns:a16="http://schemas.microsoft.com/office/drawing/2014/main" id="{5B4BEC41-42D6-44BF-B520-13E3D4F6ABD8}"/>
              </a:ext>
            </a:extLst>
          </p:cNvPr>
          <p:cNvSpPr/>
          <p:nvPr/>
        </p:nvSpPr>
        <p:spPr>
          <a:xfrm flipV="1">
            <a:off x="2318360" y="934704"/>
            <a:ext cx="6054899" cy="1669162"/>
          </a:xfrm>
          <a:custGeom>
            <a:avLst/>
            <a:gdLst>
              <a:gd name="connsiteX0" fmla="*/ 100620 w 2205401"/>
              <a:gd name="connsiteY0" fmla="*/ 296064 h 626895"/>
              <a:gd name="connsiteX1" fmla="*/ 262999 w 2205401"/>
              <a:gd name="connsiteY1" fmla="*/ 146971 h 626895"/>
              <a:gd name="connsiteX2" fmla="*/ 639557 w 2205401"/>
              <a:gd name="connsiteY2" fmla="*/ 4726 h 626895"/>
              <a:gd name="connsiteX3" fmla="*/ 1520988 w 2205401"/>
              <a:gd name="connsiteY3" fmla="*/ 30034 h 626895"/>
              <a:gd name="connsiteX4" fmla="*/ 1895806 w 2205401"/>
              <a:gd name="connsiteY4" fmla="*/ 160976 h 626895"/>
              <a:gd name="connsiteX5" fmla="*/ 2072393 w 2205401"/>
              <a:gd name="connsiteY5" fmla="*/ 269683 h 626895"/>
              <a:gd name="connsiteX6" fmla="*/ 2203235 w 2205401"/>
              <a:gd name="connsiteY6" fmla="*/ 367349 h 626895"/>
              <a:gd name="connsiteX7" fmla="*/ 2203235 w 2205401"/>
              <a:gd name="connsiteY7" fmla="*/ 626287 h 626895"/>
              <a:gd name="connsiteX8" fmla="*/ -2166 w 2205401"/>
              <a:gd name="connsiteY8" fmla="*/ 626287 h 626895"/>
              <a:gd name="connsiteX9" fmla="*/ -2166 w 2205401"/>
              <a:gd name="connsiteY9" fmla="*/ 425336 h 626895"/>
              <a:gd name="connsiteX10" fmla="*/ 100620 w 2205401"/>
              <a:gd name="connsiteY10" fmla="*/ 296064 h 626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05401" h="626895">
                <a:moveTo>
                  <a:pt x="100620" y="296064"/>
                </a:moveTo>
                <a:cubicBezTo>
                  <a:pt x="151727" y="240434"/>
                  <a:pt x="205933" y="190057"/>
                  <a:pt x="262999" y="146971"/>
                </a:cubicBezTo>
                <a:cubicBezTo>
                  <a:pt x="378325" y="59974"/>
                  <a:pt x="509263" y="18106"/>
                  <a:pt x="639557" y="4726"/>
                </a:cubicBezTo>
                <a:cubicBezTo>
                  <a:pt x="769637" y="-8609"/>
                  <a:pt x="1392124" y="4251"/>
                  <a:pt x="1520988" y="30034"/>
                </a:cubicBezTo>
                <a:cubicBezTo>
                  <a:pt x="1648661" y="55604"/>
                  <a:pt x="1775475" y="95561"/>
                  <a:pt x="1895806" y="160976"/>
                </a:cubicBezTo>
                <a:cubicBezTo>
                  <a:pt x="1955590" y="193533"/>
                  <a:pt x="2014492" y="231104"/>
                  <a:pt x="2072393" y="269683"/>
                </a:cubicBezTo>
                <a:cubicBezTo>
                  <a:pt x="2117016" y="299427"/>
                  <a:pt x="2161091" y="331250"/>
                  <a:pt x="2203235" y="367349"/>
                </a:cubicBezTo>
                <a:lnTo>
                  <a:pt x="2203235" y="626287"/>
                </a:lnTo>
                <a:lnTo>
                  <a:pt x="-2166" y="626287"/>
                </a:lnTo>
                <a:lnTo>
                  <a:pt x="-2166" y="425336"/>
                </a:lnTo>
                <a:cubicBezTo>
                  <a:pt x="29442" y="378437"/>
                  <a:pt x="64030" y="335909"/>
                  <a:pt x="100620" y="296064"/>
                </a:cubicBezTo>
              </a:path>
            </a:pathLst>
          </a:custGeom>
          <a:solidFill>
            <a:srgbClr val="4F5051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13" name="Vrije vorm 2146">
            <a:extLst>
              <a:ext uri="{FF2B5EF4-FFF2-40B4-BE49-F238E27FC236}">
                <a16:creationId xmlns:a16="http://schemas.microsoft.com/office/drawing/2014/main" id="{94536C42-C15D-48BB-BFD4-6A7F94A0E461}"/>
              </a:ext>
            </a:extLst>
          </p:cNvPr>
          <p:cNvSpPr/>
          <p:nvPr/>
        </p:nvSpPr>
        <p:spPr>
          <a:xfrm flipV="1">
            <a:off x="4097639" y="5536993"/>
            <a:ext cx="45940" cy="85994"/>
          </a:xfrm>
          <a:custGeom>
            <a:avLst/>
            <a:gdLst>
              <a:gd name="connsiteX0" fmla="*/ -2006 w 16733"/>
              <a:gd name="connsiteY0" fmla="*/ 71 h 32297"/>
              <a:gd name="connsiteX1" fmla="*/ -2006 w 16733"/>
              <a:gd name="connsiteY1" fmla="*/ 71 h 32297"/>
              <a:gd name="connsiteX2" fmla="*/ 14728 w 16733"/>
              <a:gd name="connsiteY2" fmla="*/ 32369 h 32297"/>
              <a:gd name="connsiteX3" fmla="*/ -1982 w 16733"/>
              <a:gd name="connsiteY3" fmla="*/ 71 h 32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33" h="32297">
                <a:moveTo>
                  <a:pt x="-2006" y="71"/>
                </a:moveTo>
                <a:lnTo>
                  <a:pt x="-2006" y="71"/>
                </a:lnTo>
                <a:lnTo>
                  <a:pt x="14728" y="32369"/>
                </a:lnTo>
                <a:lnTo>
                  <a:pt x="-1982" y="71"/>
                </a:lnTo>
              </a:path>
            </a:pathLst>
          </a:custGeom>
          <a:solidFill>
            <a:srgbClr val="B7B6B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14" name="Vrije vorm 2152">
            <a:extLst>
              <a:ext uri="{FF2B5EF4-FFF2-40B4-BE49-F238E27FC236}">
                <a16:creationId xmlns:a16="http://schemas.microsoft.com/office/drawing/2014/main" id="{EE878A78-B60A-4DB3-9E7C-C32D9C05520A}"/>
              </a:ext>
            </a:extLst>
          </p:cNvPr>
          <p:cNvSpPr/>
          <p:nvPr/>
        </p:nvSpPr>
        <p:spPr>
          <a:xfrm flipV="1">
            <a:off x="1400915" y="5530891"/>
            <a:ext cx="90771" cy="112167"/>
          </a:xfrm>
          <a:custGeom>
            <a:avLst/>
            <a:gdLst>
              <a:gd name="connsiteX0" fmla="*/ -1628 w 33062"/>
              <a:gd name="connsiteY0" fmla="*/ 73 h 42127"/>
              <a:gd name="connsiteX1" fmla="*/ -1652 w 33062"/>
              <a:gd name="connsiteY1" fmla="*/ 73 h 42127"/>
              <a:gd name="connsiteX2" fmla="*/ 31410 w 33062"/>
              <a:gd name="connsiteY2" fmla="*/ 42200 h 42127"/>
              <a:gd name="connsiteX3" fmla="*/ -1628 w 33062"/>
              <a:gd name="connsiteY3" fmla="*/ 73 h 42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62" h="42127">
                <a:moveTo>
                  <a:pt x="-1628" y="73"/>
                </a:moveTo>
                <a:lnTo>
                  <a:pt x="-1652" y="73"/>
                </a:lnTo>
                <a:lnTo>
                  <a:pt x="31410" y="42200"/>
                </a:lnTo>
                <a:lnTo>
                  <a:pt x="-1628" y="73"/>
                </a:lnTo>
              </a:path>
            </a:pathLst>
          </a:custGeom>
          <a:solidFill>
            <a:srgbClr val="4FA8C6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15" name="Vrije vorm 2155">
            <a:extLst>
              <a:ext uri="{FF2B5EF4-FFF2-40B4-BE49-F238E27FC236}">
                <a16:creationId xmlns:a16="http://schemas.microsoft.com/office/drawing/2014/main" id="{BC8E0FA4-3945-4784-8331-8150010759C6}"/>
              </a:ext>
            </a:extLst>
          </p:cNvPr>
          <p:cNvSpPr/>
          <p:nvPr/>
        </p:nvSpPr>
        <p:spPr>
          <a:xfrm flipV="1">
            <a:off x="972383" y="6173219"/>
            <a:ext cx="2469565" cy="1219254"/>
          </a:xfrm>
          <a:custGeom>
            <a:avLst/>
            <a:gdLst>
              <a:gd name="connsiteX0" fmla="*/ -1753 w 899500"/>
              <a:gd name="connsiteY0" fmla="*/ 286 h 457921"/>
              <a:gd name="connsiteX1" fmla="*/ 897748 w 899500"/>
              <a:gd name="connsiteY1" fmla="*/ 286 h 457921"/>
              <a:gd name="connsiteX2" fmla="*/ 897748 w 899500"/>
              <a:gd name="connsiteY2" fmla="*/ 458208 h 457921"/>
              <a:gd name="connsiteX3" fmla="*/ -1753 w 899500"/>
              <a:gd name="connsiteY3" fmla="*/ 458208 h 45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500" h="457921">
                <a:moveTo>
                  <a:pt x="-1753" y="286"/>
                </a:moveTo>
                <a:lnTo>
                  <a:pt x="897748" y="286"/>
                </a:lnTo>
                <a:lnTo>
                  <a:pt x="897748" y="458208"/>
                </a:lnTo>
                <a:lnTo>
                  <a:pt x="-1753" y="458208"/>
                </a:lnTo>
                <a:close/>
              </a:path>
            </a:pathLst>
          </a:custGeom>
          <a:solidFill>
            <a:srgbClr val="C6C5C3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16" name="Vrije vorm 2156">
            <a:extLst>
              <a:ext uri="{FF2B5EF4-FFF2-40B4-BE49-F238E27FC236}">
                <a16:creationId xmlns:a16="http://schemas.microsoft.com/office/drawing/2014/main" id="{FFC2FBD4-E13B-44CE-8A0B-762851511C09}"/>
              </a:ext>
            </a:extLst>
          </p:cNvPr>
          <p:cNvSpPr/>
          <p:nvPr/>
        </p:nvSpPr>
        <p:spPr>
          <a:xfrm flipV="1">
            <a:off x="972383" y="6173221"/>
            <a:ext cx="2469565" cy="552907"/>
          </a:xfrm>
          <a:custGeom>
            <a:avLst/>
            <a:gdLst>
              <a:gd name="connsiteX0" fmla="*/ 897748 w 899500"/>
              <a:gd name="connsiteY0" fmla="*/ 227 h 207658"/>
              <a:gd name="connsiteX1" fmla="*/ 453039 w 899500"/>
              <a:gd name="connsiteY1" fmla="*/ 227 h 207658"/>
              <a:gd name="connsiteX2" fmla="*/ 276572 w 899500"/>
              <a:gd name="connsiteY2" fmla="*/ 82936 h 207658"/>
              <a:gd name="connsiteX3" fmla="*/ 127159 w 899500"/>
              <a:gd name="connsiteY3" fmla="*/ 119576 h 207658"/>
              <a:gd name="connsiteX4" fmla="*/ 14028 w 899500"/>
              <a:gd name="connsiteY4" fmla="*/ 130954 h 207658"/>
              <a:gd name="connsiteX5" fmla="*/ -1753 w 899500"/>
              <a:gd name="connsiteY5" fmla="*/ 130665 h 207658"/>
              <a:gd name="connsiteX6" fmla="*/ -1753 w 899500"/>
              <a:gd name="connsiteY6" fmla="*/ 207886 h 207658"/>
              <a:gd name="connsiteX7" fmla="*/ 897748 w 899500"/>
              <a:gd name="connsiteY7" fmla="*/ 207886 h 207658"/>
              <a:gd name="connsiteX8" fmla="*/ 897748 w 899500"/>
              <a:gd name="connsiteY8" fmla="*/ 227 h 207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9500" h="207658">
                <a:moveTo>
                  <a:pt x="897748" y="227"/>
                </a:moveTo>
                <a:lnTo>
                  <a:pt x="453039" y="227"/>
                </a:lnTo>
                <a:cubicBezTo>
                  <a:pt x="398213" y="35273"/>
                  <a:pt x="338382" y="62389"/>
                  <a:pt x="276572" y="82936"/>
                </a:cubicBezTo>
                <a:cubicBezTo>
                  <a:pt x="227848" y="99103"/>
                  <a:pt x="177718" y="110602"/>
                  <a:pt x="127159" y="119576"/>
                </a:cubicBezTo>
                <a:cubicBezTo>
                  <a:pt x="89759" y="126201"/>
                  <a:pt x="51929" y="130954"/>
                  <a:pt x="14028" y="130954"/>
                </a:cubicBezTo>
                <a:cubicBezTo>
                  <a:pt x="8783" y="130954"/>
                  <a:pt x="3515" y="130860"/>
                  <a:pt x="-1753" y="130665"/>
                </a:cubicBezTo>
                <a:lnTo>
                  <a:pt x="-1753" y="207886"/>
                </a:lnTo>
                <a:lnTo>
                  <a:pt x="897748" y="207886"/>
                </a:lnTo>
                <a:lnTo>
                  <a:pt x="897748" y="227"/>
                </a:lnTo>
              </a:path>
            </a:pathLst>
          </a:custGeom>
          <a:solidFill>
            <a:srgbClr val="AEAEA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17" name="Vrije vorm 2157">
            <a:extLst>
              <a:ext uri="{FF2B5EF4-FFF2-40B4-BE49-F238E27FC236}">
                <a16:creationId xmlns:a16="http://schemas.microsoft.com/office/drawing/2014/main" id="{498BE876-80AF-49D9-80FD-61505F59DC66}"/>
              </a:ext>
            </a:extLst>
          </p:cNvPr>
          <p:cNvSpPr/>
          <p:nvPr/>
        </p:nvSpPr>
        <p:spPr>
          <a:xfrm flipV="1">
            <a:off x="972383" y="6173221"/>
            <a:ext cx="2469565" cy="103087"/>
          </a:xfrm>
          <a:custGeom>
            <a:avLst/>
            <a:gdLst>
              <a:gd name="connsiteX0" fmla="*/ 897748 w 899500"/>
              <a:gd name="connsiteY0" fmla="*/ 38904 h 38717"/>
              <a:gd name="connsiteX1" fmla="*/ 897748 w 899500"/>
              <a:gd name="connsiteY1" fmla="*/ 187 h 38717"/>
              <a:gd name="connsiteX2" fmla="*/ -1753 w 899500"/>
              <a:gd name="connsiteY2" fmla="*/ 187 h 38717"/>
              <a:gd name="connsiteX3" fmla="*/ -1753 w 899500"/>
              <a:gd name="connsiteY3" fmla="*/ 38904 h 38717"/>
              <a:gd name="connsiteX4" fmla="*/ 897748 w 899500"/>
              <a:gd name="connsiteY4" fmla="*/ 38904 h 38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500" h="38717">
                <a:moveTo>
                  <a:pt x="897748" y="38904"/>
                </a:moveTo>
                <a:lnTo>
                  <a:pt x="897748" y="187"/>
                </a:lnTo>
                <a:lnTo>
                  <a:pt x="-1753" y="187"/>
                </a:lnTo>
                <a:lnTo>
                  <a:pt x="-1753" y="38904"/>
                </a:lnTo>
                <a:lnTo>
                  <a:pt x="897748" y="38904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18" name="Vrije vorm 2235">
            <a:extLst>
              <a:ext uri="{FF2B5EF4-FFF2-40B4-BE49-F238E27FC236}">
                <a16:creationId xmlns:a16="http://schemas.microsoft.com/office/drawing/2014/main" id="{560C0917-0773-4422-8EB8-DC27CFE9019A}"/>
              </a:ext>
            </a:extLst>
          </p:cNvPr>
          <p:cNvSpPr/>
          <p:nvPr/>
        </p:nvSpPr>
        <p:spPr>
          <a:xfrm flipV="1">
            <a:off x="3167161" y="5864346"/>
            <a:ext cx="34273" cy="41440"/>
          </a:xfrm>
          <a:custGeom>
            <a:avLst/>
            <a:gdLst>
              <a:gd name="connsiteX0" fmla="*/ 25318 w 34273"/>
              <a:gd name="connsiteY0" fmla="*/ 41738 h 41440"/>
              <a:gd name="connsiteX1" fmla="*/ 13836 w 34273"/>
              <a:gd name="connsiteY1" fmla="*/ 26687 h 41440"/>
              <a:gd name="connsiteX2" fmla="*/ 9017 w 34273"/>
              <a:gd name="connsiteY2" fmla="*/ 29183 h 41440"/>
              <a:gd name="connsiteX3" fmla="*/ 2198 w 34273"/>
              <a:gd name="connsiteY3" fmla="*/ 34023 h 41440"/>
              <a:gd name="connsiteX4" fmla="*/ -3284 w 34273"/>
              <a:gd name="connsiteY4" fmla="*/ 27083 h 41440"/>
              <a:gd name="connsiteX5" fmla="*/ 3659 w 34273"/>
              <a:gd name="connsiteY5" fmla="*/ 21600 h 41440"/>
              <a:gd name="connsiteX6" fmla="*/ 5555 w 34273"/>
              <a:gd name="connsiteY6" fmla="*/ 22151 h 41440"/>
              <a:gd name="connsiteX7" fmla="*/ 10229 w 34273"/>
              <a:gd name="connsiteY7" fmla="*/ 19719 h 41440"/>
              <a:gd name="connsiteX8" fmla="*/ 4644 w 34273"/>
              <a:gd name="connsiteY8" fmla="*/ 1654 h 41440"/>
              <a:gd name="connsiteX9" fmla="*/ 12374 w 34273"/>
              <a:gd name="connsiteY9" fmla="*/ 298 h 41440"/>
              <a:gd name="connsiteX10" fmla="*/ 30945 w 34273"/>
              <a:gd name="connsiteY10" fmla="*/ 36260 h 41440"/>
              <a:gd name="connsiteX11" fmla="*/ 25318 w 34273"/>
              <a:gd name="connsiteY11" fmla="*/ 41738 h 4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4273" h="41440">
                <a:moveTo>
                  <a:pt x="25318" y="41738"/>
                </a:moveTo>
                <a:cubicBezTo>
                  <a:pt x="20851" y="37162"/>
                  <a:pt x="17007" y="32104"/>
                  <a:pt x="13836" y="26687"/>
                </a:cubicBezTo>
                <a:lnTo>
                  <a:pt x="9017" y="29183"/>
                </a:lnTo>
                <a:cubicBezTo>
                  <a:pt x="8333" y="32270"/>
                  <a:pt x="5410" y="34394"/>
                  <a:pt x="2198" y="34023"/>
                </a:cubicBezTo>
                <a:cubicBezTo>
                  <a:pt x="-1233" y="33618"/>
                  <a:pt x="-3688" y="30510"/>
                  <a:pt x="-3284" y="27083"/>
                </a:cubicBezTo>
                <a:cubicBezTo>
                  <a:pt x="-2880" y="23652"/>
                  <a:pt x="229" y="21200"/>
                  <a:pt x="3659" y="21600"/>
                </a:cubicBezTo>
                <a:lnTo>
                  <a:pt x="5555" y="22151"/>
                </a:lnTo>
                <a:lnTo>
                  <a:pt x="10229" y="19719"/>
                </a:lnTo>
                <a:cubicBezTo>
                  <a:pt x="7628" y="13978"/>
                  <a:pt x="5752" y="7929"/>
                  <a:pt x="4644" y="1654"/>
                </a:cubicBezTo>
                <a:lnTo>
                  <a:pt x="12374" y="298"/>
                </a:lnTo>
                <a:cubicBezTo>
                  <a:pt x="14768" y="13824"/>
                  <a:pt x="21183" y="26254"/>
                  <a:pt x="30945" y="36260"/>
                </a:cubicBezTo>
                <a:lnTo>
                  <a:pt x="25318" y="41738"/>
                </a:lnTo>
              </a:path>
            </a:pathLst>
          </a:custGeom>
          <a:solidFill>
            <a:srgbClr val="1E222C"/>
          </a:solidFill>
          <a:ln w="10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19" name="Vrije vorm 2236">
            <a:extLst>
              <a:ext uri="{FF2B5EF4-FFF2-40B4-BE49-F238E27FC236}">
                <a16:creationId xmlns:a16="http://schemas.microsoft.com/office/drawing/2014/main" id="{B0E0048F-FF4E-400D-9189-AAEEBD73617A}"/>
              </a:ext>
            </a:extLst>
          </p:cNvPr>
          <p:cNvSpPr/>
          <p:nvPr/>
        </p:nvSpPr>
        <p:spPr>
          <a:xfrm flipV="1">
            <a:off x="3218254" y="5820945"/>
            <a:ext cx="51380" cy="34377"/>
          </a:xfrm>
          <a:custGeom>
            <a:avLst/>
            <a:gdLst>
              <a:gd name="connsiteX0" fmla="*/ 31059 w 51380"/>
              <a:gd name="connsiteY0" fmla="*/ 15079 h 34377"/>
              <a:gd name="connsiteX1" fmla="*/ 25774 w 51380"/>
              <a:gd name="connsiteY1" fmla="*/ 14893 h 34377"/>
              <a:gd name="connsiteX2" fmla="*/ 25017 w 51380"/>
              <a:gd name="connsiteY2" fmla="*/ 21375 h 34377"/>
              <a:gd name="connsiteX3" fmla="*/ 27764 w 51380"/>
              <a:gd name="connsiteY3" fmla="*/ 28055 h 34377"/>
              <a:gd name="connsiteX4" fmla="*/ 19515 w 51380"/>
              <a:gd name="connsiteY4" fmla="*/ 34573 h 34377"/>
              <a:gd name="connsiteX5" fmla="*/ 13017 w 51380"/>
              <a:gd name="connsiteY5" fmla="*/ 26327 h 34377"/>
              <a:gd name="connsiteX6" fmla="*/ 17214 w 51380"/>
              <a:gd name="connsiteY6" fmla="*/ 20485 h 34377"/>
              <a:gd name="connsiteX7" fmla="*/ 17970 w 51380"/>
              <a:gd name="connsiteY7" fmla="*/ 14024 h 34377"/>
              <a:gd name="connsiteX8" fmla="*/ -3378 w 51380"/>
              <a:gd name="connsiteY8" fmla="*/ 7331 h 34377"/>
              <a:gd name="connsiteX9" fmla="*/ 21 w 51380"/>
              <a:gd name="connsiteY9" fmla="*/ 247 h 34377"/>
              <a:gd name="connsiteX10" fmla="*/ 31059 w 51380"/>
              <a:gd name="connsiteY10" fmla="*/ 7218 h 34377"/>
              <a:gd name="connsiteX11" fmla="*/ 46334 w 51380"/>
              <a:gd name="connsiteY11" fmla="*/ 5591 h 34377"/>
              <a:gd name="connsiteX12" fmla="*/ 48003 w 51380"/>
              <a:gd name="connsiteY12" fmla="*/ 13267 h 34377"/>
              <a:gd name="connsiteX13" fmla="*/ 31059 w 51380"/>
              <a:gd name="connsiteY13" fmla="*/ 15079 h 34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1380" h="34377">
                <a:moveTo>
                  <a:pt x="31059" y="15079"/>
                </a:moveTo>
                <a:cubicBezTo>
                  <a:pt x="29287" y="15079"/>
                  <a:pt x="27525" y="15007"/>
                  <a:pt x="25774" y="14893"/>
                </a:cubicBezTo>
                <a:lnTo>
                  <a:pt x="25017" y="21375"/>
                </a:lnTo>
                <a:cubicBezTo>
                  <a:pt x="26955" y="22929"/>
                  <a:pt x="28085" y="25418"/>
                  <a:pt x="27764" y="28055"/>
                </a:cubicBezTo>
                <a:cubicBezTo>
                  <a:pt x="27277" y="32130"/>
                  <a:pt x="23598" y="35051"/>
                  <a:pt x="19515" y="34573"/>
                </a:cubicBezTo>
                <a:cubicBezTo>
                  <a:pt x="15452" y="34084"/>
                  <a:pt x="12540" y="30398"/>
                  <a:pt x="13017" y="26327"/>
                </a:cubicBezTo>
                <a:cubicBezTo>
                  <a:pt x="13328" y="23697"/>
                  <a:pt x="14975" y="21553"/>
                  <a:pt x="17214" y="20485"/>
                </a:cubicBezTo>
                <a:lnTo>
                  <a:pt x="17970" y="14024"/>
                </a:lnTo>
                <a:cubicBezTo>
                  <a:pt x="10571" y="12821"/>
                  <a:pt x="3431" y="10584"/>
                  <a:pt x="-3378" y="7331"/>
                </a:cubicBezTo>
                <a:lnTo>
                  <a:pt x="21" y="247"/>
                </a:lnTo>
                <a:cubicBezTo>
                  <a:pt x="9690" y="4887"/>
                  <a:pt x="20136" y="7218"/>
                  <a:pt x="31059" y="7218"/>
                </a:cubicBezTo>
                <a:cubicBezTo>
                  <a:pt x="36199" y="7218"/>
                  <a:pt x="41350" y="6668"/>
                  <a:pt x="46334" y="5591"/>
                </a:cubicBezTo>
                <a:lnTo>
                  <a:pt x="48003" y="13267"/>
                </a:lnTo>
                <a:cubicBezTo>
                  <a:pt x="42459" y="14457"/>
                  <a:pt x="36759" y="15079"/>
                  <a:pt x="31059" y="15079"/>
                </a:cubicBezTo>
              </a:path>
            </a:pathLst>
          </a:custGeom>
          <a:solidFill>
            <a:srgbClr val="1E222C"/>
          </a:solidFill>
          <a:ln w="10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20" name="Vrije vorm 2242">
            <a:extLst>
              <a:ext uri="{FF2B5EF4-FFF2-40B4-BE49-F238E27FC236}">
                <a16:creationId xmlns:a16="http://schemas.microsoft.com/office/drawing/2014/main" id="{41A65210-C0CD-4C1E-843E-A01AB8D88838}"/>
              </a:ext>
            </a:extLst>
          </p:cNvPr>
          <p:cNvSpPr/>
          <p:nvPr/>
        </p:nvSpPr>
        <p:spPr>
          <a:xfrm rot="19507692" flipV="1">
            <a:off x="1080120" y="1258715"/>
            <a:ext cx="83114" cy="288000"/>
          </a:xfrm>
          <a:custGeom>
            <a:avLst/>
            <a:gdLst>
              <a:gd name="connsiteX0" fmla="*/ 27796 w 30273"/>
              <a:gd name="connsiteY0" fmla="*/ 125267 h 145367"/>
              <a:gd name="connsiteX1" fmla="*/ 24125 w 30273"/>
              <a:gd name="connsiteY1" fmla="*/ 124764 h 145367"/>
              <a:gd name="connsiteX2" fmla="*/ 21360 w 30273"/>
              <a:gd name="connsiteY2" fmla="*/ 123953 h 145367"/>
              <a:gd name="connsiteX3" fmla="*/ 20645 w 30273"/>
              <a:gd name="connsiteY3" fmla="*/ 118633 h 145367"/>
              <a:gd name="connsiteX4" fmla="*/ 20025 w 30273"/>
              <a:gd name="connsiteY4" fmla="*/ 113237 h 145367"/>
              <a:gd name="connsiteX5" fmla="*/ 18023 w 30273"/>
              <a:gd name="connsiteY5" fmla="*/ 783 h 145367"/>
              <a:gd name="connsiteX6" fmla="*/ 17689 w 30273"/>
              <a:gd name="connsiteY6" fmla="*/ -689 h 145367"/>
              <a:gd name="connsiteX7" fmla="*/ 15139 w 30273"/>
              <a:gd name="connsiteY7" fmla="*/ 29 h 145367"/>
              <a:gd name="connsiteX8" fmla="*/ 9775 w 30273"/>
              <a:gd name="connsiteY8" fmla="*/ -167 h 145367"/>
              <a:gd name="connsiteX9" fmla="*/ 7845 w 30273"/>
              <a:gd name="connsiteY9" fmla="*/ 430 h 145367"/>
              <a:gd name="connsiteX10" fmla="*/ 5675 w 30273"/>
              <a:gd name="connsiteY10" fmla="*/ 82040 h 145367"/>
              <a:gd name="connsiteX11" fmla="*/ 4960 w 30273"/>
              <a:gd name="connsiteY11" fmla="*/ 112500 h 145367"/>
              <a:gd name="connsiteX12" fmla="*/ 4770 w 30273"/>
              <a:gd name="connsiteY12" fmla="*/ 118633 h 145367"/>
              <a:gd name="connsiteX13" fmla="*/ 4746 w 30273"/>
              <a:gd name="connsiteY13" fmla="*/ 120990 h 145367"/>
              <a:gd name="connsiteX14" fmla="*/ 4841 w 30273"/>
              <a:gd name="connsiteY14" fmla="*/ 120990 h 145367"/>
              <a:gd name="connsiteX15" fmla="*/ 4817 w 30273"/>
              <a:gd name="connsiteY15" fmla="*/ 122760 h 145367"/>
              <a:gd name="connsiteX16" fmla="*/ 1980 w 30273"/>
              <a:gd name="connsiteY16" fmla="*/ 122638 h 145367"/>
              <a:gd name="connsiteX17" fmla="*/ -1595 w 30273"/>
              <a:gd name="connsiteY17" fmla="*/ 122183 h 145367"/>
              <a:gd name="connsiteX18" fmla="*/ -1619 w 30273"/>
              <a:gd name="connsiteY18" fmla="*/ 122183 h 145367"/>
              <a:gd name="connsiteX19" fmla="*/ 5961 w 30273"/>
              <a:gd name="connsiteY19" fmla="*/ 133729 h 145367"/>
              <a:gd name="connsiteX20" fmla="*/ 10228 w 30273"/>
              <a:gd name="connsiteY20" fmla="*/ 140055 h 145367"/>
              <a:gd name="connsiteX21" fmla="*/ 13756 w 30273"/>
              <a:gd name="connsiteY21" fmla="*/ 144678 h 145367"/>
              <a:gd name="connsiteX22" fmla="*/ 19263 w 30273"/>
              <a:gd name="connsiteY22" fmla="*/ 138359 h 145367"/>
              <a:gd name="connsiteX23" fmla="*/ 28655 w 30273"/>
              <a:gd name="connsiteY23" fmla="*/ 125379 h 145367"/>
              <a:gd name="connsiteX24" fmla="*/ 27796 w 30273"/>
              <a:gd name="connsiteY24" fmla="*/ 125267 h 145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0273" h="145367">
                <a:moveTo>
                  <a:pt x="27796" y="125267"/>
                </a:moveTo>
                <a:lnTo>
                  <a:pt x="24125" y="124764"/>
                </a:lnTo>
                <a:lnTo>
                  <a:pt x="21360" y="123953"/>
                </a:lnTo>
                <a:lnTo>
                  <a:pt x="20645" y="118633"/>
                </a:lnTo>
                <a:lnTo>
                  <a:pt x="20025" y="113237"/>
                </a:lnTo>
                <a:cubicBezTo>
                  <a:pt x="19572" y="107347"/>
                  <a:pt x="18404" y="15413"/>
                  <a:pt x="18023" y="783"/>
                </a:cubicBezTo>
                <a:lnTo>
                  <a:pt x="17689" y="-689"/>
                </a:lnTo>
                <a:lnTo>
                  <a:pt x="15139" y="29"/>
                </a:lnTo>
                <a:lnTo>
                  <a:pt x="9775" y="-167"/>
                </a:lnTo>
                <a:lnTo>
                  <a:pt x="7845" y="430"/>
                </a:lnTo>
                <a:cubicBezTo>
                  <a:pt x="7845" y="9786"/>
                  <a:pt x="6009" y="73857"/>
                  <a:pt x="5675" y="82040"/>
                </a:cubicBezTo>
                <a:cubicBezTo>
                  <a:pt x="5509" y="86522"/>
                  <a:pt x="5365" y="108085"/>
                  <a:pt x="4960" y="112500"/>
                </a:cubicBezTo>
                <a:lnTo>
                  <a:pt x="4770" y="118633"/>
                </a:lnTo>
                <a:lnTo>
                  <a:pt x="4746" y="120990"/>
                </a:lnTo>
                <a:lnTo>
                  <a:pt x="4841" y="120990"/>
                </a:lnTo>
                <a:lnTo>
                  <a:pt x="4817" y="122760"/>
                </a:lnTo>
                <a:lnTo>
                  <a:pt x="1980" y="122638"/>
                </a:lnTo>
                <a:lnTo>
                  <a:pt x="-1595" y="122183"/>
                </a:lnTo>
                <a:lnTo>
                  <a:pt x="-1619" y="122183"/>
                </a:lnTo>
                <a:cubicBezTo>
                  <a:pt x="1480" y="125527"/>
                  <a:pt x="3578" y="129888"/>
                  <a:pt x="5961" y="133729"/>
                </a:cubicBezTo>
                <a:lnTo>
                  <a:pt x="10228" y="140055"/>
                </a:lnTo>
                <a:lnTo>
                  <a:pt x="13756" y="144678"/>
                </a:lnTo>
                <a:cubicBezTo>
                  <a:pt x="15258" y="142460"/>
                  <a:pt x="17499" y="140456"/>
                  <a:pt x="19263" y="138359"/>
                </a:cubicBezTo>
                <a:cubicBezTo>
                  <a:pt x="22671" y="134258"/>
                  <a:pt x="25174" y="129385"/>
                  <a:pt x="28655" y="125379"/>
                </a:cubicBezTo>
                <a:lnTo>
                  <a:pt x="27796" y="125267"/>
                </a:lnTo>
              </a:path>
            </a:pathLst>
          </a:custGeom>
          <a:solidFill>
            <a:srgbClr val="4376C4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21" name="Vrije vorm 2141">
            <a:extLst>
              <a:ext uri="{FF2B5EF4-FFF2-40B4-BE49-F238E27FC236}">
                <a16:creationId xmlns:a16="http://schemas.microsoft.com/office/drawing/2014/main" id="{8CE02BA4-A736-43CB-9381-F4A6F039AF2D}"/>
              </a:ext>
            </a:extLst>
          </p:cNvPr>
          <p:cNvSpPr/>
          <p:nvPr/>
        </p:nvSpPr>
        <p:spPr>
          <a:xfrm flipV="1">
            <a:off x="3412758" y="4213954"/>
            <a:ext cx="4175319" cy="515543"/>
          </a:xfrm>
          <a:custGeom>
            <a:avLst/>
            <a:gdLst>
              <a:gd name="connsiteX0" fmla="*/ 1518606 w 1520794"/>
              <a:gd name="connsiteY0" fmla="*/ -126 h 193625"/>
              <a:gd name="connsiteX1" fmla="*/ 784228 w 1520794"/>
              <a:gd name="connsiteY1" fmla="*/ -126 h 193625"/>
              <a:gd name="connsiteX2" fmla="*/ -2189 w 1520794"/>
              <a:gd name="connsiteY2" fmla="*/ 164854 h 193625"/>
              <a:gd name="connsiteX3" fmla="*/ 12615 w 1520794"/>
              <a:gd name="connsiteY3" fmla="*/ 193499 h 193625"/>
              <a:gd name="connsiteX4" fmla="*/ 1419801 w 1520794"/>
              <a:gd name="connsiteY4" fmla="*/ 193499 h 193625"/>
              <a:gd name="connsiteX5" fmla="*/ 1518606 w 1520794"/>
              <a:gd name="connsiteY5" fmla="*/ -126 h 193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0794" h="193625">
                <a:moveTo>
                  <a:pt x="1518606" y="-126"/>
                </a:moveTo>
                <a:lnTo>
                  <a:pt x="784228" y="-126"/>
                </a:lnTo>
                <a:cubicBezTo>
                  <a:pt x="591932" y="140541"/>
                  <a:pt x="232871" y="160773"/>
                  <a:pt x="-2189" y="164854"/>
                </a:cubicBezTo>
                <a:lnTo>
                  <a:pt x="12615" y="193499"/>
                </a:lnTo>
                <a:lnTo>
                  <a:pt x="1419801" y="193499"/>
                </a:lnTo>
                <a:lnTo>
                  <a:pt x="1518606" y="-126"/>
                </a:lnTo>
              </a:path>
            </a:pathLst>
          </a:custGeom>
          <a:solidFill>
            <a:srgbClr val="DEDED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22" name="Vrije vorm 2144">
            <a:extLst>
              <a:ext uri="{FF2B5EF4-FFF2-40B4-BE49-F238E27FC236}">
                <a16:creationId xmlns:a16="http://schemas.microsoft.com/office/drawing/2014/main" id="{ED1D5062-BE0E-466F-AB73-28D579E2DE30}"/>
              </a:ext>
            </a:extLst>
          </p:cNvPr>
          <p:cNvSpPr/>
          <p:nvPr/>
        </p:nvSpPr>
        <p:spPr>
          <a:xfrm flipV="1">
            <a:off x="3178137" y="4729497"/>
            <a:ext cx="4409940" cy="111602"/>
          </a:xfrm>
          <a:custGeom>
            <a:avLst/>
            <a:gdLst>
              <a:gd name="connsiteX0" fmla="*/ -2173 w 1606251"/>
              <a:gd name="connsiteY0" fmla="*/ 41845 h 41915"/>
              <a:gd name="connsiteX1" fmla="*/ -2173 w 1606251"/>
              <a:gd name="connsiteY1" fmla="*/ -70 h 41915"/>
              <a:gd name="connsiteX2" fmla="*/ 1604078 w 1606251"/>
              <a:gd name="connsiteY2" fmla="*/ -70 h 41915"/>
              <a:gd name="connsiteX3" fmla="*/ 1604078 w 1606251"/>
              <a:gd name="connsiteY3" fmla="*/ 41845 h 41915"/>
              <a:gd name="connsiteX4" fmla="*/ -2173 w 1606251"/>
              <a:gd name="connsiteY4" fmla="*/ 41845 h 41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6251" h="41915">
                <a:moveTo>
                  <a:pt x="-2173" y="41845"/>
                </a:moveTo>
                <a:lnTo>
                  <a:pt x="-2173" y="-70"/>
                </a:lnTo>
                <a:lnTo>
                  <a:pt x="1604078" y="-70"/>
                </a:lnTo>
                <a:lnTo>
                  <a:pt x="1604078" y="41845"/>
                </a:lnTo>
                <a:lnTo>
                  <a:pt x="-2173" y="41845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70" name="Rechthoek 369">
            <a:extLst>
              <a:ext uri="{FF2B5EF4-FFF2-40B4-BE49-F238E27FC236}">
                <a16:creationId xmlns:a16="http://schemas.microsoft.com/office/drawing/2014/main" id="{5E3DA7F5-E5FE-43B4-9022-815AA7A00D84}"/>
              </a:ext>
            </a:extLst>
          </p:cNvPr>
          <p:cNvSpPr/>
          <p:nvPr/>
        </p:nvSpPr>
        <p:spPr>
          <a:xfrm>
            <a:off x="9228129" y="891511"/>
            <a:ext cx="1860144" cy="3976389"/>
          </a:xfrm>
          <a:prstGeom prst="rect">
            <a:avLst/>
          </a:prstGeom>
          <a:solidFill>
            <a:srgbClr val="A24027"/>
          </a:solidFill>
          <a:ln>
            <a:noFill/>
          </a:ln>
          <a:scene3d>
            <a:camera prst="orthographicFront"/>
            <a:lightRig rig="threePt" dir="t"/>
          </a:scene3d>
          <a:sp3d>
            <a:bevelT prst="slop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dirty="0"/>
          </a:p>
        </p:txBody>
      </p:sp>
      <p:sp>
        <p:nvSpPr>
          <p:cNvPr id="371" name="Rechthoek 370">
            <a:extLst>
              <a:ext uri="{FF2B5EF4-FFF2-40B4-BE49-F238E27FC236}">
                <a16:creationId xmlns:a16="http://schemas.microsoft.com/office/drawing/2014/main" id="{D809C62B-2A7C-427F-A11A-46E6909CCC88}"/>
              </a:ext>
            </a:extLst>
          </p:cNvPr>
          <p:cNvSpPr/>
          <p:nvPr/>
        </p:nvSpPr>
        <p:spPr>
          <a:xfrm>
            <a:off x="9436608" y="2848224"/>
            <a:ext cx="146304" cy="3716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scene3d>
            <a:camera prst="perspective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72" name="Afgeronde rechthoek 2273">
            <a:extLst>
              <a:ext uri="{FF2B5EF4-FFF2-40B4-BE49-F238E27FC236}">
                <a16:creationId xmlns:a16="http://schemas.microsoft.com/office/drawing/2014/main" id="{4C3EEAEA-F217-4CFE-83A5-76B94209D7D7}"/>
              </a:ext>
            </a:extLst>
          </p:cNvPr>
          <p:cNvSpPr/>
          <p:nvPr/>
        </p:nvSpPr>
        <p:spPr>
          <a:xfrm>
            <a:off x="9504720" y="3030555"/>
            <a:ext cx="194241" cy="72000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scene3d>
            <a:camera prst="perspectiveLef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73" name="Vrije vorm 2142">
            <a:extLst>
              <a:ext uri="{FF2B5EF4-FFF2-40B4-BE49-F238E27FC236}">
                <a16:creationId xmlns:a16="http://schemas.microsoft.com/office/drawing/2014/main" id="{F81F39D5-1D91-46CA-A9B0-B932D5E162A0}"/>
              </a:ext>
            </a:extLst>
          </p:cNvPr>
          <p:cNvSpPr/>
          <p:nvPr/>
        </p:nvSpPr>
        <p:spPr>
          <a:xfrm flipV="1">
            <a:off x="3178137" y="4729505"/>
            <a:ext cx="4409940" cy="1128695"/>
          </a:xfrm>
          <a:custGeom>
            <a:avLst/>
            <a:gdLst>
              <a:gd name="connsiteX0" fmla="*/ -2173 w 1606251"/>
              <a:gd name="connsiteY0" fmla="*/ 20 h 423909"/>
              <a:gd name="connsiteX1" fmla="*/ 1604078 w 1606251"/>
              <a:gd name="connsiteY1" fmla="*/ 20 h 423909"/>
              <a:gd name="connsiteX2" fmla="*/ 1604078 w 1606251"/>
              <a:gd name="connsiteY2" fmla="*/ 423930 h 423909"/>
              <a:gd name="connsiteX3" fmla="*/ -2173 w 1606251"/>
              <a:gd name="connsiteY3" fmla="*/ 423930 h 423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51" h="423909">
                <a:moveTo>
                  <a:pt x="-2173" y="20"/>
                </a:moveTo>
                <a:lnTo>
                  <a:pt x="1604078" y="20"/>
                </a:lnTo>
                <a:lnTo>
                  <a:pt x="1604078" y="423930"/>
                </a:lnTo>
                <a:lnTo>
                  <a:pt x="-2173" y="423930"/>
                </a:lnTo>
                <a:close/>
              </a:path>
            </a:pathLst>
          </a:custGeom>
          <a:solidFill>
            <a:srgbClr val="C6C5C3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grpSp>
        <p:nvGrpSpPr>
          <p:cNvPr id="374" name="Groep 373">
            <a:extLst>
              <a:ext uri="{FF2B5EF4-FFF2-40B4-BE49-F238E27FC236}">
                <a16:creationId xmlns:a16="http://schemas.microsoft.com/office/drawing/2014/main" id="{C3670682-026F-4B28-BD7B-A041B08D744C}"/>
              </a:ext>
            </a:extLst>
          </p:cNvPr>
          <p:cNvGrpSpPr/>
          <p:nvPr/>
        </p:nvGrpSpPr>
        <p:grpSpPr>
          <a:xfrm>
            <a:off x="5011431" y="3581790"/>
            <a:ext cx="1010574" cy="1925513"/>
            <a:chOff x="4998690" y="3606506"/>
            <a:chExt cx="1010574" cy="1925513"/>
          </a:xfrm>
        </p:grpSpPr>
        <p:sp>
          <p:nvSpPr>
            <p:cNvPr id="375" name="Vrije vorm 2249">
              <a:extLst>
                <a:ext uri="{FF2B5EF4-FFF2-40B4-BE49-F238E27FC236}">
                  <a16:creationId xmlns:a16="http://schemas.microsoft.com/office/drawing/2014/main" id="{FFB4A4F5-D6E8-43A0-9946-585A9CB406E8}"/>
                </a:ext>
              </a:extLst>
            </p:cNvPr>
            <p:cNvSpPr/>
            <p:nvPr/>
          </p:nvSpPr>
          <p:spPr>
            <a:xfrm flipV="1">
              <a:off x="5453091" y="4848801"/>
              <a:ext cx="101756" cy="560046"/>
            </a:xfrm>
            <a:custGeom>
              <a:avLst/>
              <a:gdLst>
                <a:gd name="connsiteX0" fmla="*/ 98770 w 101756"/>
                <a:gd name="connsiteY0" fmla="*/ 558208 h 560046"/>
                <a:gd name="connsiteX1" fmla="*/ 84251 w 101756"/>
                <a:gd name="connsiteY1" fmla="*/ 449469 h 560046"/>
                <a:gd name="connsiteX2" fmla="*/ 84251 w 101756"/>
                <a:gd name="connsiteY2" fmla="*/ 106929 h 560046"/>
                <a:gd name="connsiteX3" fmla="*/ 98770 w 101756"/>
                <a:gd name="connsiteY3" fmla="*/ -1839 h 560046"/>
                <a:gd name="connsiteX4" fmla="*/ -2987 w 101756"/>
                <a:gd name="connsiteY4" fmla="*/ -1839 h 560046"/>
                <a:gd name="connsiteX5" fmla="*/ 11575 w 101756"/>
                <a:gd name="connsiteY5" fmla="*/ 106929 h 560046"/>
                <a:gd name="connsiteX6" fmla="*/ 11575 w 101756"/>
                <a:gd name="connsiteY6" fmla="*/ 449469 h 560046"/>
                <a:gd name="connsiteX7" fmla="*/ -2987 w 101756"/>
                <a:gd name="connsiteY7" fmla="*/ 558208 h 560046"/>
                <a:gd name="connsiteX8" fmla="*/ 98770 w 101756"/>
                <a:gd name="connsiteY8" fmla="*/ 558208 h 5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756" h="560046">
                  <a:moveTo>
                    <a:pt x="98770" y="558208"/>
                  </a:moveTo>
                  <a:lnTo>
                    <a:pt x="84251" y="449469"/>
                  </a:lnTo>
                  <a:lnTo>
                    <a:pt x="84251" y="106929"/>
                  </a:lnTo>
                  <a:lnTo>
                    <a:pt x="98770" y="-1839"/>
                  </a:lnTo>
                  <a:lnTo>
                    <a:pt x="-2987" y="-1839"/>
                  </a:lnTo>
                  <a:lnTo>
                    <a:pt x="11575" y="106929"/>
                  </a:lnTo>
                  <a:lnTo>
                    <a:pt x="11575" y="449469"/>
                  </a:lnTo>
                  <a:lnTo>
                    <a:pt x="-2987" y="558208"/>
                  </a:lnTo>
                  <a:lnTo>
                    <a:pt x="98770" y="558208"/>
                  </a:lnTo>
                </a:path>
              </a:pathLst>
            </a:custGeom>
            <a:solidFill>
              <a:srgbClr val="393536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76" name="Vrije vorm 2250">
              <a:extLst>
                <a:ext uri="{FF2B5EF4-FFF2-40B4-BE49-F238E27FC236}">
                  <a16:creationId xmlns:a16="http://schemas.microsoft.com/office/drawing/2014/main" id="{527A14CF-9E70-4E4F-BF8E-749B3D543AA0}"/>
                </a:ext>
              </a:extLst>
            </p:cNvPr>
            <p:cNvSpPr/>
            <p:nvPr/>
          </p:nvSpPr>
          <p:spPr>
            <a:xfrm flipV="1">
              <a:off x="5191315" y="4316304"/>
              <a:ext cx="128427" cy="442630"/>
            </a:xfrm>
            <a:custGeom>
              <a:avLst/>
              <a:gdLst>
                <a:gd name="connsiteX0" fmla="*/ -2235 w 128427"/>
                <a:gd name="connsiteY0" fmla="*/ -4178 h 442630"/>
                <a:gd name="connsiteX1" fmla="*/ 126193 w 128427"/>
                <a:gd name="connsiteY1" fmla="*/ -4178 h 442630"/>
                <a:gd name="connsiteX2" fmla="*/ 126193 w 128427"/>
                <a:gd name="connsiteY2" fmla="*/ 438452 h 442630"/>
                <a:gd name="connsiteX3" fmla="*/ -2235 w 128427"/>
                <a:gd name="connsiteY3" fmla="*/ 438452 h 442630"/>
                <a:gd name="connsiteX4" fmla="*/ -2235 w 128427"/>
                <a:gd name="connsiteY4" fmla="*/ -4178 h 44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27" h="442630">
                  <a:moveTo>
                    <a:pt x="-2235" y="-4178"/>
                  </a:moveTo>
                  <a:lnTo>
                    <a:pt x="126193" y="-4178"/>
                  </a:lnTo>
                  <a:lnTo>
                    <a:pt x="126193" y="438452"/>
                  </a:lnTo>
                  <a:lnTo>
                    <a:pt x="-2235" y="438452"/>
                  </a:lnTo>
                  <a:lnTo>
                    <a:pt x="-2235" y="-4178"/>
                  </a:lnTo>
                </a:path>
              </a:pathLst>
            </a:custGeom>
            <a:solidFill>
              <a:srgbClr val="393536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77" name="Vrije vorm 2251">
              <a:extLst>
                <a:ext uri="{FF2B5EF4-FFF2-40B4-BE49-F238E27FC236}">
                  <a16:creationId xmlns:a16="http://schemas.microsoft.com/office/drawing/2014/main" id="{ADB6CD55-F5DD-4D11-AE1D-D9A57880C625}"/>
                </a:ext>
              </a:extLst>
            </p:cNvPr>
            <p:cNvSpPr/>
            <p:nvPr/>
          </p:nvSpPr>
          <p:spPr>
            <a:xfrm flipV="1">
              <a:off x="5041142" y="3606506"/>
              <a:ext cx="650970" cy="871689"/>
            </a:xfrm>
            <a:custGeom>
              <a:avLst/>
              <a:gdLst>
                <a:gd name="connsiteX0" fmla="*/ -2571 w 650970"/>
                <a:gd name="connsiteY0" fmla="*/ 96644 h 871689"/>
                <a:gd name="connsiteX1" fmla="*/ 100125 w 650970"/>
                <a:gd name="connsiteY1" fmla="*/ -6138 h 871689"/>
                <a:gd name="connsiteX2" fmla="*/ 545644 w 650970"/>
                <a:gd name="connsiteY2" fmla="*/ -6138 h 871689"/>
                <a:gd name="connsiteX3" fmla="*/ 648399 w 650970"/>
                <a:gd name="connsiteY3" fmla="*/ 96644 h 871689"/>
                <a:gd name="connsiteX4" fmla="*/ 648399 w 650970"/>
                <a:gd name="connsiteY4" fmla="*/ 762803 h 871689"/>
                <a:gd name="connsiteX5" fmla="*/ 545644 w 650970"/>
                <a:gd name="connsiteY5" fmla="*/ 865551 h 871689"/>
                <a:gd name="connsiteX6" fmla="*/ 100125 w 650970"/>
                <a:gd name="connsiteY6" fmla="*/ 865551 h 871689"/>
                <a:gd name="connsiteX7" fmla="*/ -2571 w 650970"/>
                <a:gd name="connsiteY7" fmla="*/ 762803 h 871689"/>
                <a:gd name="connsiteX8" fmla="*/ -2571 w 650970"/>
                <a:gd name="connsiteY8" fmla="*/ 96644 h 871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0970" h="871689">
                  <a:moveTo>
                    <a:pt x="-2571" y="96644"/>
                  </a:moveTo>
                  <a:cubicBezTo>
                    <a:pt x="-2571" y="39883"/>
                    <a:pt x="43378" y="-6138"/>
                    <a:pt x="100125" y="-6138"/>
                  </a:cubicBezTo>
                  <a:lnTo>
                    <a:pt x="545644" y="-6138"/>
                  </a:lnTo>
                  <a:cubicBezTo>
                    <a:pt x="602436" y="-6138"/>
                    <a:pt x="648399" y="39883"/>
                    <a:pt x="648399" y="96644"/>
                  </a:cubicBezTo>
                  <a:lnTo>
                    <a:pt x="648399" y="762803"/>
                  </a:lnTo>
                  <a:cubicBezTo>
                    <a:pt x="648399" y="819555"/>
                    <a:pt x="602436" y="865551"/>
                    <a:pt x="545644" y="865551"/>
                  </a:cubicBezTo>
                  <a:lnTo>
                    <a:pt x="100125" y="865551"/>
                  </a:lnTo>
                  <a:cubicBezTo>
                    <a:pt x="43378" y="865551"/>
                    <a:pt x="-2571" y="819555"/>
                    <a:pt x="-2571" y="762803"/>
                  </a:cubicBezTo>
                  <a:lnTo>
                    <a:pt x="-2571" y="96644"/>
                  </a:lnTo>
                </a:path>
              </a:pathLst>
            </a:custGeom>
            <a:solidFill>
              <a:srgbClr val="1B3444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78" name="Vrije vorm 2252">
              <a:extLst>
                <a:ext uri="{FF2B5EF4-FFF2-40B4-BE49-F238E27FC236}">
                  <a16:creationId xmlns:a16="http://schemas.microsoft.com/office/drawing/2014/main" id="{8787AAEC-E36E-4DDE-9A6B-A4497776534A}"/>
                </a:ext>
              </a:extLst>
            </p:cNvPr>
            <p:cNvSpPr/>
            <p:nvPr/>
          </p:nvSpPr>
          <p:spPr>
            <a:xfrm flipV="1">
              <a:off x="4998690" y="4722077"/>
              <a:ext cx="1010574" cy="170539"/>
            </a:xfrm>
            <a:custGeom>
              <a:avLst/>
              <a:gdLst>
                <a:gd name="connsiteX0" fmla="*/ -2987 w 1010574"/>
                <a:gd name="connsiteY0" fmla="*/ 82174 h 170539"/>
                <a:gd name="connsiteX1" fmla="*/ 82276 w 1010574"/>
                <a:gd name="connsiteY1" fmla="*/ -3111 h 170539"/>
                <a:gd name="connsiteX2" fmla="*/ 922371 w 1010574"/>
                <a:gd name="connsiteY2" fmla="*/ -3111 h 170539"/>
                <a:gd name="connsiteX3" fmla="*/ 1007588 w 1010574"/>
                <a:gd name="connsiteY3" fmla="*/ 82174 h 170539"/>
                <a:gd name="connsiteX4" fmla="*/ 922371 w 1010574"/>
                <a:gd name="connsiteY4" fmla="*/ 167429 h 170539"/>
                <a:gd name="connsiteX5" fmla="*/ 82276 w 1010574"/>
                <a:gd name="connsiteY5" fmla="*/ 167429 h 170539"/>
                <a:gd name="connsiteX6" fmla="*/ -2987 w 1010574"/>
                <a:gd name="connsiteY6" fmla="*/ 82174 h 170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0574" h="170539">
                  <a:moveTo>
                    <a:pt x="-2987" y="82174"/>
                  </a:moveTo>
                  <a:cubicBezTo>
                    <a:pt x="-2987" y="35064"/>
                    <a:pt x="35182" y="-3111"/>
                    <a:pt x="82276" y="-3111"/>
                  </a:cubicBezTo>
                  <a:lnTo>
                    <a:pt x="922371" y="-3111"/>
                  </a:lnTo>
                  <a:cubicBezTo>
                    <a:pt x="969434" y="-3111"/>
                    <a:pt x="1007588" y="35064"/>
                    <a:pt x="1007588" y="82174"/>
                  </a:cubicBezTo>
                  <a:cubicBezTo>
                    <a:pt x="1007588" y="129283"/>
                    <a:pt x="969434" y="167429"/>
                    <a:pt x="922371" y="167429"/>
                  </a:cubicBezTo>
                  <a:lnTo>
                    <a:pt x="82276" y="167429"/>
                  </a:lnTo>
                  <a:cubicBezTo>
                    <a:pt x="35182" y="167429"/>
                    <a:pt x="-2987" y="129283"/>
                    <a:pt x="-2987" y="82174"/>
                  </a:cubicBezTo>
                </a:path>
              </a:pathLst>
            </a:custGeom>
            <a:solidFill>
              <a:srgbClr val="1B3444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79" name="Vrije vorm 2253">
              <a:extLst>
                <a:ext uri="{FF2B5EF4-FFF2-40B4-BE49-F238E27FC236}">
                  <a16:creationId xmlns:a16="http://schemas.microsoft.com/office/drawing/2014/main" id="{6C844B37-0CA7-407F-9981-DF2416B16D5A}"/>
                </a:ext>
              </a:extLst>
            </p:cNvPr>
            <p:cNvSpPr/>
            <p:nvPr/>
          </p:nvSpPr>
          <p:spPr>
            <a:xfrm flipV="1">
              <a:off x="5125943" y="5383388"/>
              <a:ext cx="756116" cy="50889"/>
            </a:xfrm>
            <a:custGeom>
              <a:avLst/>
              <a:gdLst>
                <a:gd name="connsiteX0" fmla="*/ 753130 w 756116"/>
                <a:gd name="connsiteY0" fmla="*/ -730 h 50889"/>
                <a:gd name="connsiteX1" fmla="*/ 753130 w 756116"/>
                <a:gd name="connsiteY1" fmla="*/ 50160 h 50889"/>
                <a:gd name="connsiteX2" fmla="*/ -2987 w 756116"/>
                <a:gd name="connsiteY2" fmla="*/ 50160 h 50889"/>
                <a:gd name="connsiteX3" fmla="*/ -2987 w 756116"/>
                <a:gd name="connsiteY3" fmla="*/ -730 h 50889"/>
                <a:gd name="connsiteX4" fmla="*/ 753130 w 756116"/>
                <a:gd name="connsiteY4" fmla="*/ -730 h 50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6116" h="50889">
                  <a:moveTo>
                    <a:pt x="753130" y="-730"/>
                  </a:moveTo>
                  <a:lnTo>
                    <a:pt x="753130" y="50160"/>
                  </a:lnTo>
                  <a:lnTo>
                    <a:pt x="-2987" y="50160"/>
                  </a:lnTo>
                  <a:lnTo>
                    <a:pt x="-2987" y="-730"/>
                  </a:lnTo>
                  <a:lnTo>
                    <a:pt x="753130" y="-730"/>
                  </a:lnTo>
                </a:path>
              </a:pathLst>
            </a:custGeom>
            <a:solidFill>
              <a:srgbClr val="393536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80" name="Vrije vorm 2254">
              <a:extLst>
                <a:ext uri="{FF2B5EF4-FFF2-40B4-BE49-F238E27FC236}">
                  <a16:creationId xmlns:a16="http://schemas.microsoft.com/office/drawing/2014/main" id="{ECE89378-74A7-4759-A7CA-3301AD0BC071}"/>
                </a:ext>
              </a:extLst>
            </p:cNvPr>
            <p:cNvSpPr/>
            <p:nvPr/>
          </p:nvSpPr>
          <p:spPr>
            <a:xfrm flipV="1">
              <a:off x="5840260" y="5380753"/>
              <a:ext cx="83595" cy="151266"/>
            </a:xfrm>
            <a:custGeom>
              <a:avLst/>
              <a:gdLst>
                <a:gd name="connsiteX0" fmla="*/ -4131 w 83595"/>
                <a:gd name="connsiteY0" fmla="*/ 41269 h 151266"/>
                <a:gd name="connsiteX1" fmla="*/ 37668 w 83595"/>
                <a:gd name="connsiteY1" fmla="*/ -542 h 151266"/>
                <a:gd name="connsiteX2" fmla="*/ 79465 w 83595"/>
                <a:gd name="connsiteY2" fmla="*/ 41269 h 151266"/>
                <a:gd name="connsiteX3" fmla="*/ 79465 w 83595"/>
                <a:gd name="connsiteY3" fmla="*/ 108884 h 151266"/>
                <a:gd name="connsiteX4" fmla="*/ 37668 w 83595"/>
                <a:gd name="connsiteY4" fmla="*/ 150724 h 151266"/>
                <a:gd name="connsiteX5" fmla="*/ -4131 w 83595"/>
                <a:gd name="connsiteY5" fmla="*/ 108884 h 151266"/>
                <a:gd name="connsiteX6" fmla="*/ -4131 w 83595"/>
                <a:gd name="connsiteY6" fmla="*/ 41269 h 15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595" h="151266">
                  <a:moveTo>
                    <a:pt x="-4131" y="41269"/>
                  </a:moveTo>
                  <a:cubicBezTo>
                    <a:pt x="-4131" y="18187"/>
                    <a:pt x="14568" y="-542"/>
                    <a:pt x="37668" y="-542"/>
                  </a:cubicBezTo>
                  <a:cubicBezTo>
                    <a:pt x="60751" y="-542"/>
                    <a:pt x="79465" y="18187"/>
                    <a:pt x="79465" y="41269"/>
                  </a:cubicBezTo>
                  <a:lnTo>
                    <a:pt x="79465" y="108884"/>
                  </a:lnTo>
                  <a:cubicBezTo>
                    <a:pt x="79465" y="131995"/>
                    <a:pt x="60751" y="150724"/>
                    <a:pt x="37668" y="150724"/>
                  </a:cubicBezTo>
                  <a:cubicBezTo>
                    <a:pt x="14568" y="150724"/>
                    <a:pt x="-4131" y="131995"/>
                    <a:pt x="-4131" y="108884"/>
                  </a:cubicBezTo>
                  <a:lnTo>
                    <a:pt x="-4131" y="41269"/>
                  </a:lnTo>
                </a:path>
              </a:pathLst>
            </a:custGeom>
            <a:solidFill>
              <a:srgbClr val="393536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81" name="Vrije vorm 2255">
              <a:extLst>
                <a:ext uri="{FF2B5EF4-FFF2-40B4-BE49-F238E27FC236}">
                  <a16:creationId xmlns:a16="http://schemas.microsoft.com/office/drawing/2014/main" id="{20BCC37A-540F-4D26-B6CB-3F4F21B1632C}"/>
                </a:ext>
              </a:extLst>
            </p:cNvPr>
            <p:cNvSpPr/>
            <p:nvPr/>
          </p:nvSpPr>
          <p:spPr>
            <a:xfrm flipV="1">
              <a:off x="5084115" y="5380753"/>
              <a:ext cx="83624" cy="151266"/>
            </a:xfrm>
            <a:custGeom>
              <a:avLst/>
              <a:gdLst>
                <a:gd name="connsiteX0" fmla="*/ -1842 w 83624"/>
                <a:gd name="connsiteY0" fmla="*/ 41269 h 151266"/>
                <a:gd name="connsiteX1" fmla="*/ 39986 w 83624"/>
                <a:gd name="connsiteY1" fmla="*/ -542 h 151266"/>
                <a:gd name="connsiteX2" fmla="*/ 81782 w 83624"/>
                <a:gd name="connsiteY2" fmla="*/ 41269 h 151266"/>
                <a:gd name="connsiteX3" fmla="*/ 81782 w 83624"/>
                <a:gd name="connsiteY3" fmla="*/ 108884 h 151266"/>
                <a:gd name="connsiteX4" fmla="*/ 39986 w 83624"/>
                <a:gd name="connsiteY4" fmla="*/ 150724 h 151266"/>
                <a:gd name="connsiteX5" fmla="*/ -1842 w 83624"/>
                <a:gd name="connsiteY5" fmla="*/ 108884 h 151266"/>
                <a:gd name="connsiteX6" fmla="*/ -1842 w 83624"/>
                <a:gd name="connsiteY6" fmla="*/ 41269 h 15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624" h="151266">
                  <a:moveTo>
                    <a:pt x="-1842" y="41269"/>
                  </a:moveTo>
                  <a:cubicBezTo>
                    <a:pt x="-1842" y="18187"/>
                    <a:pt x="16885" y="-542"/>
                    <a:pt x="39986" y="-542"/>
                  </a:cubicBezTo>
                  <a:cubicBezTo>
                    <a:pt x="63040" y="-542"/>
                    <a:pt x="81782" y="18187"/>
                    <a:pt x="81782" y="41269"/>
                  </a:cubicBezTo>
                  <a:lnTo>
                    <a:pt x="81782" y="108884"/>
                  </a:lnTo>
                  <a:cubicBezTo>
                    <a:pt x="81782" y="131995"/>
                    <a:pt x="63040" y="150724"/>
                    <a:pt x="39986" y="150724"/>
                  </a:cubicBezTo>
                  <a:cubicBezTo>
                    <a:pt x="16885" y="150724"/>
                    <a:pt x="-1842" y="131995"/>
                    <a:pt x="-1842" y="108884"/>
                  </a:cubicBezTo>
                  <a:lnTo>
                    <a:pt x="-1842" y="41269"/>
                  </a:lnTo>
                </a:path>
              </a:pathLst>
            </a:custGeom>
            <a:solidFill>
              <a:srgbClr val="393536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sp>
        <p:nvSpPr>
          <p:cNvPr id="382" name="Vrije vorm 2140">
            <a:extLst>
              <a:ext uri="{FF2B5EF4-FFF2-40B4-BE49-F238E27FC236}">
                <a16:creationId xmlns:a16="http://schemas.microsoft.com/office/drawing/2014/main" id="{FE9E902C-420A-4424-8AE1-6D9360D3C5D8}"/>
              </a:ext>
            </a:extLst>
          </p:cNvPr>
          <p:cNvSpPr/>
          <p:nvPr/>
        </p:nvSpPr>
        <p:spPr>
          <a:xfrm flipV="1">
            <a:off x="3178137" y="4213954"/>
            <a:ext cx="4409940" cy="515543"/>
          </a:xfrm>
          <a:custGeom>
            <a:avLst/>
            <a:gdLst>
              <a:gd name="connsiteX0" fmla="*/ 1604078 w 1606251"/>
              <a:gd name="connsiteY0" fmla="*/ -126 h 193625"/>
              <a:gd name="connsiteX1" fmla="*/ 1505273 w 1606251"/>
              <a:gd name="connsiteY1" fmla="*/ 193499 h 193625"/>
              <a:gd name="connsiteX2" fmla="*/ 98087 w 1606251"/>
              <a:gd name="connsiteY2" fmla="*/ 193499 h 193625"/>
              <a:gd name="connsiteX3" fmla="*/ -2173 w 1606251"/>
              <a:gd name="connsiteY3" fmla="*/ -126 h 193625"/>
              <a:gd name="connsiteX4" fmla="*/ 1604078 w 1606251"/>
              <a:gd name="connsiteY4" fmla="*/ -126 h 193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6251" h="193625">
                <a:moveTo>
                  <a:pt x="1604078" y="-126"/>
                </a:moveTo>
                <a:lnTo>
                  <a:pt x="1505273" y="193499"/>
                </a:lnTo>
                <a:lnTo>
                  <a:pt x="98087" y="193499"/>
                </a:lnTo>
                <a:lnTo>
                  <a:pt x="-2173" y="-126"/>
                </a:lnTo>
                <a:lnTo>
                  <a:pt x="1604078" y="-126"/>
                </a:lnTo>
              </a:path>
            </a:pathLst>
          </a:custGeom>
          <a:solidFill>
            <a:srgbClr val="F0F0E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83" name="Vrije vorm 2143">
            <a:extLst>
              <a:ext uri="{FF2B5EF4-FFF2-40B4-BE49-F238E27FC236}">
                <a16:creationId xmlns:a16="http://schemas.microsoft.com/office/drawing/2014/main" id="{A829213B-20C0-4B43-B669-B2BAEFAEB1AE}"/>
              </a:ext>
            </a:extLst>
          </p:cNvPr>
          <p:cNvSpPr/>
          <p:nvPr/>
        </p:nvSpPr>
        <p:spPr>
          <a:xfrm flipV="1">
            <a:off x="3178137" y="4729497"/>
            <a:ext cx="4409940" cy="1128700"/>
          </a:xfrm>
          <a:custGeom>
            <a:avLst/>
            <a:gdLst>
              <a:gd name="connsiteX0" fmla="*/ 1480768 w 1606251"/>
              <a:gd name="connsiteY0" fmla="*/ 20 h 423911"/>
              <a:gd name="connsiteX1" fmla="*/ 1480768 w 1606251"/>
              <a:gd name="connsiteY1" fmla="*/ 20 h 423911"/>
              <a:gd name="connsiteX2" fmla="*/ 1448969 w 1606251"/>
              <a:gd name="connsiteY2" fmla="*/ 122950 h 423911"/>
              <a:gd name="connsiteX3" fmla="*/ 1448969 w 1606251"/>
              <a:gd name="connsiteY3" fmla="*/ 20 h 423911"/>
              <a:gd name="connsiteX4" fmla="*/ 1333096 w 1606251"/>
              <a:gd name="connsiteY4" fmla="*/ 20 h 423911"/>
              <a:gd name="connsiteX5" fmla="*/ 1271548 w 1606251"/>
              <a:gd name="connsiteY5" fmla="*/ 120657 h 423911"/>
              <a:gd name="connsiteX6" fmla="*/ 703506 w 1606251"/>
              <a:gd name="connsiteY6" fmla="*/ 120657 h 423911"/>
              <a:gd name="connsiteX7" fmla="*/ 617144 w 1606251"/>
              <a:gd name="connsiteY7" fmla="*/ 162618 h 423911"/>
              <a:gd name="connsiteX8" fmla="*/ 355553 w 1606251"/>
              <a:gd name="connsiteY8" fmla="*/ 272331 h 423911"/>
              <a:gd name="connsiteX9" fmla="*/ 53225 w 1606251"/>
              <a:gd name="connsiteY9" fmla="*/ 325836 h 423911"/>
              <a:gd name="connsiteX10" fmla="*/ -2173 w 1606251"/>
              <a:gd name="connsiteY10" fmla="*/ 323498 h 423911"/>
              <a:gd name="connsiteX11" fmla="*/ -2173 w 1606251"/>
              <a:gd name="connsiteY11" fmla="*/ 423932 h 423911"/>
              <a:gd name="connsiteX12" fmla="*/ 1604078 w 1606251"/>
              <a:gd name="connsiteY12" fmla="*/ 423932 h 423911"/>
              <a:gd name="connsiteX13" fmla="*/ 1604078 w 1606251"/>
              <a:gd name="connsiteY13" fmla="*/ 122950 h 423911"/>
              <a:gd name="connsiteX14" fmla="*/ 1448969 w 1606251"/>
              <a:gd name="connsiteY14" fmla="*/ 122950 h 423911"/>
              <a:gd name="connsiteX15" fmla="*/ 1480768 w 1606251"/>
              <a:gd name="connsiteY15" fmla="*/ 20 h 423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06251" h="423911">
                <a:moveTo>
                  <a:pt x="1480768" y="20"/>
                </a:moveTo>
                <a:lnTo>
                  <a:pt x="1480768" y="20"/>
                </a:lnTo>
                <a:lnTo>
                  <a:pt x="1448969" y="122950"/>
                </a:lnTo>
                <a:lnTo>
                  <a:pt x="1448969" y="20"/>
                </a:lnTo>
                <a:lnTo>
                  <a:pt x="1333096" y="20"/>
                </a:lnTo>
                <a:lnTo>
                  <a:pt x="1271548" y="120657"/>
                </a:lnTo>
                <a:lnTo>
                  <a:pt x="703506" y="120657"/>
                </a:lnTo>
                <a:cubicBezTo>
                  <a:pt x="669800" y="135781"/>
                  <a:pt x="638859" y="149739"/>
                  <a:pt x="617144" y="162618"/>
                </a:cubicBezTo>
                <a:cubicBezTo>
                  <a:pt x="535334" y="211213"/>
                  <a:pt x="446134" y="244347"/>
                  <a:pt x="355553" y="272331"/>
                </a:cubicBezTo>
                <a:cubicBezTo>
                  <a:pt x="257367" y="302673"/>
                  <a:pt x="155630" y="325836"/>
                  <a:pt x="53225" y="325836"/>
                </a:cubicBezTo>
                <a:cubicBezTo>
                  <a:pt x="34775" y="325836"/>
                  <a:pt x="16301" y="325101"/>
                  <a:pt x="-2173" y="323498"/>
                </a:cubicBezTo>
                <a:lnTo>
                  <a:pt x="-2173" y="423932"/>
                </a:lnTo>
                <a:lnTo>
                  <a:pt x="1604078" y="423932"/>
                </a:lnTo>
                <a:lnTo>
                  <a:pt x="1604078" y="122950"/>
                </a:lnTo>
                <a:lnTo>
                  <a:pt x="1448969" y="122950"/>
                </a:lnTo>
                <a:lnTo>
                  <a:pt x="1480768" y="20"/>
                </a:lnTo>
              </a:path>
            </a:pathLst>
          </a:custGeom>
          <a:solidFill>
            <a:srgbClr val="AEAEA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384" name="Vrije vorm 2158">
            <a:extLst>
              <a:ext uri="{FF2B5EF4-FFF2-40B4-BE49-F238E27FC236}">
                <a16:creationId xmlns:a16="http://schemas.microsoft.com/office/drawing/2014/main" id="{D02F8E29-9E84-4504-9D1B-61A2DBFDA45D}"/>
              </a:ext>
            </a:extLst>
          </p:cNvPr>
          <p:cNvSpPr/>
          <p:nvPr/>
        </p:nvSpPr>
        <p:spPr>
          <a:xfrm flipV="1">
            <a:off x="7162230" y="5530891"/>
            <a:ext cx="2640768" cy="642328"/>
          </a:xfrm>
          <a:custGeom>
            <a:avLst/>
            <a:gdLst>
              <a:gd name="connsiteX0" fmla="*/ 959275 w 961858"/>
              <a:gd name="connsiteY0" fmla="*/ 120 h 241242"/>
              <a:gd name="connsiteX1" fmla="*/ 59798 w 961858"/>
              <a:gd name="connsiteY1" fmla="*/ 120 h 241242"/>
              <a:gd name="connsiteX2" fmla="*/ -2584 w 961858"/>
              <a:gd name="connsiteY2" fmla="*/ 241363 h 241242"/>
              <a:gd name="connsiteX3" fmla="*/ 770126 w 961858"/>
              <a:gd name="connsiteY3" fmla="*/ 241363 h 241242"/>
              <a:gd name="connsiteX4" fmla="*/ 959275 w 961858"/>
              <a:gd name="connsiteY4" fmla="*/ 120 h 241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1858" h="241242">
                <a:moveTo>
                  <a:pt x="959275" y="120"/>
                </a:moveTo>
                <a:lnTo>
                  <a:pt x="59798" y="120"/>
                </a:lnTo>
                <a:lnTo>
                  <a:pt x="-2584" y="241363"/>
                </a:lnTo>
                <a:lnTo>
                  <a:pt x="770126" y="241363"/>
                </a:lnTo>
                <a:lnTo>
                  <a:pt x="959275" y="120"/>
                </a:lnTo>
              </a:path>
            </a:pathLst>
          </a:custGeom>
          <a:solidFill>
            <a:srgbClr val="F0F0E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85" name="Vrije vorm 2145">
            <a:extLst>
              <a:ext uri="{FF2B5EF4-FFF2-40B4-BE49-F238E27FC236}">
                <a16:creationId xmlns:a16="http://schemas.microsoft.com/office/drawing/2014/main" id="{73A804AD-7C3A-44ED-AB51-A345FE0F17E2}"/>
              </a:ext>
            </a:extLst>
          </p:cNvPr>
          <p:cNvSpPr/>
          <p:nvPr/>
        </p:nvSpPr>
        <p:spPr>
          <a:xfrm flipV="1">
            <a:off x="3832982" y="5536993"/>
            <a:ext cx="3148293" cy="581741"/>
          </a:xfrm>
          <a:custGeom>
            <a:avLst/>
            <a:gdLst>
              <a:gd name="connsiteX0" fmla="*/ 1144540 w 1146716"/>
              <a:gd name="connsiteY0" fmla="*/ 116 h 218487"/>
              <a:gd name="connsiteX1" fmla="*/ 1033029 w 1146716"/>
              <a:gd name="connsiteY1" fmla="*/ 218603 h 218487"/>
              <a:gd name="connsiteX2" fmla="*/ 110955 w 1146716"/>
              <a:gd name="connsiteY2" fmla="*/ 218603 h 218487"/>
              <a:gd name="connsiteX3" fmla="*/ -2176 w 1146716"/>
              <a:gd name="connsiteY3" fmla="*/ 116 h 218487"/>
              <a:gd name="connsiteX4" fmla="*/ 1144540 w 1146716"/>
              <a:gd name="connsiteY4" fmla="*/ 116 h 218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6716" h="218487">
                <a:moveTo>
                  <a:pt x="1144540" y="116"/>
                </a:moveTo>
                <a:lnTo>
                  <a:pt x="1033029" y="218603"/>
                </a:lnTo>
                <a:lnTo>
                  <a:pt x="110955" y="218603"/>
                </a:lnTo>
                <a:lnTo>
                  <a:pt x="-2176" y="116"/>
                </a:lnTo>
                <a:lnTo>
                  <a:pt x="1144540" y="116"/>
                </a:lnTo>
              </a:path>
            </a:pathLst>
          </a:custGeom>
          <a:solidFill>
            <a:srgbClr val="F0F0E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86" name="Vrije vorm 2147">
            <a:extLst>
              <a:ext uri="{FF2B5EF4-FFF2-40B4-BE49-F238E27FC236}">
                <a16:creationId xmlns:a16="http://schemas.microsoft.com/office/drawing/2014/main" id="{953B7E32-44AC-4C2D-A7F3-851AF7A0048F}"/>
              </a:ext>
            </a:extLst>
          </p:cNvPr>
          <p:cNvSpPr/>
          <p:nvPr/>
        </p:nvSpPr>
        <p:spPr>
          <a:xfrm flipV="1">
            <a:off x="4097639" y="5536993"/>
            <a:ext cx="2883634" cy="581741"/>
          </a:xfrm>
          <a:custGeom>
            <a:avLst/>
            <a:gdLst>
              <a:gd name="connsiteX0" fmla="*/ 1048124 w 1050318"/>
              <a:gd name="connsiteY0" fmla="*/ 116 h 218487"/>
              <a:gd name="connsiteX1" fmla="*/ 774306 w 1050318"/>
              <a:gd name="connsiteY1" fmla="*/ 116 h 218487"/>
              <a:gd name="connsiteX2" fmla="*/ -2194 w 1050318"/>
              <a:gd name="connsiteY2" fmla="*/ 186306 h 218487"/>
              <a:gd name="connsiteX3" fmla="*/ 14540 w 1050318"/>
              <a:gd name="connsiteY3" fmla="*/ 218603 h 218487"/>
              <a:gd name="connsiteX4" fmla="*/ 936613 w 1050318"/>
              <a:gd name="connsiteY4" fmla="*/ 218603 h 218487"/>
              <a:gd name="connsiteX5" fmla="*/ 1048124 w 1050318"/>
              <a:gd name="connsiteY5" fmla="*/ 116 h 218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50318" h="218487">
                <a:moveTo>
                  <a:pt x="1048124" y="116"/>
                </a:moveTo>
                <a:lnTo>
                  <a:pt x="774306" y="116"/>
                </a:lnTo>
                <a:cubicBezTo>
                  <a:pt x="557315" y="158854"/>
                  <a:pt x="263068" y="181702"/>
                  <a:pt x="-2194" y="186306"/>
                </a:cubicBezTo>
                <a:lnTo>
                  <a:pt x="14540" y="218603"/>
                </a:lnTo>
                <a:lnTo>
                  <a:pt x="936613" y="218603"/>
                </a:lnTo>
                <a:lnTo>
                  <a:pt x="1048124" y="116"/>
                </a:lnTo>
              </a:path>
            </a:pathLst>
          </a:custGeom>
          <a:solidFill>
            <a:srgbClr val="DEDED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87" name="Vrije vorm 2148">
            <a:extLst>
              <a:ext uri="{FF2B5EF4-FFF2-40B4-BE49-F238E27FC236}">
                <a16:creationId xmlns:a16="http://schemas.microsoft.com/office/drawing/2014/main" id="{715B832C-6C1B-4028-AA3A-71C7146AED4F}"/>
              </a:ext>
            </a:extLst>
          </p:cNvPr>
          <p:cNvSpPr/>
          <p:nvPr/>
        </p:nvSpPr>
        <p:spPr>
          <a:xfrm flipV="1">
            <a:off x="3832982" y="6118734"/>
            <a:ext cx="3148293" cy="1273739"/>
          </a:xfrm>
          <a:custGeom>
            <a:avLst/>
            <a:gdLst>
              <a:gd name="connsiteX0" fmla="*/ -2176 w 1146716"/>
              <a:gd name="connsiteY0" fmla="*/ 281 h 478384"/>
              <a:gd name="connsiteX1" fmla="*/ 1144540 w 1146716"/>
              <a:gd name="connsiteY1" fmla="*/ 281 h 478384"/>
              <a:gd name="connsiteX2" fmla="*/ 1144540 w 1146716"/>
              <a:gd name="connsiteY2" fmla="*/ 478665 h 478384"/>
              <a:gd name="connsiteX3" fmla="*/ -2176 w 1146716"/>
              <a:gd name="connsiteY3" fmla="*/ 478665 h 478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6716" h="478384">
                <a:moveTo>
                  <a:pt x="-2176" y="281"/>
                </a:moveTo>
                <a:lnTo>
                  <a:pt x="1144540" y="281"/>
                </a:lnTo>
                <a:lnTo>
                  <a:pt x="1144540" y="478665"/>
                </a:lnTo>
                <a:lnTo>
                  <a:pt x="-2176" y="478665"/>
                </a:lnTo>
                <a:close/>
              </a:path>
            </a:pathLst>
          </a:custGeom>
          <a:solidFill>
            <a:srgbClr val="C6C5C3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88" name="Vrije vorm 2149">
            <a:extLst>
              <a:ext uri="{FF2B5EF4-FFF2-40B4-BE49-F238E27FC236}">
                <a16:creationId xmlns:a16="http://schemas.microsoft.com/office/drawing/2014/main" id="{3BF0C1EE-E201-4C29-B677-10A21852BCE9}"/>
              </a:ext>
            </a:extLst>
          </p:cNvPr>
          <p:cNvSpPr/>
          <p:nvPr/>
        </p:nvSpPr>
        <p:spPr>
          <a:xfrm flipV="1">
            <a:off x="3832982" y="6118737"/>
            <a:ext cx="3148293" cy="607392"/>
          </a:xfrm>
          <a:custGeom>
            <a:avLst/>
            <a:gdLst>
              <a:gd name="connsiteX0" fmla="*/ 1144540 w 1146716"/>
              <a:gd name="connsiteY0" fmla="*/ 222 h 228121"/>
              <a:gd name="connsiteX1" fmla="*/ 562171 w 1146716"/>
              <a:gd name="connsiteY1" fmla="*/ 222 h 228121"/>
              <a:gd name="connsiteX2" fmla="*/ 401508 w 1146716"/>
              <a:gd name="connsiteY2" fmla="*/ 57287 h 228121"/>
              <a:gd name="connsiteX3" fmla="*/ 60325 w 1146716"/>
              <a:gd name="connsiteY3" fmla="*/ 117633 h 228121"/>
              <a:gd name="connsiteX4" fmla="*/ -2176 w 1146716"/>
              <a:gd name="connsiteY4" fmla="*/ 114986 h 228121"/>
              <a:gd name="connsiteX5" fmla="*/ -2176 w 1146716"/>
              <a:gd name="connsiteY5" fmla="*/ 228344 h 228121"/>
              <a:gd name="connsiteX6" fmla="*/ 1144540 w 1146716"/>
              <a:gd name="connsiteY6" fmla="*/ 228344 h 228121"/>
              <a:gd name="connsiteX7" fmla="*/ 1144540 w 1146716"/>
              <a:gd name="connsiteY7" fmla="*/ 222 h 228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6716" h="228121">
                <a:moveTo>
                  <a:pt x="1144540" y="222"/>
                </a:moveTo>
                <a:lnTo>
                  <a:pt x="562171" y="222"/>
                </a:lnTo>
                <a:cubicBezTo>
                  <a:pt x="509729" y="22045"/>
                  <a:pt x="455833" y="40486"/>
                  <a:pt x="401508" y="57287"/>
                </a:cubicBezTo>
                <a:cubicBezTo>
                  <a:pt x="290664" y="91495"/>
                  <a:pt x="175864" y="117633"/>
                  <a:pt x="60325" y="117633"/>
                </a:cubicBezTo>
                <a:cubicBezTo>
                  <a:pt x="39515" y="117633"/>
                  <a:pt x="18681" y="116776"/>
                  <a:pt x="-2176" y="114986"/>
                </a:cubicBezTo>
                <a:lnTo>
                  <a:pt x="-2176" y="228344"/>
                </a:lnTo>
                <a:lnTo>
                  <a:pt x="1144540" y="228344"/>
                </a:lnTo>
                <a:lnTo>
                  <a:pt x="1144540" y="222"/>
                </a:lnTo>
              </a:path>
            </a:pathLst>
          </a:custGeom>
          <a:solidFill>
            <a:srgbClr val="AEAEA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89" name="Vrije vorm 2150">
            <a:extLst>
              <a:ext uri="{FF2B5EF4-FFF2-40B4-BE49-F238E27FC236}">
                <a16:creationId xmlns:a16="http://schemas.microsoft.com/office/drawing/2014/main" id="{6B673D5C-7E22-43E0-9ECB-485E9F63496A}"/>
              </a:ext>
            </a:extLst>
          </p:cNvPr>
          <p:cNvSpPr/>
          <p:nvPr/>
        </p:nvSpPr>
        <p:spPr>
          <a:xfrm flipV="1">
            <a:off x="3832982" y="6118785"/>
            <a:ext cx="3148293" cy="126012"/>
          </a:xfrm>
          <a:custGeom>
            <a:avLst/>
            <a:gdLst>
              <a:gd name="connsiteX0" fmla="*/ -2176 w 1146716"/>
              <a:gd name="connsiteY0" fmla="*/ 47507 h 47327"/>
              <a:gd name="connsiteX1" fmla="*/ -2176 w 1146716"/>
              <a:gd name="connsiteY1" fmla="*/ 179 h 47327"/>
              <a:gd name="connsiteX2" fmla="*/ 1144540 w 1146716"/>
              <a:gd name="connsiteY2" fmla="*/ 179 h 47327"/>
              <a:gd name="connsiteX3" fmla="*/ 1144540 w 1146716"/>
              <a:gd name="connsiteY3" fmla="*/ 47507 h 47327"/>
              <a:gd name="connsiteX4" fmla="*/ -2176 w 1146716"/>
              <a:gd name="connsiteY4" fmla="*/ 47507 h 47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6716" h="47327">
                <a:moveTo>
                  <a:pt x="-2176" y="47507"/>
                </a:moveTo>
                <a:lnTo>
                  <a:pt x="-2176" y="179"/>
                </a:lnTo>
                <a:lnTo>
                  <a:pt x="1144540" y="179"/>
                </a:lnTo>
                <a:lnTo>
                  <a:pt x="1144540" y="47507"/>
                </a:lnTo>
                <a:lnTo>
                  <a:pt x="-2176" y="47507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90" name="Vrije vorm 2151">
            <a:extLst>
              <a:ext uri="{FF2B5EF4-FFF2-40B4-BE49-F238E27FC236}">
                <a16:creationId xmlns:a16="http://schemas.microsoft.com/office/drawing/2014/main" id="{E9D5653F-F634-4D29-8C5B-10EFB4A4E803}"/>
              </a:ext>
            </a:extLst>
          </p:cNvPr>
          <p:cNvSpPr/>
          <p:nvPr/>
        </p:nvSpPr>
        <p:spPr>
          <a:xfrm flipV="1">
            <a:off x="972383" y="5530891"/>
            <a:ext cx="2640768" cy="642328"/>
          </a:xfrm>
          <a:custGeom>
            <a:avLst/>
            <a:gdLst>
              <a:gd name="connsiteX0" fmla="*/ -1764 w 961858"/>
              <a:gd name="connsiteY0" fmla="*/ 120 h 241242"/>
              <a:gd name="connsiteX1" fmla="*/ 897736 w 961858"/>
              <a:gd name="connsiteY1" fmla="*/ 120 h 241242"/>
              <a:gd name="connsiteX2" fmla="*/ 960094 w 961858"/>
              <a:gd name="connsiteY2" fmla="*/ 241363 h 241242"/>
              <a:gd name="connsiteX3" fmla="*/ 187385 w 961858"/>
              <a:gd name="connsiteY3" fmla="*/ 241363 h 241242"/>
              <a:gd name="connsiteX4" fmla="*/ -1764 w 961858"/>
              <a:gd name="connsiteY4" fmla="*/ 120 h 241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1858" h="241242">
                <a:moveTo>
                  <a:pt x="-1764" y="120"/>
                </a:moveTo>
                <a:lnTo>
                  <a:pt x="897736" y="120"/>
                </a:lnTo>
                <a:lnTo>
                  <a:pt x="960094" y="241363"/>
                </a:lnTo>
                <a:lnTo>
                  <a:pt x="187385" y="241363"/>
                </a:lnTo>
                <a:lnTo>
                  <a:pt x="-1764" y="120"/>
                </a:lnTo>
              </a:path>
            </a:pathLst>
          </a:custGeom>
          <a:solidFill>
            <a:srgbClr val="F0F0E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91" name="Vrije vorm 2154">
            <a:extLst>
              <a:ext uri="{FF2B5EF4-FFF2-40B4-BE49-F238E27FC236}">
                <a16:creationId xmlns:a16="http://schemas.microsoft.com/office/drawing/2014/main" id="{F3758972-7DBC-48CB-8380-5BFE514D485C}"/>
              </a:ext>
            </a:extLst>
          </p:cNvPr>
          <p:cNvSpPr/>
          <p:nvPr/>
        </p:nvSpPr>
        <p:spPr>
          <a:xfrm flipV="1">
            <a:off x="3441948" y="5530891"/>
            <a:ext cx="171203" cy="1861582"/>
          </a:xfrm>
          <a:custGeom>
            <a:avLst/>
            <a:gdLst>
              <a:gd name="connsiteX0" fmla="*/ 60431 w 62358"/>
              <a:gd name="connsiteY0" fmla="*/ 207962 h 699163"/>
              <a:gd name="connsiteX1" fmla="*/ 60431 w 62358"/>
              <a:gd name="connsiteY1" fmla="*/ 699393 h 699163"/>
              <a:gd name="connsiteX2" fmla="*/ -1927 w 62358"/>
              <a:gd name="connsiteY2" fmla="*/ 458150 h 699163"/>
              <a:gd name="connsiteX3" fmla="*/ -1927 w 62358"/>
              <a:gd name="connsiteY3" fmla="*/ 229 h 699163"/>
              <a:gd name="connsiteX4" fmla="*/ 60431 w 62358"/>
              <a:gd name="connsiteY4" fmla="*/ 207962 h 699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358" h="699163">
                <a:moveTo>
                  <a:pt x="60431" y="207962"/>
                </a:moveTo>
                <a:lnTo>
                  <a:pt x="60431" y="699393"/>
                </a:lnTo>
                <a:lnTo>
                  <a:pt x="-1927" y="458150"/>
                </a:lnTo>
                <a:lnTo>
                  <a:pt x="-1927" y="229"/>
                </a:lnTo>
                <a:lnTo>
                  <a:pt x="60431" y="207962"/>
                </a:lnTo>
              </a:path>
            </a:pathLst>
          </a:custGeom>
          <a:solidFill>
            <a:srgbClr val="989997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92" name="Vrije vorm 2160">
            <a:extLst>
              <a:ext uri="{FF2B5EF4-FFF2-40B4-BE49-F238E27FC236}">
                <a16:creationId xmlns:a16="http://schemas.microsoft.com/office/drawing/2014/main" id="{74AC32CC-13DC-4026-B23D-0BE6B25DB0C7}"/>
              </a:ext>
            </a:extLst>
          </p:cNvPr>
          <p:cNvSpPr/>
          <p:nvPr/>
        </p:nvSpPr>
        <p:spPr>
          <a:xfrm flipV="1">
            <a:off x="7162230" y="5530891"/>
            <a:ext cx="171266" cy="1861582"/>
          </a:xfrm>
          <a:custGeom>
            <a:avLst/>
            <a:gdLst>
              <a:gd name="connsiteX0" fmla="*/ -2420 w 62381"/>
              <a:gd name="connsiteY0" fmla="*/ 207962 h 699163"/>
              <a:gd name="connsiteX1" fmla="*/ -2420 w 62381"/>
              <a:gd name="connsiteY1" fmla="*/ 699393 h 699163"/>
              <a:gd name="connsiteX2" fmla="*/ 59962 w 62381"/>
              <a:gd name="connsiteY2" fmla="*/ 458150 h 699163"/>
              <a:gd name="connsiteX3" fmla="*/ 59962 w 62381"/>
              <a:gd name="connsiteY3" fmla="*/ 229 h 699163"/>
              <a:gd name="connsiteX4" fmla="*/ -2420 w 62381"/>
              <a:gd name="connsiteY4" fmla="*/ 207962 h 699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381" h="699163">
                <a:moveTo>
                  <a:pt x="-2420" y="207962"/>
                </a:moveTo>
                <a:lnTo>
                  <a:pt x="-2420" y="699393"/>
                </a:lnTo>
                <a:lnTo>
                  <a:pt x="59962" y="458150"/>
                </a:lnTo>
                <a:lnTo>
                  <a:pt x="59962" y="229"/>
                </a:lnTo>
                <a:lnTo>
                  <a:pt x="-2420" y="207962"/>
                </a:lnTo>
              </a:path>
            </a:pathLst>
          </a:custGeom>
          <a:solidFill>
            <a:srgbClr val="989997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93" name="Vrije vorm 2163">
            <a:extLst>
              <a:ext uri="{FF2B5EF4-FFF2-40B4-BE49-F238E27FC236}">
                <a16:creationId xmlns:a16="http://schemas.microsoft.com/office/drawing/2014/main" id="{0BD99FBE-D202-4EEB-BABB-18C15AF0BF19}"/>
              </a:ext>
            </a:extLst>
          </p:cNvPr>
          <p:cNvSpPr/>
          <p:nvPr/>
        </p:nvSpPr>
        <p:spPr>
          <a:xfrm flipV="1">
            <a:off x="7333499" y="6173221"/>
            <a:ext cx="2469499" cy="104999"/>
          </a:xfrm>
          <a:custGeom>
            <a:avLst/>
            <a:gdLst>
              <a:gd name="connsiteX0" fmla="*/ -2595 w 899476"/>
              <a:gd name="connsiteY0" fmla="*/ 39622 h 39435"/>
              <a:gd name="connsiteX1" fmla="*/ -2595 w 899476"/>
              <a:gd name="connsiteY1" fmla="*/ 187 h 39435"/>
              <a:gd name="connsiteX2" fmla="*/ 896881 w 899476"/>
              <a:gd name="connsiteY2" fmla="*/ 187 h 39435"/>
              <a:gd name="connsiteX3" fmla="*/ 896881 w 899476"/>
              <a:gd name="connsiteY3" fmla="*/ 39622 h 39435"/>
              <a:gd name="connsiteX4" fmla="*/ -2595 w 899476"/>
              <a:gd name="connsiteY4" fmla="*/ 39622 h 39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476" h="39435">
                <a:moveTo>
                  <a:pt x="-2595" y="39622"/>
                </a:moveTo>
                <a:lnTo>
                  <a:pt x="-2595" y="187"/>
                </a:lnTo>
                <a:lnTo>
                  <a:pt x="896881" y="187"/>
                </a:lnTo>
                <a:lnTo>
                  <a:pt x="896881" y="39622"/>
                </a:lnTo>
                <a:lnTo>
                  <a:pt x="-2595" y="39622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94" name="Vrije vorm 5">
            <a:extLst>
              <a:ext uri="{FF2B5EF4-FFF2-40B4-BE49-F238E27FC236}">
                <a16:creationId xmlns:a16="http://schemas.microsoft.com/office/drawing/2014/main" id="{8140487C-2EEB-4162-95B1-86528FE8266D}"/>
              </a:ext>
            </a:extLst>
          </p:cNvPr>
          <p:cNvSpPr/>
          <p:nvPr/>
        </p:nvSpPr>
        <p:spPr>
          <a:xfrm flipV="1">
            <a:off x="7333499" y="6173219"/>
            <a:ext cx="2469499" cy="1219254"/>
          </a:xfrm>
          <a:custGeom>
            <a:avLst/>
            <a:gdLst>
              <a:gd name="connsiteX0" fmla="*/ -2595 w 899476"/>
              <a:gd name="connsiteY0" fmla="*/ 286 h 457921"/>
              <a:gd name="connsiteX1" fmla="*/ 896881 w 899476"/>
              <a:gd name="connsiteY1" fmla="*/ 286 h 457921"/>
              <a:gd name="connsiteX2" fmla="*/ 896881 w 899476"/>
              <a:gd name="connsiteY2" fmla="*/ 458208 h 457921"/>
              <a:gd name="connsiteX3" fmla="*/ -2595 w 899476"/>
              <a:gd name="connsiteY3" fmla="*/ 458208 h 45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476" h="457921">
                <a:moveTo>
                  <a:pt x="-2595" y="286"/>
                </a:moveTo>
                <a:lnTo>
                  <a:pt x="896881" y="286"/>
                </a:lnTo>
                <a:lnTo>
                  <a:pt x="896881" y="458208"/>
                </a:lnTo>
                <a:lnTo>
                  <a:pt x="-2595" y="458208"/>
                </a:lnTo>
                <a:close/>
              </a:path>
            </a:pathLst>
          </a:custGeom>
          <a:solidFill>
            <a:srgbClr val="C6C5C3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95" name="Vrije vorm 2153">
            <a:extLst>
              <a:ext uri="{FF2B5EF4-FFF2-40B4-BE49-F238E27FC236}">
                <a16:creationId xmlns:a16="http://schemas.microsoft.com/office/drawing/2014/main" id="{79893704-B10A-453F-9356-74CE906A4CA7}"/>
              </a:ext>
            </a:extLst>
          </p:cNvPr>
          <p:cNvSpPr/>
          <p:nvPr/>
        </p:nvSpPr>
        <p:spPr>
          <a:xfrm flipV="1">
            <a:off x="1400981" y="5530891"/>
            <a:ext cx="2212168" cy="642328"/>
          </a:xfrm>
          <a:custGeom>
            <a:avLst/>
            <a:gdLst>
              <a:gd name="connsiteX0" fmla="*/ 741598 w 805747"/>
              <a:gd name="connsiteY0" fmla="*/ 120 h 241242"/>
              <a:gd name="connsiteX1" fmla="*/ 656760 w 805747"/>
              <a:gd name="connsiteY1" fmla="*/ 120 h 241242"/>
              <a:gd name="connsiteX2" fmla="*/ 416815 w 805747"/>
              <a:gd name="connsiteY2" fmla="*/ 146232 h 241242"/>
              <a:gd name="connsiteX3" fmla="*/ 222803 w 805747"/>
              <a:gd name="connsiteY3" fmla="*/ 185993 h 241242"/>
              <a:gd name="connsiteX4" fmla="*/ 108598 w 805747"/>
              <a:gd name="connsiteY4" fmla="*/ 195609 h 241242"/>
              <a:gd name="connsiteX5" fmla="*/ -1792 w 805747"/>
              <a:gd name="connsiteY5" fmla="*/ 199235 h 241242"/>
              <a:gd name="connsiteX6" fmla="*/ 31246 w 805747"/>
              <a:gd name="connsiteY6" fmla="*/ 241363 h 241242"/>
              <a:gd name="connsiteX7" fmla="*/ 803956 w 805747"/>
              <a:gd name="connsiteY7" fmla="*/ 241363 h 241242"/>
              <a:gd name="connsiteX8" fmla="*/ 772180 w 805747"/>
              <a:gd name="connsiteY8" fmla="*/ 118434 h 241242"/>
              <a:gd name="connsiteX9" fmla="*/ 741598 w 805747"/>
              <a:gd name="connsiteY9" fmla="*/ 120 h 241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05747" h="241242">
                <a:moveTo>
                  <a:pt x="741598" y="120"/>
                </a:moveTo>
                <a:lnTo>
                  <a:pt x="656760" y="120"/>
                </a:lnTo>
                <a:cubicBezTo>
                  <a:pt x="602840" y="76530"/>
                  <a:pt x="504678" y="119729"/>
                  <a:pt x="416815" y="146232"/>
                </a:cubicBezTo>
                <a:cubicBezTo>
                  <a:pt x="353550" y="165316"/>
                  <a:pt x="288236" y="177365"/>
                  <a:pt x="222803" y="185993"/>
                </a:cubicBezTo>
                <a:cubicBezTo>
                  <a:pt x="184854" y="191005"/>
                  <a:pt x="146857" y="194557"/>
                  <a:pt x="108598" y="195609"/>
                </a:cubicBezTo>
                <a:cubicBezTo>
                  <a:pt x="71793" y="196616"/>
                  <a:pt x="34893" y="196346"/>
                  <a:pt x="-1792" y="199235"/>
                </a:cubicBezTo>
                <a:lnTo>
                  <a:pt x="31246" y="241363"/>
                </a:lnTo>
                <a:lnTo>
                  <a:pt x="803956" y="241363"/>
                </a:lnTo>
                <a:lnTo>
                  <a:pt x="772180" y="118434"/>
                </a:lnTo>
                <a:lnTo>
                  <a:pt x="741598" y="120"/>
                </a:lnTo>
              </a:path>
            </a:pathLst>
          </a:custGeom>
          <a:solidFill>
            <a:srgbClr val="DEDED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96" name="Vrije vorm 2159">
            <a:extLst>
              <a:ext uri="{FF2B5EF4-FFF2-40B4-BE49-F238E27FC236}">
                <a16:creationId xmlns:a16="http://schemas.microsoft.com/office/drawing/2014/main" id="{CEA06F0C-DB23-4392-885C-7578BEBCD9B4}"/>
              </a:ext>
            </a:extLst>
          </p:cNvPr>
          <p:cNvSpPr/>
          <p:nvPr/>
        </p:nvSpPr>
        <p:spPr>
          <a:xfrm flipV="1">
            <a:off x="7162230" y="5530891"/>
            <a:ext cx="2640768" cy="642328"/>
          </a:xfrm>
          <a:custGeom>
            <a:avLst/>
            <a:gdLst>
              <a:gd name="connsiteX0" fmla="*/ 959275 w 961858"/>
              <a:gd name="connsiteY0" fmla="*/ 120 h 241242"/>
              <a:gd name="connsiteX1" fmla="*/ 737778 w 961858"/>
              <a:gd name="connsiteY1" fmla="*/ 120 h 241242"/>
              <a:gd name="connsiteX2" fmla="*/ 479692 w 961858"/>
              <a:gd name="connsiteY2" fmla="*/ 155271 h 241242"/>
              <a:gd name="connsiteX3" fmla="*/ 104017 w 961858"/>
              <a:gd name="connsiteY3" fmla="*/ 216511 h 241242"/>
              <a:gd name="connsiteX4" fmla="*/ 5831 w 961858"/>
              <a:gd name="connsiteY4" fmla="*/ 212401 h 241242"/>
              <a:gd name="connsiteX5" fmla="*/ -2584 w 961858"/>
              <a:gd name="connsiteY5" fmla="*/ 241363 h 241242"/>
              <a:gd name="connsiteX6" fmla="*/ 770126 w 961858"/>
              <a:gd name="connsiteY6" fmla="*/ 241363 h 241242"/>
              <a:gd name="connsiteX7" fmla="*/ 959275 w 961858"/>
              <a:gd name="connsiteY7" fmla="*/ 120 h 241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61858" h="241242">
                <a:moveTo>
                  <a:pt x="959275" y="120"/>
                </a:moveTo>
                <a:lnTo>
                  <a:pt x="737778" y="120"/>
                </a:lnTo>
                <a:cubicBezTo>
                  <a:pt x="663692" y="68825"/>
                  <a:pt x="576996" y="122563"/>
                  <a:pt x="479692" y="155271"/>
                </a:cubicBezTo>
                <a:cubicBezTo>
                  <a:pt x="358337" y="196065"/>
                  <a:pt x="230735" y="216511"/>
                  <a:pt x="104017" y="216511"/>
                </a:cubicBezTo>
                <a:cubicBezTo>
                  <a:pt x="71193" y="216511"/>
                  <a:pt x="38393" y="215149"/>
                  <a:pt x="5831" y="212401"/>
                </a:cubicBezTo>
                <a:lnTo>
                  <a:pt x="-2584" y="241363"/>
                </a:lnTo>
                <a:lnTo>
                  <a:pt x="770126" y="241363"/>
                </a:lnTo>
                <a:lnTo>
                  <a:pt x="959275" y="120"/>
                </a:lnTo>
              </a:path>
            </a:pathLst>
          </a:custGeom>
          <a:solidFill>
            <a:srgbClr val="DEDED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97" name="Vrije vorm 2162">
            <a:extLst>
              <a:ext uri="{FF2B5EF4-FFF2-40B4-BE49-F238E27FC236}">
                <a16:creationId xmlns:a16="http://schemas.microsoft.com/office/drawing/2014/main" id="{93FFED05-857C-4FBB-ADC2-62EF06A10B8F}"/>
              </a:ext>
            </a:extLst>
          </p:cNvPr>
          <p:cNvSpPr/>
          <p:nvPr/>
        </p:nvSpPr>
        <p:spPr>
          <a:xfrm flipV="1">
            <a:off x="7333499" y="6173221"/>
            <a:ext cx="2469499" cy="552907"/>
          </a:xfrm>
          <a:custGeom>
            <a:avLst/>
            <a:gdLst>
              <a:gd name="connsiteX0" fmla="*/ 896881 w 899476"/>
              <a:gd name="connsiteY0" fmla="*/ 227 h 207658"/>
              <a:gd name="connsiteX1" fmla="*/ 577080 w 899476"/>
              <a:gd name="connsiteY1" fmla="*/ 227 h 207658"/>
              <a:gd name="connsiteX2" fmla="*/ 59215 w 899476"/>
              <a:gd name="connsiteY2" fmla="*/ 126304 h 207658"/>
              <a:gd name="connsiteX3" fmla="*/ -2595 w 899476"/>
              <a:gd name="connsiteY3" fmla="*/ 124794 h 207658"/>
              <a:gd name="connsiteX4" fmla="*/ -2595 w 899476"/>
              <a:gd name="connsiteY4" fmla="*/ 207886 h 207658"/>
              <a:gd name="connsiteX5" fmla="*/ 896881 w 899476"/>
              <a:gd name="connsiteY5" fmla="*/ 207886 h 207658"/>
              <a:gd name="connsiteX6" fmla="*/ 896881 w 899476"/>
              <a:gd name="connsiteY6" fmla="*/ 169736 h 207658"/>
              <a:gd name="connsiteX7" fmla="*/ 896881 w 899476"/>
              <a:gd name="connsiteY7" fmla="*/ 227 h 207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476" h="207658">
                <a:moveTo>
                  <a:pt x="896881" y="227"/>
                </a:moveTo>
                <a:lnTo>
                  <a:pt x="577080" y="227"/>
                </a:lnTo>
                <a:cubicBezTo>
                  <a:pt x="408598" y="109717"/>
                  <a:pt x="181309" y="126304"/>
                  <a:pt x="59215" y="126304"/>
                </a:cubicBezTo>
                <a:cubicBezTo>
                  <a:pt x="33400" y="126304"/>
                  <a:pt x="12279" y="125558"/>
                  <a:pt x="-2595" y="124794"/>
                </a:cubicBezTo>
                <a:lnTo>
                  <a:pt x="-2595" y="207886"/>
                </a:lnTo>
                <a:lnTo>
                  <a:pt x="896881" y="207886"/>
                </a:lnTo>
                <a:lnTo>
                  <a:pt x="896881" y="169736"/>
                </a:lnTo>
                <a:lnTo>
                  <a:pt x="896881" y="227"/>
                </a:lnTo>
              </a:path>
            </a:pathLst>
          </a:custGeom>
          <a:solidFill>
            <a:srgbClr val="AEAEA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98" name="Vrije vorm 6">
            <a:extLst>
              <a:ext uri="{FF2B5EF4-FFF2-40B4-BE49-F238E27FC236}">
                <a16:creationId xmlns:a16="http://schemas.microsoft.com/office/drawing/2014/main" id="{9105A39C-306D-46EF-9A4F-89EE645A1E7B}"/>
              </a:ext>
            </a:extLst>
          </p:cNvPr>
          <p:cNvSpPr/>
          <p:nvPr/>
        </p:nvSpPr>
        <p:spPr>
          <a:xfrm flipV="1">
            <a:off x="7333499" y="6178876"/>
            <a:ext cx="2469499" cy="104999"/>
          </a:xfrm>
          <a:custGeom>
            <a:avLst/>
            <a:gdLst>
              <a:gd name="connsiteX0" fmla="*/ -2595 w 899476"/>
              <a:gd name="connsiteY0" fmla="*/ 39622 h 39435"/>
              <a:gd name="connsiteX1" fmla="*/ -2595 w 899476"/>
              <a:gd name="connsiteY1" fmla="*/ 187 h 39435"/>
              <a:gd name="connsiteX2" fmla="*/ 896881 w 899476"/>
              <a:gd name="connsiteY2" fmla="*/ 187 h 39435"/>
              <a:gd name="connsiteX3" fmla="*/ 896881 w 899476"/>
              <a:gd name="connsiteY3" fmla="*/ 39622 h 39435"/>
              <a:gd name="connsiteX4" fmla="*/ -2595 w 899476"/>
              <a:gd name="connsiteY4" fmla="*/ 39622 h 39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476" h="39435">
                <a:moveTo>
                  <a:pt x="-2595" y="39622"/>
                </a:moveTo>
                <a:lnTo>
                  <a:pt x="-2595" y="187"/>
                </a:lnTo>
                <a:lnTo>
                  <a:pt x="896881" y="187"/>
                </a:lnTo>
                <a:lnTo>
                  <a:pt x="896881" y="39622"/>
                </a:lnTo>
                <a:lnTo>
                  <a:pt x="-2595" y="39622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400" name="Tekstvak 399">
            <a:extLst>
              <a:ext uri="{FF2B5EF4-FFF2-40B4-BE49-F238E27FC236}">
                <a16:creationId xmlns:a16="http://schemas.microsoft.com/office/drawing/2014/main" id="{BD5FBDD3-0E0A-4F66-9851-0E100577C65A}"/>
              </a:ext>
            </a:extLst>
          </p:cNvPr>
          <p:cNvSpPr txBox="1"/>
          <p:nvPr/>
        </p:nvSpPr>
        <p:spPr>
          <a:xfrm>
            <a:off x="4451420" y="1701022"/>
            <a:ext cx="31833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0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3" name="TextBox 19">
            <a:extLst>
              <a:ext uri="{FF2B5EF4-FFF2-40B4-BE49-F238E27FC236}">
                <a16:creationId xmlns:a16="http://schemas.microsoft.com/office/drawing/2014/main" id="{831A3EF0-9C72-4D16-90E2-C704FB9F5E25}"/>
              </a:ext>
            </a:extLst>
          </p:cNvPr>
          <p:cNvSpPr txBox="1"/>
          <p:nvPr/>
        </p:nvSpPr>
        <p:spPr>
          <a:xfrm>
            <a:off x="3145457" y="1090794"/>
            <a:ext cx="5145121" cy="954107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b="1" dirty="0"/>
              <a:t>Formation phase: </a:t>
            </a:r>
            <a:br>
              <a:rPr lang="en-US" b="1" dirty="0"/>
            </a:br>
            <a:r>
              <a:rPr lang="en-US" dirty="0">
                <a:latin typeface="+mn-lt"/>
              </a:rPr>
              <a:t>Is the time period during which </a:t>
            </a:r>
            <a:r>
              <a:rPr lang="en-US" b="1" dirty="0">
                <a:latin typeface="+mn-lt"/>
              </a:rPr>
              <a:t>co-founders find each other, </a:t>
            </a:r>
            <a:r>
              <a:rPr lang="en-US" u="sng" dirty="0">
                <a:latin typeface="+mn-lt"/>
              </a:rPr>
              <a:t>agree to form a co-founder duo, and set up the founding structure </a:t>
            </a:r>
            <a:r>
              <a:rPr lang="en-US" dirty="0">
                <a:latin typeface="+mn-lt"/>
              </a:rPr>
              <a:t>to start a venture</a:t>
            </a:r>
            <a:endParaRPr lang="en-US" sz="1000" dirty="0">
              <a:latin typeface="+mn-lt"/>
            </a:endParaRPr>
          </a:p>
        </p:txBody>
      </p:sp>
      <p:cxnSp>
        <p:nvCxnSpPr>
          <p:cNvPr id="5" name="Rechte verbindingslijn met pijl 4">
            <a:extLst>
              <a:ext uri="{FF2B5EF4-FFF2-40B4-BE49-F238E27FC236}">
                <a16:creationId xmlns:a16="http://schemas.microsoft.com/office/drawing/2014/main" id="{43ADB517-D4EE-4674-89F6-E95C42C72216}"/>
              </a:ext>
            </a:extLst>
          </p:cNvPr>
          <p:cNvCxnSpPr>
            <a:cxnSpLocks/>
          </p:cNvCxnSpPr>
          <p:nvPr/>
        </p:nvCxnSpPr>
        <p:spPr>
          <a:xfrm flipH="1">
            <a:off x="4196666" y="1563351"/>
            <a:ext cx="1348263" cy="85869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1" name="Rechte verbindingslijn met pijl 400">
            <a:extLst>
              <a:ext uri="{FF2B5EF4-FFF2-40B4-BE49-F238E27FC236}">
                <a16:creationId xmlns:a16="http://schemas.microsoft.com/office/drawing/2014/main" id="{A0F5531B-B04F-44E4-BE62-6B705F56B225}"/>
              </a:ext>
            </a:extLst>
          </p:cNvPr>
          <p:cNvCxnSpPr>
            <a:cxnSpLocks/>
          </p:cNvCxnSpPr>
          <p:nvPr/>
        </p:nvCxnSpPr>
        <p:spPr>
          <a:xfrm>
            <a:off x="6436327" y="1782559"/>
            <a:ext cx="617899" cy="857965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3" name="TextBox 19">
            <a:extLst>
              <a:ext uri="{FF2B5EF4-FFF2-40B4-BE49-F238E27FC236}">
                <a16:creationId xmlns:a16="http://schemas.microsoft.com/office/drawing/2014/main" id="{FB9BFFF0-B543-4A1A-BDD3-C4AB8130FD90}"/>
              </a:ext>
            </a:extLst>
          </p:cNvPr>
          <p:cNvSpPr txBox="1"/>
          <p:nvPr/>
        </p:nvSpPr>
        <p:spPr>
          <a:xfrm>
            <a:off x="3591074" y="2715331"/>
            <a:ext cx="938438" cy="307777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b="1" dirty="0"/>
              <a:t>Paper 1</a:t>
            </a:r>
            <a:endParaRPr lang="en-US" sz="1000" dirty="0">
              <a:latin typeface="+mn-lt"/>
            </a:endParaRPr>
          </a:p>
        </p:txBody>
      </p:sp>
      <p:sp>
        <p:nvSpPr>
          <p:cNvPr id="404" name="TextBox 19">
            <a:extLst>
              <a:ext uri="{FF2B5EF4-FFF2-40B4-BE49-F238E27FC236}">
                <a16:creationId xmlns:a16="http://schemas.microsoft.com/office/drawing/2014/main" id="{2880EFD2-EE70-40FB-8618-ADBEEB077041}"/>
              </a:ext>
            </a:extLst>
          </p:cNvPr>
          <p:cNvSpPr txBox="1"/>
          <p:nvPr/>
        </p:nvSpPr>
        <p:spPr>
          <a:xfrm>
            <a:off x="6696307" y="2701344"/>
            <a:ext cx="938438" cy="307777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b="1" dirty="0"/>
              <a:t>Paper 2</a:t>
            </a:r>
            <a:endParaRPr lang="en-US" sz="1000" dirty="0">
              <a:latin typeface="+mn-lt"/>
            </a:endParaRPr>
          </a:p>
        </p:txBody>
      </p:sp>
      <p:sp>
        <p:nvSpPr>
          <p:cNvPr id="43" name="Ovaal 42">
            <a:extLst>
              <a:ext uri="{FF2B5EF4-FFF2-40B4-BE49-F238E27FC236}">
                <a16:creationId xmlns:a16="http://schemas.microsoft.com/office/drawing/2014/main" id="{5ED533CE-11CF-4A2A-9923-DEA5C28AFA9F}"/>
              </a:ext>
            </a:extLst>
          </p:cNvPr>
          <p:cNvSpPr/>
          <p:nvPr/>
        </p:nvSpPr>
        <p:spPr>
          <a:xfrm>
            <a:off x="3355022" y="2423358"/>
            <a:ext cx="1408815" cy="954107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3" name="Groep 322">
            <a:extLst>
              <a:ext uri="{FF2B5EF4-FFF2-40B4-BE49-F238E27FC236}">
                <a16:creationId xmlns:a16="http://schemas.microsoft.com/office/drawing/2014/main" id="{7FF86A17-E612-47F9-A535-AC0DA0146341}"/>
              </a:ext>
            </a:extLst>
          </p:cNvPr>
          <p:cNvGrpSpPr/>
          <p:nvPr/>
        </p:nvGrpSpPr>
        <p:grpSpPr>
          <a:xfrm>
            <a:off x="1786123" y="1828923"/>
            <a:ext cx="1695611" cy="3321415"/>
            <a:chOff x="1399932" y="1747503"/>
            <a:chExt cx="1695611" cy="3321415"/>
          </a:xfrm>
        </p:grpSpPr>
        <p:grpSp>
          <p:nvGrpSpPr>
            <p:cNvPr id="324" name="Groep 323">
              <a:extLst>
                <a:ext uri="{FF2B5EF4-FFF2-40B4-BE49-F238E27FC236}">
                  <a16:creationId xmlns:a16="http://schemas.microsoft.com/office/drawing/2014/main" id="{DFF1E199-0637-4383-B241-0DF2442E72B5}"/>
                </a:ext>
              </a:extLst>
            </p:cNvPr>
            <p:cNvGrpSpPr/>
            <p:nvPr/>
          </p:nvGrpSpPr>
          <p:grpSpPr>
            <a:xfrm>
              <a:off x="1399932" y="1830744"/>
              <a:ext cx="1695611" cy="3238174"/>
              <a:chOff x="1760486" y="809544"/>
              <a:chExt cx="1726760" cy="4063129"/>
            </a:xfrm>
          </p:grpSpPr>
          <p:sp>
            <p:nvSpPr>
              <p:cNvPr id="331" name="Vrije vorm 14">
                <a:extLst>
                  <a:ext uri="{FF2B5EF4-FFF2-40B4-BE49-F238E27FC236}">
                    <a16:creationId xmlns:a16="http://schemas.microsoft.com/office/drawing/2014/main" id="{06376535-90C9-4137-AD07-39C120B26404}"/>
                  </a:ext>
                </a:extLst>
              </p:cNvPr>
              <p:cNvSpPr/>
              <p:nvPr/>
            </p:nvSpPr>
            <p:spPr>
              <a:xfrm rot="15594660" flipV="1">
                <a:off x="2903732" y="2031597"/>
                <a:ext cx="388228" cy="475121"/>
              </a:xfrm>
              <a:custGeom>
                <a:avLst/>
                <a:gdLst>
                  <a:gd name="connsiteX0" fmla="*/ -1465 w 315088"/>
                  <a:gd name="connsiteY0" fmla="*/ 475848 h 585408"/>
                  <a:gd name="connsiteX1" fmla="*/ 252474 w 315088"/>
                  <a:gd name="connsiteY1" fmla="*/ -775 h 585408"/>
                  <a:gd name="connsiteX2" fmla="*/ 303264 w 315088"/>
                  <a:gd name="connsiteY2" fmla="*/ 106399 h 585408"/>
                  <a:gd name="connsiteX3" fmla="*/ 136790 w 315088"/>
                  <a:gd name="connsiteY3" fmla="*/ 583022 h 585408"/>
                  <a:gd name="connsiteX4" fmla="*/ -1465 w 315088"/>
                  <a:gd name="connsiteY4" fmla="*/ 475848 h 585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5088" h="585408">
                    <a:moveTo>
                      <a:pt x="-1465" y="475848"/>
                    </a:moveTo>
                    <a:cubicBezTo>
                      <a:pt x="-1465" y="475848"/>
                      <a:pt x="215799" y="-34615"/>
                      <a:pt x="252474" y="-775"/>
                    </a:cubicBezTo>
                    <a:cubicBezTo>
                      <a:pt x="289160" y="33075"/>
                      <a:pt x="334302" y="18978"/>
                      <a:pt x="303264" y="106399"/>
                    </a:cubicBezTo>
                    <a:cubicBezTo>
                      <a:pt x="272226" y="193831"/>
                      <a:pt x="136790" y="583022"/>
                      <a:pt x="136790" y="583022"/>
                    </a:cubicBezTo>
                    <a:lnTo>
                      <a:pt x="-1465" y="475848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2" name="Vrije vorm 15">
                <a:extLst>
                  <a:ext uri="{FF2B5EF4-FFF2-40B4-BE49-F238E27FC236}">
                    <a16:creationId xmlns:a16="http://schemas.microsoft.com/office/drawing/2014/main" id="{5384FB88-8B63-4D62-8D68-D38589730F37}"/>
                  </a:ext>
                </a:extLst>
              </p:cNvPr>
              <p:cNvSpPr/>
              <p:nvPr/>
            </p:nvSpPr>
            <p:spPr>
              <a:xfrm flipV="1">
                <a:off x="1793418" y="2327996"/>
                <a:ext cx="435941" cy="436134"/>
              </a:xfrm>
              <a:custGeom>
                <a:avLst/>
                <a:gdLst>
                  <a:gd name="connsiteX0" fmla="*/ -567 w 435941"/>
                  <a:gd name="connsiteY0" fmla="*/ 363435 h 436134"/>
                  <a:gd name="connsiteX1" fmla="*/ 433257 w 435941"/>
                  <a:gd name="connsiteY1" fmla="*/ -2492 h 436134"/>
                  <a:gd name="connsiteX2" fmla="*/ 435375 w 435941"/>
                  <a:gd name="connsiteY2" fmla="*/ 99037 h 436134"/>
                  <a:gd name="connsiteX3" fmla="*/ 206822 w 435941"/>
                  <a:gd name="connsiteY3" fmla="*/ 359209 h 436134"/>
                  <a:gd name="connsiteX4" fmla="*/ -567 w 435941"/>
                  <a:gd name="connsiteY4" fmla="*/ 363435 h 43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5941" h="436134">
                    <a:moveTo>
                      <a:pt x="-567" y="363435"/>
                    </a:moveTo>
                    <a:cubicBezTo>
                      <a:pt x="-567" y="363435"/>
                      <a:pt x="217404" y="56735"/>
                      <a:pt x="433257" y="-2492"/>
                    </a:cubicBezTo>
                    <a:lnTo>
                      <a:pt x="435375" y="99037"/>
                    </a:lnTo>
                    <a:cubicBezTo>
                      <a:pt x="435375" y="99037"/>
                      <a:pt x="316865" y="194217"/>
                      <a:pt x="206822" y="359209"/>
                    </a:cubicBezTo>
                    <a:cubicBezTo>
                      <a:pt x="96778" y="524181"/>
                      <a:pt x="-567" y="363435"/>
                      <a:pt x="-567" y="363435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3" name="Vrije vorm 16">
                <a:extLst>
                  <a:ext uri="{FF2B5EF4-FFF2-40B4-BE49-F238E27FC236}">
                    <a16:creationId xmlns:a16="http://schemas.microsoft.com/office/drawing/2014/main" id="{F4D80596-2773-455B-90E5-6A0AF78B9B73}"/>
                  </a:ext>
                </a:extLst>
              </p:cNvPr>
              <p:cNvSpPr/>
              <p:nvPr/>
            </p:nvSpPr>
            <p:spPr>
              <a:xfrm flipV="1">
                <a:off x="2123683" y="4519894"/>
                <a:ext cx="127451" cy="249822"/>
              </a:xfrm>
              <a:custGeom>
                <a:avLst/>
                <a:gdLst>
                  <a:gd name="connsiteX0" fmla="*/ 126737 w 127451"/>
                  <a:gd name="connsiteY0" fmla="*/ 229480 h 249822"/>
                  <a:gd name="connsiteX1" fmla="*/ 88498 w 127451"/>
                  <a:gd name="connsiteY1" fmla="*/ -196 h 249822"/>
                  <a:gd name="connsiteX2" fmla="*/ -714 w 127451"/>
                  <a:gd name="connsiteY2" fmla="*/ -196 h 249822"/>
                  <a:gd name="connsiteX3" fmla="*/ 29120 w 127451"/>
                  <a:gd name="connsiteY3" fmla="*/ 249627 h 249822"/>
                  <a:gd name="connsiteX4" fmla="*/ 126737 w 127451"/>
                  <a:gd name="connsiteY4" fmla="*/ 229480 h 249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51" h="249822">
                    <a:moveTo>
                      <a:pt x="126737" y="229480"/>
                    </a:moveTo>
                    <a:lnTo>
                      <a:pt x="88498" y="-196"/>
                    </a:lnTo>
                    <a:lnTo>
                      <a:pt x="-714" y="-196"/>
                    </a:lnTo>
                    <a:lnTo>
                      <a:pt x="29120" y="249627"/>
                    </a:lnTo>
                    <a:lnTo>
                      <a:pt x="126737" y="22948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4" name="Vrije vorm 17">
                <a:extLst>
                  <a:ext uri="{FF2B5EF4-FFF2-40B4-BE49-F238E27FC236}">
                    <a16:creationId xmlns:a16="http://schemas.microsoft.com/office/drawing/2014/main" id="{F8BCABB7-2283-496B-9341-1B6C2394C46A}"/>
                  </a:ext>
                </a:extLst>
              </p:cNvPr>
              <p:cNvSpPr/>
              <p:nvPr/>
            </p:nvSpPr>
            <p:spPr>
              <a:xfrm flipV="1">
                <a:off x="1826858" y="4660864"/>
                <a:ext cx="424276" cy="211809"/>
              </a:xfrm>
              <a:custGeom>
                <a:avLst/>
                <a:gdLst>
                  <a:gd name="connsiteX0" fmla="*/ 269198 w 424276"/>
                  <a:gd name="connsiteY0" fmla="*/ 211747 h 211809"/>
                  <a:gd name="connsiteX1" fmla="*/ 141079 w 424276"/>
                  <a:gd name="connsiteY1" fmla="*/ 122397 h 211809"/>
                  <a:gd name="connsiteX2" fmla="*/ -269 w 424276"/>
                  <a:gd name="connsiteY2" fmla="*/ 23166 h 211809"/>
                  <a:gd name="connsiteX3" fmla="*/ 301223 w 424276"/>
                  <a:gd name="connsiteY3" fmla="*/ 29466 h 211809"/>
                  <a:gd name="connsiteX4" fmla="*/ 301223 w 424276"/>
                  <a:gd name="connsiteY4" fmla="*/ 9806 h 211809"/>
                  <a:gd name="connsiteX5" fmla="*/ 423687 w 424276"/>
                  <a:gd name="connsiteY5" fmla="*/ 15172 h 211809"/>
                  <a:gd name="connsiteX6" fmla="*/ 423687 w 424276"/>
                  <a:gd name="connsiteY6" fmla="*/ 177784 h 211809"/>
                  <a:gd name="connsiteX7" fmla="*/ 321949 w 424276"/>
                  <a:gd name="connsiteY7" fmla="*/ 170646 h 211809"/>
                  <a:gd name="connsiteX8" fmla="*/ 329486 w 424276"/>
                  <a:gd name="connsiteY8" fmla="*/ 186730 h 211809"/>
                  <a:gd name="connsiteX9" fmla="*/ 269198 w 424276"/>
                  <a:gd name="connsiteY9" fmla="*/ 211747 h 211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24276" h="211809">
                    <a:moveTo>
                      <a:pt x="269198" y="211747"/>
                    </a:moveTo>
                    <a:cubicBezTo>
                      <a:pt x="269198" y="211747"/>
                      <a:pt x="218329" y="145621"/>
                      <a:pt x="141079" y="122397"/>
                    </a:cubicBezTo>
                    <a:cubicBezTo>
                      <a:pt x="63837" y="99157"/>
                      <a:pt x="-5920" y="69624"/>
                      <a:pt x="-269" y="23166"/>
                    </a:cubicBezTo>
                    <a:cubicBezTo>
                      <a:pt x="-269" y="23166"/>
                      <a:pt x="114705" y="-33074"/>
                      <a:pt x="301223" y="29466"/>
                    </a:cubicBezTo>
                    <a:lnTo>
                      <a:pt x="301223" y="9806"/>
                    </a:lnTo>
                    <a:lnTo>
                      <a:pt x="423687" y="15172"/>
                    </a:lnTo>
                    <a:lnTo>
                      <a:pt x="423687" y="177784"/>
                    </a:lnTo>
                    <a:lnTo>
                      <a:pt x="321949" y="170646"/>
                    </a:lnTo>
                    <a:lnTo>
                      <a:pt x="329486" y="186730"/>
                    </a:lnTo>
                    <a:lnTo>
                      <a:pt x="269198" y="211747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5" name="Vrije vorm 18">
                <a:extLst>
                  <a:ext uri="{FF2B5EF4-FFF2-40B4-BE49-F238E27FC236}">
                    <a16:creationId xmlns:a16="http://schemas.microsoft.com/office/drawing/2014/main" id="{CF009008-82CD-41DB-B2A1-09D5A65EF0FB}"/>
                  </a:ext>
                </a:extLst>
              </p:cNvPr>
              <p:cNvSpPr/>
              <p:nvPr/>
            </p:nvSpPr>
            <p:spPr>
              <a:xfrm flipV="1">
                <a:off x="1826964" y="4824160"/>
                <a:ext cx="424170" cy="48513"/>
              </a:xfrm>
              <a:custGeom>
                <a:avLst/>
                <a:gdLst>
                  <a:gd name="connsiteX0" fmla="*/ 219952 w 424170"/>
                  <a:gd name="connsiteY0" fmla="*/ 27298 h 48513"/>
                  <a:gd name="connsiteX1" fmla="*/ 585 w 424170"/>
                  <a:gd name="connsiteY1" fmla="*/ 35358 h 48513"/>
                  <a:gd name="connsiteX2" fmla="*/ -375 w 424170"/>
                  <a:gd name="connsiteY2" fmla="*/ 23255 h 48513"/>
                  <a:gd name="connsiteX3" fmla="*/ 301117 w 424170"/>
                  <a:gd name="connsiteY3" fmla="*/ 29555 h 48513"/>
                  <a:gd name="connsiteX4" fmla="*/ 301117 w 424170"/>
                  <a:gd name="connsiteY4" fmla="*/ 9896 h 48513"/>
                  <a:gd name="connsiteX5" fmla="*/ 423581 w 424170"/>
                  <a:gd name="connsiteY5" fmla="*/ 15261 h 48513"/>
                  <a:gd name="connsiteX6" fmla="*/ 423581 w 424170"/>
                  <a:gd name="connsiteY6" fmla="*/ 47702 h 48513"/>
                  <a:gd name="connsiteX7" fmla="*/ 219952 w 424170"/>
                  <a:gd name="connsiteY7" fmla="*/ 27298 h 4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4170" h="48513">
                    <a:moveTo>
                      <a:pt x="219952" y="27298"/>
                    </a:moveTo>
                    <a:cubicBezTo>
                      <a:pt x="52794" y="-15655"/>
                      <a:pt x="10352" y="32032"/>
                      <a:pt x="585" y="35358"/>
                    </a:cubicBezTo>
                    <a:cubicBezTo>
                      <a:pt x="-488" y="31327"/>
                      <a:pt x="-873" y="27286"/>
                      <a:pt x="-375" y="23255"/>
                    </a:cubicBezTo>
                    <a:cubicBezTo>
                      <a:pt x="-375" y="23255"/>
                      <a:pt x="114600" y="-32984"/>
                      <a:pt x="301117" y="29555"/>
                    </a:cubicBezTo>
                    <a:lnTo>
                      <a:pt x="301117" y="9896"/>
                    </a:lnTo>
                    <a:lnTo>
                      <a:pt x="423581" y="15261"/>
                    </a:lnTo>
                    <a:lnTo>
                      <a:pt x="423581" y="47702"/>
                    </a:lnTo>
                    <a:cubicBezTo>
                      <a:pt x="379865" y="45060"/>
                      <a:pt x="343205" y="58983"/>
                      <a:pt x="219952" y="2729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6" name="Vrije vorm 19">
                <a:extLst>
                  <a:ext uri="{FF2B5EF4-FFF2-40B4-BE49-F238E27FC236}">
                    <a16:creationId xmlns:a16="http://schemas.microsoft.com/office/drawing/2014/main" id="{E3278566-78ED-41DD-96C7-5E630DB38D29}"/>
                  </a:ext>
                </a:extLst>
              </p:cNvPr>
              <p:cNvSpPr/>
              <p:nvPr/>
            </p:nvSpPr>
            <p:spPr>
              <a:xfrm flipV="1">
                <a:off x="2052156" y="4694841"/>
                <a:ext cx="66822" cy="60746"/>
              </a:xfrm>
              <a:custGeom>
                <a:avLst/>
                <a:gdLst>
                  <a:gd name="connsiteX0" fmla="*/ 60819 w 66822"/>
                  <a:gd name="connsiteY0" fmla="*/ -108 h 60746"/>
                  <a:gd name="connsiteX1" fmla="*/ 56353 w 66822"/>
                  <a:gd name="connsiteY1" fmla="*/ 2271 h 60746"/>
                  <a:gd name="connsiteX2" fmla="*/ 2926 w 66822"/>
                  <a:gd name="connsiteY2" fmla="*/ 50209 h 60746"/>
                  <a:gd name="connsiteX3" fmla="*/ -308 w 66822"/>
                  <a:gd name="connsiteY3" fmla="*/ 57099 h 60746"/>
                  <a:gd name="connsiteX4" fmla="*/ 6574 w 66822"/>
                  <a:gd name="connsiteY4" fmla="*/ 60328 h 60746"/>
                  <a:gd name="connsiteX5" fmla="*/ 65279 w 66822"/>
                  <a:gd name="connsiteY5" fmla="*/ 8251 h 60746"/>
                  <a:gd name="connsiteX6" fmla="*/ 63810 w 66822"/>
                  <a:gd name="connsiteY6" fmla="*/ 803 h 60746"/>
                  <a:gd name="connsiteX7" fmla="*/ 60819 w 66822"/>
                  <a:gd name="connsiteY7" fmla="*/ -108 h 6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2" h="60746">
                    <a:moveTo>
                      <a:pt x="60819" y="-108"/>
                    </a:moveTo>
                    <a:cubicBezTo>
                      <a:pt x="59086" y="-108"/>
                      <a:pt x="57394" y="718"/>
                      <a:pt x="56353" y="2271"/>
                    </a:cubicBezTo>
                    <a:cubicBezTo>
                      <a:pt x="31246" y="39686"/>
                      <a:pt x="3210" y="50116"/>
                      <a:pt x="2926" y="50209"/>
                    </a:cubicBezTo>
                    <a:cubicBezTo>
                      <a:pt x="129" y="51224"/>
                      <a:pt x="-1316" y="54300"/>
                      <a:pt x="-308" y="57099"/>
                    </a:cubicBezTo>
                    <a:cubicBezTo>
                      <a:pt x="704" y="59884"/>
                      <a:pt x="3784" y="61312"/>
                      <a:pt x="6574" y="60328"/>
                    </a:cubicBezTo>
                    <a:cubicBezTo>
                      <a:pt x="7853" y="59863"/>
                      <a:pt x="38230" y="48562"/>
                      <a:pt x="65279" y="8251"/>
                    </a:cubicBezTo>
                    <a:cubicBezTo>
                      <a:pt x="66935" y="5783"/>
                      <a:pt x="66279" y="2449"/>
                      <a:pt x="63810" y="803"/>
                    </a:cubicBezTo>
                    <a:cubicBezTo>
                      <a:pt x="62891" y="171"/>
                      <a:pt x="61851" y="-108"/>
                      <a:pt x="60819" y="-1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7" name="Vrije vorm 20">
                <a:extLst>
                  <a:ext uri="{FF2B5EF4-FFF2-40B4-BE49-F238E27FC236}">
                    <a16:creationId xmlns:a16="http://schemas.microsoft.com/office/drawing/2014/main" id="{2D114FD3-0131-4BF5-B995-AD9765D2A889}"/>
                  </a:ext>
                </a:extLst>
              </p:cNvPr>
              <p:cNvSpPr/>
              <p:nvPr/>
            </p:nvSpPr>
            <p:spPr>
              <a:xfrm flipV="1">
                <a:off x="2024123" y="4707419"/>
                <a:ext cx="66821" cy="60755"/>
              </a:xfrm>
              <a:custGeom>
                <a:avLst/>
                <a:gdLst>
                  <a:gd name="connsiteX0" fmla="*/ 60846 w 66821"/>
                  <a:gd name="connsiteY0" fmla="*/ -94 h 60755"/>
                  <a:gd name="connsiteX1" fmla="*/ 56376 w 66821"/>
                  <a:gd name="connsiteY1" fmla="*/ 2289 h 60755"/>
                  <a:gd name="connsiteX2" fmla="*/ 2950 w 66821"/>
                  <a:gd name="connsiteY2" fmla="*/ 50235 h 60755"/>
                  <a:gd name="connsiteX3" fmla="*/ -285 w 66821"/>
                  <a:gd name="connsiteY3" fmla="*/ 57114 h 60755"/>
                  <a:gd name="connsiteX4" fmla="*/ 6597 w 66821"/>
                  <a:gd name="connsiteY4" fmla="*/ 60347 h 60755"/>
                  <a:gd name="connsiteX5" fmla="*/ 65303 w 66821"/>
                  <a:gd name="connsiteY5" fmla="*/ 8266 h 60755"/>
                  <a:gd name="connsiteX6" fmla="*/ 63834 w 66821"/>
                  <a:gd name="connsiteY6" fmla="*/ 808 h 60755"/>
                  <a:gd name="connsiteX7" fmla="*/ 60846 w 66821"/>
                  <a:gd name="connsiteY7" fmla="*/ -94 h 60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1" h="60755">
                    <a:moveTo>
                      <a:pt x="60846" y="-94"/>
                    </a:moveTo>
                    <a:cubicBezTo>
                      <a:pt x="59117" y="-94"/>
                      <a:pt x="57417" y="736"/>
                      <a:pt x="56376" y="2289"/>
                    </a:cubicBezTo>
                    <a:cubicBezTo>
                      <a:pt x="31271" y="39692"/>
                      <a:pt x="3229" y="50135"/>
                      <a:pt x="2950" y="50235"/>
                    </a:cubicBezTo>
                    <a:cubicBezTo>
                      <a:pt x="156" y="51243"/>
                      <a:pt x="-1293" y="54319"/>
                      <a:pt x="-285" y="57114"/>
                    </a:cubicBezTo>
                    <a:cubicBezTo>
                      <a:pt x="723" y="59902"/>
                      <a:pt x="3812" y="61342"/>
                      <a:pt x="6597" y="60347"/>
                    </a:cubicBezTo>
                    <a:cubicBezTo>
                      <a:pt x="7876" y="59882"/>
                      <a:pt x="38257" y="48581"/>
                      <a:pt x="65303" y="8266"/>
                    </a:cubicBezTo>
                    <a:cubicBezTo>
                      <a:pt x="66958" y="5810"/>
                      <a:pt x="66302" y="2467"/>
                      <a:pt x="63834" y="808"/>
                    </a:cubicBezTo>
                    <a:cubicBezTo>
                      <a:pt x="62915" y="198"/>
                      <a:pt x="61874" y="-94"/>
                      <a:pt x="60846" y="-94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8" name="Vrije vorm 21">
                <a:extLst>
                  <a:ext uri="{FF2B5EF4-FFF2-40B4-BE49-F238E27FC236}">
                    <a16:creationId xmlns:a16="http://schemas.microsoft.com/office/drawing/2014/main" id="{D39381F6-94FB-46D2-9E80-38EF89595F39}"/>
                  </a:ext>
                </a:extLst>
              </p:cNvPr>
              <p:cNvSpPr/>
              <p:nvPr/>
            </p:nvSpPr>
            <p:spPr>
              <a:xfrm flipV="1">
                <a:off x="1996103" y="4719841"/>
                <a:ext cx="66805" cy="60751"/>
              </a:xfrm>
              <a:custGeom>
                <a:avLst/>
                <a:gdLst>
                  <a:gd name="connsiteX0" fmla="*/ 60853 w 66805"/>
                  <a:gd name="connsiteY0" fmla="*/ -80 h 60751"/>
                  <a:gd name="connsiteX1" fmla="*/ 56384 w 66805"/>
                  <a:gd name="connsiteY1" fmla="*/ 2291 h 60751"/>
                  <a:gd name="connsiteX2" fmla="*/ 2944 w 66805"/>
                  <a:gd name="connsiteY2" fmla="*/ 50249 h 60751"/>
                  <a:gd name="connsiteX3" fmla="*/ -258 w 66805"/>
                  <a:gd name="connsiteY3" fmla="*/ 57128 h 60751"/>
                  <a:gd name="connsiteX4" fmla="*/ 6608 w 66805"/>
                  <a:gd name="connsiteY4" fmla="*/ 60356 h 60751"/>
                  <a:gd name="connsiteX5" fmla="*/ 65314 w 66805"/>
                  <a:gd name="connsiteY5" fmla="*/ 8287 h 60751"/>
                  <a:gd name="connsiteX6" fmla="*/ 63844 w 66805"/>
                  <a:gd name="connsiteY6" fmla="*/ 830 h 60751"/>
                  <a:gd name="connsiteX7" fmla="*/ 60853 w 66805"/>
                  <a:gd name="connsiteY7" fmla="*/ -80 h 60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05" h="60751">
                    <a:moveTo>
                      <a:pt x="60853" y="-80"/>
                    </a:moveTo>
                    <a:cubicBezTo>
                      <a:pt x="59120" y="-80"/>
                      <a:pt x="57420" y="749"/>
                      <a:pt x="56384" y="2291"/>
                    </a:cubicBezTo>
                    <a:cubicBezTo>
                      <a:pt x="31443" y="39466"/>
                      <a:pt x="3232" y="50143"/>
                      <a:pt x="2944" y="50249"/>
                    </a:cubicBezTo>
                    <a:cubicBezTo>
                      <a:pt x="167" y="51264"/>
                      <a:pt x="-1270" y="54352"/>
                      <a:pt x="-258" y="57128"/>
                    </a:cubicBezTo>
                    <a:cubicBezTo>
                      <a:pt x="759" y="59911"/>
                      <a:pt x="3838" y="61352"/>
                      <a:pt x="6608" y="60356"/>
                    </a:cubicBezTo>
                    <a:cubicBezTo>
                      <a:pt x="7887" y="59891"/>
                      <a:pt x="38268" y="48590"/>
                      <a:pt x="65314" y="8287"/>
                    </a:cubicBezTo>
                    <a:cubicBezTo>
                      <a:pt x="66966" y="5811"/>
                      <a:pt x="66306" y="2477"/>
                      <a:pt x="63844" y="830"/>
                    </a:cubicBezTo>
                    <a:cubicBezTo>
                      <a:pt x="62925" y="211"/>
                      <a:pt x="61881" y="-80"/>
                      <a:pt x="60853" y="-80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9" name="Vrije vorm 22">
                <a:extLst>
                  <a:ext uri="{FF2B5EF4-FFF2-40B4-BE49-F238E27FC236}">
                    <a16:creationId xmlns:a16="http://schemas.microsoft.com/office/drawing/2014/main" id="{2ADE6B8A-902E-4A5A-8BC8-1BA0A6B7F0AC}"/>
                  </a:ext>
                </a:extLst>
              </p:cNvPr>
              <p:cNvSpPr/>
              <p:nvPr/>
            </p:nvSpPr>
            <p:spPr>
              <a:xfrm flipV="1">
                <a:off x="2667810" y="4519894"/>
                <a:ext cx="127435" cy="249822"/>
              </a:xfrm>
              <a:custGeom>
                <a:avLst/>
                <a:gdLst>
                  <a:gd name="connsiteX0" fmla="*/ -1169 w 127435"/>
                  <a:gd name="connsiteY0" fmla="*/ 229480 h 249822"/>
                  <a:gd name="connsiteX1" fmla="*/ 37050 w 127435"/>
                  <a:gd name="connsiteY1" fmla="*/ -196 h 249822"/>
                  <a:gd name="connsiteX2" fmla="*/ 126267 w 127435"/>
                  <a:gd name="connsiteY2" fmla="*/ -196 h 249822"/>
                  <a:gd name="connsiteX3" fmla="*/ 96431 w 127435"/>
                  <a:gd name="connsiteY3" fmla="*/ 249627 h 249822"/>
                  <a:gd name="connsiteX4" fmla="*/ -1169 w 127435"/>
                  <a:gd name="connsiteY4" fmla="*/ 229480 h 249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35" h="249822">
                    <a:moveTo>
                      <a:pt x="-1169" y="229480"/>
                    </a:moveTo>
                    <a:lnTo>
                      <a:pt x="37050" y="-196"/>
                    </a:lnTo>
                    <a:lnTo>
                      <a:pt x="126267" y="-196"/>
                    </a:lnTo>
                    <a:lnTo>
                      <a:pt x="96431" y="249627"/>
                    </a:lnTo>
                    <a:lnTo>
                      <a:pt x="-1169" y="22948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0" name="Vrije vorm 23">
                <a:extLst>
                  <a:ext uri="{FF2B5EF4-FFF2-40B4-BE49-F238E27FC236}">
                    <a16:creationId xmlns:a16="http://schemas.microsoft.com/office/drawing/2014/main" id="{140EC5EF-C6A0-449C-8EDA-6CB93327456B}"/>
                  </a:ext>
                </a:extLst>
              </p:cNvPr>
              <p:cNvSpPr/>
              <p:nvPr/>
            </p:nvSpPr>
            <p:spPr>
              <a:xfrm flipV="1">
                <a:off x="2667810" y="4660864"/>
                <a:ext cx="432703" cy="211809"/>
              </a:xfrm>
              <a:custGeom>
                <a:avLst/>
                <a:gdLst>
                  <a:gd name="connsiteX0" fmla="*/ 153187 w 432703"/>
                  <a:gd name="connsiteY0" fmla="*/ 211747 h 211809"/>
                  <a:gd name="connsiteX1" fmla="*/ 281297 w 432703"/>
                  <a:gd name="connsiteY1" fmla="*/ 122397 h 211809"/>
                  <a:gd name="connsiteX2" fmla="*/ 431117 w 432703"/>
                  <a:gd name="connsiteY2" fmla="*/ 23166 h 211809"/>
                  <a:gd name="connsiteX3" fmla="*/ 121154 w 432703"/>
                  <a:gd name="connsiteY3" fmla="*/ 29466 h 211809"/>
                  <a:gd name="connsiteX4" fmla="*/ 121154 w 432703"/>
                  <a:gd name="connsiteY4" fmla="*/ 9806 h 211809"/>
                  <a:gd name="connsiteX5" fmla="*/ -1297 w 432703"/>
                  <a:gd name="connsiteY5" fmla="*/ 15172 h 211809"/>
                  <a:gd name="connsiteX6" fmla="*/ -1297 w 432703"/>
                  <a:gd name="connsiteY6" fmla="*/ 177784 h 211809"/>
                  <a:gd name="connsiteX7" fmla="*/ 100428 w 432703"/>
                  <a:gd name="connsiteY7" fmla="*/ 170646 h 211809"/>
                  <a:gd name="connsiteX8" fmla="*/ 92894 w 432703"/>
                  <a:gd name="connsiteY8" fmla="*/ 186730 h 211809"/>
                  <a:gd name="connsiteX9" fmla="*/ 153187 w 432703"/>
                  <a:gd name="connsiteY9" fmla="*/ 211747 h 211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2703" h="211809">
                    <a:moveTo>
                      <a:pt x="153187" y="211747"/>
                    </a:moveTo>
                    <a:cubicBezTo>
                      <a:pt x="153187" y="211747"/>
                      <a:pt x="204049" y="145621"/>
                      <a:pt x="281297" y="122397"/>
                    </a:cubicBezTo>
                    <a:cubicBezTo>
                      <a:pt x="358544" y="99157"/>
                      <a:pt x="436775" y="69624"/>
                      <a:pt x="431117" y="23166"/>
                    </a:cubicBezTo>
                    <a:cubicBezTo>
                      <a:pt x="431117" y="23166"/>
                      <a:pt x="307671" y="-33074"/>
                      <a:pt x="121154" y="29466"/>
                    </a:cubicBezTo>
                    <a:lnTo>
                      <a:pt x="121154" y="9806"/>
                    </a:lnTo>
                    <a:lnTo>
                      <a:pt x="-1297" y="15172"/>
                    </a:lnTo>
                    <a:lnTo>
                      <a:pt x="-1297" y="177784"/>
                    </a:lnTo>
                    <a:lnTo>
                      <a:pt x="100428" y="170646"/>
                    </a:lnTo>
                    <a:lnTo>
                      <a:pt x="92894" y="186730"/>
                    </a:lnTo>
                    <a:lnTo>
                      <a:pt x="153187" y="211747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1" name="Vrije vorm 24">
                <a:extLst>
                  <a:ext uri="{FF2B5EF4-FFF2-40B4-BE49-F238E27FC236}">
                    <a16:creationId xmlns:a16="http://schemas.microsoft.com/office/drawing/2014/main" id="{943E7EBA-89EA-4C1D-ABC0-5A9779A3988F}"/>
                  </a:ext>
                </a:extLst>
              </p:cNvPr>
              <p:cNvSpPr/>
              <p:nvPr/>
            </p:nvSpPr>
            <p:spPr>
              <a:xfrm flipV="1">
                <a:off x="2667800" y="4816546"/>
                <a:ext cx="432632" cy="56127"/>
              </a:xfrm>
              <a:custGeom>
                <a:avLst/>
                <a:gdLst>
                  <a:gd name="connsiteX0" fmla="*/ 227729 w 432632"/>
                  <a:gd name="connsiteY0" fmla="*/ 18842 h 56127"/>
                  <a:gd name="connsiteX1" fmla="*/ 430164 w 432632"/>
                  <a:gd name="connsiteY1" fmla="*/ 35354 h 56127"/>
                  <a:gd name="connsiteX2" fmla="*/ 431127 w 432632"/>
                  <a:gd name="connsiteY2" fmla="*/ 23251 h 56127"/>
                  <a:gd name="connsiteX3" fmla="*/ 121165 w 432632"/>
                  <a:gd name="connsiteY3" fmla="*/ 29551 h 56127"/>
                  <a:gd name="connsiteX4" fmla="*/ 121165 w 432632"/>
                  <a:gd name="connsiteY4" fmla="*/ 9892 h 56127"/>
                  <a:gd name="connsiteX5" fmla="*/ -1297 w 432632"/>
                  <a:gd name="connsiteY5" fmla="*/ 15257 h 56127"/>
                  <a:gd name="connsiteX6" fmla="*/ -1297 w 432632"/>
                  <a:gd name="connsiteY6" fmla="*/ 56150 h 56127"/>
                  <a:gd name="connsiteX7" fmla="*/ 227729 w 432632"/>
                  <a:gd name="connsiteY7" fmla="*/ 18842 h 56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2632" h="56127">
                    <a:moveTo>
                      <a:pt x="227729" y="18842"/>
                    </a:moveTo>
                    <a:cubicBezTo>
                      <a:pt x="345072" y="395"/>
                      <a:pt x="420391" y="32028"/>
                      <a:pt x="430164" y="35354"/>
                    </a:cubicBezTo>
                    <a:cubicBezTo>
                      <a:pt x="431231" y="31323"/>
                      <a:pt x="431614" y="27282"/>
                      <a:pt x="431127" y="23251"/>
                    </a:cubicBezTo>
                    <a:cubicBezTo>
                      <a:pt x="431127" y="23251"/>
                      <a:pt x="307681" y="-32988"/>
                      <a:pt x="121165" y="29551"/>
                    </a:cubicBezTo>
                    <a:lnTo>
                      <a:pt x="121165" y="9892"/>
                    </a:lnTo>
                    <a:lnTo>
                      <a:pt x="-1297" y="15257"/>
                    </a:lnTo>
                    <a:lnTo>
                      <a:pt x="-1297" y="56150"/>
                    </a:lnTo>
                    <a:cubicBezTo>
                      <a:pt x="42415" y="53508"/>
                      <a:pt x="115071" y="36551"/>
                      <a:pt x="227729" y="18842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2" name="Vrije vorm 25">
                <a:extLst>
                  <a:ext uri="{FF2B5EF4-FFF2-40B4-BE49-F238E27FC236}">
                    <a16:creationId xmlns:a16="http://schemas.microsoft.com/office/drawing/2014/main" id="{F9B50E2A-28A4-4238-B095-9850E2539ADF}"/>
                  </a:ext>
                </a:extLst>
              </p:cNvPr>
              <p:cNvSpPr/>
              <p:nvPr/>
            </p:nvSpPr>
            <p:spPr>
              <a:xfrm flipV="1">
                <a:off x="2799960" y="4694841"/>
                <a:ext cx="66820" cy="60746"/>
              </a:xfrm>
              <a:custGeom>
                <a:avLst/>
                <a:gdLst>
                  <a:gd name="connsiteX0" fmla="*/ 4115 w 66820"/>
                  <a:gd name="connsiteY0" fmla="*/ -108 h 60746"/>
                  <a:gd name="connsiteX1" fmla="*/ 8582 w 66820"/>
                  <a:gd name="connsiteY1" fmla="*/ 2271 h 60746"/>
                  <a:gd name="connsiteX2" fmla="*/ 62004 w 66820"/>
                  <a:gd name="connsiteY2" fmla="*/ 50209 h 60746"/>
                  <a:gd name="connsiteX3" fmla="*/ 65248 w 66820"/>
                  <a:gd name="connsiteY3" fmla="*/ 57099 h 60746"/>
                  <a:gd name="connsiteX4" fmla="*/ 58366 w 66820"/>
                  <a:gd name="connsiteY4" fmla="*/ 60328 h 60746"/>
                  <a:gd name="connsiteX5" fmla="*/ -341 w 66820"/>
                  <a:gd name="connsiteY5" fmla="*/ 8251 h 60746"/>
                  <a:gd name="connsiteX6" fmla="*/ 1131 w 66820"/>
                  <a:gd name="connsiteY6" fmla="*/ 803 h 60746"/>
                  <a:gd name="connsiteX7" fmla="*/ 4115 w 66820"/>
                  <a:gd name="connsiteY7" fmla="*/ -108 h 6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0" h="60746">
                    <a:moveTo>
                      <a:pt x="4115" y="-108"/>
                    </a:moveTo>
                    <a:cubicBezTo>
                      <a:pt x="5856" y="-108"/>
                      <a:pt x="7546" y="718"/>
                      <a:pt x="8582" y="2271"/>
                    </a:cubicBezTo>
                    <a:cubicBezTo>
                      <a:pt x="33692" y="39686"/>
                      <a:pt x="61734" y="50116"/>
                      <a:pt x="62004" y="50209"/>
                    </a:cubicBezTo>
                    <a:cubicBezTo>
                      <a:pt x="64802" y="51224"/>
                      <a:pt x="66253" y="54300"/>
                      <a:pt x="65248" y="57099"/>
                    </a:cubicBezTo>
                    <a:cubicBezTo>
                      <a:pt x="64232" y="59884"/>
                      <a:pt x="61144" y="61312"/>
                      <a:pt x="58366" y="60328"/>
                    </a:cubicBezTo>
                    <a:cubicBezTo>
                      <a:pt x="57081" y="59863"/>
                      <a:pt x="26707" y="48562"/>
                      <a:pt x="-341" y="8251"/>
                    </a:cubicBezTo>
                    <a:cubicBezTo>
                      <a:pt x="-1999" y="5783"/>
                      <a:pt x="-1336" y="2449"/>
                      <a:pt x="1131" y="803"/>
                    </a:cubicBezTo>
                    <a:cubicBezTo>
                      <a:pt x="2043" y="171"/>
                      <a:pt x="3089" y="-108"/>
                      <a:pt x="4115" y="-1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3" name="Vrije vorm 26">
                <a:extLst>
                  <a:ext uri="{FF2B5EF4-FFF2-40B4-BE49-F238E27FC236}">
                    <a16:creationId xmlns:a16="http://schemas.microsoft.com/office/drawing/2014/main" id="{4832B132-583E-497E-B395-E57EED4AC7A1}"/>
                  </a:ext>
                </a:extLst>
              </p:cNvPr>
              <p:cNvSpPr/>
              <p:nvPr/>
            </p:nvSpPr>
            <p:spPr>
              <a:xfrm flipV="1">
                <a:off x="2827990" y="4707419"/>
                <a:ext cx="66823" cy="60755"/>
              </a:xfrm>
              <a:custGeom>
                <a:avLst/>
                <a:gdLst>
                  <a:gd name="connsiteX0" fmla="*/ 4094 w 66823"/>
                  <a:gd name="connsiteY0" fmla="*/ -94 h 60755"/>
                  <a:gd name="connsiteX1" fmla="*/ 8561 w 66823"/>
                  <a:gd name="connsiteY1" fmla="*/ 2289 h 60755"/>
                  <a:gd name="connsiteX2" fmla="*/ 61993 w 66823"/>
                  <a:gd name="connsiteY2" fmla="*/ 50235 h 60755"/>
                  <a:gd name="connsiteX3" fmla="*/ 65227 w 66823"/>
                  <a:gd name="connsiteY3" fmla="*/ 57114 h 60755"/>
                  <a:gd name="connsiteX4" fmla="*/ 58346 w 66823"/>
                  <a:gd name="connsiteY4" fmla="*/ 60347 h 60755"/>
                  <a:gd name="connsiteX5" fmla="*/ -372 w 66823"/>
                  <a:gd name="connsiteY5" fmla="*/ 8266 h 60755"/>
                  <a:gd name="connsiteX6" fmla="*/ 1110 w 66823"/>
                  <a:gd name="connsiteY6" fmla="*/ 808 h 60755"/>
                  <a:gd name="connsiteX7" fmla="*/ 4094 w 66823"/>
                  <a:gd name="connsiteY7" fmla="*/ -94 h 60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3" h="60755">
                    <a:moveTo>
                      <a:pt x="4094" y="-94"/>
                    </a:moveTo>
                    <a:cubicBezTo>
                      <a:pt x="5825" y="-94"/>
                      <a:pt x="7525" y="736"/>
                      <a:pt x="8561" y="2289"/>
                    </a:cubicBezTo>
                    <a:cubicBezTo>
                      <a:pt x="33671" y="39692"/>
                      <a:pt x="61714" y="50135"/>
                      <a:pt x="61993" y="50235"/>
                    </a:cubicBezTo>
                    <a:cubicBezTo>
                      <a:pt x="64781" y="51243"/>
                      <a:pt x="66232" y="54319"/>
                      <a:pt x="65227" y="57114"/>
                    </a:cubicBezTo>
                    <a:cubicBezTo>
                      <a:pt x="64211" y="59902"/>
                      <a:pt x="61133" y="61342"/>
                      <a:pt x="58346" y="60347"/>
                    </a:cubicBezTo>
                    <a:cubicBezTo>
                      <a:pt x="57061" y="59882"/>
                      <a:pt x="26686" y="48581"/>
                      <a:pt x="-372" y="8266"/>
                    </a:cubicBezTo>
                    <a:cubicBezTo>
                      <a:pt x="-2020" y="5810"/>
                      <a:pt x="-1357" y="2467"/>
                      <a:pt x="1110" y="808"/>
                    </a:cubicBezTo>
                    <a:cubicBezTo>
                      <a:pt x="2022" y="198"/>
                      <a:pt x="3068" y="-94"/>
                      <a:pt x="4094" y="-94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4" name="Vrije vorm 27">
                <a:extLst>
                  <a:ext uri="{FF2B5EF4-FFF2-40B4-BE49-F238E27FC236}">
                    <a16:creationId xmlns:a16="http://schemas.microsoft.com/office/drawing/2014/main" id="{485F6EFA-D43F-474B-A3F4-BEE3CBA3050F}"/>
                  </a:ext>
                </a:extLst>
              </p:cNvPr>
              <p:cNvSpPr/>
              <p:nvPr/>
            </p:nvSpPr>
            <p:spPr>
              <a:xfrm flipV="1">
                <a:off x="2856024" y="4719841"/>
                <a:ext cx="66812" cy="60751"/>
              </a:xfrm>
              <a:custGeom>
                <a:avLst/>
                <a:gdLst>
                  <a:gd name="connsiteX0" fmla="*/ 4068 w 66812"/>
                  <a:gd name="connsiteY0" fmla="*/ -80 h 60751"/>
                  <a:gd name="connsiteX1" fmla="*/ 8545 w 66812"/>
                  <a:gd name="connsiteY1" fmla="*/ 2291 h 60751"/>
                  <a:gd name="connsiteX2" fmla="*/ 61978 w 66812"/>
                  <a:gd name="connsiteY2" fmla="*/ 50249 h 60751"/>
                  <a:gd name="connsiteX3" fmla="*/ 65190 w 66812"/>
                  <a:gd name="connsiteY3" fmla="*/ 57128 h 60751"/>
                  <a:gd name="connsiteX4" fmla="*/ 58320 w 66812"/>
                  <a:gd name="connsiteY4" fmla="*/ 60356 h 60751"/>
                  <a:gd name="connsiteX5" fmla="*/ -388 w 66812"/>
                  <a:gd name="connsiteY5" fmla="*/ 8287 h 60751"/>
                  <a:gd name="connsiteX6" fmla="*/ 1084 w 66812"/>
                  <a:gd name="connsiteY6" fmla="*/ 830 h 60751"/>
                  <a:gd name="connsiteX7" fmla="*/ 4068 w 66812"/>
                  <a:gd name="connsiteY7" fmla="*/ -80 h 60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12" h="60751">
                    <a:moveTo>
                      <a:pt x="4068" y="-80"/>
                    </a:moveTo>
                    <a:cubicBezTo>
                      <a:pt x="5809" y="-80"/>
                      <a:pt x="7509" y="749"/>
                      <a:pt x="8545" y="2291"/>
                    </a:cubicBezTo>
                    <a:cubicBezTo>
                      <a:pt x="33489" y="39466"/>
                      <a:pt x="61698" y="50143"/>
                      <a:pt x="61978" y="50249"/>
                    </a:cubicBezTo>
                    <a:cubicBezTo>
                      <a:pt x="64766" y="51264"/>
                      <a:pt x="66196" y="54352"/>
                      <a:pt x="65190" y="57128"/>
                    </a:cubicBezTo>
                    <a:cubicBezTo>
                      <a:pt x="64164" y="59911"/>
                      <a:pt x="61087" y="61352"/>
                      <a:pt x="58320" y="60356"/>
                    </a:cubicBezTo>
                    <a:cubicBezTo>
                      <a:pt x="57035" y="59891"/>
                      <a:pt x="26660" y="48590"/>
                      <a:pt x="-388" y="8287"/>
                    </a:cubicBezTo>
                    <a:cubicBezTo>
                      <a:pt x="-2046" y="5811"/>
                      <a:pt x="-1383" y="2477"/>
                      <a:pt x="1084" y="830"/>
                    </a:cubicBezTo>
                    <a:cubicBezTo>
                      <a:pt x="1996" y="211"/>
                      <a:pt x="3042" y="-80"/>
                      <a:pt x="4068" y="-80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5" name="Vrije vorm 28">
                <a:extLst>
                  <a:ext uri="{FF2B5EF4-FFF2-40B4-BE49-F238E27FC236}">
                    <a16:creationId xmlns:a16="http://schemas.microsoft.com/office/drawing/2014/main" id="{966EABA6-D7A9-4DE4-B51D-2E7E1B9C316D}"/>
                  </a:ext>
                </a:extLst>
              </p:cNvPr>
              <p:cNvSpPr/>
              <p:nvPr/>
            </p:nvSpPr>
            <p:spPr>
              <a:xfrm flipV="1">
                <a:off x="2086870" y="2668940"/>
                <a:ext cx="756201" cy="2017911"/>
              </a:xfrm>
              <a:custGeom>
                <a:avLst/>
                <a:gdLst>
                  <a:gd name="connsiteX0" fmla="*/ 185064 w 756201"/>
                  <a:gd name="connsiteY0" fmla="*/ 1980643 h 2017911"/>
                  <a:gd name="connsiteX1" fmla="*/ 92164 w 756201"/>
                  <a:gd name="connsiteY1" fmla="*/ 871643 h 2017911"/>
                  <a:gd name="connsiteX2" fmla="*/ -946 w 756201"/>
                  <a:gd name="connsiteY2" fmla="*/ 59412 h 2017911"/>
                  <a:gd name="connsiteX3" fmla="*/ 213498 w 756201"/>
                  <a:gd name="connsiteY3" fmla="*/ 25583 h 2017911"/>
                  <a:gd name="connsiteX4" fmla="*/ 340470 w 756201"/>
                  <a:gd name="connsiteY4" fmla="*/ 820879 h 2017911"/>
                  <a:gd name="connsiteX5" fmla="*/ 442049 w 756201"/>
                  <a:gd name="connsiteY5" fmla="*/ 1576702 h 2017911"/>
                  <a:gd name="connsiteX6" fmla="*/ 498477 w 756201"/>
                  <a:gd name="connsiteY6" fmla="*/ 1576702 h 2017911"/>
                  <a:gd name="connsiteX7" fmla="*/ 546448 w 756201"/>
                  <a:gd name="connsiteY7" fmla="*/ 25583 h 2017911"/>
                  <a:gd name="connsiteX8" fmla="*/ 755256 w 756201"/>
                  <a:gd name="connsiteY8" fmla="*/ 19938 h 2017911"/>
                  <a:gd name="connsiteX9" fmla="*/ 738322 w 756201"/>
                  <a:gd name="connsiteY9" fmla="*/ 2016658 h 2017911"/>
                  <a:gd name="connsiteX10" fmla="*/ 185064 w 756201"/>
                  <a:gd name="connsiteY10" fmla="*/ 1980643 h 2017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56201" h="2017911">
                    <a:moveTo>
                      <a:pt x="185064" y="1980643"/>
                    </a:moveTo>
                    <a:lnTo>
                      <a:pt x="92164" y="871643"/>
                    </a:lnTo>
                    <a:lnTo>
                      <a:pt x="-946" y="59412"/>
                    </a:lnTo>
                    <a:cubicBezTo>
                      <a:pt x="-946" y="59412"/>
                      <a:pt x="44194" y="-2622"/>
                      <a:pt x="213498" y="25583"/>
                    </a:cubicBezTo>
                    <a:lnTo>
                      <a:pt x="340470" y="820879"/>
                    </a:lnTo>
                    <a:lnTo>
                      <a:pt x="442049" y="1576702"/>
                    </a:lnTo>
                    <a:lnTo>
                      <a:pt x="498477" y="1576702"/>
                    </a:lnTo>
                    <a:lnTo>
                      <a:pt x="546448" y="25583"/>
                    </a:lnTo>
                    <a:cubicBezTo>
                      <a:pt x="546448" y="25583"/>
                      <a:pt x="619809" y="-30839"/>
                      <a:pt x="755256" y="19938"/>
                    </a:cubicBezTo>
                    <a:lnTo>
                      <a:pt x="738322" y="2016658"/>
                    </a:lnTo>
                    <a:lnTo>
                      <a:pt x="185064" y="1980643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6" name="Vrije vorm 29">
                <a:extLst>
                  <a:ext uri="{FF2B5EF4-FFF2-40B4-BE49-F238E27FC236}">
                    <a16:creationId xmlns:a16="http://schemas.microsoft.com/office/drawing/2014/main" id="{D4FF7CBE-303C-47E3-A594-AAF0364E1211}"/>
                  </a:ext>
                </a:extLst>
              </p:cNvPr>
              <p:cNvSpPr/>
              <p:nvPr/>
            </p:nvSpPr>
            <p:spPr>
              <a:xfrm flipV="1">
                <a:off x="2388719" y="1514055"/>
                <a:ext cx="197584" cy="409254"/>
              </a:xfrm>
              <a:custGeom>
                <a:avLst/>
                <a:gdLst>
                  <a:gd name="connsiteX0" fmla="*/ 196619 w 197584"/>
                  <a:gd name="connsiteY0" fmla="*/ 311600 h 409254"/>
                  <a:gd name="connsiteX1" fmla="*/ 189013 w 197584"/>
                  <a:gd name="connsiteY1" fmla="*/ -3397 h 409254"/>
                  <a:gd name="connsiteX2" fmla="*/ -965 w 197584"/>
                  <a:gd name="connsiteY2" fmla="*/ 81487 h 409254"/>
                  <a:gd name="connsiteX3" fmla="*/ 5014 w 197584"/>
                  <a:gd name="connsiteY3" fmla="*/ 405857 h 409254"/>
                  <a:gd name="connsiteX4" fmla="*/ 196619 w 197584"/>
                  <a:gd name="connsiteY4" fmla="*/ 311600 h 409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7584" h="409254">
                    <a:moveTo>
                      <a:pt x="196619" y="311600"/>
                    </a:moveTo>
                    <a:lnTo>
                      <a:pt x="189013" y="-3397"/>
                    </a:lnTo>
                    <a:lnTo>
                      <a:pt x="-965" y="81487"/>
                    </a:lnTo>
                    <a:lnTo>
                      <a:pt x="5014" y="405857"/>
                    </a:lnTo>
                    <a:lnTo>
                      <a:pt x="196619" y="311600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7" name="Vrije vorm 30">
                <a:extLst>
                  <a:ext uri="{FF2B5EF4-FFF2-40B4-BE49-F238E27FC236}">
                    <a16:creationId xmlns:a16="http://schemas.microsoft.com/office/drawing/2014/main" id="{48E60CCA-143B-4E69-8417-7206929E6034}"/>
                  </a:ext>
                </a:extLst>
              </p:cNvPr>
              <p:cNvSpPr/>
              <p:nvPr/>
            </p:nvSpPr>
            <p:spPr>
              <a:xfrm flipV="1">
                <a:off x="2016242" y="1723460"/>
                <a:ext cx="878925" cy="1022375"/>
              </a:xfrm>
              <a:custGeom>
                <a:avLst/>
                <a:gdLst>
                  <a:gd name="connsiteX0" fmla="*/ 875044 w 878925"/>
                  <a:gd name="connsiteY0" fmla="*/ 901190 h 1022375"/>
                  <a:gd name="connsiteX1" fmla="*/ 820244 w 878925"/>
                  <a:gd name="connsiteY1" fmla="*/ 51492 h 1022375"/>
                  <a:gd name="connsiteX2" fmla="*/ 458134 w 878925"/>
                  <a:gd name="connsiteY2" fmla="*/ -1934 h 1022375"/>
                  <a:gd name="connsiteX3" fmla="*/ 255700 w 878925"/>
                  <a:gd name="connsiteY3" fmla="*/ 38048 h 1022375"/>
                  <a:gd name="connsiteX4" fmla="*/ -938 w 878925"/>
                  <a:gd name="connsiteY4" fmla="*/ 989823 h 1022375"/>
                  <a:gd name="connsiteX5" fmla="*/ 383177 w 878925"/>
                  <a:gd name="connsiteY5" fmla="*/ 1019540 h 1022375"/>
                  <a:gd name="connsiteX6" fmla="*/ 494229 w 878925"/>
                  <a:gd name="connsiteY6" fmla="*/ 916685 h 1022375"/>
                  <a:gd name="connsiteX7" fmla="*/ 583942 w 878925"/>
                  <a:gd name="connsiteY7" fmla="*/ 1012424 h 1022375"/>
                  <a:gd name="connsiteX8" fmla="*/ 877987 w 878925"/>
                  <a:gd name="connsiteY8" fmla="*/ 978067 h 1022375"/>
                  <a:gd name="connsiteX9" fmla="*/ 875044 w 878925"/>
                  <a:gd name="connsiteY9" fmla="*/ 901190 h 1022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78925" h="1022375">
                    <a:moveTo>
                      <a:pt x="875044" y="901190"/>
                    </a:moveTo>
                    <a:cubicBezTo>
                      <a:pt x="875044" y="901190"/>
                      <a:pt x="856722" y="337570"/>
                      <a:pt x="820244" y="51492"/>
                    </a:cubicBezTo>
                    <a:cubicBezTo>
                      <a:pt x="820244" y="51492"/>
                      <a:pt x="680589" y="-10998"/>
                      <a:pt x="458134" y="-1934"/>
                    </a:cubicBezTo>
                    <a:cubicBezTo>
                      <a:pt x="300982" y="4467"/>
                      <a:pt x="255700" y="38048"/>
                      <a:pt x="255700" y="38048"/>
                    </a:cubicBezTo>
                    <a:lnTo>
                      <a:pt x="-938" y="989823"/>
                    </a:lnTo>
                    <a:cubicBezTo>
                      <a:pt x="-938" y="989823"/>
                      <a:pt x="143689" y="1019820"/>
                      <a:pt x="383177" y="1019540"/>
                    </a:cubicBezTo>
                    <a:lnTo>
                      <a:pt x="494229" y="916685"/>
                    </a:lnTo>
                    <a:cubicBezTo>
                      <a:pt x="494229" y="916685"/>
                      <a:pt x="524385" y="996535"/>
                      <a:pt x="583942" y="1012424"/>
                    </a:cubicBezTo>
                    <a:cubicBezTo>
                      <a:pt x="674216" y="1006209"/>
                      <a:pt x="772770" y="995396"/>
                      <a:pt x="877987" y="978067"/>
                    </a:cubicBezTo>
                    <a:lnTo>
                      <a:pt x="875044" y="901190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8" name="Vrije vorm 31">
                <a:extLst>
                  <a:ext uri="{FF2B5EF4-FFF2-40B4-BE49-F238E27FC236}">
                    <a16:creationId xmlns:a16="http://schemas.microsoft.com/office/drawing/2014/main" id="{6468737E-FD2B-41EA-BD21-2D84BE1C5569}"/>
                  </a:ext>
                </a:extLst>
              </p:cNvPr>
              <p:cNvSpPr/>
              <p:nvPr/>
            </p:nvSpPr>
            <p:spPr>
              <a:xfrm flipV="1">
                <a:off x="1793803" y="1753180"/>
                <a:ext cx="417056" cy="649249"/>
              </a:xfrm>
              <a:custGeom>
                <a:avLst/>
                <a:gdLst>
                  <a:gd name="connsiteX0" fmla="*/ 206445 w 417056"/>
                  <a:gd name="connsiteY0" fmla="*/ -3004 h 649249"/>
                  <a:gd name="connsiteX1" fmla="*/ 416497 w 417056"/>
                  <a:gd name="connsiteY1" fmla="*/ 581922 h 649249"/>
                  <a:gd name="connsiteX2" fmla="*/ 221880 w 417056"/>
                  <a:gd name="connsiteY2" fmla="*/ 646245 h 649249"/>
                  <a:gd name="connsiteX3" fmla="*/ -559 w 417056"/>
                  <a:gd name="connsiteY3" fmla="*/ 14935 h 649249"/>
                  <a:gd name="connsiteX4" fmla="*/ 206445 w 417056"/>
                  <a:gd name="connsiteY4" fmla="*/ -3004 h 649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7056" h="649249">
                    <a:moveTo>
                      <a:pt x="206445" y="-3004"/>
                    </a:moveTo>
                    <a:lnTo>
                      <a:pt x="416497" y="581922"/>
                    </a:lnTo>
                    <a:lnTo>
                      <a:pt x="221880" y="646245"/>
                    </a:lnTo>
                    <a:lnTo>
                      <a:pt x="-559" y="14935"/>
                    </a:lnTo>
                    <a:lnTo>
                      <a:pt x="206445" y="-3004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9" name="Vrije vorm 32">
                <a:extLst>
                  <a:ext uri="{FF2B5EF4-FFF2-40B4-BE49-F238E27FC236}">
                    <a16:creationId xmlns:a16="http://schemas.microsoft.com/office/drawing/2014/main" id="{06F72405-6D69-4863-84E4-D0601E4DE641}"/>
                  </a:ext>
                </a:extLst>
              </p:cNvPr>
              <p:cNvSpPr/>
              <p:nvPr/>
            </p:nvSpPr>
            <p:spPr>
              <a:xfrm flipV="1">
                <a:off x="2754633" y="2720901"/>
                <a:ext cx="85841" cy="80839"/>
              </a:xfrm>
              <a:custGeom>
                <a:avLst/>
                <a:gdLst>
                  <a:gd name="connsiteX0" fmla="*/ -1224 w 85841"/>
                  <a:gd name="connsiteY0" fmla="*/ 53645 h 80839"/>
                  <a:gd name="connsiteX1" fmla="*/ 70282 w 85841"/>
                  <a:gd name="connsiteY1" fmla="*/ 77655 h 80839"/>
                  <a:gd name="connsiteX2" fmla="*/ 84033 w 85841"/>
                  <a:gd name="connsiteY2" fmla="*/ 54391 h 80839"/>
                  <a:gd name="connsiteX3" fmla="*/ 70292 w 85841"/>
                  <a:gd name="connsiteY3" fmla="*/ 21442 h 80839"/>
                  <a:gd name="connsiteX4" fmla="*/ 9367 w 85841"/>
                  <a:gd name="connsiteY4" fmla="*/ -2257 h 80839"/>
                  <a:gd name="connsiteX5" fmla="*/ -1224 w 85841"/>
                  <a:gd name="connsiteY5" fmla="*/ 53645 h 80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841" h="80839">
                    <a:moveTo>
                      <a:pt x="-1224" y="53645"/>
                    </a:moveTo>
                    <a:cubicBezTo>
                      <a:pt x="46581" y="63921"/>
                      <a:pt x="69753" y="77490"/>
                      <a:pt x="70282" y="77655"/>
                    </a:cubicBezTo>
                    <a:cubicBezTo>
                      <a:pt x="84272" y="82296"/>
                      <a:pt x="82458" y="68737"/>
                      <a:pt x="84033" y="54391"/>
                    </a:cubicBezTo>
                    <a:cubicBezTo>
                      <a:pt x="86116" y="35457"/>
                      <a:pt x="82873" y="25327"/>
                      <a:pt x="70292" y="21442"/>
                    </a:cubicBezTo>
                    <a:cubicBezTo>
                      <a:pt x="67991" y="20738"/>
                      <a:pt x="56954" y="9179"/>
                      <a:pt x="9367" y="-2257"/>
                    </a:cubicBezTo>
                    <a:cubicBezTo>
                      <a:pt x="5812" y="16377"/>
                      <a:pt x="2268" y="35011"/>
                      <a:pt x="-1224" y="53645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0" name="Vrije vorm 33">
                <a:extLst>
                  <a:ext uri="{FF2B5EF4-FFF2-40B4-BE49-F238E27FC236}">
                    <a16:creationId xmlns:a16="http://schemas.microsoft.com/office/drawing/2014/main" id="{862D51B6-3557-4187-B65D-426A9D52537D}"/>
                  </a:ext>
                </a:extLst>
              </p:cNvPr>
              <p:cNvSpPr/>
              <p:nvPr/>
            </p:nvSpPr>
            <p:spPr>
              <a:xfrm flipV="1">
                <a:off x="2405041" y="2753316"/>
                <a:ext cx="314822" cy="71602"/>
              </a:xfrm>
              <a:custGeom>
                <a:avLst/>
                <a:gdLst>
                  <a:gd name="connsiteX0" fmla="*/ 5988 w 314822"/>
                  <a:gd name="connsiteY0" fmla="*/ 61618 h 71602"/>
                  <a:gd name="connsiteX1" fmla="*/ 180359 w 314822"/>
                  <a:gd name="connsiteY1" fmla="*/ 57019 h 71602"/>
                  <a:gd name="connsiteX2" fmla="*/ 309132 w 314822"/>
                  <a:gd name="connsiteY2" fmla="*/ 69376 h 71602"/>
                  <a:gd name="connsiteX3" fmla="*/ 313795 w 314822"/>
                  <a:gd name="connsiteY3" fmla="*/ 11495 h 71602"/>
                  <a:gd name="connsiteX4" fmla="*/ 181540 w 314822"/>
                  <a:gd name="connsiteY4" fmla="*/ -1804 h 71602"/>
                  <a:gd name="connsiteX5" fmla="*/ 121341 w 314822"/>
                  <a:gd name="connsiteY5" fmla="*/ -1991 h 71602"/>
                  <a:gd name="connsiteX6" fmla="*/ -1028 w 314822"/>
                  <a:gd name="connsiteY6" fmla="*/ 5602 h 71602"/>
                  <a:gd name="connsiteX7" fmla="*/ 5988 w 314822"/>
                  <a:gd name="connsiteY7" fmla="*/ 61618 h 71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4822" h="71602">
                    <a:moveTo>
                      <a:pt x="5988" y="61618"/>
                    </a:moveTo>
                    <a:cubicBezTo>
                      <a:pt x="59151" y="56563"/>
                      <a:pt x="117330" y="55527"/>
                      <a:pt x="180359" y="57019"/>
                    </a:cubicBezTo>
                    <a:cubicBezTo>
                      <a:pt x="228952" y="58168"/>
                      <a:pt x="272539" y="63213"/>
                      <a:pt x="309132" y="69376"/>
                    </a:cubicBezTo>
                    <a:cubicBezTo>
                      <a:pt x="307961" y="49965"/>
                      <a:pt x="310531" y="30699"/>
                      <a:pt x="313795" y="11495"/>
                    </a:cubicBezTo>
                    <a:cubicBezTo>
                      <a:pt x="276519" y="4783"/>
                      <a:pt x="231988" y="-624"/>
                      <a:pt x="181540" y="-1804"/>
                    </a:cubicBezTo>
                    <a:cubicBezTo>
                      <a:pt x="161011" y="-2302"/>
                      <a:pt x="140937" y="-2353"/>
                      <a:pt x="121341" y="-1991"/>
                    </a:cubicBezTo>
                    <a:cubicBezTo>
                      <a:pt x="77432" y="-1183"/>
                      <a:pt x="36964" y="1220"/>
                      <a:pt x="-1028" y="5602"/>
                    </a:cubicBezTo>
                    <a:cubicBezTo>
                      <a:pt x="3138" y="23987"/>
                      <a:pt x="5625" y="42631"/>
                      <a:pt x="5988" y="6161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1" name="Vrije vorm 34">
                <a:extLst>
                  <a:ext uri="{FF2B5EF4-FFF2-40B4-BE49-F238E27FC236}">
                    <a16:creationId xmlns:a16="http://schemas.microsoft.com/office/drawing/2014/main" id="{200A7198-3C06-4BF4-B92D-584FFAF9F967}"/>
                  </a:ext>
                </a:extLst>
              </p:cNvPr>
              <p:cNvSpPr/>
              <p:nvPr/>
            </p:nvSpPr>
            <p:spPr>
              <a:xfrm flipV="1">
                <a:off x="2254503" y="2733145"/>
                <a:ext cx="122702" cy="79294"/>
              </a:xfrm>
              <a:custGeom>
                <a:avLst/>
                <a:gdLst>
                  <a:gd name="connsiteX0" fmla="*/ 862 w 122702"/>
                  <a:gd name="connsiteY0" fmla="*/ 53938 h 79294"/>
                  <a:gd name="connsiteX1" fmla="*/ 19249 w 122702"/>
                  <a:gd name="connsiteY1" fmla="*/ 76042 h 79294"/>
                  <a:gd name="connsiteX2" fmla="*/ 121881 w 122702"/>
                  <a:gd name="connsiteY2" fmla="*/ 53006 h 79294"/>
                  <a:gd name="connsiteX3" fmla="*/ 115145 w 122702"/>
                  <a:gd name="connsiteY3" fmla="*/ -2244 h 79294"/>
                  <a:gd name="connsiteX4" fmla="*/ 7431 w 122702"/>
                  <a:gd name="connsiteY4" fmla="*/ 24759 h 79294"/>
                  <a:gd name="connsiteX5" fmla="*/ 862 w 122702"/>
                  <a:gd name="connsiteY5" fmla="*/ 53938 h 79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2702" h="79294">
                    <a:moveTo>
                      <a:pt x="862" y="53938"/>
                    </a:moveTo>
                    <a:cubicBezTo>
                      <a:pt x="3554" y="68149"/>
                      <a:pt x="5263" y="80765"/>
                      <a:pt x="19249" y="76042"/>
                    </a:cubicBezTo>
                    <a:cubicBezTo>
                      <a:pt x="50565" y="65528"/>
                      <a:pt x="84836" y="58071"/>
                      <a:pt x="121881" y="53006"/>
                    </a:cubicBezTo>
                    <a:cubicBezTo>
                      <a:pt x="120638" y="34475"/>
                      <a:pt x="117912" y="16110"/>
                      <a:pt x="115145" y="-2244"/>
                    </a:cubicBezTo>
                    <a:cubicBezTo>
                      <a:pt x="76683" y="3857"/>
                      <a:pt x="40878" y="12454"/>
                      <a:pt x="7431" y="24759"/>
                    </a:cubicBezTo>
                    <a:cubicBezTo>
                      <a:pt x="-2304" y="28333"/>
                      <a:pt x="-1855" y="39561"/>
                      <a:pt x="862" y="5393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2" name="Vrije vorm 35">
                <a:extLst>
                  <a:ext uri="{FF2B5EF4-FFF2-40B4-BE49-F238E27FC236}">
                    <a16:creationId xmlns:a16="http://schemas.microsoft.com/office/drawing/2014/main" id="{AAA5200E-329B-4029-BF98-D7759C9A6D7D}"/>
                  </a:ext>
                </a:extLst>
              </p:cNvPr>
              <p:cNvSpPr/>
              <p:nvPr/>
            </p:nvSpPr>
            <p:spPr>
              <a:xfrm flipV="1">
                <a:off x="2497989" y="2756465"/>
                <a:ext cx="124938" cy="76214"/>
              </a:xfrm>
              <a:custGeom>
                <a:avLst/>
                <a:gdLst>
                  <a:gd name="connsiteX0" fmla="*/ 21079 w 124938"/>
                  <a:gd name="connsiteY0" fmla="*/ 60529 h 76214"/>
                  <a:gd name="connsiteX1" fmla="*/ 102730 w 124938"/>
                  <a:gd name="connsiteY1" fmla="*/ 61067 h 76214"/>
                  <a:gd name="connsiteX2" fmla="*/ 101880 w 124938"/>
                  <a:gd name="connsiteY2" fmla="*/ 14839 h 76214"/>
                  <a:gd name="connsiteX3" fmla="*/ 20156 w 124938"/>
                  <a:gd name="connsiteY3" fmla="*/ 10707 h 76214"/>
                  <a:gd name="connsiteX4" fmla="*/ 373 w 124938"/>
                  <a:gd name="connsiteY4" fmla="*/ 73165 h 76214"/>
                  <a:gd name="connsiteX5" fmla="*/ -1026 w 124938"/>
                  <a:gd name="connsiteY5" fmla="*/ -2220 h 76214"/>
                  <a:gd name="connsiteX6" fmla="*/ 122617 w 124938"/>
                  <a:gd name="connsiteY6" fmla="*/ 4036 h 76214"/>
                  <a:gd name="connsiteX7" fmla="*/ 123912 w 124938"/>
                  <a:gd name="connsiteY7" fmla="*/ 73994 h 76214"/>
                  <a:gd name="connsiteX8" fmla="*/ 373 w 124938"/>
                  <a:gd name="connsiteY8" fmla="*/ 73165 h 76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4938" h="76214">
                    <a:moveTo>
                      <a:pt x="21079" y="60529"/>
                    </a:moveTo>
                    <a:lnTo>
                      <a:pt x="102730" y="61067"/>
                    </a:lnTo>
                    <a:lnTo>
                      <a:pt x="101880" y="14839"/>
                    </a:lnTo>
                    <a:lnTo>
                      <a:pt x="20156" y="10707"/>
                    </a:lnTo>
                    <a:close/>
                    <a:moveTo>
                      <a:pt x="373" y="73165"/>
                    </a:moveTo>
                    <a:lnTo>
                      <a:pt x="-1026" y="-2220"/>
                    </a:lnTo>
                    <a:lnTo>
                      <a:pt x="122617" y="4036"/>
                    </a:lnTo>
                    <a:lnTo>
                      <a:pt x="123912" y="73994"/>
                    </a:lnTo>
                    <a:lnTo>
                      <a:pt x="373" y="73165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3" name="Vrije vorm 36">
                <a:extLst>
                  <a:ext uri="{FF2B5EF4-FFF2-40B4-BE49-F238E27FC236}">
                    <a16:creationId xmlns:a16="http://schemas.microsoft.com/office/drawing/2014/main" id="{E5F153D5-EAD6-4B00-9508-A6AD7B9901E0}"/>
                  </a:ext>
                </a:extLst>
              </p:cNvPr>
              <p:cNvSpPr/>
              <p:nvPr/>
            </p:nvSpPr>
            <p:spPr>
              <a:xfrm flipV="1">
                <a:off x="2418700" y="1726218"/>
                <a:ext cx="92708" cy="100099"/>
              </a:xfrm>
              <a:custGeom>
                <a:avLst/>
                <a:gdLst>
                  <a:gd name="connsiteX0" fmla="*/ 91763 w 92708"/>
                  <a:gd name="connsiteY0" fmla="*/ -3334 h 100099"/>
                  <a:gd name="connsiteX1" fmla="*/ 62943 w 92708"/>
                  <a:gd name="connsiteY1" fmla="*/ 96765 h 100099"/>
                  <a:gd name="connsiteX2" fmla="*/ -946 w 92708"/>
                  <a:gd name="connsiteY2" fmla="*/ 67514 h 100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708" h="100099">
                    <a:moveTo>
                      <a:pt x="91763" y="-3334"/>
                    </a:moveTo>
                    <a:lnTo>
                      <a:pt x="62943" y="96765"/>
                    </a:lnTo>
                    <a:lnTo>
                      <a:pt x="-946" y="67514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4" name="Vrije vorm 37">
                <a:extLst>
                  <a:ext uri="{FF2B5EF4-FFF2-40B4-BE49-F238E27FC236}">
                    <a16:creationId xmlns:a16="http://schemas.microsoft.com/office/drawing/2014/main" id="{702E01B7-08B0-43C8-BE4B-9023F682FADE}"/>
                  </a:ext>
                </a:extLst>
              </p:cNvPr>
              <p:cNvSpPr/>
              <p:nvPr/>
            </p:nvSpPr>
            <p:spPr>
              <a:xfrm flipV="1">
                <a:off x="2511409" y="1734918"/>
                <a:ext cx="52302" cy="91398"/>
              </a:xfrm>
              <a:custGeom>
                <a:avLst/>
                <a:gdLst>
                  <a:gd name="connsiteX0" fmla="*/ 7211 w 52302"/>
                  <a:gd name="connsiteY0" fmla="*/ 88069 h 91398"/>
                  <a:gd name="connsiteX1" fmla="*/ -1007 w 52302"/>
                  <a:gd name="connsiteY1" fmla="*/ -3330 h 91398"/>
                  <a:gd name="connsiteX2" fmla="*/ 51296 w 52302"/>
                  <a:gd name="connsiteY2" fmla="*/ 61377 h 91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302" h="91398">
                    <a:moveTo>
                      <a:pt x="7211" y="88069"/>
                    </a:moveTo>
                    <a:lnTo>
                      <a:pt x="-1007" y="-3330"/>
                    </a:lnTo>
                    <a:lnTo>
                      <a:pt x="51296" y="61377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5" name="Vrije vorm 38">
                <a:extLst>
                  <a:ext uri="{FF2B5EF4-FFF2-40B4-BE49-F238E27FC236}">
                    <a16:creationId xmlns:a16="http://schemas.microsoft.com/office/drawing/2014/main" id="{A8F00660-DC67-4EF3-9FF4-3476AFB976E4}"/>
                  </a:ext>
                </a:extLst>
              </p:cNvPr>
              <p:cNvSpPr/>
              <p:nvPr/>
            </p:nvSpPr>
            <p:spPr>
              <a:xfrm flipV="1">
                <a:off x="2519627" y="1665924"/>
                <a:ext cx="144172" cy="168472"/>
              </a:xfrm>
              <a:custGeom>
                <a:avLst/>
                <a:gdLst>
                  <a:gd name="connsiteX0" fmla="*/ 143120 w 144172"/>
                  <a:gd name="connsiteY0" fmla="*/ 102154 h 168472"/>
                  <a:gd name="connsiteX1" fmla="*/ 64878 w 144172"/>
                  <a:gd name="connsiteY1" fmla="*/ -3363 h 168472"/>
                  <a:gd name="connsiteX2" fmla="*/ -1052 w 144172"/>
                  <a:gd name="connsiteY2" fmla="*/ 96115 h 168472"/>
                  <a:gd name="connsiteX3" fmla="*/ 102621 w 144172"/>
                  <a:gd name="connsiteY3" fmla="*/ 165110 h 168472"/>
                  <a:gd name="connsiteX4" fmla="*/ 143120 w 144172"/>
                  <a:gd name="connsiteY4" fmla="*/ 102154 h 168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172" h="168472">
                    <a:moveTo>
                      <a:pt x="143120" y="102154"/>
                    </a:moveTo>
                    <a:lnTo>
                      <a:pt x="64878" y="-3363"/>
                    </a:lnTo>
                    <a:lnTo>
                      <a:pt x="-1052" y="96115"/>
                    </a:lnTo>
                    <a:lnTo>
                      <a:pt x="102621" y="165110"/>
                    </a:lnTo>
                    <a:lnTo>
                      <a:pt x="143120" y="102154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6" name="Vrije vorm 39">
                <a:extLst>
                  <a:ext uri="{FF2B5EF4-FFF2-40B4-BE49-F238E27FC236}">
                    <a16:creationId xmlns:a16="http://schemas.microsoft.com/office/drawing/2014/main" id="{584EAA4F-BA44-42DE-80E3-D4A0898B96E6}"/>
                  </a:ext>
                </a:extLst>
              </p:cNvPr>
              <p:cNvSpPr/>
              <p:nvPr/>
            </p:nvSpPr>
            <p:spPr>
              <a:xfrm flipV="1">
                <a:off x="2328137" y="1652013"/>
                <a:ext cx="154451" cy="176572"/>
              </a:xfrm>
              <a:custGeom>
                <a:avLst/>
                <a:gdLst>
                  <a:gd name="connsiteX0" fmla="*/ -896 w 154451"/>
                  <a:gd name="connsiteY0" fmla="*/ 110357 h 176572"/>
                  <a:gd name="connsiteX1" fmla="*/ 98496 w 154451"/>
                  <a:gd name="connsiteY1" fmla="*/ -3374 h 176572"/>
                  <a:gd name="connsiteX2" fmla="*/ 153555 w 154451"/>
                  <a:gd name="connsiteY2" fmla="*/ 98994 h 176572"/>
                  <a:gd name="connsiteX3" fmla="*/ 38994 w 154451"/>
                  <a:gd name="connsiteY3" fmla="*/ 173199 h 176572"/>
                  <a:gd name="connsiteX4" fmla="*/ -896 w 154451"/>
                  <a:gd name="connsiteY4" fmla="*/ 110357 h 176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451" h="176572">
                    <a:moveTo>
                      <a:pt x="-896" y="110357"/>
                    </a:moveTo>
                    <a:lnTo>
                      <a:pt x="98496" y="-3374"/>
                    </a:lnTo>
                    <a:lnTo>
                      <a:pt x="153555" y="98994"/>
                    </a:lnTo>
                    <a:lnTo>
                      <a:pt x="38994" y="173199"/>
                    </a:lnTo>
                    <a:lnTo>
                      <a:pt x="-896" y="110357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7" name="Vrije vorm 40">
                <a:extLst>
                  <a:ext uri="{FF2B5EF4-FFF2-40B4-BE49-F238E27FC236}">
                    <a16:creationId xmlns:a16="http://schemas.microsoft.com/office/drawing/2014/main" id="{C05B229A-A62A-4F00-A3CC-9ACB05CFDC07}"/>
                  </a:ext>
                </a:extLst>
              </p:cNvPr>
              <p:cNvSpPr/>
              <p:nvPr/>
            </p:nvSpPr>
            <p:spPr>
              <a:xfrm flipV="1">
                <a:off x="1760486" y="2293877"/>
                <a:ext cx="278413" cy="142401"/>
              </a:xfrm>
              <a:custGeom>
                <a:avLst/>
                <a:gdLst>
                  <a:gd name="connsiteX0" fmla="*/ 277940 w 278413"/>
                  <a:gd name="connsiteY0" fmla="*/ 98839 h 142401"/>
                  <a:gd name="connsiteX1" fmla="*/ 38105 w 278413"/>
                  <a:gd name="connsiteY1" fmla="*/ 139712 h 142401"/>
                  <a:gd name="connsiteX2" fmla="*/ -474 w 278413"/>
                  <a:gd name="connsiteY2" fmla="*/ 41870 h 142401"/>
                  <a:gd name="connsiteX3" fmla="*/ 261011 w 278413"/>
                  <a:gd name="connsiteY3" fmla="*/ -2690 h 142401"/>
                  <a:gd name="connsiteX4" fmla="*/ 277940 w 278413"/>
                  <a:gd name="connsiteY4" fmla="*/ 98839 h 142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413" h="142401">
                    <a:moveTo>
                      <a:pt x="277940" y="98839"/>
                    </a:moveTo>
                    <a:lnTo>
                      <a:pt x="38105" y="139712"/>
                    </a:lnTo>
                    <a:lnTo>
                      <a:pt x="-474" y="41870"/>
                    </a:lnTo>
                    <a:lnTo>
                      <a:pt x="261011" y="-2690"/>
                    </a:lnTo>
                    <a:lnTo>
                      <a:pt x="277940" y="988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8" name="Vrije vorm 41">
                <a:extLst>
                  <a:ext uri="{FF2B5EF4-FFF2-40B4-BE49-F238E27FC236}">
                    <a16:creationId xmlns:a16="http://schemas.microsoft.com/office/drawing/2014/main" id="{CA8C4B4A-2904-45AA-A73C-DC9C223D22E0}"/>
                  </a:ext>
                </a:extLst>
              </p:cNvPr>
              <p:cNvSpPr/>
              <p:nvPr/>
            </p:nvSpPr>
            <p:spPr>
              <a:xfrm flipV="1">
                <a:off x="2159552" y="809544"/>
                <a:ext cx="598842" cy="835969"/>
              </a:xfrm>
              <a:custGeom>
                <a:avLst/>
                <a:gdLst>
                  <a:gd name="connsiteX0" fmla="*/ 267575 w 598842"/>
                  <a:gd name="connsiteY0" fmla="*/ 817833 h 835969"/>
                  <a:gd name="connsiteX1" fmla="*/ 91920 w 598842"/>
                  <a:gd name="connsiteY1" fmla="*/ 652757 h 835969"/>
                  <a:gd name="connsiteX2" fmla="*/ 101094 w 598842"/>
                  <a:gd name="connsiteY2" fmla="*/ 443132 h 835969"/>
                  <a:gd name="connsiteX3" fmla="*/ 27159 w 598842"/>
                  <a:gd name="connsiteY3" fmla="*/ 463289 h 835969"/>
                  <a:gd name="connsiteX4" fmla="*/ 104513 w 598842"/>
                  <a:gd name="connsiteY4" fmla="*/ 260303 h 835969"/>
                  <a:gd name="connsiteX5" fmla="*/ 120759 w 598842"/>
                  <a:gd name="connsiteY5" fmla="*/ 149639 h 835969"/>
                  <a:gd name="connsiteX6" fmla="*/ 364574 w 598842"/>
                  <a:gd name="connsiteY6" fmla="*/ -2334 h 835969"/>
                  <a:gd name="connsiteX7" fmla="*/ 595279 w 598842"/>
                  <a:gd name="connsiteY7" fmla="*/ 173223 h 835969"/>
                  <a:gd name="connsiteX8" fmla="*/ 597901 w 598842"/>
                  <a:gd name="connsiteY8" fmla="*/ 686815 h 835969"/>
                  <a:gd name="connsiteX9" fmla="*/ 267575 w 598842"/>
                  <a:gd name="connsiteY9" fmla="*/ 817833 h 83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8842" h="835969">
                    <a:moveTo>
                      <a:pt x="267575" y="817833"/>
                    </a:moveTo>
                    <a:cubicBezTo>
                      <a:pt x="87087" y="776701"/>
                      <a:pt x="91920" y="652757"/>
                      <a:pt x="91920" y="652757"/>
                    </a:cubicBezTo>
                    <a:cubicBezTo>
                      <a:pt x="91920" y="652757"/>
                      <a:pt x="97531" y="557091"/>
                      <a:pt x="101094" y="443132"/>
                    </a:cubicBezTo>
                    <a:cubicBezTo>
                      <a:pt x="84399" y="466096"/>
                      <a:pt x="56143" y="475688"/>
                      <a:pt x="27159" y="463289"/>
                    </a:cubicBezTo>
                    <a:cubicBezTo>
                      <a:pt x="-34284" y="437011"/>
                      <a:pt x="11107" y="243575"/>
                      <a:pt x="104513" y="260303"/>
                    </a:cubicBezTo>
                    <a:cubicBezTo>
                      <a:pt x="108537" y="206286"/>
                      <a:pt x="113821" y="164202"/>
                      <a:pt x="120759" y="149639"/>
                    </a:cubicBezTo>
                    <a:cubicBezTo>
                      <a:pt x="146974" y="94617"/>
                      <a:pt x="262321" y="10769"/>
                      <a:pt x="364574" y="-2334"/>
                    </a:cubicBezTo>
                    <a:cubicBezTo>
                      <a:pt x="466817" y="-15437"/>
                      <a:pt x="595279" y="52688"/>
                      <a:pt x="595279" y="173223"/>
                    </a:cubicBezTo>
                    <a:cubicBezTo>
                      <a:pt x="595279" y="293770"/>
                      <a:pt x="597901" y="686815"/>
                      <a:pt x="597901" y="686815"/>
                    </a:cubicBezTo>
                    <a:cubicBezTo>
                      <a:pt x="597901" y="686815"/>
                      <a:pt x="566438" y="885968"/>
                      <a:pt x="267575" y="817833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9" name="Vrije vorm 42">
                <a:extLst>
                  <a:ext uri="{FF2B5EF4-FFF2-40B4-BE49-F238E27FC236}">
                    <a16:creationId xmlns:a16="http://schemas.microsoft.com/office/drawing/2014/main" id="{B02C6A96-46EA-4EDD-9E67-1D2DDB3049BF}"/>
                  </a:ext>
                </a:extLst>
              </p:cNvPr>
              <p:cNvSpPr/>
              <p:nvPr/>
            </p:nvSpPr>
            <p:spPr>
              <a:xfrm flipV="1">
                <a:off x="2594542" y="1172251"/>
                <a:ext cx="94470" cy="227969"/>
              </a:xfrm>
              <a:custGeom>
                <a:avLst/>
                <a:gdLst>
                  <a:gd name="connsiteX0" fmla="*/ -1094 w 94470"/>
                  <a:gd name="connsiteY0" fmla="*/ 224099 h 227969"/>
                  <a:gd name="connsiteX1" fmla="*/ 18492 w 94470"/>
                  <a:gd name="connsiteY1" fmla="*/ 174712 h 227969"/>
                  <a:gd name="connsiteX2" fmla="*/ 28213 w 94470"/>
                  <a:gd name="connsiteY2" fmla="*/ 150205 h 227969"/>
                  <a:gd name="connsiteX3" fmla="*/ 38317 w 94470"/>
                  <a:gd name="connsiteY3" fmla="*/ 125998 h 227969"/>
                  <a:gd name="connsiteX4" fmla="*/ 48908 w 94470"/>
                  <a:gd name="connsiteY4" fmla="*/ 102112 h 227969"/>
                  <a:gd name="connsiteX5" fmla="*/ 60525 w 94470"/>
                  <a:gd name="connsiteY5" fmla="*/ 78942 h 227969"/>
                  <a:gd name="connsiteX6" fmla="*/ 66826 w 94470"/>
                  <a:gd name="connsiteY6" fmla="*/ 67693 h 227969"/>
                  <a:gd name="connsiteX7" fmla="*/ 73562 w 94470"/>
                  <a:gd name="connsiteY7" fmla="*/ 56807 h 227969"/>
                  <a:gd name="connsiteX8" fmla="*/ 80910 w 94470"/>
                  <a:gd name="connsiteY8" fmla="*/ 46428 h 227969"/>
                  <a:gd name="connsiteX9" fmla="*/ 89107 w 94470"/>
                  <a:gd name="connsiteY9" fmla="*/ 36909 h 227969"/>
                  <a:gd name="connsiteX10" fmla="*/ 93377 w 94470"/>
                  <a:gd name="connsiteY10" fmla="*/ 31947 h 227969"/>
                  <a:gd name="connsiteX11" fmla="*/ 89055 w 94470"/>
                  <a:gd name="connsiteY11" fmla="*/ 28664 h 227969"/>
                  <a:gd name="connsiteX12" fmla="*/ 43468 w 94470"/>
                  <a:gd name="connsiteY12" fmla="*/ -3871 h 227969"/>
                  <a:gd name="connsiteX13" fmla="*/ 81780 w 94470"/>
                  <a:gd name="connsiteY13" fmla="*/ 36961 h 227969"/>
                  <a:gd name="connsiteX14" fmla="*/ 81728 w 94470"/>
                  <a:gd name="connsiteY14" fmla="*/ 28716 h 227969"/>
                  <a:gd name="connsiteX15" fmla="*/ 71469 w 94470"/>
                  <a:gd name="connsiteY15" fmla="*/ 38245 h 227969"/>
                  <a:gd name="connsiteX16" fmla="*/ 62484 w 94470"/>
                  <a:gd name="connsiteY16" fmla="*/ 48779 h 227969"/>
                  <a:gd name="connsiteX17" fmla="*/ 54504 w 94470"/>
                  <a:gd name="connsiteY17" fmla="*/ 59935 h 227969"/>
                  <a:gd name="connsiteX18" fmla="*/ 47292 w 94470"/>
                  <a:gd name="connsiteY18" fmla="*/ 71505 h 227969"/>
                  <a:gd name="connsiteX19" fmla="*/ 34680 w 94470"/>
                  <a:gd name="connsiteY19" fmla="*/ 95494 h 227969"/>
                  <a:gd name="connsiteX20" fmla="*/ 24306 w 94470"/>
                  <a:gd name="connsiteY20" fmla="*/ 120343 h 227969"/>
                  <a:gd name="connsiteX21" fmla="*/ 8305 w 94470"/>
                  <a:gd name="connsiteY21" fmla="*/ 171459 h 227969"/>
                  <a:gd name="connsiteX22" fmla="*/ -1094 w 94470"/>
                  <a:gd name="connsiteY22" fmla="*/ 224099 h 227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4470" h="227969">
                    <a:moveTo>
                      <a:pt x="-1094" y="224099"/>
                    </a:moveTo>
                    <a:cubicBezTo>
                      <a:pt x="5652" y="207567"/>
                      <a:pt x="11963" y="191067"/>
                      <a:pt x="18492" y="174712"/>
                    </a:cubicBezTo>
                    <a:cubicBezTo>
                      <a:pt x="21601" y="166477"/>
                      <a:pt x="24969" y="158356"/>
                      <a:pt x="28213" y="150205"/>
                    </a:cubicBezTo>
                    <a:cubicBezTo>
                      <a:pt x="31509" y="142094"/>
                      <a:pt x="34783" y="133963"/>
                      <a:pt x="38317" y="125998"/>
                    </a:cubicBezTo>
                    <a:cubicBezTo>
                      <a:pt x="41571" y="117888"/>
                      <a:pt x="45291" y="110026"/>
                      <a:pt x="48908" y="102112"/>
                    </a:cubicBezTo>
                    <a:cubicBezTo>
                      <a:pt x="52732" y="94354"/>
                      <a:pt x="56235" y="86379"/>
                      <a:pt x="60525" y="78942"/>
                    </a:cubicBezTo>
                    <a:cubicBezTo>
                      <a:pt x="62629" y="75171"/>
                      <a:pt x="64546" y="71297"/>
                      <a:pt x="66826" y="67693"/>
                    </a:cubicBezTo>
                    <a:cubicBezTo>
                      <a:pt x="69085" y="64088"/>
                      <a:pt x="71096" y="60225"/>
                      <a:pt x="73562" y="56807"/>
                    </a:cubicBezTo>
                    <a:lnTo>
                      <a:pt x="80910" y="46428"/>
                    </a:lnTo>
                    <a:lnTo>
                      <a:pt x="89107" y="36909"/>
                    </a:lnTo>
                    <a:lnTo>
                      <a:pt x="93377" y="31947"/>
                    </a:lnTo>
                    <a:lnTo>
                      <a:pt x="89055" y="28664"/>
                    </a:lnTo>
                    <a:cubicBezTo>
                      <a:pt x="74236" y="17384"/>
                      <a:pt x="59271" y="6280"/>
                      <a:pt x="43468" y="-3871"/>
                    </a:cubicBezTo>
                    <a:cubicBezTo>
                      <a:pt x="55634" y="10424"/>
                      <a:pt x="68640" y="23775"/>
                      <a:pt x="81780" y="36961"/>
                    </a:cubicBezTo>
                    <a:lnTo>
                      <a:pt x="81728" y="28716"/>
                    </a:lnTo>
                    <a:lnTo>
                      <a:pt x="71469" y="38245"/>
                    </a:lnTo>
                    <a:cubicBezTo>
                      <a:pt x="68339" y="41643"/>
                      <a:pt x="65427" y="45206"/>
                      <a:pt x="62484" y="48779"/>
                    </a:cubicBezTo>
                    <a:cubicBezTo>
                      <a:pt x="59541" y="52342"/>
                      <a:pt x="57188" y="56216"/>
                      <a:pt x="54504" y="59935"/>
                    </a:cubicBezTo>
                    <a:cubicBezTo>
                      <a:pt x="51768" y="63633"/>
                      <a:pt x="49520" y="67548"/>
                      <a:pt x="47292" y="71505"/>
                    </a:cubicBezTo>
                    <a:cubicBezTo>
                      <a:pt x="42607" y="79315"/>
                      <a:pt x="38701" y="87415"/>
                      <a:pt x="34680" y="95494"/>
                    </a:cubicBezTo>
                    <a:cubicBezTo>
                      <a:pt x="31115" y="103749"/>
                      <a:pt x="27467" y="111963"/>
                      <a:pt x="24306" y="120343"/>
                    </a:cubicBezTo>
                    <a:cubicBezTo>
                      <a:pt x="17974" y="137102"/>
                      <a:pt x="12627" y="154161"/>
                      <a:pt x="8305" y="171459"/>
                    </a:cubicBezTo>
                    <a:cubicBezTo>
                      <a:pt x="4160" y="188809"/>
                      <a:pt x="585" y="206283"/>
                      <a:pt x="-1094" y="224099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60" name="Vrije vorm 43">
                <a:extLst>
                  <a:ext uri="{FF2B5EF4-FFF2-40B4-BE49-F238E27FC236}">
                    <a16:creationId xmlns:a16="http://schemas.microsoft.com/office/drawing/2014/main" id="{D04D6C41-BE56-41B5-AA96-A5CB0F191CDB}"/>
                  </a:ext>
                </a:extLst>
              </p:cNvPr>
              <p:cNvSpPr/>
              <p:nvPr/>
            </p:nvSpPr>
            <p:spPr>
              <a:xfrm flipV="1">
                <a:off x="2432794" y="1141716"/>
                <a:ext cx="52292" cy="95138"/>
              </a:xfrm>
              <a:custGeom>
                <a:avLst/>
                <a:gdLst>
                  <a:gd name="connsiteX0" fmla="*/ 51351 w 52292"/>
                  <a:gd name="connsiteY0" fmla="*/ 43598 h 95138"/>
                  <a:gd name="connsiteX1" fmla="*/ 25205 w 52292"/>
                  <a:gd name="connsiteY1" fmla="*/ -3977 h 95138"/>
                  <a:gd name="connsiteX2" fmla="*/ -941 w 52292"/>
                  <a:gd name="connsiteY2" fmla="*/ 43598 h 95138"/>
                  <a:gd name="connsiteX3" fmla="*/ 25205 w 52292"/>
                  <a:gd name="connsiteY3" fmla="*/ 91162 h 95138"/>
                  <a:gd name="connsiteX4" fmla="*/ 51351 w 52292"/>
                  <a:gd name="connsiteY4" fmla="*/ 43598 h 95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292" h="95138">
                    <a:moveTo>
                      <a:pt x="51351" y="43598"/>
                    </a:moveTo>
                    <a:cubicBezTo>
                      <a:pt x="51351" y="17319"/>
                      <a:pt x="39641" y="-3977"/>
                      <a:pt x="25205" y="-3977"/>
                    </a:cubicBezTo>
                    <a:cubicBezTo>
                      <a:pt x="10769" y="-3977"/>
                      <a:pt x="-941" y="17319"/>
                      <a:pt x="-941" y="43598"/>
                    </a:cubicBezTo>
                    <a:cubicBezTo>
                      <a:pt x="-941" y="69876"/>
                      <a:pt x="10769" y="91162"/>
                      <a:pt x="25205" y="91162"/>
                    </a:cubicBezTo>
                    <a:cubicBezTo>
                      <a:pt x="39641" y="91162"/>
                      <a:pt x="51351" y="69876"/>
                      <a:pt x="51351" y="43598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61" name="Vrije vorm 44">
                <a:extLst>
                  <a:ext uri="{FF2B5EF4-FFF2-40B4-BE49-F238E27FC236}">
                    <a16:creationId xmlns:a16="http://schemas.microsoft.com/office/drawing/2014/main" id="{6ED9B258-CEC0-4EE3-9CA0-CA639CD5192B}"/>
                  </a:ext>
                </a:extLst>
              </p:cNvPr>
              <p:cNvSpPr/>
              <p:nvPr/>
            </p:nvSpPr>
            <p:spPr>
              <a:xfrm flipV="1">
                <a:off x="2653011" y="1152188"/>
                <a:ext cx="52292" cy="95148"/>
              </a:xfrm>
              <a:custGeom>
                <a:avLst/>
                <a:gdLst>
                  <a:gd name="connsiteX0" fmla="*/ 51167 w 52292"/>
                  <a:gd name="connsiteY0" fmla="*/ 43609 h 95148"/>
                  <a:gd name="connsiteX1" fmla="*/ 25021 w 52292"/>
                  <a:gd name="connsiteY1" fmla="*/ -3965 h 95148"/>
                  <a:gd name="connsiteX2" fmla="*/ -1125 w 52292"/>
                  <a:gd name="connsiteY2" fmla="*/ 43609 h 95148"/>
                  <a:gd name="connsiteX3" fmla="*/ 25021 w 52292"/>
                  <a:gd name="connsiteY3" fmla="*/ 91183 h 95148"/>
                  <a:gd name="connsiteX4" fmla="*/ 51167 w 52292"/>
                  <a:gd name="connsiteY4" fmla="*/ 43609 h 95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292" h="95148">
                    <a:moveTo>
                      <a:pt x="51167" y="43609"/>
                    </a:moveTo>
                    <a:cubicBezTo>
                      <a:pt x="51167" y="17331"/>
                      <a:pt x="39467" y="-3965"/>
                      <a:pt x="25021" y="-3965"/>
                    </a:cubicBezTo>
                    <a:cubicBezTo>
                      <a:pt x="10585" y="-3965"/>
                      <a:pt x="-1125" y="17331"/>
                      <a:pt x="-1125" y="43609"/>
                    </a:cubicBezTo>
                    <a:cubicBezTo>
                      <a:pt x="-1125" y="69877"/>
                      <a:pt x="10585" y="91183"/>
                      <a:pt x="25021" y="91183"/>
                    </a:cubicBezTo>
                    <a:cubicBezTo>
                      <a:pt x="39467" y="91183"/>
                      <a:pt x="51167" y="69877"/>
                      <a:pt x="51167" y="43609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62" name="Vrije vorm 45">
                <a:extLst>
                  <a:ext uri="{FF2B5EF4-FFF2-40B4-BE49-F238E27FC236}">
                    <a16:creationId xmlns:a16="http://schemas.microsoft.com/office/drawing/2014/main" id="{57955B85-C077-4FE1-87B8-3C5953A4BE2A}"/>
                  </a:ext>
                </a:extLst>
              </p:cNvPr>
              <p:cNvSpPr/>
              <p:nvPr/>
            </p:nvSpPr>
            <p:spPr>
              <a:xfrm flipV="1">
                <a:off x="2386118" y="1044630"/>
                <a:ext cx="141571" cy="56875"/>
              </a:xfrm>
              <a:custGeom>
                <a:avLst/>
                <a:gdLst>
                  <a:gd name="connsiteX0" fmla="*/ 140632 w 141571"/>
                  <a:gd name="connsiteY0" fmla="*/ 16861 h 56875"/>
                  <a:gd name="connsiteX1" fmla="*/ 133129 w 141571"/>
                  <a:gd name="connsiteY1" fmla="*/ 17327 h 56875"/>
                  <a:gd name="connsiteX2" fmla="*/ 114651 w 141571"/>
                  <a:gd name="connsiteY2" fmla="*/ 18922 h 56875"/>
                  <a:gd name="connsiteX3" fmla="*/ 90402 w 141571"/>
                  <a:gd name="connsiteY3" fmla="*/ 20942 h 56875"/>
                  <a:gd name="connsiteX4" fmla="*/ 83956 w 141571"/>
                  <a:gd name="connsiteY4" fmla="*/ 21398 h 56875"/>
                  <a:gd name="connsiteX5" fmla="*/ 77499 w 141571"/>
                  <a:gd name="connsiteY5" fmla="*/ 21511 h 56875"/>
                  <a:gd name="connsiteX6" fmla="*/ 64722 w 141571"/>
                  <a:gd name="connsiteY6" fmla="*/ 21388 h 56875"/>
                  <a:gd name="connsiteX7" fmla="*/ 52545 w 141571"/>
                  <a:gd name="connsiteY7" fmla="*/ 20031 h 56875"/>
                  <a:gd name="connsiteX8" fmla="*/ 41114 w 141571"/>
                  <a:gd name="connsiteY8" fmla="*/ 17472 h 56875"/>
                  <a:gd name="connsiteX9" fmla="*/ 35570 w 141571"/>
                  <a:gd name="connsiteY9" fmla="*/ 15970 h 56875"/>
                  <a:gd name="connsiteX10" fmla="*/ 30471 w 141571"/>
                  <a:gd name="connsiteY10" fmla="*/ 13764 h 56875"/>
                  <a:gd name="connsiteX11" fmla="*/ 20751 w 141571"/>
                  <a:gd name="connsiteY11" fmla="*/ 9175 h 56875"/>
                  <a:gd name="connsiteX12" fmla="*/ 12097 w 141571"/>
                  <a:gd name="connsiteY12" fmla="*/ 4442 h 56875"/>
                  <a:gd name="connsiteX13" fmla="*/ 5537 w 141571"/>
                  <a:gd name="connsiteY13" fmla="*/ -116 h 56875"/>
                  <a:gd name="connsiteX14" fmla="*/ -939 w 141571"/>
                  <a:gd name="connsiteY14" fmla="*/ -4104 h 56875"/>
                  <a:gd name="connsiteX15" fmla="*/ 325 w 141571"/>
                  <a:gd name="connsiteY15" fmla="*/ 3354 h 56875"/>
                  <a:gd name="connsiteX16" fmla="*/ 2657 w 141571"/>
                  <a:gd name="connsiteY16" fmla="*/ 11910 h 56875"/>
                  <a:gd name="connsiteX17" fmla="*/ 7994 w 141571"/>
                  <a:gd name="connsiteY17" fmla="*/ 22195 h 56875"/>
                  <a:gd name="connsiteX18" fmla="*/ 11755 w 141571"/>
                  <a:gd name="connsiteY18" fmla="*/ 27861 h 56875"/>
                  <a:gd name="connsiteX19" fmla="*/ 16854 w 141571"/>
                  <a:gd name="connsiteY19" fmla="*/ 33133 h 56875"/>
                  <a:gd name="connsiteX20" fmla="*/ 22647 w 141571"/>
                  <a:gd name="connsiteY20" fmla="*/ 38499 h 56875"/>
                  <a:gd name="connsiteX21" fmla="*/ 29653 w 141571"/>
                  <a:gd name="connsiteY21" fmla="*/ 42891 h 56875"/>
                  <a:gd name="connsiteX22" fmla="*/ 45602 w 141571"/>
                  <a:gd name="connsiteY22" fmla="*/ 49727 h 56875"/>
                  <a:gd name="connsiteX23" fmla="*/ 63012 w 141571"/>
                  <a:gd name="connsiteY23" fmla="*/ 52772 h 56875"/>
                  <a:gd name="connsiteX24" fmla="*/ 80173 w 141571"/>
                  <a:gd name="connsiteY24" fmla="*/ 51850 h 56875"/>
                  <a:gd name="connsiteX25" fmla="*/ 95956 w 141571"/>
                  <a:gd name="connsiteY25" fmla="*/ 48183 h 56875"/>
                  <a:gd name="connsiteX26" fmla="*/ 121077 w 141571"/>
                  <a:gd name="connsiteY26" fmla="*/ 35878 h 56875"/>
                  <a:gd name="connsiteX27" fmla="*/ 135927 w 141571"/>
                  <a:gd name="connsiteY27" fmla="*/ 22879 h 56875"/>
                  <a:gd name="connsiteX28" fmla="*/ 140632 w 141571"/>
                  <a:gd name="connsiteY28" fmla="*/ 16861 h 56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41571" h="56875">
                    <a:moveTo>
                      <a:pt x="140632" y="16861"/>
                    </a:moveTo>
                    <a:cubicBezTo>
                      <a:pt x="140632" y="16861"/>
                      <a:pt x="137761" y="16985"/>
                      <a:pt x="133129" y="17327"/>
                    </a:cubicBezTo>
                    <a:cubicBezTo>
                      <a:pt x="128673" y="17710"/>
                      <a:pt x="122299" y="18259"/>
                      <a:pt x="114651" y="18922"/>
                    </a:cubicBezTo>
                    <a:cubicBezTo>
                      <a:pt x="107252" y="19533"/>
                      <a:pt x="98951" y="20486"/>
                      <a:pt x="90402" y="20942"/>
                    </a:cubicBezTo>
                    <a:cubicBezTo>
                      <a:pt x="88287" y="21097"/>
                      <a:pt x="86132" y="21253"/>
                      <a:pt x="83956" y="21398"/>
                    </a:cubicBezTo>
                    <a:cubicBezTo>
                      <a:pt x="81810" y="21377"/>
                      <a:pt x="79655" y="21388"/>
                      <a:pt x="77499" y="21511"/>
                    </a:cubicBezTo>
                    <a:cubicBezTo>
                      <a:pt x="73147" y="21885"/>
                      <a:pt x="68991" y="21253"/>
                      <a:pt x="64722" y="21388"/>
                    </a:cubicBezTo>
                    <a:cubicBezTo>
                      <a:pt x="60670" y="20838"/>
                      <a:pt x="56421" y="20828"/>
                      <a:pt x="52545" y="20031"/>
                    </a:cubicBezTo>
                    <a:cubicBezTo>
                      <a:pt x="48711" y="19109"/>
                      <a:pt x="44627" y="18901"/>
                      <a:pt x="41114" y="17472"/>
                    </a:cubicBezTo>
                    <a:cubicBezTo>
                      <a:pt x="39270" y="16965"/>
                      <a:pt x="37466" y="16364"/>
                      <a:pt x="35570" y="15970"/>
                    </a:cubicBezTo>
                    <a:cubicBezTo>
                      <a:pt x="33798" y="15349"/>
                      <a:pt x="32212" y="14417"/>
                      <a:pt x="30471" y="13764"/>
                    </a:cubicBezTo>
                    <a:cubicBezTo>
                      <a:pt x="26989" y="12459"/>
                      <a:pt x="23569" y="11102"/>
                      <a:pt x="20751" y="9175"/>
                    </a:cubicBezTo>
                    <a:cubicBezTo>
                      <a:pt x="17828" y="7394"/>
                      <a:pt x="14595" y="6099"/>
                      <a:pt x="12097" y="4442"/>
                    </a:cubicBezTo>
                    <a:cubicBezTo>
                      <a:pt x="9786" y="2629"/>
                      <a:pt x="7434" y="1169"/>
                      <a:pt x="5537" y="-116"/>
                    </a:cubicBezTo>
                    <a:cubicBezTo>
                      <a:pt x="1682" y="-2664"/>
                      <a:pt x="-939" y="-4104"/>
                      <a:pt x="-939" y="-4104"/>
                    </a:cubicBezTo>
                    <a:cubicBezTo>
                      <a:pt x="-939" y="-4104"/>
                      <a:pt x="-753" y="-1379"/>
                      <a:pt x="325" y="3354"/>
                    </a:cubicBezTo>
                    <a:cubicBezTo>
                      <a:pt x="884" y="5705"/>
                      <a:pt x="1537" y="8668"/>
                      <a:pt x="2657" y="11910"/>
                    </a:cubicBezTo>
                    <a:cubicBezTo>
                      <a:pt x="3807" y="15141"/>
                      <a:pt x="5807" y="18456"/>
                      <a:pt x="7994" y="22195"/>
                    </a:cubicBezTo>
                    <a:cubicBezTo>
                      <a:pt x="9154" y="24019"/>
                      <a:pt x="10263" y="26049"/>
                      <a:pt x="11755" y="27861"/>
                    </a:cubicBezTo>
                    <a:cubicBezTo>
                      <a:pt x="13393" y="29560"/>
                      <a:pt x="15103" y="31321"/>
                      <a:pt x="16854" y="33133"/>
                    </a:cubicBezTo>
                    <a:cubicBezTo>
                      <a:pt x="18657" y="34925"/>
                      <a:pt x="20564" y="36790"/>
                      <a:pt x="22647" y="38499"/>
                    </a:cubicBezTo>
                    <a:cubicBezTo>
                      <a:pt x="24844" y="40021"/>
                      <a:pt x="27238" y="41399"/>
                      <a:pt x="29653" y="42891"/>
                    </a:cubicBezTo>
                    <a:cubicBezTo>
                      <a:pt x="34420" y="46122"/>
                      <a:pt x="39943" y="47914"/>
                      <a:pt x="45602" y="49727"/>
                    </a:cubicBezTo>
                    <a:cubicBezTo>
                      <a:pt x="51229" y="51664"/>
                      <a:pt x="57157" y="51944"/>
                      <a:pt x="63012" y="52772"/>
                    </a:cubicBezTo>
                    <a:cubicBezTo>
                      <a:pt x="68763" y="52555"/>
                      <a:pt x="74722" y="53031"/>
                      <a:pt x="80173" y="51850"/>
                    </a:cubicBezTo>
                    <a:cubicBezTo>
                      <a:pt x="85728" y="51115"/>
                      <a:pt x="91054" y="49903"/>
                      <a:pt x="95956" y="48183"/>
                    </a:cubicBezTo>
                    <a:cubicBezTo>
                      <a:pt x="105915" y="45087"/>
                      <a:pt x="114351" y="40436"/>
                      <a:pt x="121077" y="35878"/>
                    </a:cubicBezTo>
                    <a:cubicBezTo>
                      <a:pt x="127740" y="31134"/>
                      <a:pt x="132756" y="26535"/>
                      <a:pt x="135927" y="22879"/>
                    </a:cubicBezTo>
                    <a:cubicBezTo>
                      <a:pt x="139181" y="19316"/>
                      <a:pt x="140632" y="16861"/>
                      <a:pt x="140632" y="16861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63" name="Vrije vorm 46">
                <a:extLst>
                  <a:ext uri="{FF2B5EF4-FFF2-40B4-BE49-F238E27FC236}">
                    <a16:creationId xmlns:a16="http://schemas.microsoft.com/office/drawing/2014/main" id="{3866C745-0190-49C4-8A76-7A792AC9E728}"/>
                  </a:ext>
                </a:extLst>
              </p:cNvPr>
              <p:cNvSpPr/>
              <p:nvPr/>
            </p:nvSpPr>
            <p:spPr>
              <a:xfrm flipV="1">
                <a:off x="2635176" y="1046384"/>
                <a:ext cx="112751" cy="55122"/>
              </a:xfrm>
              <a:custGeom>
                <a:avLst/>
                <a:gdLst>
                  <a:gd name="connsiteX0" fmla="*/ -1136 w 112751"/>
                  <a:gd name="connsiteY0" fmla="*/ 16862 h 55122"/>
                  <a:gd name="connsiteX1" fmla="*/ 2212 w 112751"/>
                  <a:gd name="connsiteY1" fmla="*/ 22434 h 55122"/>
                  <a:gd name="connsiteX2" fmla="*/ 13621 w 112751"/>
                  <a:gd name="connsiteY2" fmla="*/ 34760 h 55122"/>
                  <a:gd name="connsiteX3" fmla="*/ 34451 w 112751"/>
                  <a:gd name="connsiteY3" fmla="*/ 46807 h 55122"/>
                  <a:gd name="connsiteX4" fmla="*/ 63448 w 112751"/>
                  <a:gd name="connsiteY4" fmla="*/ 50764 h 55122"/>
                  <a:gd name="connsiteX5" fmla="*/ 78723 w 112751"/>
                  <a:gd name="connsiteY5" fmla="*/ 46869 h 55122"/>
                  <a:gd name="connsiteX6" fmla="*/ 91874 w 112751"/>
                  <a:gd name="connsiteY6" fmla="*/ 39194 h 55122"/>
                  <a:gd name="connsiteX7" fmla="*/ 101387 w 112751"/>
                  <a:gd name="connsiteY7" fmla="*/ 29219 h 55122"/>
                  <a:gd name="connsiteX8" fmla="*/ 107201 w 112751"/>
                  <a:gd name="connsiteY8" fmla="*/ 18892 h 55122"/>
                  <a:gd name="connsiteX9" fmla="*/ 110268 w 112751"/>
                  <a:gd name="connsiteY9" fmla="*/ 9674 h 55122"/>
                  <a:gd name="connsiteX10" fmla="*/ 111315 w 112751"/>
                  <a:gd name="connsiteY10" fmla="*/ 2299 h 55122"/>
                  <a:gd name="connsiteX11" fmla="*/ 111595 w 112751"/>
                  <a:gd name="connsiteY11" fmla="*/ -4103 h 55122"/>
                  <a:gd name="connsiteX12" fmla="*/ 106372 w 112751"/>
                  <a:gd name="connsiteY12" fmla="*/ -280 h 55122"/>
                  <a:gd name="connsiteX13" fmla="*/ 101097 w 112751"/>
                  <a:gd name="connsiteY13" fmla="*/ 4080 h 55122"/>
                  <a:gd name="connsiteX14" fmla="*/ 94299 w 112751"/>
                  <a:gd name="connsiteY14" fmla="*/ 8990 h 55122"/>
                  <a:gd name="connsiteX15" fmla="*/ 86713 w 112751"/>
                  <a:gd name="connsiteY15" fmla="*/ 14014 h 55122"/>
                  <a:gd name="connsiteX16" fmla="*/ 78464 w 112751"/>
                  <a:gd name="connsiteY16" fmla="*/ 18229 h 55122"/>
                  <a:gd name="connsiteX17" fmla="*/ 74215 w 112751"/>
                  <a:gd name="connsiteY17" fmla="*/ 19979 h 55122"/>
                  <a:gd name="connsiteX18" fmla="*/ 69759 w 112751"/>
                  <a:gd name="connsiteY18" fmla="*/ 21160 h 55122"/>
                  <a:gd name="connsiteX19" fmla="*/ 60546 w 112751"/>
                  <a:gd name="connsiteY19" fmla="*/ 22869 h 55122"/>
                  <a:gd name="connsiteX20" fmla="*/ 50680 w 112751"/>
                  <a:gd name="connsiteY20" fmla="*/ 23336 h 55122"/>
                  <a:gd name="connsiteX21" fmla="*/ 40400 w 112751"/>
                  <a:gd name="connsiteY21" fmla="*/ 22714 h 55122"/>
                  <a:gd name="connsiteX22" fmla="*/ 20575 w 112751"/>
                  <a:gd name="connsiteY22" fmla="*/ 20145 h 55122"/>
                  <a:gd name="connsiteX23" fmla="*/ 5175 w 112751"/>
                  <a:gd name="connsiteY23" fmla="*/ 17742 h 55122"/>
                  <a:gd name="connsiteX24" fmla="*/ -1136 w 112751"/>
                  <a:gd name="connsiteY24" fmla="*/ 16862 h 5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12751" h="55122">
                    <a:moveTo>
                      <a:pt x="-1136" y="16862"/>
                    </a:moveTo>
                    <a:cubicBezTo>
                      <a:pt x="-1136" y="16862"/>
                      <a:pt x="-193" y="19099"/>
                      <a:pt x="2212" y="22434"/>
                    </a:cubicBezTo>
                    <a:cubicBezTo>
                      <a:pt x="4523" y="25842"/>
                      <a:pt x="8336" y="30193"/>
                      <a:pt x="13621" y="34760"/>
                    </a:cubicBezTo>
                    <a:cubicBezTo>
                      <a:pt x="19010" y="39121"/>
                      <a:pt x="25891" y="43761"/>
                      <a:pt x="34451" y="46807"/>
                    </a:cubicBezTo>
                    <a:cubicBezTo>
                      <a:pt x="42825" y="50153"/>
                      <a:pt x="53053" y="51665"/>
                      <a:pt x="63448" y="50764"/>
                    </a:cubicBezTo>
                    <a:cubicBezTo>
                      <a:pt x="68660" y="49935"/>
                      <a:pt x="73904" y="49210"/>
                      <a:pt x="78723" y="46869"/>
                    </a:cubicBezTo>
                    <a:cubicBezTo>
                      <a:pt x="83749" y="45222"/>
                      <a:pt x="87977" y="42198"/>
                      <a:pt x="91874" y="39194"/>
                    </a:cubicBezTo>
                    <a:cubicBezTo>
                      <a:pt x="96060" y="36521"/>
                      <a:pt x="98579" y="32461"/>
                      <a:pt x="101387" y="29219"/>
                    </a:cubicBezTo>
                    <a:cubicBezTo>
                      <a:pt x="104289" y="25987"/>
                      <a:pt x="105646" y="22145"/>
                      <a:pt x="107201" y="18892"/>
                    </a:cubicBezTo>
                    <a:cubicBezTo>
                      <a:pt x="108600" y="15567"/>
                      <a:pt x="109926" y="12615"/>
                      <a:pt x="110268" y="9674"/>
                    </a:cubicBezTo>
                    <a:cubicBezTo>
                      <a:pt x="110859" y="6867"/>
                      <a:pt x="111087" y="4329"/>
                      <a:pt x="111315" y="2299"/>
                    </a:cubicBezTo>
                    <a:cubicBezTo>
                      <a:pt x="111730" y="-1762"/>
                      <a:pt x="111595" y="-4103"/>
                      <a:pt x="111595" y="-4103"/>
                    </a:cubicBezTo>
                    <a:cubicBezTo>
                      <a:pt x="111595" y="-4103"/>
                      <a:pt x="109460" y="-2715"/>
                      <a:pt x="106372" y="-280"/>
                    </a:cubicBezTo>
                    <a:cubicBezTo>
                      <a:pt x="104838" y="952"/>
                      <a:pt x="102942" y="2361"/>
                      <a:pt x="101097" y="4080"/>
                    </a:cubicBezTo>
                    <a:cubicBezTo>
                      <a:pt x="99325" y="5893"/>
                      <a:pt x="96641" y="7239"/>
                      <a:pt x="94299" y="8990"/>
                    </a:cubicBezTo>
                    <a:cubicBezTo>
                      <a:pt x="91822" y="10606"/>
                      <a:pt x="89646" y="12812"/>
                      <a:pt x="86713" y="14014"/>
                    </a:cubicBezTo>
                    <a:cubicBezTo>
                      <a:pt x="83884" y="15308"/>
                      <a:pt x="81531" y="17463"/>
                      <a:pt x="78464" y="18229"/>
                    </a:cubicBezTo>
                    <a:cubicBezTo>
                      <a:pt x="76992" y="18726"/>
                      <a:pt x="75603" y="19358"/>
                      <a:pt x="74215" y="19979"/>
                    </a:cubicBezTo>
                    <a:cubicBezTo>
                      <a:pt x="72826" y="20632"/>
                      <a:pt x="71189" y="20663"/>
                      <a:pt x="69759" y="21160"/>
                    </a:cubicBezTo>
                    <a:cubicBezTo>
                      <a:pt x="66878" y="22175"/>
                      <a:pt x="63686" y="22404"/>
                      <a:pt x="60546" y="22869"/>
                    </a:cubicBezTo>
                    <a:cubicBezTo>
                      <a:pt x="57375" y="23274"/>
                      <a:pt x="54027" y="23253"/>
                      <a:pt x="50680" y="23336"/>
                    </a:cubicBezTo>
                    <a:cubicBezTo>
                      <a:pt x="47271" y="23097"/>
                      <a:pt x="43851" y="23201"/>
                      <a:pt x="40400" y="22714"/>
                    </a:cubicBezTo>
                    <a:cubicBezTo>
                      <a:pt x="33498" y="22217"/>
                      <a:pt x="26700" y="20995"/>
                      <a:pt x="20575" y="20145"/>
                    </a:cubicBezTo>
                    <a:cubicBezTo>
                      <a:pt x="14202" y="19151"/>
                      <a:pt x="8896" y="18323"/>
                      <a:pt x="5175" y="17742"/>
                    </a:cubicBezTo>
                    <a:cubicBezTo>
                      <a:pt x="1154" y="17183"/>
                      <a:pt x="-1136" y="16862"/>
                      <a:pt x="-1136" y="16862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64" name="Vrije vorm 47">
                <a:extLst>
                  <a:ext uri="{FF2B5EF4-FFF2-40B4-BE49-F238E27FC236}">
                    <a16:creationId xmlns:a16="http://schemas.microsoft.com/office/drawing/2014/main" id="{55F82F27-5135-4541-8869-8AF1EC164F81}"/>
                  </a:ext>
                </a:extLst>
              </p:cNvPr>
              <p:cNvSpPr/>
              <p:nvPr/>
            </p:nvSpPr>
            <p:spPr>
              <a:xfrm flipV="1">
                <a:off x="2424130" y="1425111"/>
                <a:ext cx="249058" cy="60672"/>
              </a:xfrm>
              <a:custGeom>
                <a:avLst/>
                <a:gdLst>
                  <a:gd name="connsiteX0" fmla="*/ -1016 w 249058"/>
                  <a:gd name="connsiteY0" fmla="*/ 56987 h 60672"/>
                  <a:gd name="connsiteX1" fmla="*/ 248042 w 249058"/>
                  <a:gd name="connsiteY1" fmla="*/ 43884 h 60672"/>
                  <a:gd name="connsiteX2" fmla="*/ -1016 w 249058"/>
                  <a:gd name="connsiteY2" fmla="*/ 56987 h 60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9058" h="60672">
                    <a:moveTo>
                      <a:pt x="-1016" y="56987"/>
                    </a:moveTo>
                    <a:lnTo>
                      <a:pt x="248042" y="43884"/>
                    </a:lnTo>
                    <a:cubicBezTo>
                      <a:pt x="248042" y="43884"/>
                      <a:pt x="187749" y="-71410"/>
                      <a:pt x="-1016" y="56987"/>
                    </a:cubicBezTo>
                  </a:path>
                </a:pathLst>
              </a:custGeom>
              <a:solidFill>
                <a:srgbClr val="FFFFF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65" name="Vrije vorm 48">
                <a:extLst>
                  <a:ext uri="{FF2B5EF4-FFF2-40B4-BE49-F238E27FC236}">
                    <a16:creationId xmlns:a16="http://schemas.microsoft.com/office/drawing/2014/main" id="{BDDF6717-5229-42ED-AD50-CC43697420B1}"/>
                  </a:ext>
                </a:extLst>
              </p:cNvPr>
              <p:cNvSpPr/>
              <p:nvPr/>
            </p:nvSpPr>
            <p:spPr>
              <a:xfrm flipV="1">
                <a:off x="2181014" y="1208559"/>
                <a:ext cx="76642" cy="142201"/>
              </a:xfrm>
              <a:custGeom>
                <a:avLst/>
                <a:gdLst>
                  <a:gd name="connsiteX0" fmla="*/ 14224 w 76642"/>
                  <a:gd name="connsiteY0" fmla="*/ 135292 h 142201"/>
                  <a:gd name="connsiteX1" fmla="*/ 75902 w 76642"/>
                  <a:gd name="connsiteY1" fmla="*/ 44929 h 142201"/>
                  <a:gd name="connsiteX2" fmla="*/ 59858 w 76642"/>
                  <a:gd name="connsiteY2" fmla="*/ -3226 h 142201"/>
                  <a:gd name="connsiteX3" fmla="*/ 14224 w 76642"/>
                  <a:gd name="connsiteY3" fmla="*/ 135292 h 142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642" h="142201">
                    <a:moveTo>
                      <a:pt x="14224" y="135292"/>
                    </a:moveTo>
                    <a:cubicBezTo>
                      <a:pt x="46249" y="151512"/>
                      <a:pt x="74590" y="99950"/>
                      <a:pt x="75902" y="44929"/>
                    </a:cubicBezTo>
                    <a:cubicBezTo>
                      <a:pt x="49686" y="48854"/>
                      <a:pt x="45253" y="18350"/>
                      <a:pt x="59858" y="-3226"/>
                    </a:cubicBezTo>
                    <a:cubicBezTo>
                      <a:pt x="7832" y="-14257"/>
                      <a:pt x="-19760" y="118097"/>
                      <a:pt x="14224" y="13529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66" name="Vrije vorm 49">
                <a:extLst>
                  <a:ext uri="{FF2B5EF4-FFF2-40B4-BE49-F238E27FC236}">
                    <a16:creationId xmlns:a16="http://schemas.microsoft.com/office/drawing/2014/main" id="{79739FD9-E6FB-45CD-BDC2-855F624C4B2B}"/>
                  </a:ext>
                </a:extLst>
              </p:cNvPr>
              <p:cNvSpPr/>
              <p:nvPr/>
            </p:nvSpPr>
            <p:spPr>
              <a:xfrm flipV="1">
                <a:off x="2182806" y="2497769"/>
                <a:ext cx="154403" cy="269745"/>
              </a:xfrm>
              <a:custGeom>
                <a:avLst/>
                <a:gdLst>
                  <a:gd name="connsiteX0" fmla="*/ -775 w 154403"/>
                  <a:gd name="connsiteY0" fmla="*/ 17911 h 269745"/>
                  <a:gd name="connsiteX1" fmla="*/ 79641 w 154403"/>
                  <a:gd name="connsiteY1" fmla="*/ 130016 h 269745"/>
                  <a:gd name="connsiteX2" fmla="*/ 92336 w 154403"/>
                  <a:gd name="connsiteY2" fmla="*/ 174431 h 269745"/>
                  <a:gd name="connsiteX3" fmla="*/ 79641 w 154403"/>
                  <a:gd name="connsiteY3" fmla="*/ 204044 h 269745"/>
                  <a:gd name="connsiteX4" fmla="*/ 22502 w 154403"/>
                  <a:gd name="connsiteY4" fmla="*/ 201931 h 269745"/>
                  <a:gd name="connsiteX5" fmla="*/ 3455 w 154403"/>
                  <a:gd name="connsiteY5" fmla="*/ 79251 h 269745"/>
                  <a:gd name="connsiteX6" fmla="*/ -775 w 154403"/>
                  <a:gd name="connsiteY6" fmla="*/ 17911 h 269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403" h="269745">
                    <a:moveTo>
                      <a:pt x="-775" y="17911"/>
                    </a:moveTo>
                    <a:cubicBezTo>
                      <a:pt x="-775" y="17911"/>
                      <a:pt x="121963" y="-73043"/>
                      <a:pt x="79641" y="130016"/>
                    </a:cubicBezTo>
                    <a:cubicBezTo>
                      <a:pt x="79641" y="130016"/>
                      <a:pt x="229896" y="172318"/>
                      <a:pt x="92336" y="174431"/>
                    </a:cubicBezTo>
                    <a:cubicBezTo>
                      <a:pt x="92336" y="174431"/>
                      <a:pt x="238352" y="244233"/>
                      <a:pt x="79641" y="204044"/>
                    </a:cubicBezTo>
                    <a:cubicBezTo>
                      <a:pt x="79641" y="204044"/>
                      <a:pt x="189687" y="347875"/>
                      <a:pt x="22502" y="201931"/>
                    </a:cubicBezTo>
                    <a:cubicBezTo>
                      <a:pt x="22502" y="201931"/>
                      <a:pt x="-10652" y="168786"/>
                      <a:pt x="3455" y="79251"/>
                    </a:cubicBezTo>
                    <a:lnTo>
                      <a:pt x="-775" y="17911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67" name="Vrije vorm 50">
                <a:extLst>
                  <a:ext uri="{FF2B5EF4-FFF2-40B4-BE49-F238E27FC236}">
                    <a16:creationId xmlns:a16="http://schemas.microsoft.com/office/drawing/2014/main" id="{3F8183D1-6F38-4C95-A4CB-DDA1A520AFAA}"/>
                  </a:ext>
                </a:extLst>
              </p:cNvPr>
              <p:cNvSpPr/>
              <p:nvPr/>
            </p:nvSpPr>
            <p:spPr>
              <a:xfrm flipV="1">
                <a:off x="2843072" y="1764936"/>
                <a:ext cx="245482" cy="692494"/>
              </a:xfrm>
              <a:custGeom>
                <a:avLst/>
                <a:gdLst>
                  <a:gd name="connsiteX0" fmla="*/ 50730 w 245482"/>
                  <a:gd name="connsiteY0" fmla="*/ 689526 h 692494"/>
                  <a:gd name="connsiteX1" fmla="*/ 244118 w 245482"/>
                  <a:gd name="connsiteY1" fmla="*/ 56259 h 692494"/>
                  <a:gd name="connsiteX2" fmla="*/ 83281 w 245482"/>
                  <a:gd name="connsiteY2" fmla="*/ -2968 h 692494"/>
                  <a:gd name="connsiteX3" fmla="*/ -1365 w 245482"/>
                  <a:gd name="connsiteY3" fmla="*/ 208553 h 692494"/>
                  <a:gd name="connsiteX4" fmla="*/ 50730 w 245482"/>
                  <a:gd name="connsiteY4" fmla="*/ 689526 h 692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482" h="692494">
                    <a:moveTo>
                      <a:pt x="50730" y="689526"/>
                    </a:moveTo>
                    <a:lnTo>
                      <a:pt x="244118" y="56259"/>
                    </a:lnTo>
                    <a:lnTo>
                      <a:pt x="83281" y="-2968"/>
                    </a:lnTo>
                    <a:lnTo>
                      <a:pt x="-1365" y="208553"/>
                    </a:lnTo>
                    <a:lnTo>
                      <a:pt x="50730" y="689526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68" name="Vrije vorm 51">
                <a:extLst>
                  <a:ext uri="{FF2B5EF4-FFF2-40B4-BE49-F238E27FC236}">
                    <a16:creationId xmlns:a16="http://schemas.microsoft.com/office/drawing/2014/main" id="{C3057838-8362-4E88-A346-56747CD2FDE2}"/>
                  </a:ext>
                </a:extLst>
              </p:cNvPr>
              <p:cNvSpPr/>
              <p:nvPr/>
            </p:nvSpPr>
            <p:spPr>
              <a:xfrm flipV="1">
                <a:off x="2897707" y="2335703"/>
                <a:ext cx="225616" cy="167592"/>
              </a:xfrm>
              <a:custGeom>
                <a:avLst/>
                <a:gdLst>
                  <a:gd name="connsiteX0" fmla="*/ 186710 w 225616"/>
                  <a:gd name="connsiteY0" fmla="*/ 164962 h 167592"/>
                  <a:gd name="connsiteX1" fmla="*/ -1402 w 225616"/>
                  <a:gd name="connsiteY1" fmla="*/ 87349 h 167592"/>
                  <a:gd name="connsiteX2" fmla="*/ 38568 w 225616"/>
                  <a:gd name="connsiteY2" fmla="*/ -2631 h 167592"/>
                  <a:gd name="connsiteX3" fmla="*/ 224214 w 225616"/>
                  <a:gd name="connsiteY3" fmla="*/ 79415 h 167592"/>
                  <a:gd name="connsiteX4" fmla="*/ 186710 w 225616"/>
                  <a:gd name="connsiteY4" fmla="*/ 164962 h 16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616" h="167592">
                    <a:moveTo>
                      <a:pt x="186710" y="164962"/>
                    </a:moveTo>
                    <a:lnTo>
                      <a:pt x="-1402" y="87349"/>
                    </a:lnTo>
                    <a:lnTo>
                      <a:pt x="38568" y="-2631"/>
                    </a:lnTo>
                    <a:lnTo>
                      <a:pt x="224214" y="79415"/>
                    </a:lnTo>
                    <a:lnTo>
                      <a:pt x="186710" y="164962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69" name="Vrije vorm 52">
                <a:extLst>
                  <a:ext uri="{FF2B5EF4-FFF2-40B4-BE49-F238E27FC236}">
                    <a16:creationId xmlns:a16="http://schemas.microsoft.com/office/drawing/2014/main" id="{B2D7692A-1B3D-4562-9B86-6A9A70157E81}"/>
                  </a:ext>
                </a:extLst>
              </p:cNvPr>
              <p:cNvSpPr/>
              <p:nvPr/>
            </p:nvSpPr>
            <p:spPr>
              <a:xfrm rot="15671137" flipV="1">
                <a:off x="3173249" y="1799886"/>
                <a:ext cx="369917" cy="258077"/>
              </a:xfrm>
              <a:custGeom>
                <a:avLst/>
                <a:gdLst>
                  <a:gd name="connsiteX0" fmla="*/ 2564 w 300227"/>
                  <a:gd name="connsiteY0" fmla="*/ 257593 h 317983"/>
                  <a:gd name="connsiteX1" fmla="*/ 104962 w 300227"/>
                  <a:gd name="connsiteY1" fmla="*/ 315815 h 317983"/>
                  <a:gd name="connsiteX2" fmla="*/ 216833 w 300227"/>
                  <a:gd name="connsiteY2" fmla="*/ 273306 h 317983"/>
                  <a:gd name="connsiteX3" fmla="*/ 298494 w 300227"/>
                  <a:gd name="connsiteY3" fmla="*/ 221329 h 317983"/>
                  <a:gd name="connsiteX4" fmla="*/ 219579 w 300227"/>
                  <a:gd name="connsiteY4" fmla="*/ 216461 h 317983"/>
                  <a:gd name="connsiteX5" fmla="*/ 189878 w 300227"/>
                  <a:gd name="connsiteY5" fmla="*/ 223111 h 317983"/>
                  <a:gd name="connsiteX6" fmla="*/ 257674 w 300227"/>
                  <a:gd name="connsiteY6" fmla="*/ 123394 h 317983"/>
                  <a:gd name="connsiteX7" fmla="*/ 274597 w 300227"/>
                  <a:gd name="connsiteY7" fmla="*/ 62759 h 317983"/>
                  <a:gd name="connsiteX8" fmla="*/ 175338 w 300227"/>
                  <a:gd name="connsiteY8" fmla="*/ 151050 h 317983"/>
                  <a:gd name="connsiteX9" fmla="*/ 240740 w 300227"/>
                  <a:gd name="connsiteY9" fmla="*/ 19048 h 317983"/>
                  <a:gd name="connsiteX10" fmla="*/ 127512 w 300227"/>
                  <a:gd name="connsiteY10" fmla="*/ 128211 h 317983"/>
                  <a:gd name="connsiteX11" fmla="*/ 174468 w 300227"/>
                  <a:gd name="connsiteY11" fmla="*/ 3791 h 317983"/>
                  <a:gd name="connsiteX12" fmla="*/ 74266 w 300227"/>
                  <a:gd name="connsiteY12" fmla="*/ 123394 h 317983"/>
                  <a:gd name="connsiteX13" fmla="*/ 84142 w 300227"/>
                  <a:gd name="connsiteY13" fmla="*/ 31736 h 317983"/>
                  <a:gd name="connsiteX14" fmla="*/ 46047 w 300227"/>
                  <a:gd name="connsiteY14" fmla="*/ 83909 h 317983"/>
                  <a:gd name="connsiteX15" fmla="*/ 22305 w 300227"/>
                  <a:gd name="connsiteY15" fmla="*/ 151941 h 317983"/>
                  <a:gd name="connsiteX16" fmla="*/ 2564 w 300227"/>
                  <a:gd name="connsiteY16" fmla="*/ 257593 h 317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00227" h="317983">
                    <a:moveTo>
                      <a:pt x="2564" y="257593"/>
                    </a:moveTo>
                    <a:cubicBezTo>
                      <a:pt x="2564" y="257593"/>
                      <a:pt x="58038" y="319109"/>
                      <a:pt x="104962" y="315815"/>
                    </a:cubicBezTo>
                    <a:cubicBezTo>
                      <a:pt x="151887" y="312511"/>
                      <a:pt x="187080" y="307891"/>
                      <a:pt x="216833" y="273306"/>
                    </a:cubicBezTo>
                    <a:cubicBezTo>
                      <a:pt x="246575" y="238710"/>
                      <a:pt x="301541" y="233386"/>
                      <a:pt x="298494" y="221329"/>
                    </a:cubicBezTo>
                    <a:cubicBezTo>
                      <a:pt x="295448" y="209262"/>
                      <a:pt x="289364" y="171051"/>
                      <a:pt x="219579" y="216461"/>
                    </a:cubicBezTo>
                    <a:cubicBezTo>
                      <a:pt x="219579" y="216461"/>
                      <a:pt x="193277" y="241776"/>
                      <a:pt x="189878" y="223111"/>
                    </a:cubicBezTo>
                    <a:cubicBezTo>
                      <a:pt x="187132" y="207998"/>
                      <a:pt x="220988" y="174159"/>
                      <a:pt x="257674" y="123394"/>
                    </a:cubicBezTo>
                    <a:cubicBezTo>
                      <a:pt x="307738" y="54110"/>
                      <a:pt x="289510" y="59703"/>
                      <a:pt x="274597" y="62759"/>
                    </a:cubicBezTo>
                    <a:cubicBezTo>
                      <a:pt x="259695" y="65814"/>
                      <a:pt x="198417" y="136083"/>
                      <a:pt x="175338" y="151050"/>
                    </a:cubicBezTo>
                    <a:cubicBezTo>
                      <a:pt x="157338" y="162724"/>
                      <a:pt x="256088" y="32679"/>
                      <a:pt x="240740" y="19048"/>
                    </a:cubicBezTo>
                    <a:cubicBezTo>
                      <a:pt x="215340" y="-3522"/>
                      <a:pt x="128062" y="147321"/>
                      <a:pt x="127512" y="128211"/>
                    </a:cubicBezTo>
                    <a:cubicBezTo>
                      <a:pt x="126963" y="109111"/>
                      <a:pt x="181359" y="16251"/>
                      <a:pt x="174468" y="3791"/>
                    </a:cubicBezTo>
                    <a:cubicBezTo>
                      <a:pt x="153275" y="-34544"/>
                      <a:pt x="83407" y="128874"/>
                      <a:pt x="74266" y="123394"/>
                    </a:cubicBezTo>
                    <a:cubicBezTo>
                      <a:pt x="67209" y="119158"/>
                      <a:pt x="98413" y="43089"/>
                      <a:pt x="84142" y="31736"/>
                    </a:cubicBezTo>
                    <a:cubicBezTo>
                      <a:pt x="69862" y="20384"/>
                      <a:pt x="54887" y="59848"/>
                      <a:pt x="46047" y="83909"/>
                    </a:cubicBezTo>
                    <a:cubicBezTo>
                      <a:pt x="35705" y="112052"/>
                      <a:pt x="33466" y="125611"/>
                      <a:pt x="22305" y="151941"/>
                    </a:cubicBezTo>
                    <a:cubicBezTo>
                      <a:pt x="11134" y="178271"/>
                      <a:pt x="-10774" y="218926"/>
                      <a:pt x="2564" y="257593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grpSp>
          <p:nvGrpSpPr>
            <p:cNvPr id="325" name="Groep 324">
              <a:extLst>
                <a:ext uri="{FF2B5EF4-FFF2-40B4-BE49-F238E27FC236}">
                  <a16:creationId xmlns:a16="http://schemas.microsoft.com/office/drawing/2014/main" id="{6C494D58-444D-4FE0-9B29-65DF74F29B73}"/>
                </a:ext>
              </a:extLst>
            </p:cNvPr>
            <p:cNvGrpSpPr/>
            <p:nvPr/>
          </p:nvGrpSpPr>
          <p:grpSpPr>
            <a:xfrm>
              <a:off x="1937255" y="2063426"/>
              <a:ext cx="449164" cy="153635"/>
              <a:chOff x="1937255" y="2063426"/>
              <a:chExt cx="449164" cy="153635"/>
            </a:xfrm>
          </p:grpSpPr>
          <p:sp>
            <p:nvSpPr>
              <p:cNvPr id="327" name="Vrije vorm 10">
                <a:extLst>
                  <a:ext uri="{FF2B5EF4-FFF2-40B4-BE49-F238E27FC236}">
                    <a16:creationId xmlns:a16="http://schemas.microsoft.com/office/drawing/2014/main" id="{49BF9257-6B92-4666-BD3A-87DE896B3826}"/>
                  </a:ext>
                </a:extLst>
              </p:cNvPr>
              <p:cNvSpPr/>
              <p:nvPr/>
            </p:nvSpPr>
            <p:spPr>
              <a:xfrm flipV="1">
                <a:off x="2037505" y="2063426"/>
                <a:ext cx="144000" cy="144000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8" name="Vrije vorm 11">
                <a:extLst>
                  <a:ext uri="{FF2B5EF4-FFF2-40B4-BE49-F238E27FC236}">
                    <a16:creationId xmlns:a16="http://schemas.microsoft.com/office/drawing/2014/main" id="{4125E02F-1367-4E57-83FC-B85D4476CF26}"/>
                  </a:ext>
                </a:extLst>
              </p:cNvPr>
              <p:cNvSpPr/>
              <p:nvPr/>
            </p:nvSpPr>
            <p:spPr>
              <a:xfrm flipV="1">
                <a:off x="2242419" y="2073061"/>
                <a:ext cx="144000" cy="144000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9" name="Vrije vorm 12">
                <a:extLst>
                  <a:ext uri="{FF2B5EF4-FFF2-40B4-BE49-F238E27FC236}">
                    <a16:creationId xmlns:a16="http://schemas.microsoft.com/office/drawing/2014/main" id="{77AA6F6C-BE7A-42CC-8AF8-38E5D45CBA5C}"/>
                  </a:ext>
                </a:extLst>
              </p:cNvPr>
              <p:cNvSpPr/>
              <p:nvPr/>
            </p:nvSpPr>
            <p:spPr>
              <a:xfrm flipV="1">
                <a:off x="1937255" y="2113770"/>
                <a:ext cx="104773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0" name="Vrije vorm 13">
                <a:extLst>
                  <a:ext uri="{FF2B5EF4-FFF2-40B4-BE49-F238E27FC236}">
                    <a16:creationId xmlns:a16="http://schemas.microsoft.com/office/drawing/2014/main" id="{A5691BE4-9190-4BD2-922C-F5045EFF393E}"/>
                  </a:ext>
                </a:extLst>
              </p:cNvPr>
              <p:cNvSpPr/>
              <p:nvPr/>
            </p:nvSpPr>
            <p:spPr>
              <a:xfrm flipV="1">
                <a:off x="2175060" y="2124470"/>
                <a:ext cx="72000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326" name="Vrije vorm 9">
              <a:extLst>
                <a:ext uri="{FF2B5EF4-FFF2-40B4-BE49-F238E27FC236}">
                  <a16:creationId xmlns:a16="http://schemas.microsoft.com/office/drawing/2014/main" id="{8902DDFF-BF73-4767-9811-1719C701E2A6}"/>
                </a:ext>
              </a:extLst>
            </p:cNvPr>
            <p:cNvSpPr/>
            <p:nvPr/>
          </p:nvSpPr>
          <p:spPr>
            <a:xfrm flipV="1">
              <a:off x="1801711" y="1747503"/>
              <a:ext cx="634548" cy="421057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</p:spTree>
    <p:extLst>
      <p:ext uri="{BB962C8B-B14F-4D97-AF65-F5344CB8AC3E}">
        <p14:creationId xmlns:p14="http://schemas.microsoft.com/office/powerpoint/2010/main" val="29287774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0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4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4" grpId="0" animBg="1"/>
      <p:bldP spid="133" grpId="0" animBg="1"/>
      <p:bldP spid="403" grpId="0" animBg="1"/>
      <p:bldP spid="40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Co-</a:t>
            </a:r>
            <a:r>
              <a:rPr lang="de-DE" altLang="de-DE" sz="3600" dirty="0" err="1">
                <a:latin typeface="+mj-lt"/>
              </a:rPr>
              <a:t>founder</a:t>
            </a:r>
            <a:r>
              <a:rPr lang="de-DE" altLang="de-DE" sz="3600" dirty="0">
                <a:latin typeface="+mj-lt"/>
              </a:rPr>
              <a:t> </a:t>
            </a:r>
            <a:r>
              <a:rPr lang="de-DE" altLang="de-DE" sz="3600" dirty="0" err="1">
                <a:latin typeface="+mj-lt"/>
              </a:rPr>
              <a:t>selection</a:t>
            </a:r>
            <a:endParaRPr lang="de-DE" altLang="de-DE" sz="3600" dirty="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5847372" y="3616178"/>
            <a:ext cx="6303008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400" dirty="0">
                <a:solidFill>
                  <a:schemeClr val="bg2">
                    <a:lumMod val="90000"/>
                  </a:schemeClr>
                </a:solidFill>
              </a:rPr>
              <a:t>Lead </a:t>
            </a:r>
            <a:r>
              <a:rPr lang="de-DE" altLang="de-DE" sz="2400" dirty="0" err="1">
                <a:solidFill>
                  <a:schemeClr val="bg2">
                    <a:lumMod val="90000"/>
                  </a:schemeClr>
                </a:solidFill>
              </a:rPr>
              <a:t>entrepreneur</a:t>
            </a:r>
            <a:r>
              <a:rPr lang="de-DE" altLang="de-DE" sz="2400" dirty="0">
                <a:solidFill>
                  <a:schemeClr val="bg2">
                    <a:lumMod val="90000"/>
                  </a:schemeClr>
                </a:solidFill>
              </a:rPr>
              <a:t> and potential </a:t>
            </a:r>
            <a:r>
              <a:rPr lang="de-DE" altLang="de-DE" sz="2400" dirty="0" err="1">
                <a:solidFill>
                  <a:schemeClr val="bg2">
                    <a:lumMod val="90000"/>
                  </a:schemeClr>
                </a:solidFill>
              </a:rPr>
              <a:t>co-founder</a:t>
            </a:r>
            <a:r>
              <a:rPr lang="de-DE" altLang="de-DE" sz="2400" dirty="0">
                <a:solidFill>
                  <a:schemeClr val="bg2">
                    <a:lumMod val="90000"/>
                  </a:schemeClr>
                </a:solidFill>
              </a:rPr>
              <a:t>(s)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CA0B48C7-59F5-47C3-9DB4-8852546E5572}"/>
              </a:ext>
            </a:extLst>
          </p:cNvPr>
          <p:cNvSpPr txBox="1"/>
          <p:nvPr/>
        </p:nvSpPr>
        <p:spPr>
          <a:xfrm>
            <a:off x="1461746" y="1580380"/>
            <a:ext cx="3758252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39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3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1015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/>
      <p:bldP spid="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roep 75">
            <a:extLst>
              <a:ext uri="{FF2B5EF4-FFF2-40B4-BE49-F238E27FC236}">
                <a16:creationId xmlns:a16="http://schemas.microsoft.com/office/drawing/2014/main" id="{D14D44E5-261B-47F6-8D7F-7C7B541CD61A}"/>
              </a:ext>
            </a:extLst>
          </p:cNvPr>
          <p:cNvGrpSpPr/>
          <p:nvPr/>
        </p:nvGrpSpPr>
        <p:grpSpPr>
          <a:xfrm>
            <a:off x="1898190" y="137864"/>
            <a:ext cx="9595310" cy="6720136"/>
            <a:chOff x="6774990" y="1382464"/>
            <a:chExt cx="4424850" cy="4271278"/>
          </a:xfrm>
        </p:grpSpPr>
        <p:sp>
          <p:nvSpPr>
            <p:cNvPr id="77" name="Vrije vorm 140">
              <a:extLst>
                <a:ext uri="{FF2B5EF4-FFF2-40B4-BE49-F238E27FC236}">
                  <a16:creationId xmlns:a16="http://schemas.microsoft.com/office/drawing/2014/main" id="{321E92BF-398E-4658-B280-A686C7874B1A}"/>
                </a:ext>
              </a:extLst>
            </p:cNvPr>
            <p:cNvSpPr/>
            <p:nvPr/>
          </p:nvSpPr>
          <p:spPr>
            <a:xfrm flipV="1">
              <a:off x="8346531" y="1935296"/>
              <a:ext cx="64457" cy="3718446"/>
            </a:xfrm>
            <a:custGeom>
              <a:avLst/>
              <a:gdLst>
                <a:gd name="connsiteX0" fmla="*/ 24672 w 28799"/>
                <a:gd name="connsiteY0" fmla="*/ -1201 h 1362460"/>
                <a:gd name="connsiteX1" fmla="*/ -4127 w 28799"/>
                <a:gd name="connsiteY1" fmla="*/ -1201 h 1362460"/>
                <a:gd name="connsiteX2" fmla="*/ -4127 w 28799"/>
                <a:gd name="connsiteY2" fmla="*/ 1361259 h 1362460"/>
                <a:gd name="connsiteX3" fmla="*/ 24672 w 28799"/>
                <a:gd name="connsiteY3" fmla="*/ 1361259 h 1362460"/>
                <a:gd name="connsiteX4" fmla="*/ 24672 w 28799"/>
                <a:gd name="connsiteY4" fmla="*/ -1201 h 136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799" h="1362460">
                  <a:moveTo>
                    <a:pt x="24672" y="-1201"/>
                  </a:moveTo>
                  <a:lnTo>
                    <a:pt x="-4127" y="-1201"/>
                  </a:lnTo>
                  <a:lnTo>
                    <a:pt x="-4127" y="1361259"/>
                  </a:lnTo>
                  <a:lnTo>
                    <a:pt x="24672" y="1361259"/>
                  </a:lnTo>
                  <a:lnTo>
                    <a:pt x="24672" y="-1201"/>
                  </a:lnTo>
                </a:path>
              </a:pathLst>
            </a:custGeom>
            <a:solidFill>
              <a:srgbClr val="404952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" name="Vrije vorm 141">
              <a:extLst>
                <a:ext uri="{FF2B5EF4-FFF2-40B4-BE49-F238E27FC236}">
                  <a16:creationId xmlns:a16="http://schemas.microsoft.com/office/drawing/2014/main" id="{4F895B74-C547-42CC-8F77-617ADF5835C2}"/>
                </a:ext>
              </a:extLst>
            </p:cNvPr>
            <p:cNvSpPr/>
            <p:nvPr/>
          </p:nvSpPr>
          <p:spPr>
            <a:xfrm flipV="1">
              <a:off x="8346531" y="1935296"/>
              <a:ext cx="64457" cy="2197250"/>
            </a:xfrm>
            <a:custGeom>
              <a:avLst/>
              <a:gdLst>
                <a:gd name="connsiteX0" fmla="*/ 24672 w 28799"/>
                <a:gd name="connsiteY0" fmla="*/ -1506 h 805085"/>
                <a:gd name="connsiteX1" fmla="*/ -4127 w 28799"/>
                <a:gd name="connsiteY1" fmla="*/ -1506 h 805085"/>
                <a:gd name="connsiteX2" fmla="*/ -4127 w 28799"/>
                <a:gd name="connsiteY2" fmla="*/ 803579 h 805085"/>
                <a:gd name="connsiteX3" fmla="*/ 24672 w 28799"/>
                <a:gd name="connsiteY3" fmla="*/ 803579 h 805085"/>
                <a:gd name="connsiteX4" fmla="*/ 24672 w 28799"/>
                <a:gd name="connsiteY4" fmla="*/ -1506 h 80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799" h="805085">
                  <a:moveTo>
                    <a:pt x="24672" y="-1506"/>
                  </a:moveTo>
                  <a:lnTo>
                    <a:pt x="-4127" y="-1506"/>
                  </a:lnTo>
                  <a:lnTo>
                    <a:pt x="-4127" y="803579"/>
                  </a:lnTo>
                  <a:lnTo>
                    <a:pt x="24672" y="803579"/>
                  </a:lnTo>
                  <a:lnTo>
                    <a:pt x="24672" y="-1506"/>
                  </a:lnTo>
                </a:path>
              </a:pathLst>
            </a:custGeom>
            <a:solidFill>
              <a:srgbClr val="14161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1" name="Vrije vorm 142">
              <a:extLst>
                <a:ext uri="{FF2B5EF4-FFF2-40B4-BE49-F238E27FC236}">
                  <a16:creationId xmlns:a16="http://schemas.microsoft.com/office/drawing/2014/main" id="{0CD0AC39-3385-4ED1-9C6E-6EDD6063867C}"/>
                </a:ext>
              </a:extLst>
            </p:cNvPr>
            <p:cNvSpPr/>
            <p:nvPr/>
          </p:nvSpPr>
          <p:spPr>
            <a:xfrm flipV="1">
              <a:off x="8356784" y="4731600"/>
              <a:ext cx="620034" cy="903083"/>
            </a:xfrm>
            <a:custGeom>
              <a:avLst/>
              <a:gdLst>
                <a:gd name="connsiteX0" fmla="*/ 272794 w 277028"/>
                <a:gd name="connsiteY0" fmla="*/ 14891 h 330895"/>
                <a:gd name="connsiteX1" fmla="*/ 257622 w 277028"/>
                <a:gd name="connsiteY1" fmla="*/ -645 h 330895"/>
                <a:gd name="connsiteX2" fmla="*/ -4235 w 277028"/>
                <a:gd name="connsiteY2" fmla="*/ 314714 h 330895"/>
                <a:gd name="connsiteX3" fmla="*/ 10937 w 277028"/>
                <a:gd name="connsiteY3" fmla="*/ 330251 h 330895"/>
                <a:gd name="connsiteX4" fmla="*/ 272794 w 277028"/>
                <a:gd name="connsiteY4" fmla="*/ 14891 h 330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028" h="330895">
                  <a:moveTo>
                    <a:pt x="272794" y="14891"/>
                  </a:moveTo>
                  <a:lnTo>
                    <a:pt x="257622" y="-645"/>
                  </a:lnTo>
                  <a:lnTo>
                    <a:pt x="-4235" y="314714"/>
                  </a:lnTo>
                  <a:lnTo>
                    <a:pt x="10937" y="330251"/>
                  </a:lnTo>
                  <a:lnTo>
                    <a:pt x="272794" y="14891"/>
                  </a:lnTo>
                </a:path>
              </a:pathLst>
            </a:custGeom>
            <a:solidFill>
              <a:srgbClr val="404952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" name="Vrije vorm 143">
              <a:extLst>
                <a:ext uri="{FF2B5EF4-FFF2-40B4-BE49-F238E27FC236}">
                  <a16:creationId xmlns:a16="http://schemas.microsoft.com/office/drawing/2014/main" id="{7AE253E5-6200-43DE-8939-12A932C1A94B}"/>
                </a:ext>
              </a:extLst>
            </p:cNvPr>
            <p:cNvSpPr/>
            <p:nvPr/>
          </p:nvSpPr>
          <p:spPr>
            <a:xfrm flipV="1">
              <a:off x="7780679" y="4731600"/>
              <a:ext cx="620056" cy="903083"/>
            </a:xfrm>
            <a:custGeom>
              <a:avLst/>
              <a:gdLst>
                <a:gd name="connsiteX0" fmla="*/ -4019 w 277038"/>
                <a:gd name="connsiteY0" fmla="*/ 14891 h 330895"/>
                <a:gd name="connsiteX1" fmla="*/ 11163 w 277038"/>
                <a:gd name="connsiteY1" fmla="*/ -645 h 330895"/>
                <a:gd name="connsiteX2" fmla="*/ 273019 w 277038"/>
                <a:gd name="connsiteY2" fmla="*/ 314714 h 330895"/>
                <a:gd name="connsiteX3" fmla="*/ 257848 w 277038"/>
                <a:gd name="connsiteY3" fmla="*/ 330251 h 330895"/>
                <a:gd name="connsiteX4" fmla="*/ -4019 w 277038"/>
                <a:gd name="connsiteY4" fmla="*/ 14891 h 330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038" h="330895">
                  <a:moveTo>
                    <a:pt x="-4019" y="14891"/>
                  </a:moveTo>
                  <a:lnTo>
                    <a:pt x="11163" y="-645"/>
                  </a:lnTo>
                  <a:lnTo>
                    <a:pt x="273019" y="314714"/>
                  </a:lnTo>
                  <a:lnTo>
                    <a:pt x="257848" y="330251"/>
                  </a:lnTo>
                  <a:lnTo>
                    <a:pt x="-4019" y="14891"/>
                  </a:lnTo>
                </a:path>
              </a:pathLst>
            </a:custGeom>
            <a:solidFill>
              <a:srgbClr val="404952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" name="Vrije vorm 144">
              <a:extLst>
                <a:ext uri="{FF2B5EF4-FFF2-40B4-BE49-F238E27FC236}">
                  <a16:creationId xmlns:a16="http://schemas.microsoft.com/office/drawing/2014/main" id="{22582CAF-80C2-4292-B20C-9C8FBE53492F}"/>
                </a:ext>
              </a:extLst>
            </p:cNvPr>
            <p:cNvSpPr/>
            <p:nvPr/>
          </p:nvSpPr>
          <p:spPr>
            <a:xfrm flipV="1">
              <a:off x="8263518" y="4652617"/>
              <a:ext cx="230459" cy="129982"/>
            </a:xfrm>
            <a:custGeom>
              <a:avLst/>
              <a:gdLst>
                <a:gd name="connsiteX0" fmla="*/ 98841 w 102968"/>
                <a:gd name="connsiteY0" fmla="*/ -831 h 47626"/>
                <a:gd name="connsiteX1" fmla="*/ -4127 w 102968"/>
                <a:gd name="connsiteY1" fmla="*/ -831 h 47626"/>
                <a:gd name="connsiteX2" fmla="*/ -4127 w 102968"/>
                <a:gd name="connsiteY2" fmla="*/ 46795 h 47626"/>
                <a:gd name="connsiteX3" fmla="*/ 98841 w 102968"/>
                <a:gd name="connsiteY3" fmla="*/ 46795 h 47626"/>
                <a:gd name="connsiteX4" fmla="*/ 98841 w 102968"/>
                <a:gd name="connsiteY4" fmla="*/ -831 h 4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968" h="47626">
                  <a:moveTo>
                    <a:pt x="98841" y="-831"/>
                  </a:moveTo>
                  <a:lnTo>
                    <a:pt x="-4127" y="-831"/>
                  </a:lnTo>
                  <a:lnTo>
                    <a:pt x="-4127" y="46795"/>
                  </a:lnTo>
                  <a:lnTo>
                    <a:pt x="98841" y="46795"/>
                  </a:lnTo>
                  <a:lnTo>
                    <a:pt x="98841" y="-831"/>
                  </a:lnTo>
                </a:path>
              </a:pathLst>
            </a:custGeom>
            <a:solidFill>
              <a:srgbClr val="404952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0" name="Vrije vorm 145">
              <a:extLst>
                <a:ext uri="{FF2B5EF4-FFF2-40B4-BE49-F238E27FC236}">
                  <a16:creationId xmlns:a16="http://schemas.microsoft.com/office/drawing/2014/main" id="{87A06E88-F10B-49E0-BA42-DC961658720D}"/>
                </a:ext>
              </a:extLst>
            </p:cNvPr>
            <p:cNvSpPr/>
            <p:nvPr/>
          </p:nvSpPr>
          <p:spPr>
            <a:xfrm flipV="1">
              <a:off x="6775153" y="1382464"/>
              <a:ext cx="3207375" cy="2584905"/>
            </a:xfrm>
            <a:custGeom>
              <a:avLst/>
              <a:gdLst>
                <a:gd name="connsiteX0" fmla="*/ 22185 w 1433040"/>
                <a:gd name="connsiteY0" fmla="*/ 27559 h 947124"/>
                <a:gd name="connsiteX1" fmla="*/ 1402591 w 1433040"/>
                <a:gd name="connsiteY1" fmla="*/ 27559 h 947124"/>
                <a:gd name="connsiteX2" fmla="*/ 1402591 w 1433040"/>
                <a:gd name="connsiteY2" fmla="*/ 916275 h 947124"/>
                <a:gd name="connsiteX3" fmla="*/ 22185 w 1433040"/>
                <a:gd name="connsiteY3" fmla="*/ 916275 h 947124"/>
                <a:gd name="connsiteX4" fmla="*/ 1428914 w 1433040"/>
                <a:gd name="connsiteY4" fmla="*/ -1650 h 947124"/>
                <a:gd name="connsiteX5" fmla="*/ 18278 w 1433040"/>
                <a:gd name="connsiteY5" fmla="*/ -1650 h 947124"/>
                <a:gd name="connsiteX6" fmla="*/ -4127 w 1433040"/>
                <a:gd name="connsiteY6" fmla="*/ 23572 h 947124"/>
                <a:gd name="connsiteX7" fmla="*/ -4127 w 1433040"/>
                <a:gd name="connsiteY7" fmla="*/ 945475 h 947124"/>
                <a:gd name="connsiteX8" fmla="*/ 1428914 w 1433040"/>
                <a:gd name="connsiteY8" fmla="*/ 945475 h 947124"/>
                <a:gd name="connsiteX9" fmla="*/ 1428914 w 1433040"/>
                <a:gd name="connsiteY9" fmla="*/ -1650 h 947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3040" h="947124">
                  <a:moveTo>
                    <a:pt x="22185" y="27559"/>
                  </a:moveTo>
                  <a:lnTo>
                    <a:pt x="1402591" y="27559"/>
                  </a:lnTo>
                  <a:lnTo>
                    <a:pt x="1402591" y="916275"/>
                  </a:lnTo>
                  <a:lnTo>
                    <a:pt x="22185" y="916275"/>
                  </a:lnTo>
                  <a:close/>
                  <a:moveTo>
                    <a:pt x="1428914" y="-1650"/>
                  </a:moveTo>
                  <a:lnTo>
                    <a:pt x="18278" y="-1650"/>
                  </a:lnTo>
                  <a:lnTo>
                    <a:pt x="-4127" y="23572"/>
                  </a:lnTo>
                  <a:lnTo>
                    <a:pt x="-4127" y="945475"/>
                  </a:lnTo>
                  <a:lnTo>
                    <a:pt x="1428914" y="945475"/>
                  </a:lnTo>
                  <a:lnTo>
                    <a:pt x="1428914" y="-1650"/>
                  </a:lnTo>
                </a:path>
              </a:pathLst>
            </a:custGeom>
            <a:solidFill>
              <a:srgbClr val="74777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7" name="Vrije vorm 146">
              <a:extLst>
                <a:ext uri="{FF2B5EF4-FFF2-40B4-BE49-F238E27FC236}">
                  <a16:creationId xmlns:a16="http://schemas.microsoft.com/office/drawing/2014/main" id="{379141C5-03E7-4FB1-8372-25178648F664}"/>
                </a:ext>
              </a:extLst>
            </p:cNvPr>
            <p:cNvSpPr/>
            <p:nvPr/>
          </p:nvSpPr>
          <p:spPr>
            <a:xfrm flipV="1">
              <a:off x="6803797" y="1421729"/>
              <a:ext cx="3096483" cy="2437765"/>
            </a:xfrm>
            <a:custGeom>
              <a:avLst/>
              <a:gdLst>
                <a:gd name="connsiteX0" fmla="*/ 1379377 w 1383494"/>
                <a:gd name="connsiteY0" fmla="*/ -1664 h 893211"/>
                <a:gd name="connsiteX1" fmla="*/ -4117 w 1383494"/>
                <a:gd name="connsiteY1" fmla="*/ -1664 h 893211"/>
                <a:gd name="connsiteX2" fmla="*/ -4117 w 1383494"/>
                <a:gd name="connsiteY2" fmla="*/ 891548 h 893211"/>
                <a:gd name="connsiteX3" fmla="*/ 1379377 w 1383494"/>
                <a:gd name="connsiteY3" fmla="*/ 891548 h 893211"/>
                <a:gd name="connsiteX4" fmla="*/ 1379377 w 1383494"/>
                <a:gd name="connsiteY4" fmla="*/ -1664 h 89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494" h="893211">
                  <a:moveTo>
                    <a:pt x="1379377" y="-1664"/>
                  </a:moveTo>
                  <a:lnTo>
                    <a:pt x="-4117" y="-1664"/>
                  </a:lnTo>
                  <a:lnTo>
                    <a:pt x="-4117" y="891548"/>
                  </a:lnTo>
                  <a:lnTo>
                    <a:pt x="1379377" y="891548"/>
                  </a:lnTo>
                  <a:lnTo>
                    <a:pt x="1379377" y="-1664"/>
                  </a:lnTo>
                </a:path>
              </a:pathLst>
            </a:custGeom>
            <a:solidFill>
              <a:srgbClr val="FEFEED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dirty="0"/>
            </a:p>
          </p:txBody>
        </p:sp>
        <p:sp>
          <p:nvSpPr>
            <p:cNvPr id="98" name="Vrije vorm 147">
              <a:extLst>
                <a:ext uri="{FF2B5EF4-FFF2-40B4-BE49-F238E27FC236}">
                  <a16:creationId xmlns:a16="http://schemas.microsoft.com/office/drawing/2014/main" id="{BFEFDCE9-7693-4041-B4FE-50324F60C276}"/>
                </a:ext>
              </a:extLst>
            </p:cNvPr>
            <p:cNvSpPr/>
            <p:nvPr/>
          </p:nvSpPr>
          <p:spPr>
            <a:xfrm flipV="1">
              <a:off x="6774990" y="1382720"/>
              <a:ext cx="3154076" cy="2515787"/>
            </a:xfrm>
            <a:custGeom>
              <a:avLst/>
              <a:gdLst>
                <a:gd name="connsiteX0" fmla="*/ 21615 w 1409226"/>
                <a:gd name="connsiteY0" fmla="*/ 26914 h 921799"/>
                <a:gd name="connsiteX1" fmla="*/ 1379378 w 1409226"/>
                <a:gd name="connsiteY1" fmla="*/ 26914 h 921799"/>
                <a:gd name="connsiteX2" fmla="*/ 1379378 w 1409226"/>
                <a:gd name="connsiteY2" fmla="*/ 891558 h 921799"/>
                <a:gd name="connsiteX3" fmla="*/ 21615 w 1409226"/>
                <a:gd name="connsiteY3" fmla="*/ 891558 h 921799"/>
                <a:gd name="connsiteX4" fmla="*/ 1405109 w 1409226"/>
                <a:gd name="connsiteY4" fmla="*/ -1664 h 921799"/>
                <a:gd name="connsiteX5" fmla="*/ -4117 w 1409226"/>
                <a:gd name="connsiteY5" fmla="*/ -1664 h 921799"/>
                <a:gd name="connsiteX6" fmla="*/ -4117 w 1409226"/>
                <a:gd name="connsiteY6" fmla="*/ 920135 h 921799"/>
                <a:gd name="connsiteX7" fmla="*/ 1405109 w 1409226"/>
                <a:gd name="connsiteY7" fmla="*/ 920135 h 921799"/>
                <a:gd name="connsiteX8" fmla="*/ 1405109 w 1409226"/>
                <a:gd name="connsiteY8" fmla="*/ -1664 h 92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9226" h="921799">
                  <a:moveTo>
                    <a:pt x="21615" y="26914"/>
                  </a:moveTo>
                  <a:lnTo>
                    <a:pt x="1379378" y="26914"/>
                  </a:lnTo>
                  <a:lnTo>
                    <a:pt x="1379378" y="891558"/>
                  </a:lnTo>
                  <a:lnTo>
                    <a:pt x="21615" y="891558"/>
                  </a:lnTo>
                  <a:close/>
                  <a:moveTo>
                    <a:pt x="1405109" y="-1664"/>
                  </a:moveTo>
                  <a:lnTo>
                    <a:pt x="-4117" y="-1664"/>
                  </a:lnTo>
                  <a:lnTo>
                    <a:pt x="-4117" y="920135"/>
                  </a:lnTo>
                  <a:lnTo>
                    <a:pt x="1405109" y="920135"/>
                  </a:lnTo>
                  <a:lnTo>
                    <a:pt x="1405109" y="-1664"/>
                  </a:lnTo>
                </a:path>
              </a:pathLst>
            </a:custGeom>
            <a:solidFill>
              <a:srgbClr val="929590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9" name="Vrije vorm 148">
              <a:extLst>
                <a:ext uri="{FF2B5EF4-FFF2-40B4-BE49-F238E27FC236}">
                  <a16:creationId xmlns:a16="http://schemas.microsoft.com/office/drawing/2014/main" id="{D29C2FCE-AC01-4197-9E11-8A9A3E00994E}"/>
                </a:ext>
              </a:extLst>
            </p:cNvPr>
            <p:cNvSpPr/>
            <p:nvPr/>
          </p:nvSpPr>
          <p:spPr>
            <a:xfrm flipV="1">
              <a:off x="6827782" y="1441207"/>
              <a:ext cx="3048493" cy="2379048"/>
            </a:xfrm>
            <a:custGeom>
              <a:avLst/>
              <a:gdLst>
                <a:gd name="connsiteX0" fmla="*/ 7894 w 1362052"/>
                <a:gd name="connsiteY0" fmla="*/ 20312 h 871697"/>
                <a:gd name="connsiteX1" fmla="*/ 7894 w 1362052"/>
                <a:gd name="connsiteY1" fmla="*/ 857134 h 871697"/>
                <a:gd name="connsiteX2" fmla="*/ 1357936 w 1362052"/>
                <a:gd name="connsiteY2" fmla="*/ 857134 h 871697"/>
                <a:gd name="connsiteX3" fmla="*/ 1357936 w 1362052"/>
                <a:gd name="connsiteY3" fmla="*/ 870030 h 871697"/>
                <a:gd name="connsiteX4" fmla="*/ -4117 w 1362052"/>
                <a:gd name="connsiteY4" fmla="*/ 870030 h 871697"/>
                <a:gd name="connsiteX5" fmla="*/ -4117 w 1362052"/>
                <a:gd name="connsiteY5" fmla="*/ -1668 h 871697"/>
                <a:gd name="connsiteX6" fmla="*/ 7894 w 1362052"/>
                <a:gd name="connsiteY6" fmla="*/ -1668 h 871697"/>
                <a:gd name="connsiteX7" fmla="*/ 7894 w 1362052"/>
                <a:gd name="connsiteY7" fmla="*/ 20312 h 871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62052" h="871697">
                  <a:moveTo>
                    <a:pt x="7894" y="20312"/>
                  </a:moveTo>
                  <a:lnTo>
                    <a:pt x="7894" y="857134"/>
                  </a:lnTo>
                  <a:lnTo>
                    <a:pt x="1357936" y="857134"/>
                  </a:lnTo>
                  <a:lnTo>
                    <a:pt x="1357936" y="870030"/>
                  </a:lnTo>
                  <a:lnTo>
                    <a:pt x="-4117" y="870030"/>
                  </a:lnTo>
                  <a:lnTo>
                    <a:pt x="-4117" y="-1668"/>
                  </a:lnTo>
                  <a:lnTo>
                    <a:pt x="7894" y="-1668"/>
                  </a:lnTo>
                  <a:lnTo>
                    <a:pt x="7894" y="20312"/>
                  </a:lnTo>
                </a:path>
              </a:pathLst>
            </a:custGeom>
            <a:solidFill>
              <a:srgbClr val="74777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0" name="Vrije vorm 149">
              <a:extLst>
                <a:ext uri="{FF2B5EF4-FFF2-40B4-BE49-F238E27FC236}">
                  <a16:creationId xmlns:a16="http://schemas.microsoft.com/office/drawing/2014/main" id="{B1589899-A585-4702-A651-6F4FDF201B0D}"/>
                </a:ext>
              </a:extLst>
            </p:cNvPr>
            <p:cNvSpPr/>
            <p:nvPr/>
          </p:nvSpPr>
          <p:spPr>
            <a:xfrm flipV="1">
              <a:off x="6827782" y="1441207"/>
              <a:ext cx="3048493" cy="35193"/>
            </a:xfrm>
            <a:custGeom>
              <a:avLst/>
              <a:gdLst>
                <a:gd name="connsiteX0" fmla="*/ 7894 w 1362052"/>
                <a:gd name="connsiteY0" fmla="*/ -2138 h 12895"/>
                <a:gd name="connsiteX1" fmla="*/ 1357936 w 1362052"/>
                <a:gd name="connsiteY1" fmla="*/ -2138 h 12895"/>
                <a:gd name="connsiteX2" fmla="*/ 1357936 w 1362052"/>
                <a:gd name="connsiteY2" fmla="*/ 10758 h 12895"/>
                <a:gd name="connsiteX3" fmla="*/ -4117 w 1362052"/>
                <a:gd name="connsiteY3" fmla="*/ 10758 h 12895"/>
                <a:gd name="connsiteX4" fmla="*/ 7894 w 1362052"/>
                <a:gd name="connsiteY4" fmla="*/ -2138 h 12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052" h="12895">
                  <a:moveTo>
                    <a:pt x="7894" y="-2138"/>
                  </a:moveTo>
                  <a:lnTo>
                    <a:pt x="1357936" y="-2138"/>
                  </a:lnTo>
                  <a:lnTo>
                    <a:pt x="1357936" y="10758"/>
                  </a:lnTo>
                  <a:lnTo>
                    <a:pt x="-4117" y="10758"/>
                  </a:lnTo>
                  <a:lnTo>
                    <a:pt x="7894" y="-2138"/>
                  </a:lnTo>
                </a:path>
              </a:pathLst>
            </a:custGeom>
            <a:solidFill>
              <a:srgbClr val="585C5E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1" name="Vrije vorm 150">
              <a:extLst>
                <a:ext uri="{FF2B5EF4-FFF2-40B4-BE49-F238E27FC236}">
                  <a16:creationId xmlns:a16="http://schemas.microsoft.com/office/drawing/2014/main" id="{786FD7BC-71EF-4FDA-B9C2-B45F3DCB1000}"/>
                </a:ext>
              </a:extLst>
            </p:cNvPr>
            <p:cNvSpPr/>
            <p:nvPr/>
          </p:nvSpPr>
          <p:spPr>
            <a:xfrm flipV="1">
              <a:off x="6775153" y="3888753"/>
              <a:ext cx="3207375" cy="78615"/>
            </a:xfrm>
            <a:custGeom>
              <a:avLst/>
              <a:gdLst>
                <a:gd name="connsiteX0" fmla="*/ -4127 w 1433040"/>
                <a:gd name="connsiteY0" fmla="*/ 27658 h 28805"/>
                <a:gd name="connsiteX1" fmla="*/ -4127 w 1433040"/>
                <a:gd name="connsiteY1" fmla="*/ 24074 h 28805"/>
                <a:gd name="connsiteX2" fmla="*/ 18278 w 1433040"/>
                <a:gd name="connsiteY2" fmla="*/ -1148 h 28805"/>
                <a:gd name="connsiteX3" fmla="*/ 1428914 w 1433040"/>
                <a:gd name="connsiteY3" fmla="*/ -1148 h 28805"/>
                <a:gd name="connsiteX4" fmla="*/ 1404912 w 1433040"/>
                <a:gd name="connsiteY4" fmla="*/ 27658 h 28805"/>
                <a:gd name="connsiteX5" fmla="*/ -4127 w 1433040"/>
                <a:gd name="connsiteY5" fmla="*/ 27658 h 28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3040" h="28805">
                  <a:moveTo>
                    <a:pt x="-4127" y="27658"/>
                  </a:moveTo>
                  <a:lnTo>
                    <a:pt x="-4127" y="24074"/>
                  </a:lnTo>
                  <a:lnTo>
                    <a:pt x="18278" y="-1148"/>
                  </a:lnTo>
                  <a:lnTo>
                    <a:pt x="1428914" y="-1148"/>
                  </a:lnTo>
                  <a:lnTo>
                    <a:pt x="1404912" y="27658"/>
                  </a:lnTo>
                  <a:lnTo>
                    <a:pt x="-4127" y="27658"/>
                  </a:lnTo>
                </a:path>
              </a:pathLst>
            </a:custGeom>
            <a:solidFill>
              <a:srgbClr val="585C5E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102" name="Groep 101">
              <a:extLst>
                <a:ext uri="{FF2B5EF4-FFF2-40B4-BE49-F238E27FC236}">
                  <a16:creationId xmlns:a16="http://schemas.microsoft.com/office/drawing/2014/main" id="{D0FDAF5B-DE78-462A-9DDD-60ECE184FD8E}"/>
                </a:ext>
              </a:extLst>
            </p:cNvPr>
            <p:cNvGrpSpPr/>
            <p:nvPr/>
          </p:nvGrpSpPr>
          <p:grpSpPr>
            <a:xfrm>
              <a:off x="8692545" y="1496510"/>
              <a:ext cx="2507295" cy="4092940"/>
              <a:chOff x="8692546" y="1496510"/>
              <a:chExt cx="2144466" cy="4092940"/>
            </a:xfrm>
          </p:grpSpPr>
          <p:sp>
            <p:nvSpPr>
              <p:cNvPr id="103" name="Vrije vorm 158">
                <a:extLst>
                  <a:ext uri="{FF2B5EF4-FFF2-40B4-BE49-F238E27FC236}">
                    <a16:creationId xmlns:a16="http://schemas.microsoft.com/office/drawing/2014/main" id="{86E53C24-79A6-4084-86D3-32550FD47EEB}"/>
                  </a:ext>
                </a:extLst>
              </p:cNvPr>
              <p:cNvSpPr/>
              <p:nvPr/>
            </p:nvSpPr>
            <p:spPr>
              <a:xfrm flipV="1">
                <a:off x="10488123" y="5239824"/>
                <a:ext cx="103562" cy="247581"/>
              </a:xfrm>
              <a:custGeom>
                <a:avLst/>
                <a:gdLst>
                  <a:gd name="connsiteX0" fmla="*/ -4934 w 46271"/>
                  <a:gd name="connsiteY0" fmla="*/ 82830 h 90715"/>
                  <a:gd name="connsiteX1" fmla="*/ 8942 w 46271"/>
                  <a:gd name="connsiteY1" fmla="*/ -572 h 90715"/>
                  <a:gd name="connsiteX2" fmla="*/ 41337 w 46271"/>
                  <a:gd name="connsiteY2" fmla="*/ -572 h 90715"/>
                  <a:gd name="connsiteX3" fmla="*/ 30518 w 46271"/>
                  <a:gd name="connsiteY3" fmla="*/ 90143 h 90715"/>
                  <a:gd name="connsiteX4" fmla="*/ -4934 w 46271"/>
                  <a:gd name="connsiteY4" fmla="*/ 82830 h 9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71" h="90715">
                    <a:moveTo>
                      <a:pt x="-4934" y="82830"/>
                    </a:moveTo>
                    <a:lnTo>
                      <a:pt x="8942" y="-572"/>
                    </a:lnTo>
                    <a:lnTo>
                      <a:pt x="41337" y="-572"/>
                    </a:lnTo>
                    <a:lnTo>
                      <a:pt x="30518" y="90143"/>
                    </a:lnTo>
                    <a:lnTo>
                      <a:pt x="-4934" y="8283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4" name="Vrije vorm 159">
                <a:extLst>
                  <a:ext uri="{FF2B5EF4-FFF2-40B4-BE49-F238E27FC236}">
                    <a16:creationId xmlns:a16="http://schemas.microsoft.com/office/drawing/2014/main" id="{993185B0-CD2D-439A-8737-264B1D16F977}"/>
                  </a:ext>
                </a:extLst>
              </p:cNvPr>
              <p:cNvSpPr/>
              <p:nvPr/>
            </p:nvSpPr>
            <p:spPr>
              <a:xfrm flipV="1">
                <a:off x="10488123" y="5379529"/>
                <a:ext cx="344836" cy="209918"/>
              </a:xfrm>
              <a:custGeom>
                <a:avLst/>
                <a:gdLst>
                  <a:gd name="connsiteX0" fmla="*/ 51127 w 154071"/>
                  <a:gd name="connsiteY0" fmla="*/ 76392 h 76915"/>
                  <a:gd name="connsiteX1" fmla="*/ 97647 w 154071"/>
                  <a:gd name="connsiteY1" fmla="*/ 43951 h 76915"/>
                  <a:gd name="connsiteX2" fmla="*/ 148976 w 154071"/>
                  <a:gd name="connsiteY2" fmla="*/ 7905 h 76915"/>
                  <a:gd name="connsiteX3" fmla="*/ 39489 w 154071"/>
                  <a:gd name="connsiteY3" fmla="*/ 10204 h 76915"/>
                  <a:gd name="connsiteX4" fmla="*/ 39489 w 154071"/>
                  <a:gd name="connsiteY4" fmla="*/ 3057 h 76915"/>
                  <a:gd name="connsiteX5" fmla="*/ -4980 w 154071"/>
                  <a:gd name="connsiteY5" fmla="*/ 5005 h 76915"/>
                  <a:gd name="connsiteX6" fmla="*/ -4980 w 154071"/>
                  <a:gd name="connsiteY6" fmla="*/ 64056 h 76915"/>
                  <a:gd name="connsiteX7" fmla="*/ 31965 w 154071"/>
                  <a:gd name="connsiteY7" fmla="*/ 61466 h 76915"/>
                  <a:gd name="connsiteX8" fmla="*/ 29219 w 154071"/>
                  <a:gd name="connsiteY8" fmla="*/ 67308 h 76915"/>
                  <a:gd name="connsiteX9" fmla="*/ 51127 w 154071"/>
                  <a:gd name="connsiteY9" fmla="*/ 76392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4071" h="76915">
                    <a:moveTo>
                      <a:pt x="51127" y="76392"/>
                    </a:moveTo>
                    <a:cubicBezTo>
                      <a:pt x="51127" y="76392"/>
                      <a:pt x="69594" y="52382"/>
                      <a:pt x="97647" y="43951"/>
                    </a:cubicBezTo>
                    <a:cubicBezTo>
                      <a:pt x="125690" y="35509"/>
                      <a:pt x="151028" y="24778"/>
                      <a:pt x="148976" y="7905"/>
                    </a:cubicBezTo>
                    <a:cubicBezTo>
                      <a:pt x="148976" y="7905"/>
                      <a:pt x="107223" y="-12511"/>
                      <a:pt x="39489" y="10204"/>
                    </a:cubicBezTo>
                    <a:lnTo>
                      <a:pt x="39489" y="3057"/>
                    </a:lnTo>
                    <a:lnTo>
                      <a:pt x="-4980" y="5005"/>
                    </a:lnTo>
                    <a:lnTo>
                      <a:pt x="-4980" y="64056"/>
                    </a:lnTo>
                    <a:lnTo>
                      <a:pt x="31965" y="61466"/>
                    </a:lnTo>
                    <a:lnTo>
                      <a:pt x="29219" y="67308"/>
                    </a:lnTo>
                    <a:lnTo>
                      <a:pt x="51127" y="76392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5" name="Vrije vorm 160">
                <a:extLst>
                  <a:ext uri="{FF2B5EF4-FFF2-40B4-BE49-F238E27FC236}">
                    <a16:creationId xmlns:a16="http://schemas.microsoft.com/office/drawing/2014/main" id="{ECF8D9A3-4657-40C2-BFDC-FBDB93627B2E}"/>
                  </a:ext>
                </a:extLst>
              </p:cNvPr>
              <p:cNvSpPr/>
              <p:nvPr/>
            </p:nvSpPr>
            <p:spPr>
              <a:xfrm flipV="1">
                <a:off x="10488123" y="5541372"/>
                <a:ext cx="344746" cy="48078"/>
              </a:xfrm>
              <a:custGeom>
                <a:avLst/>
                <a:gdLst>
                  <a:gd name="connsiteX0" fmla="*/ 68962 w 154031"/>
                  <a:gd name="connsiteY0" fmla="*/ 9408 h 17616"/>
                  <a:gd name="connsiteX1" fmla="*/ 148624 w 154031"/>
                  <a:gd name="connsiteY1" fmla="*/ 12329 h 17616"/>
                  <a:gd name="connsiteX2" fmla="*/ 148976 w 154031"/>
                  <a:gd name="connsiteY2" fmla="*/ 7937 h 17616"/>
                  <a:gd name="connsiteX3" fmla="*/ 39489 w 154031"/>
                  <a:gd name="connsiteY3" fmla="*/ 10237 h 17616"/>
                  <a:gd name="connsiteX4" fmla="*/ 39489 w 154031"/>
                  <a:gd name="connsiteY4" fmla="*/ 3090 h 17616"/>
                  <a:gd name="connsiteX5" fmla="*/ -4979 w 154031"/>
                  <a:gd name="connsiteY5" fmla="*/ 5037 h 17616"/>
                  <a:gd name="connsiteX6" fmla="*/ -4979 w 154031"/>
                  <a:gd name="connsiteY6" fmla="*/ 16825 h 17616"/>
                  <a:gd name="connsiteX7" fmla="*/ 68962 w 154031"/>
                  <a:gd name="connsiteY7" fmla="*/ 9408 h 17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031" h="17616">
                    <a:moveTo>
                      <a:pt x="68962" y="9408"/>
                    </a:moveTo>
                    <a:cubicBezTo>
                      <a:pt x="129669" y="-6191"/>
                      <a:pt x="145079" y="11138"/>
                      <a:pt x="148624" y="12329"/>
                    </a:cubicBezTo>
                    <a:cubicBezTo>
                      <a:pt x="149017" y="10869"/>
                      <a:pt x="149152" y="9408"/>
                      <a:pt x="148976" y="7937"/>
                    </a:cubicBezTo>
                    <a:cubicBezTo>
                      <a:pt x="148976" y="7937"/>
                      <a:pt x="107223" y="-12478"/>
                      <a:pt x="39489" y="10237"/>
                    </a:cubicBezTo>
                    <a:lnTo>
                      <a:pt x="39489" y="3090"/>
                    </a:lnTo>
                    <a:lnTo>
                      <a:pt x="-4979" y="5037"/>
                    </a:lnTo>
                    <a:lnTo>
                      <a:pt x="-4979" y="16825"/>
                    </a:lnTo>
                    <a:cubicBezTo>
                      <a:pt x="10897" y="15861"/>
                      <a:pt x="24203" y="20916"/>
                      <a:pt x="68962" y="94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6" name="Vrije vorm 161">
                <a:extLst>
                  <a:ext uri="{FF2B5EF4-FFF2-40B4-BE49-F238E27FC236}">
                    <a16:creationId xmlns:a16="http://schemas.microsoft.com/office/drawing/2014/main" id="{09EF8DC4-7B60-48C5-BF61-5A76F7354ADF}"/>
                  </a:ext>
                </a:extLst>
              </p:cNvPr>
              <p:cNvSpPr/>
              <p:nvPr/>
            </p:nvSpPr>
            <p:spPr>
              <a:xfrm flipV="1">
                <a:off x="10596278" y="5413208"/>
                <a:ext cx="53579" cy="60204"/>
              </a:xfrm>
              <a:custGeom>
                <a:avLst/>
                <a:gdLst>
                  <a:gd name="connsiteX0" fmla="*/ -3349 w 23939"/>
                  <a:gd name="connsiteY0" fmla="*/ -540 h 22059"/>
                  <a:gd name="connsiteX1" fmla="*/ -1732 w 23939"/>
                  <a:gd name="connsiteY1" fmla="*/ 319 h 22059"/>
                  <a:gd name="connsiteX2" fmla="*/ 17668 w 23939"/>
                  <a:gd name="connsiteY2" fmla="*/ 17731 h 22059"/>
                  <a:gd name="connsiteX3" fmla="*/ 18860 w 23939"/>
                  <a:gd name="connsiteY3" fmla="*/ 20228 h 22059"/>
                  <a:gd name="connsiteX4" fmla="*/ 16352 w 23939"/>
                  <a:gd name="connsiteY4" fmla="*/ 21398 h 22059"/>
                  <a:gd name="connsiteX5" fmla="*/ -4966 w 23939"/>
                  <a:gd name="connsiteY5" fmla="*/ 2495 h 22059"/>
                  <a:gd name="connsiteX6" fmla="*/ -4437 w 23939"/>
                  <a:gd name="connsiteY6" fmla="*/ -209 h 22059"/>
                  <a:gd name="connsiteX7" fmla="*/ -3349 w 23939"/>
                  <a:gd name="connsiteY7" fmla="*/ -540 h 2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9">
                    <a:moveTo>
                      <a:pt x="-3349" y="-540"/>
                    </a:moveTo>
                    <a:lnTo>
                      <a:pt x="-1732" y="319"/>
                    </a:lnTo>
                    <a:cubicBezTo>
                      <a:pt x="7387" y="13909"/>
                      <a:pt x="17574" y="17700"/>
                      <a:pt x="17668" y="17731"/>
                    </a:cubicBezTo>
                    <a:cubicBezTo>
                      <a:pt x="18694" y="18104"/>
                      <a:pt x="19222" y="19223"/>
                      <a:pt x="18860" y="20228"/>
                    </a:cubicBezTo>
                    <a:cubicBezTo>
                      <a:pt x="18476" y="21253"/>
                      <a:pt x="17367" y="21771"/>
                      <a:pt x="16352" y="21398"/>
                    </a:cubicBezTo>
                    <a:cubicBezTo>
                      <a:pt x="15885" y="21243"/>
                      <a:pt x="4859" y="17130"/>
                      <a:pt x="-4966" y="2495"/>
                    </a:cubicBezTo>
                    <a:lnTo>
                      <a:pt x="-4437" y="-209"/>
                    </a:lnTo>
                    <a:lnTo>
                      <a:pt x="-3349" y="-540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7" name="Vrije vorm 162">
                <a:extLst>
                  <a:ext uri="{FF2B5EF4-FFF2-40B4-BE49-F238E27FC236}">
                    <a16:creationId xmlns:a16="http://schemas.microsoft.com/office/drawing/2014/main" id="{D15BA5C9-C189-4C6D-A43E-822F034401FC}"/>
                  </a:ext>
                </a:extLst>
              </p:cNvPr>
              <p:cNvSpPr/>
              <p:nvPr/>
            </p:nvSpPr>
            <p:spPr>
              <a:xfrm flipV="1">
                <a:off x="10619055" y="5425675"/>
                <a:ext cx="53579" cy="60201"/>
              </a:xfrm>
              <a:custGeom>
                <a:avLst/>
                <a:gdLst>
                  <a:gd name="connsiteX0" fmla="*/ -3358 w 23939"/>
                  <a:gd name="connsiteY0" fmla="*/ -535 h 22058"/>
                  <a:gd name="connsiteX1" fmla="*/ -1730 w 23939"/>
                  <a:gd name="connsiteY1" fmla="*/ 324 h 22058"/>
                  <a:gd name="connsiteX2" fmla="*/ 17669 w 23939"/>
                  <a:gd name="connsiteY2" fmla="*/ 17746 h 22058"/>
                  <a:gd name="connsiteX3" fmla="*/ 18851 w 23939"/>
                  <a:gd name="connsiteY3" fmla="*/ 20243 h 22058"/>
                  <a:gd name="connsiteX4" fmla="*/ 16353 w 23939"/>
                  <a:gd name="connsiteY4" fmla="*/ 21413 h 22058"/>
                  <a:gd name="connsiteX5" fmla="*/ -4974 w 23939"/>
                  <a:gd name="connsiteY5" fmla="*/ 2500 h 22058"/>
                  <a:gd name="connsiteX6" fmla="*/ -4435 w 23939"/>
                  <a:gd name="connsiteY6" fmla="*/ -204 h 22058"/>
                  <a:gd name="connsiteX7" fmla="*/ -3358 w 23939"/>
                  <a:gd name="connsiteY7" fmla="*/ -535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8">
                    <a:moveTo>
                      <a:pt x="-3358" y="-535"/>
                    </a:moveTo>
                    <a:lnTo>
                      <a:pt x="-1730" y="324"/>
                    </a:lnTo>
                    <a:cubicBezTo>
                      <a:pt x="7389" y="13904"/>
                      <a:pt x="17566" y="17705"/>
                      <a:pt x="17669" y="17746"/>
                    </a:cubicBezTo>
                    <a:cubicBezTo>
                      <a:pt x="18685" y="18109"/>
                      <a:pt x="19213" y="19217"/>
                      <a:pt x="18851" y="20243"/>
                    </a:cubicBezTo>
                    <a:cubicBezTo>
                      <a:pt x="18478" y="21247"/>
                      <a:pt x="17348" y="21765"/>
                      <a:pt x="16353" y="21413"/>
                    </a:cubicBezTo>
                    <a:cubicBezTo>
                      <a:pt x="15887" y="21237"/>
                      <a:pt x="4850" y="17135"/>
                      <a:pt x="-4974" y="2500"/>
                    </a:cubicBezTo>
                    <a:lnTo>
                      <a:pt x="-4435" y="-204"/>
                    </a:lnTo>
                    <a:lnTo>
                      <a:pt x="-3358" y="-535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8" name="Vrije vorm 163">
                <a:extLst>
                  <a:ext uri="{FF2B5EF4-FFF2-40B4-BE49-F238E27FC236}">
                    <a16:creationId xmlns:a16="http://schemas.microsoft.com/office/drawing/2014/main" id="{E1028ED3-DB1D-49C7-9E4F-FDF17A003330}"/>
                  </a:ext>
                </a:extLst>
              </p:cNvPr>
              <p:cNvSpPr/>
              <p:nvPr/>
            </p:nvSpPr>
            <p:spPr>
              <a:xfrm flipV="1">
                <a:off x="10641856" y="5437976"/>
                <a:ext cx="53548" cy="60228"/>
              </a:xfrm>
              <a:custGeom>
                <a:avLst/>
                <a:gdLst>
                  <a:gd name="connsiteX0" fmla="*/ -3366 w 23925"/>
                  <a:gd name="connsiteY0" fmla="*/ -530 h 22068"/>
                  <a:gd name="connsiteX1" fmla="*/ -1749 w 23925"/>
                  <a:gd name="connsiteY1" fmla="*/ 340 h 22068"/>
                  <a:gd name="connsiteX2" fmla="*/ 17661 w 23925"/>
                  <a:gd name="connsiteY2" fmla="*/ 17751 h 22068"/>
                  <a:gd name="connsiteX3" fmla="*/ 18822 w 23925"/>
                  <a:gd name="connsiteY3" fmla="*/ 20248 h 22068"/>
                  <a:gd name="connsiteX4" fmla="*/ 16324 w 23925"/>
                  <a:gd name="connsiteY4" fmla="*/ 21418 h 22068"/>
                  <a:gd name="connsiteX5" fmla="*/ -4983 w 23925"/>
                  <a:gd name="connsiteY5" fmla="*/ 2504 h 22068"/>
                  <a:gd name="connsiteX6" fmla="*/ -4454 w 23925"/>
                  <a:gd name="connsiteY6" fmla="*/ -189 h 22068"/>
                  <a:gd name="connsiteX7" fmla="*/ -3366 w 23925"/>
                  <a:gd name="connsiteY7" fmla="*/ -530 h 22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5" h="22068">
                    <a:moveTo>
                      <a:pt x="-3366" y="-530"/>
                    </a:moveTo>
                    <a:lnTo>
                      <a:pt x="-1749" y="340"/>
                    </a:lnTo>
                    <a:cubicBezTo>
                      <a:pt x="7309" y="13836"/>
                      <a:pt x="17557" y="17710"/>
                      <a:pt x="17661" y="17751"/>
                    </a:cubicBezTo>
                    <a:cubicBezTo>
                      <a:pt x="18677" y="18124"/>
                      <a:pt x="19195" y="19243"/>
                      <a:pt x="18822" y="20248"/>
                    </a:cubicBezTo>
                    <a:cubicBezTo>
                      <a:pt x="18449" y="21263"/>
                      <a:pt x="17340" y="21791"/>
                      <a:pt x="16324" y="21418"/>
                    </a:cubicBezTo>
                    <a:cubicBezTo>
                      <a:pt x="15858" y="21252"/>
                      <a:pt x="4832" y="17140"/>
                      <a:pt x="-4983" y="2504"/>
                    </a:cubicBezTo>
                    <a:lnTo>
                      <a:pt x="-4454" y="-189"/>
                    </a:lnTo>
                    <a:lnTo>
                      <a:pt x="-3366" y="-530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9" name="Vrije vorm 164">
                <a:extLst>
                  <a:ext uri="{FF2B5EF4-FFF2-40B4-BE49-F238E27FC236}">
                    <a16:creationId xmlns:a16="http://schemas.microsoft.com/office/drawing/2014/main" id="{CBFBD366-1FF0-4C2C-820C-6CAA162AE41C}"/>
                  </a:ext>
                </a:extLst>
              </p:cNvPr>
              <p:cNvSpPr/>
              <p:nvPr/>
            </p:nvSpPr>
            <p:spPr>
              <a:xfrm flipV="1">
                <a:off x="10045873" y="5239824"/>
                <a:ext cx="103609" cy="247581"/>
              </a:xfrm>
              <a:custGeom>
                <a:avLst/>
                <a:gdLst>
                  <a:gd name="connsiteX0" fmla="*/ 41523 w 46292"/>
                  <a:gd name="connsiteY0" fmla="*/ 82830 h 90715"/>
                  <a:gd name="connsiteX1" fmla="*/ 27636 w 46292"/>
                  <a:gd name="connsiteY1" fmla="*/ -572 h 90715"/>
                  <a:gd name="connsiteX2" fmla="*/ -4769 w 46292"/>
                  <a:gd name="connsiteY2" fmla="*/ -572 h 90715"/>
                  <a:gd name="connsiteX3" fmla="*/ 6071 w 46292"/>
                  <a:gd name="connsiteY3" fmla="*/ 90143 h 90715"/>
                  <a:gd name="connsiteX4" fmla="*/ 41523 w 46292"/>
                  <a:gd name="connsiteY4" fmla="*/ 82830 h 9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92" h="90715">
                    <a:moveTo>
                      <a:pt x="41523" y="82830"/>
                    </a:moveTo>
                    <a:lnTo>
                      <a:pt x="27636" y="-572"/>
                    </a:lnTo>
                    <a:lnTo>
                      <a:pt x="-4769" y="-572"/>
                    </a:lnTo>
                    <a:lnTo>
                      <a:pt x="6071" y="90143"/>
                    </a:lnTo>
                    <a:lnTo>
                      <a:pt x="41523" y="8283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0" name="Vrije vorm 165">
                <a:extLst>
                  <a:ext uri="{FF2B5EF4-FFF2-40B4-BE49-F238E27FC236}">
                    <a16:creationId xmlns:a16="http://schemas.microsoft.com/office/drawing/2014/main" id="{262F5350-0492-42F0-A774-B81D05B3CD27}"/>
                  </a:ext>
                </a:extLst>
              </p:cNvPr>
              <p:cNvSpPr/>
              <p:nvPr/>
            </p:nvSpPr>
            <p:spPr>
              <a:xfrm flipV="1">
                <a:off x="9797782" y="5379529"/>
                <a:ext cx="351698" cy="209918"/>
              </a:xfrm>
              <a:custGeom>
                <a:avLst/>
                <a:gdLst>
                  <a:gd name="connsiteX0" fmla="*/ 96309 w 157137"/>
                  <a:gd name="connsiteY0" fmla="*/ 76392 h 76915"/>
                  <a:gd name="connsiteX1" fmla="*/ 49789 w 157137"/>
                  <a:gd name="connsiteY1" fmla="*/ 43951 h 76915"/>
                  <a:gd name="connsiteX2" fmla="*/ -4618 w 157137"/>
                  <a:gd name="connsiteY2" fmla="*/ 7905 h 76915"/>
                  <a:gd name="connsiteX3" fmla="*/ 107936 w 157137"/>
                  <a:gd name="connsiteY3" fmla="*/ 10204 h 76915"/>
                  <a:gd name="connsiteX4" fmla="*/ 107936 w 157137"/>
                  <a:gd name="connsiteY4" fmla="*/ 3057 h 76915"/>
                  <a:gd name="connsiteX5" fmla="*/ 152415 w 157137"/>
                  <a:gd name="connsiteY5" fmla="*/ 5005 h 76915"/>
                  <a:gd name="connsiteX6" fmla="*/ 152415 w 157137"/>
                  <a:gd name="connsiteY6" fmla="*/ 64056 h 76915"/>
                  <a:gd name="connsiteX7" fmla="*/ 115470 w 157137"/>
                  <a:gd name="connsiteY7" fmla="*/ 61466 h 76915"/>
                  <a:gd name="connsiteX8" fmla="*/ 118196 w 157137"/>
                  <a:gd name="connsiteY8" fmla="*/ 67308 h 76915"/>
                  <a:gd name="connsiteX9" fmla="*/ 96309 w 157137"/>
                  <a:gd name="connsiteY9" fmla="*/ 76392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7137" h="76915">
                    <a:moveTo>
                      <a:pt x="96309" y="76392"/>
                    </a:moveTo>
                    <a:cubicBezTo>
                      <a:pt x="96309" y="76392"/>
                      <a:pt x="77842" y="52382"/>
                      <a:pt x="49789" y="43951"/>
                    </a:cubicBezTo>
                    <a:cubicBezTo>
                      <a:pt x="21746" y="35509"/>
                      <a:pt x="-6670" y="24778"/>
                      <a:pt x="-4618" y="7905"/>
                    </a:cubicBezTo>
                    <a:cubicBezTo>
                      <a:pt x="-4618" y="7905"/>
                      <a:pt x="40213" y="-12511"/>
                      <a:pt x="107936" y="10204"/>
                    </a:cubicBezTo>
                    <a:lnTo>
                      <a:pt x="107936" y="3057"/>
                    </a:lnTo>
                    <a:lnTo>
                      <a:pt x="152415" y="5005"/>
                    </a:lnTo>
                    <a:lnTo>
                      <a:pt x="152415" y="64056"/>
                    </a:lnTo>
                    <a:lnTo>
                      <a:pt x="115470" y="61466"/>
                    </a:lnTo>
                    <a:lnTo>
                      <a:pt x="118196" y="67308"/>
                    </a:lnTo>
                    <a:lnTo>
                      <a:pt x="96309" y="76392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1" name="Vrije vorm 166">
                <a:extLst>
                  <a:ext uri="{FF2B5EF4-FFF2-40B4-BE49-F238E27FC236}">
                    <a16:creationId xmlns:a16="http://schemas.microsoft.com/office/drawing/2014/main" id="{F8173FDC-6709-4E0D-8458-6F3282855BF6}"/>
                  </a:ext>
                </a:extLst>
              </p:cNvPr>
              <p:cNvSpPr/>
              <p:nvPr/>
            </p:nvSpPr>
            <p:spPr>
              <a:xfrm flipV="1">
                <a:off x="9797851" y="5533796"/>
                <a:ext cx="351631" cy="55654"/>
              </a:xfrm>
              <a:custGeom>
                <a:avLst/>
                <a:gdLst>
                  <a:gd name="connsiteX0" fmla="*/ 69220 w 157107"/>
                  <a:gd name="connsiteY0" fmla="*/ 6341 h 20392"/>
                  <a:gd name="connsiteX1" fmla="*/ -4296 w 157107"/>
                  <a:gd name="connsiteY1" fmla="*/ 12328 h 20392"/>
                  <a:gd name="connsiteX2" fmla="*/ -4648 w 157107"/>
                  <a:gd name="connsiteY2" fmla="*/ 7936 h 20392"/>
                  <a:gd name="connsiteX3" fmla="*/ 107906 w 157107"/>
                  <a:gd name="connsiteY3" fmla="*/ 10235 h 20392"/>
                  <a:gd name="connsiteX4" fmla="*/ 107906 w 157107"/>
                  <a:gd name="connsiteY4" fmla="*/ 3088 h 20392"/>
                  <a:gd name="connsiteX5" fmla="*/ 152385 w 157107"/>
                  <a:gd name="connsiteY5" fmla="*/ 5036 h 20392"/>
                  <a:gd name="connsiteX6" fmla="*/ 152385 w 157107"/>
                  <a:gd name="connsiteY6" fmla="*/ 19899 h 20392"/>
                  <a:gd name="connsiteX7" fmla="*/ 69220 w 157107"/>
                  <a:gd name="connsiteY7" fmla="*/ 6341 h 20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07" h="20392">
                    <a:moveTo>
                      <a:pt x="69220" y="6341"/>
                    </a:moveTo>
                    <a:cubicBezTo>
                      <a:pt x="26597" y="-361"/>
                      <a:pt x="-741" y="11137"/>
                      <a:pt x="-4296" y="12328"/>
                    </a:cubicBezTo>
                    <a:cubicBezTo>
                      <a:pt x="-4680" y="10867"/>
                      <a:pt x="-4825" y="9407"/>
                      <a:pt x="-4648" y="7936"/>
                    </a:cubicBezTo>
                    <a:cubicBezTo>
                      <a:pt x="-4648" y="7936"/>
                      <a:pt x="40182" y="-12480"/>
                      <a:pt x="107906" y="10235"/>
                    </a:cubicBezTo>
                    <a:lnTo>
                      <a:pt x="107906" y="3088"/>
                    </a:lnTo>
                    <a:lnTo>
                      <a:pt x="152385" y="5036"/>
                    </a:lnTo>
                    <a:lnTo>
                      <a:pt x="152385" y="19899"/>
                    </a:lnTo>
                    <a:cubicBezTo>
                      <a:pt x="136508" y="18936"/>
                      <a:pt x="110124" y="12773"/>
                      <a:pt x="69220" y="6341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2" name="Vrije vorm 167">
                <a:extLst>
                  <a:ext uri="{FF2B5EF4-FFF2-40B4-BE49-F238E27FC236}">
                    <a16:creationId xmlns:a16="http://schemas.microsoft.com/office/drawing/2014/main" id="{4FDF349A-0AD0-4DDD-BB38-DC20C73ECADD}"/>
                  </a:ext>
                </a:extLst>
              </p:cNvPr>
              <p:cNvSpPr/>
              <p:nvPr/>
            </p:nvSpPr>
            <p:spPr>
              <a:xfrm flipV="1">
                <a:off x="9987746" y="5413208"/>
                <a:ext cx="53579" cy="60204"/>
              </a:xfrm>
              <a:custGeom>
                <a:avLst/>
                <a:gdLst>
                  <a:gd name="connsiteX0" fmla="*/ 17585 w 23939"/>
                  <a:gd name="connsiteY0" fmla="*/ -540 h 22059"/>
                  <a:gd name="connsiteX1" fmla="*/ 15947 w 23939"/>
                  <a:gd name="connsiteY1" fmla="*/ 319 h 22059"/>
                  <a:gd name="connsiteX2" fmla="*/ -3453 w 23939"/>
                  <a:gd name="connsiteY2" fmla="*/ 17731 h 22059"/>
                  <a:gd name="connsiteX3" fmla="*/ -4624 w 23939"/>
                  <a:gd name="connsiteY3" fmla="*/ 20228 h 22059"/>
                  <a:gd name="connsiteX4" fmla="*/ -2126 w 23939"/>
                  <a:gd name="connsiteY4" fmla="*/ 21398 h 22059"/>
                  <a:gd name="connsiteX5" fmla="*/ 19202 w 23939"/>
                  <a:gd name="connsiteY5" fmla="*/ 2495 h 22059"/>
                  <a:gd name="connsiteX6" fmla="*/ 18663 w 23939"/>
                  <a:gd name="connsiteY6" fmla="*/ -209 h 22059"/>
                  <a:gd name="connsiteX7" fmla="*/ 17585 w 23939"/>
                  <a:gd name="connsiteY7" fmla="*/ -540 h 2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9">
                    <a:moveTo>
                      <a:pt x="17585" y="-540"/>
                    </a:moveTo>
                    <a:lnTo>
                      <a:pt x="15947" y="319"/>
                    </a:lnTo>
                    <a:cubicBezTo>
                      <a:pt x="6849" y="13909"/>
                      <a:pt x="-3338" y="17700"/>
                      <a:pt x="-3453" y="17731"/>
                    </a:cubicBezTo>
                    <a:cubicBezTo>
                      <a:pt x="-4458" y="18104"/>
                      <a:pt x="-4986" y="19223"/>
                      <a:pt x="-4624" y="20228"/>
                    </a:cubicBezTo>
                    <a:cubicBezTo>
                      <a:pt x="-4250" y="21253"/>
                      <a:pt x="-3131" y="21771"/>
                      <a:pt x="-2126" y="21398"/>
                    </a:cubicBezTo>
                    <a:cubicBezTo>
                      <a:pt x="-1659" y="21243"/>
                      <a:pt x="9377" y="17130"/>
                      <a:pt x="19202" y="2495"/>
                    </a:cubicBezTo>
                    <a:lnTo>
                      <a:pt x="18663" y="-209"/>
                    </a:lnTo>
                    <a:lnTo>
                      <a:pt x="17585" y="-540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3" name="Vrije vorm 168">
                <a:extLst>
                  <a:ext uri="{FF2B5EF4-FFF2-40B4-BE49-F238E27FC236}">
                    <a16:creationId xmlns:a16="http://schemas.microsoft.com/office/drawing/2014/main" id="{6A0C17EC-5588-4A11-A94D-BDD7510ABA6D}"/>
                  </a:ext>
                </a:extLst>
              </p:cNvPr>
              <p:cNvSpPr/>
              <p:nvPr/>
            </p:nvSpPr>
            <p:spPr>
              <a:xfrm flipV="1">
                <a:off x="9964968" y="5425675"/>
                <a:ext cx="53582" cy="60201"/>
              </a:xfrm>
              <a:custGeom>
                <a:avLst/>
                <a:gdLst>
                  <a:gd name="connsiteX0" fmla="*/ 17584 w 23940"/>
                  <a:gd name="connsiteY0" fmla="*/ -535 h 22058"/>
                  <a:gd name="connsiteX1" fmla="*/ 15967 w 23940"/>
                  <a:gd name="connsiteY1" fmla="*/ 324 h 22058"/>
                  <a:gd name="connsiteX2" fmla="*/ -3433 w 23940"/>
                  <a:gd name="connsiteY2" fmla="*/ 17746 h 22058"/>
                  <a:gd name="connsiteX3" fmla="*/ -4614 w 23940"/>
                  <a:gd name="connsiteY3" fmla="*/ 20243 h 22058"/>
                  <a:gd name="connsiteX4" fmla="*/ -2116 w 23940"/>
                  <a:gd name="connsiteY4" fmla="*/ 21413 h 22058"/>
                  <a:gd name="connsiteX5" fmla="*/ 19211 w 23940"/>
                  <a:gd name="connsiteY5" fmla="*/ 2500 h 22058"/>
                  <a:gd name="connsiteX6" fmla="*/ 18672 w 23940"/>
                  <a:gd name="connsiteY6" fmla="*/ -204 h 22058"/>
                  <a:gd name="connsiteX7" fmla="*/ 17584 w 23940"/>
                  <a:gd name="connsiteY7" fmla="*/ -535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40" h="22058">
                    <a:moveTo>
                      <a:pt x="17584" y="-535"/>
                    </a:moveTo>
                    <a:lnTo>
                      <a:pt x="15967" y="324"/>
                    </a:lnTo>
                    <a:cubicBezTo>
                      <a:pt x="6848" y="13904"/>
                      <a:pt x="-3329" y="17705"/>
                      <a:pt x="-3433" y="17746"/>
                    </a:cubicBezTo>
                    <a:cubicBezTo>
                      <a:pt x="-4459" y="18109"/>
                      <a:pt x="-4977" y="19217"/>
                      <a:pt x="-4614" y="20243"/>
                    </a:cubicBezTo>
                    <a:cubicBezTo>
                      <a:pt x="-4241" y="21247"/>
                      <a:pt x="-3122" y="21765"/>
                      <a:pt x="-2116" y="21413"/>
                    </a:cubicBezTo>
                    <a:cubicBezTo>
                      <a:pt x="-1650" y="21237"/>
                      <a:pt x="9376" y="17135"/>
                      <a:pt x="19211" y="2500"/>
                    </a:cubicBezTo>
                    <a:lnTo>
                      <a:pt x="18672" y="-204"/>
                    </a:lnTo>
                    <a:lnTo>
                      <a:pt x="17584" y="-535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4" name="Vrije vorm 169">
                <a:extLst>
                  <a:ext uri="{FF2B5EF4-FFF2-40B4-BE49-F238E27FC236}">
                    <a16:creationId xmlns:a16="http://schemas.microsoft.com/office/drawing/2014/main" id="{6898B399-3D6D-46F8-A59F-1237172AFA0A}"/>
                  </a:ext>
                </a:extLst>
              </p:cNvPr>
              <p:cNvSpPr/>
              <p:nvPr/>
            </p:nvSpPr>
            <p:spPr>
              <a:xfrm flipV="1">
                <a:off x="9942190" y="5437976"/>
                <a:ext cx="53559" cy="60228"/>
              </a:xfrm>
              <a:custGeom>
                <a:avLst/>
                <a:gdLst>
                  <a:gd name="connsiteX0" fmla="*/ 17592 w 23930"/>
                  <a:gd name="connsiteY0" fmla="*/ -530 h 22068"/>
                  <a:gd name="connsiteX1" fmla="*/ 15976 w 23930"/>
                  <a:gd name="connsiteY1" fmla="*/ 340 h 22068"/>
                  <a:gd name="connsiteX2" fmla="*/ -3435 w 23930"/>
                  <a:gd name="connsiteY2" fmla="*/ 17751 h 22068"/>
                  <a:gd name="connsiteX3" fmla="*/ -4605 w 23930"/>
                  <a:gd name="connsiteY3" fmla="*/ 20248 h 22068"/>
                  <a:gd name="connsiteX4" fmla="*/ -2108 w 23930"/>
                  <a:gd name="connsiteY4" fmla="*/ 21418 h 22068"/>
                  <a:gd name="connsiteX5" fmla="*/ 19209 w 23930"/>
                  <a:gd name="connsiteY5" fmla="*/ 2504 h 22068"/>
                  <a:gd name="connsiteX6" fmla="*/ 18670 w 23930"/>
                  <a:gd name="connsiteY6" fmla="*/ -189 h 22068"/>
                  <a:gd name="connsiteX7" fmla="*/ 17592 w 23930"/>
                  <a:gd name="connsiteY7" fmla="*/ -530 h 22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8">
                    <a:moveTo>
                      <a:pt x="17592" y="-530"/>
                    </a:moveTo>
                    <a:lnTo>
                      <a:pt x="15976" y="340"/>
                    </a:lnTo>
                    <a:cubicBezTo>
                      <a:pt x="6918" y="13836"/>
                      <a:pt x="-3341" y="17710"/>
                      <a:pt x="-3435" y="17751"/>
                    </a:cubicBezTo>
                    <a:cubicBezTo>
                      <a:pt x="-4450" y="18124"/>
                      <a:pt x="-4968" y="19243"/>
                      <a:pt x="-4605" y="20248"/>
                    </a:cubicBezTo>
                    <a:cubicBezTo>
                      <a:pt x="-4233" y="21263"/>
                      <a:pt x="-3113" y="21791"/>
                      <a:pt x="-2108" y="21418"/>
                    </a:cubicBezTo>
                    <a:cubicBezTo>
                      <a:pt x="-1642" y="21252"/>
                      <a:pt x="9395" y="17140"/>
                      <a:pt x="19209" y="2504"/>
                    </a:cubicBezTo>
                    <a:lnTo>
                      <a:pt x="18670" y="-189"/>
                    </a:lnTo>
                    <a:lnTo>
                      <a:pt x="17592" y="-530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5" name="Vrije vorm 170">
                <a:extLst>
                  <a:ext uri="{FF2B5EF4-FFF2-40B4-BE49-F238E27FC236}">
                    <a16:creationId xmlns:a16="http://schemas.microsoft.com/office/drawing/2014/main" id="{48506ED5-B521-4C75-901A-0D461955E295}"/>
                  </a:ext>
                </a:extLst>
              </p:cNvPr>
              <p:cNvSpPr/>
              <p:nvPr/>
            </p:nvSpPr>
            <p:spPr>
              <a:xfrm flipV="1">
                <a:off x="10007023" y="3405379"/>
                <a:ext cx="614606" cy="1999898"/>
              </a:xfrm>
              <a:custGeom>
                <a:avLst/>
                <a:gdLst>
                  <a:gd name="connsiteX0" fmla="*/ 202206 w 274603"/>
                  <a:gd name="connsiteY0" fmla="*/ 718736 h 732774"/>
                  <a:gd name="connsiteX1" fmla="*/ 235938 w 274603"/>
                  <a:gd name="connsiteY1" fmla="*/ 316017 h 732774"/>
                  <a:gd name="connsiteX2" fmla="*/ 269753 w 274603"/>
                  <a:gd name="connsiteY2" fmla="*/ 21063 h 732774"/>
                  <a:gd name="connsiteX3" fmla="*/ 191884 w 274603"/>
                  <a:gd name="connsiteY3" fmla="*/ 8789 h 732774"/>
                  <a:gd name="connsiteX4" fmla="*/ 145779 w 274603"/>
                  <a:gd name="connsiteY4" fmla="*/ 297591 h 732774"/>
                  <a:gd name="connsiteX5" fmla="*/ 108886 w 274603"/>
                  <a:gd name="connsiteY5" fmla="*/ 572057 h 732774"/>
                  <a:gd name="connsiteX6" fmla="*/ 88387 w 274603"/>
                  <a:gd name="connsiteY6" fmla="*/ 572057 h 732774"/>
                  <a:gd name="connsiteX7" fmla="*/ 70977 w 274603"/>
                  <a:gd name="connsiteY7" fmla="*/ 8789 h 732774"/>
                  <a:gd name="connsiteX8" fmla="*/ -4850 w 274603"/>
                  <a:gd name="connsiteY8" fmla="*/ 6738 h 732774"/>
                  <a:gd name="connsiteX9" fmla="*/ 1295 w 274603"/>
                  <a:gd name="connsiteY9" fmla="*/ 731818 h 732774"/>
                  <a:gd name="connsiteX10" fmla="*/ 202206 w 274603"/>
                  <a:gd name="connsiteY10" fmla="*/ 718736 h 732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4603" h="732774">
                    <a:moveTo>
                      <a:pt x="202206" y="718736"/>
                    </a:moveTo>
                    <a:lnTo>
                      <a:pt x="235938" y="316017"/>
                    </a:lnTo>
                    <a:lnTo>
                      <a:pt x="269753" y="21063"/>
                    </a:lnTo>
                    <a:cubicBezTo>
                      <a:pt x="269753" y="21063"/>
                      <a:pt x="253359" y="-1455"/>
                      <a:pt x="191884" y="8789"/>
                    </a:cubicBezTo>
                    <a:lnTo>
                      <a:pt x="145779" y="297591"/>
                    </a:lnTo>
                    <a:lnTo>
                      <a:pt x="108886" y="572057"/>
                    </a:lnTo>
                    <a:lnTo>
                      <a:pt x="88387" y="572057"/>
                    </a:lnTo>
                    <a:lnTo>
                      <a:pt x="70977" y="8789"/>
                    </a:lnTo>
                    <a:cubicBezTo>
                      <a:pt x="70977" y="8789"/>
                      <a:pt x="44333" y="-11699"/>
                      <a:pt x="-4850" y="6738"/>
                    </a:cubicBezTo>
                    <a:lnTo>
                      <a:pt x="1295" y="731818"/>
                    </a:lnTo>
                    <a:lnTo>
                      <a:pt x="202206" y="718736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6" name="Vrije vorm 171">
                <a:extLst>
                  <a:ext uri="{FF2B5EF4-FFF2-40B4-BE49-F238E27FC236}">
                    <a16:creationId xmlns:a16="http://schemas.microsoft.com/office/drawing/2014/main" id="{8A02C6EA-8E12-45D0-9744-B0A87C8A6AE3}"/>
                  </a:ext>
                </a:extLst>
              </p:cNvPr>
              <p:cNvSpPr/>
              <p:nvPr/>
            </p:nvSpPr>
            <p:spPr>
              <a:xfrm flipV="1">
                <a:off x="10215703" y="2260815"/>
                <a:ext cx="160597" cy="405605"/>
              </a:xfrm>
              <a:custGeom>
                <a:avLst/>
                <a:gdLst>
                  <a:gd name="connsiteX0" fmla="*/ -4843 w 71754"/>
                  <a:gd name="connsiteY0" fmla="*/ 112648 h 148616"/>
                  <a:gd name="connsiteX1" fmla="*/ -2076 w 71754"/>
                  <a:gd name="connsiteY1" fmla="*/ -1735 h 148616"/>
                  <a:gd name="connsiteX2" fmla="*/ 66912 w 71754"/>
                  <a:gd name="connsiteY2" fmla="*/ 29091 h 148616"/>
                  <a:gd name="connsiteX3" fmla="*/ 64735 w 71754"/>
                  <a:gd name="connsiteY3" fmla="*/ 146882 h 148616"/>
                  <a:gd name="connsiteX4" fmla="*/ -4843 w 71754"/>
                  <a:gd name="connsiteY4" fmla="*/ 112648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-4843" y="112648"/>
                    </a:moveTo>
                    <a:lnTo>
                      <a:pt x="-2076" y="-1735"/>
                    </a:lnTo>
                    <a:lnTo>
                      <a:pt x="66912" y="29091"/>
                    </a:lnTo>
                    <a:lnTo>
                      <a:pt x="64735" y="146882"/>
                    </a:lnTo>
                    <a:lnTo>
                      <a:pt x="-4843" y="112648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7" name="Vrije vorm 172">
                <a:extLst>
                  <a:ext uri="{FF2B5EF4-FFF2-40B4-BE49-F238E27FC236}">
                    <a16:creationId xmlns:a16="http://schemas.microsoft.com/office/drawing/2014/main" id="{6ADD9500-5F63-480A-AFFA-D17E6F86267C}"/>
                  </a:ext>
                </a:extLst>
              </p:cNvPr>
              <p:cNvSpPr/>
              <p:nvPr/>
            </p:nvSpPr>
            <p:spPr>
              <a:xfrm flipV="1">
                <a:off x="9964668" y="2468366"/>
                <a:ext cx="714365" cy="1013218"/>
              </a:xfrm>
              <a:custGeom>
                <a:avLst/>
                <a:gdLst>
                  <a:gd name="connsiteX0" fmla="*/ -3775 w 319175"/>
                  <a:gd name="connsiteY0" fmla="*/ 326754 h 371249"/>
                  <a:gd name="connsiteX1" fmla="*/ 16122 w 319175"/>
                  <a:gd name="connsiteY1" fmla="*/ 18199 h 371249"/>
                  <a:gd name="connsiteX2" fmla="*/ 147621 w 319175"/>
                  <a:gd name="connsiteY2" fmla="*/ -1201 h 371249"/>
                  <a:gd name="connsiteX3" fmla="*/ 221126 w 319175"/>
                  <a:gd name="connsiteY3" fmla="*/ 13310 h 371249"/>
                  <a:gd name="connsiteX4" fmla="*/ 314323 w 319175"/>
                  <a:gd name="connsiteY4" fmla="*/ 358936 h 371249"/>
                  <a:gd name="connsiteX5" fmla="*/ 174834 w 319175"/>
                  <a:gd name="connsiteY5" fmla="*/ 369719 h 371249"/>
                  <a:gd name="connsiteX6" fmla="*/ 134511 w 319175"/>
                  <a:gd name="connsiteY6" fmla="*/ 332378 h 371249"/>
                  <a:gd name="connsiteX7" fmla="*/ 101929 w 319175"/>
                  <a:gd name="connsiteY7" fmla="*/ 367139 h 371249"/>
                  <a:gd name="connsiteX8" fmla="*/ -4853 w 319175"/>
                  <a:gd name="connsiteY8" fmla="*/ 354658 h 371249"/>
                  <a:gd name="connsiteX9" fmla="*/ -3775 w 319175"/>
                  <a:gd name="connsiteY9" fmla="*/ 326754 h 371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9175" h="371249">
                    <a:moveTo>
                      <a:pt x="-3775" y="326754"/>
                    </a:moveTo>
                    <a:cubicBezTo>
                      <a:pt x="-3775" y="326754"/>
                      <a:pt x="2868" y="122080"/>
                      <a:pt x="16122" y="18199"/>
                    </a:cubicBezTo>
                    <a:cubicBezTo>
                      <a:pt x="16122" y="18199"/>
                      <a:pt x="66830" y="-4505"/>
                      <a:pt x="147621" y="-1201"/>
                    </a:cubicBezTo>
                    <a:cubicBezTo>
                      <a:pt x="204680" y="1119"/>
                      <a:pt x="221126" y="13310"/>
                      <a:pt x="221126" y="13310"/>
                    </a:cubicBezTo>
                    <a:lnTo>
                      <a:pt x="314323" y="358936"/>
                    </a:lnTo>
                    <a:cubicBezTo>
                      <a:pt x="314323" y="358936"/>
                      <a:pt x="261802" y="369822"/>
                      <a:pt x="174834" y="369719"/>
                    </a:cubicBezTo>
                    <a:lnTo>
                      <a:pt x="134511" y="332378"/>
                    </a:lnTo>
                    <a:cubicBezTo>
                      <a:pt x="134511" y="332378"/>
                      <a:pt x="123557" y="361370"/>
                      <a:pt x="101929" y="367139"/>
                    </a:cubicBezTo>
                    <a:cubicBezTo>
                      <a:pt x="69151" y="364881"/>
                      <a:pt x="33367" y="360956"/>
                      <a:pt x="-4853" y="354658"/>
                    </a:cubicBezTo>
                    <a:lnTo>
                      <a:pt x="-3775" y="326754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8" name="Vrije vorm 173">
                <a:extLst>
                  <a:ext uri="{FF2B5EF4-FFF2-40B4-BE49-F238E27FC236}">
                    <a16:creationId xmlns:a16="http://schemas.microsoft.com/office/drawing/2014/main" id="{B4128F31-6B7E-4509-9BBD-0EB941814666}"/>
                  </a:ext>
                </a:extLst>
              </p:cNvPr>
              <p:cNvSpPr/>
              <p:nvPr/>
            </p:nvSpPr>
            <p:spPr>
              <a:xfrm flipV="1">
                <a:off x="10523215" y="2496496"/>
                <a:ext cx="310225" cy="697342"/>
              </a:xfrm>
              <a:custGeom>
                <a:avLst/>
                <a:gdLst>
                  <a:gd name="connsiteX0" fmla="*/ 133621 w 138607"/>
                  <a:gd name="connsiteY0" fmla="*/ 38794 h 255510"/>
                  <a:gd name="connsiteX1" fmla="*/ 65380 w 138607"/>
                  <a:gd name="connsiteY1" fmla="*/ 253929 h 255510"/>
                  <a:gd name="connsiteX2" fmla="*/ -4986 w 138607"/>
                  <a:gd name="connsiteY2" fmla="*/ 229650 h 255510"/>
                  <a:gd name="connsiteX3" fmla="*/ 69898 w 138607"/>
                  <a:gd name="connsiteY3" fmla="*/ -1582 h 255510"/>
                  <a:gd name="connsiteX4" fmla="*/ 133621 w 138607"/>
                  <a:gd name="connsiteY4" fmla="*/ 38794 h 255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607" h="255510">
                    <a:moveTo>
                      <a:pt x="133621" y="38794"/>
                    </a:moveTo>
                    <a:lnTo>
                      <a:pt x="65380" y="253929"/>
                    </a:lnTo>
                    <a:lnTo>
                      <a:pt x="-4986" y="229650"/>
                    </a:lnTo>
                    <a:lnTo>
                      <a:pt x="69898" y="-1582"/>
                    </a:lnTo>
                    <a:lnTo>
                      <a:pt x="133621" y="38794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9" name="Vrije vorm 174">
                <a:extLst>
                  <a:ext uri="{FF2B5EF4-FFF2-40B4-BE49-F238E27FC236}">
                    <a16:creationId xmlns:a16="http://schemas.microsoft.com/office/drawing/2014/main" id="{7C6F55D7-BCA9-4560-844E-5527E3A31425}"/>
                  </a:ext>
                </a:extLst>
              </p:cNvPr>
              <p:cNvSpPr/>
              <p:nvPr/>
            </p:nvSpPr>
            <p:spPr>
              <a:xfrm flipV="1">
                <a:off x="10009145" y="3456896"/>
                <a:ext cx="69757" cy="80102"/>
              </a:xfrm>
              <a:custGeom>
                <a:avLst/>
                <a:gdLst>
                  <a:gd name="connsiteX0" fmla="*/ 26418 w 31167"/>
                  <a:gd name="connsiteY0" fmla="*/ 18981 h 29350"/>
                  <a:gd name="connsiteX1" fmla="*/ 448 w 31167"/>
                  <a:gd name="connsiteY1" fmla="*/ 27692 h 29350"/>
                  <a:gd name="connsiteX2" fmla="*/ -4536 w 31167"/>
                  <a:gd name="connsiteY2" fmla="*/ 19250 h 29350"/>
                  <a:gd name="connsiteX3" fmla="*/ 448 w 31167"/>
                  <a:gd name="connsiteY3" fmla="*/ 7277 h 29350"/>
                  <a:gd name="connsiteX4" fmla="*/ 22573 w 31167"/>
                  <a:gd name="connsiteY4" fmla="*/ -1321 h 29350"/>
                  <a:gd name="connsiteX5" fmla="*/ 26418 w 31167"/>
                  <a:gd name="connsiteY5" fmla="*/ 18981 h 2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67" h="29350">
                    <a:moveTo>
                      <a:pt x="26418" y="18981"/>
                    </a:moveTo>
                    <a:cubicBezTo>
                      <a:pt x="9060" y="22710"/>
                      <a:pt x="645" y="27630"/>
                      <a:pt x="448" y="27692"/>
                    </a:cubicBezTo>
                    <a:cubicBezTo>
                      <a:pt x="-4630" y="29380"/>
                      <a:pt x="-3977" y="24460"/>
                      <a:pt x="-4536" y="19250"/>
                    </a:cubicBezTo>
                    <a:cubicBezTo>
                      <a:pt x="-5293" y="12373"/>
                      <a:pt x="-4122" y="8696"/>
                      <a:pt x="448" y="7277"/>
                    </a:cubicBezTo>
                    <a:cubicBezTo>
                      <a:pt x="1277" y="7028"/>
                      <a:pt x="5298" y="2833"/>
                      <a:pt x="22573" y="-1321"/>
                    </a:cubicBezTo>
                    <a:cubicBezTo>
                      <a:pt x="23869" y="5443"/>
                      <a:pt x="25154" y="12207"/>
                      <a:pt x="26418" y="18981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0" name="Vrije vorm 175">
                <a:extLst>
                  <a:ext uri="{FF2B5EF4-FFF2-40B4-BE49-F238E27FC236}">
                    <a16:creationId xmlns:a16="http://schemas.microsoft.com/office/drawing/2014/main" id="{974F91C1-4F1C-43C0-A126-D053B0602246}"/>
                  </a:ext>
                </a:extLst>
              </p:cNvPr>
              <p:cNvSpPr/>
              <p:nvPr/>
            </p:nvSpPr>
            <p:spPr>
              <a:xfrm flipV="1">
                <a:off x="10107152" y="3489000"/>
                <a:ext cx="255880" cy="70970"/>
              </a:xfrm>
              <a:custGeom>
                <a:avLst/>
                <a:gdLst>
                  <a:gd name="connsiteX0" fmla="*/ 106957 w 114326"/>
                  <a:gd name="connsiteY0" fmla="*/ 21867 h 26004"/>
                  <a:gd name="connsiteX1" fmla="*/ 43648 w 114326"/>
                  <a:gd name="connsiteY1" fmla="*/ 20199 h 26004"/>
                  <a:gd name="connsiteX2" fmla="*/ -3121 w 114326"/>
                  <a:gd name="connsiteY2" fmla="*/ 24695 h 26004"/>
                  <a:gd name="connsiteX3" fmla="*/ -4821 w 114326"/>
                  <a:gd name="connsiteY3" fmla="*/ 3668 h 26004"/>
                  <a:gd name="connsiteX4" fmla="*/ 43213 w 114326"/>
                  <a:gd name="connsiteY4" fmla="*/ -1169 h 26004"/>
                  <a:gd name="connsiteX5" fmla="*/ 65069 w 114326"/>
                  <a:gd name="connsiteY5" fmla="*/ -1221 h 26004"/>
                  <a:gd name="connsiteX6" fmla="*/ 109506 w 114326"/>
                  <a:gd name="connsiteY6" fmla="*/ 1534 h 26004"/>
                  <a:gd name="connsiteX7" fmla="*/ 106957 w 114326"/>
                  <a:gd name="connsiteY7" fmla="*/ 21867 h 26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26" h="26004">
                    <a:moveTo>
                      <a:pt x="106957" y="21867"/>
                    </a:moveTo>
                    <a:cubicBezTo>
                      <a:pt x="87661" y="20033"/>
                      <a:pt x="66530" y="19660"/>
                      <a:pt x="43648" y="20199"/>
                    </a:cubicBezTo>
                    <a:cubicBezTo>
                      <a:pt x="25989" y="20624"/>
                      <a:pt x="10165" y="22457"/>
                      <a:pt x="-3121" y="24695"/>
                    </a:cubicBezTo>
                    <a:cubicBezTo>
                      <a:pt x="-2696" y="17641"/>
                      <a:pt x="-3629" y="10649"/>
                      <a:pt x="-4821" y="3668"/>
                    </a:cubicBezTo>
                    <a:cubicBezTo>
                      <a:pt x="8714" y="1234"/>
                      <a:pt x="24891" y="-734"/>
                      <a:pt x="43213" y="-1169"/>
                    </a:cubicBezTo>
                    <a:cubicBezTo>
                      <a:pt x="50664" y="-1335"/>
                      <a:pt x="57949" y="-1356"/>
                      <a:pt x="65069" y="-1221"/>
                    </a:cubicBezTo>
                    <a:cubicBezTo>
                      <a:pt x="81018" y="-931"/>
                      <a:pt x="95712" y="-61"/>
                      <a:pt x="109506" y="1534"/>
                    </a:cubicBezTo>
                    <a:cubicBezTo>
                      <a:pt x="107993" y="8205"/>
                      <a:pt x="107092" y="14979"/>
                      <a:pt x="106957" y="21867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1" name="Vrije vorm 176">
                <a:extLst>
                  <a:ext uri="{FF2B5EF4-FFF2-40B4-BE49-F238E27FC236}">
                    <a16:creationId xmlns:a16="http://schemas.microsoft.com/office/drawing/2014/main" id="{3EF9D638-65EF-4645-B1F6-987D23C6A21C}"/>
                  </a:ext>
                </a:extLst>
              </p:cNvPr>
              <p:cNvSpPr/>
              <p:nvPr/>
            </p:nvSpPr>
            <p:spPr>
              <a:xfrm flipV="1">
                <a:off x="10385673" y="3469027"/>
                <a:ext cx="99719" cy="78601"/>
              </a:xfrm>
              <a:custGeom>
                <a:avLst/>
                <a:gdLst>
                  <a:gd name="connsiteX0" fmla="*/ 39044 w 44554"/>
                  <a:gd name="connsiteY0" fmla="*/ 19089 h 28800"/>
                  <a:gd name="connsiteX1" fmla="*/ 32360 w 44554"/>
                  <a:gd name="connsiteY1" fmla="*/ 27117 h 28800"/>
                  <a:gd name="connsiteX2" fmla="*/ -4895 w 44554"/>
                  <a:gd name="connsiteY2" fmla="*/ 18758 h 28800"/>
                  <a:gd name="connsiteX3" fmla="*/ -2460 w 44554"/>
                  <a:gd name="connsiteY3" fmla="*/ -1316 h 28800"/>
                  <a:gd name="connsiteX4" fmla="*/ 36650 w 44554"/>
                  <a:gd name="connsiteY4" fmla="*/ 8503 h 28800"/>
                  <a:gd name="connsiteX5" fmla="*/ 39044 w 44554"/>
                  <a:gd name="connsiteY5" fmla="*/ 19089 h 2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554" h="28800">
                    <a:moveTo>
                      <a:pt x="39044" y="19089"/>
                    </a:moveTo>
                    <a:cubicBezTo>
                      <a:pt x="38060" y="24247"/>
                      <a:pt x="37448" y="28836"/>
                      <a:pt x="32360" y="27117"/>
                    </a:cubicBezTo>
                    <a:cubicBezTo>
                      <a:pt x="21002" y="23294"/>
                      <a:pt x="8545" y="20601"/>
                      <a:pt x="-4895" y="18758"/>
                    </a:cubicBezTo>
                    <a:cubicBezTo>
                      <a:pt x="-4450" y="12015"/>
                      <a:pt x="-3465" y="5354"/>
                      <a:pt x="-2460" y="-1316"/>
                    </a:cubicBezTo>
                    <a:cubicBezTo>
                      <a:pt x="11520" y="900"/>
                      <a:pt x="24515" y="4029"/>
                      <a:pt x="36650" y="8503"/>
                    </a:cubicBezTo>
                    <a:cubicBezTo>
                      <a:pt x="40194" y="9798"/>
                      <a:pt x="40039" y="13869"/>
                      <a:pt x="39044" y="19089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2" name="Vrije vorm 177">
                <a:extLst>
                  <a:ext uri="{FF2B5EF4-FFF2-40B4-BE49-F238E27FC236}">
                    <a16:creationId xmlns:a16="http://schemas.microsoft.com/office/drawing/2014/main" id="{67127D22-749A-4615-AE29-17300A611380}"/>
                  </a:ext>
                </a:extLst>
              </p:cNvPr>
              <p:cNvSpPr/>
              <p:nvPr/>
            </p:nvSpPr>
            <p:spPr>
              <a:xfrm flipV="1">
                <a:off x="10185944" y="3492138"/>
                <a:ext cx="101543" cy="75534"/>
              </a:xfrm>
              <a:custGeom>
                <a:avLst/>
                <a:gdLst>
                  <a:gd name="connsiteX0" fmla="*/ 32859 w 45369"/>
                  <a:gd name="connsiteY0" fmla="*/ 3385 h 27676"/>
                  <a:gd name="connsiteX1" fmla="*/ 3179 w 45369"/>
                  <a:gd name="connsiteY1" fmla="*/ 4887 h 27676"/>
                  <a:gd name="connsiteX2" fmla="*/ 2868 w 45369"/>
                  <a:gd name="connsiteY2" fmla="*/ 21677 h 27676"/>
                  <a:gd name="connsiteX3" fmla="*/ 32527 w 45369"/>
                  <a:gd name="connsiteY3" fmla="*/ 21480 h 27676"/>
                  <a:gd name="connsiteX4" fmla="*/ -4821 w 45369"/>
                  <a:gd name="connsiteY4" fmla="*/ 26369 h 27676"/>
                  <a:gd name="connsiteX5" fmla="*/ -4355 w 45369"/>
                  <a:gd name="connsiteY5" fmla="*/ 961 h 27676"/>
                  <a:gd name="connsiteX6" fmla="*/ 40549 w 45369"/>
                  <a:gd name="connsiteY6" fmla="*/ -1307 h 27676"/>
                  <a:gd name="connsiteX7" fmla="*/ 40041 w 45369"/>
                  <a:gd name="connsiteY7" fmla="*/ 26069 h 27676"/>
                  <a:gd name="connsiteX8" fmla="*/ -4821 w 45369"/>
                  <a:gd name="connsiteY8" fmla="*/ 26369 h 2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69" h="27676">
                    <a:moveTo>
                      <a:pt x="32859" y="3385"/>
                    </a:moveTo>
                    <a:lnTo>
                      <a:pt x="3179" y="4887"/>
                    </a:lnTo>
                    <a:lnTo>
                      <a:pt x="2868" y="21677"/>
                    </a:lnTo>
                    <a:lnTo>
                      <a:pt x="32527" y="21480"/>
                    </a:lnTo>
                    <a:close/>
                    <a:moveTo>
                      <a:pt x="-4821" y="26369"/>
                    </a:moveTo>
                    <a:lnTo>
                      <a:pt x="-4355" y="961"/>
                    </a:lnTo>
                    <a:lnTo>
                      <a:pt x="40549" y="-1307"/>
                    </a:lnTo>
                    <a:lnTo>
                      <a:pt x="40041" y="26069"/>
                    </a:lnTo>
                    <a:lnTo>
                      <a:pt x="-4821" y="26369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3" name="Vrije vorm 178">
                <a:extLst>
                  <a:ext uri="{FF2B5EF4-FFF2-40B4-BE49-F238E27FC236}">
                    <a16:creationId xmlns:a16="http://schemas.microsoft.com/office/drawing/2014/main" id="{5B923B41-AC04-4DD7-8C4D-AE2FC593D9A0}"/>
                  </a:ext>
                </a:extLst>
              </p:cNvPr>
              <p:cNvSpPr/>
              <p:nvPr/>
            </p:nvSpPr>
            <p:spPr>
              <a:xfrm flipV="1">
                <a:off x="10276588" y="2471082"/>
                <a:ext cx="75359" cy="99196"/>
              </a:xfrm>
              <a:custGeom>
                <a:avLst/>
                <a:gdLst>
                  <a:gd name="connsiteX0" fmla="*/ -4850 w 33670"/>
                  <a:gd name="connsiteY0" fmla="*/ -1712 h 36346"/>
                  <a:gd name="connsiteX1" fmla="*/ 5607 w 33670"/>
                  <a:gd name="connsiteY1" fmla="*/ 34634 h 36346"/>
                  <a:gd name="connsiteX2" fmla="*/ 28820 w 33670"/>
                  <a:gd name="connsiteY2" fmla="*/ 24007 h 3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70" h="36346">
                    <a:moveTo>
                      <a:pt x="-4850" y="-1712"/>
                    </a:moveTo>
                    <a:lnTo>
                      <a:pt x="5607" y="34634"/>
                    </a:lnTo>
                    <a:lnTo>
                      <a:pt x="28820" y="24007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4" name="Vrije vorm 179">
                <a:extLst>
                  <a:ext uri="{FF2B5EF4-FFF2-40B4-BE49-F238E27FC236}">
                    <a16:creationId xmlns:a16="http://schemas.microsoft.com/office/drawing/2014/main" id="{5933A1A3-AC05-44CE-A0DA-FF58D38A009B}"/>
                  </a:ext>
                </a:extLst>
              </p:cNvPr>
              <p:cNvSpPr/>
              <p:nvPr/>
            </p:nvSpPr>
            <p:spPr>
              <a:xfrm flipV="1">
                <a:off x="10234074" y="2479704"/>
                <a:ext cx="42514" cy="90574"/>
              </a:xfrm>
              <a:custGeom>
                <a:avLst/>
                <a:gdLst>
                  <a:gd name="connsiteX0" fmla="*/ 11173 w 18995"/>
                  <a:gd name="connsiteY0" fmla="*/ 31477 h 33187"/>
                  <a:gd name="connsiteX1" fmla="*/ 14167 w 18995"/>
                  <a:gd name="connsiteY1" fmla="*/ -1710 h 33187"/>
                  <a:gd name="connsiteX2" fmla="*/ -4828 w 18995"/>
                  <a:gd name="connsiteY2" fmla="*/ 21782 h 33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95" h="33187">
                    <a:moveTo>
                      <a:pt x="11173" y="31477"/>
                    </a:moveTo>
                    <a:lnTo>
                      <a:pt x="14167" y="-1710"/>
                    </a:lnTo>
                    <a:lnTo>
                      <a:pt x="-4828" y="21782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5" name="Vrije vorm 181">
                <a:extLst>
                  <a:ext uri="{FF2B5EF4-FFF2-40B4-BE49-F238E27FC236}">
                    <a16:creationId xmlns:a16="http://schemas.microsoft.com/office/drawing/2014/main" id="{3C068270-1369-454B-9895-AB3D823836EC}"/>
                  </a:ext>
                </a:extLst>
              </p:cNvPr>
              <p:cNvSpPr/>
              <p:nvPr/>
            </p:nvSpPr>
            <p:spPr>
              <a:xfrm flipV="1">
                <a:off x="10152730" y="2411320"/>
                <a:ext cx="117154" cy="166984"/>
              </a:xfrm>
              <a:custGeom>
                <a:avLst/>
                <a:gdLst>
                  <a:gd name="connsiteX0" fmla="*/ -4812 w 52344"/>
                  <a:gd name="connsiteY0" fmla="*/ 36602 h 61184"/>
                  <a:gd name="connsiteX1" fmla="*/ 23604 w 52344"/>
                  <a:gd name="connsiteY1" fmla="*/ -1722 h 61184"/>
                  <a:gd name="connsiteX2" fmla="*/ 47533 w 52344"/>
                  <a:gd name="connsiteY2" fmla="*/ 34406 h 61184"/>
                  <a:gd name="connsiteX3" fmla="*/ 9894 w 52344"/>
                  <a:gd name="connsiteY3" fmla="*/ 59462 h 61184"/>
                  <a:gd name="connsiteX4" fmla="*/ -4812 w 52344"/>
                  <a:gd name="connsiteY4" fmla="*/ 36602 h 6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44" h="61184">
                    <a:moveTo>
                      <a:pt x="-4812" y="36602"/>
                    </a:moveTo>
                    <a:lnTo>
                      <a:pt x="23604" y="-1722"/>
                    </a:lnTo>
                    <a:lnTo>
                      <a:pt x="47533" y="34406"/>
                    </a:lnTo>
                    <a:lnTo>
                      <a:pt x="9894" y="59462"/>
                    </a:lnTo>
                    <a:lnTo>
                      <a:pt x="-4812" y="36602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6" name="Vrije vorm 182">
                <a:extLst>
                  <a:ext uri="{FF2B5EF4-FFF2-40B4-BE49-F238E27FC236}">
                    <a16:creationId xmlns:a16="http://schemas.microsoft.com/office/drawing/2014/main" id="{8E959020-0C3C-413E-8479-D3F2DCC06E4C}"/>
                  </a:ext>
                </a:extLst>
              </p:cNvPr>
              <p:cNvSpPr/>
              <p:nvPr/>
            </p:nvSpPr>
            <p:spPr>
              <a:xfrm flipV="1">
                <a:off x="10299992" y="2397527"/>
                <a:ext cx="125527" cy="175014"/>
              </a:xfrm>
              <a:custGeom>
                <a:avLst/>
                <a:gdLst>
                  <a:gd name="connsiteX0" fmla="*/ 51217 w 56085"/>
                  <a:gd name="connsiteY0" fmla="*/ 39571 h 64126"/>
                  <a:gd name="connsiteX1" fmla="*/ 15132 w 56085"/>
                  <a:gd name="connsiteY1" fmla="*/ -1726 h 64126"/>
                  <a:gd name="connsiteX2" fmla="*/ -4868 w 56085"/>
                  <a:gd name="connsiteY2" fmla="*/ 35448 h 64126"/>
                  <a:gd name="connsiteX3" fmla="*/ 36740 w 56085"/>
                  <a:gd name="connsiteY3" fmla="*/ 62400 h 64126"/>
                  <a:gd name="connsiteX4" fmla="*/ 51217 w 56085"/>
                  <a:gd name="connsiteY4" fmla="*/ 39571 h 64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085" h="64126">
                    <a:moveTo>
                      <a:pt x="51217" y="39571"/>
                    </a:moveTo>
                    <a:lnTo>
                      <a:pt x="15132" y="-1726"/>
                    </a:lnTo>
                    <a:lnTo>
                      <a:pt x="-4868" y="35448"/>
                    </a:lnTo>
                    <a:lnTo>
                      <a:pt x="36740" y="62400"/>
                    </a:lnTo>
                    <a:lnTo>
                      <a:pt x="51217" y="39571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7" name="Vrije vorm 183">
                <a:extLst>
                  <a:ext uri="{FF2B5EF4-FFF2-40B4-BE49-F238E27FC236}">
                    <a16:creationId xmlns:a16="http://schemas.microsoft.com/office/drawing/2014/main" id="{15A90AC8-D594-48F9-83D8-D247235A813A}"/>
                  </a:ext>
                </a:extLst>
              </p:cNvPr>
              <p:cNvSpPr/>
              <p:nvPr/>
            </p:nvSpPr>
            <p:spPr>
              <a:xfrm flipV="1">
                <a:off x="10075840" y="1562595"/>
                <a:ext cx="486717" cy="828513"/>
              </a:xfrm>
              <a:custGeom>
                <a:avLst/>
                <a:gdLst>
                  <a:gd name="connsiteX0" fmla="*/ 115102 w 217463"/>
                  <a:gd name="connsiteY0" fmla="*/ 296484 h 303572"/>
                  <a:gd name="connsiteX1" fmla="*/ 178898 w 217463"/>
                  <a:gd name="connsiteY1" fmla="*/ 236542 h 303572"/>
                  <a:gd name="connsiteX2" fmla="*/ 175550 w 217463"/>
                  <a:gd name="connsiteY2" fmla="*/ 160411 h 303572"/>
                  <a:gd name="connsiteX3" fmla="*/ 202401 w 217463"/>
                  <a:gd name="connsiteY3" fmla="*/ 167734 h 303572"/>
                  <a:gd name="connsiteX4" fmla="*/ 174317 w 217463"/>
                  <a:gd name="connsiteY4" fmla="*/ 94027 h 303572"/>
                  <a:gd name="connsiteX5" fmla="*/ 168421 w 217463"/>
                  <a:gd name="connsiteY5" fmla="*/ 53838 h 303572"/>
                  <a:gd name="connsiteX6" fmla="*/ 79877 w 217463"/>
                  <a:gd name="connsiteY6" fmla="*/ -1350 h 303572"/>
                  <a:gd name="connsiteX7" fmla="*/ -3899 w 217463"/>
                  <a:gd name="connsiteY7" fmla="*/ 62404 h 303572"/>
                  <a:gd name="connsiteX8" fmla="*/ -4852 w 217463"/>
                  <a:gd name="connsiteY8" fmla="*/ 248910 h 303572"/>
                  <a:gd name="connsiteX9" fmla="*/ 115102 w 217463"/>
                  <a:gd name="connsiteY9" fmla="*/ 296484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63" h="303572">
                    <a:moveTo>
                      <a:pt x="115102" y="296484"/>
                    </a:moveTo>
                    <a:cubicBezTo>
                      <a:pt x="180649" y="281548"/>
                      <a:pt x="178898" y="236542"/>
                      <a:pt x="178898" y="236542"/>
                    </a:cubicBezTo>
                    <a:cubicBezTo>
                      <a:pt x="178898" y="236542"/>
                      <a:pt x="176846" y="201802"/>
                      <a:pt x="175550" y="160411"/>
                    </a:cubicBezTo>
                    <a:cubicBezTo>
                      <a:pt x="181613" y="168760"/>
                      <a:pt x="191882" y="172240"/>
                      <a:pt x="202401" y="167734"/>
                    </a:cubicBezTo>
                    <a:cubicBezTo>
                      <a:pt x="224723" y="158194"/>
                      <a:pt x="208236" y="87947"/>
                      <a:pt x="174317" y="94027"/>
                    </a:cubicBezTo>
                    <a:cubicBezTo>
                      <a:pt x="172856" y="74419"/>
                      <a:pt x="170938" y="59131"/>
                      <a:pt x="168421" y="53838"/>
                    </a:cubicBezTo>
                    <a:cubicBezTo>
                      <a:pt x="158896" y="33867"/>
                      <a:pt x="117008" y="3415"/>
                      <a:pt x="79877" y="-1350"/>
                    </a:cubicBezTo>
                    <a:cubicBezTo>
                      <a:pt x="42746" y="-6104"/>
                      <a:pt x="-3899" y="18641"/>
                      <a:pt x="-3899" y="62404"/>
                    </a:cubicBezTo>
                    <a:cubicBezTo>
                      <a:pt x="-3899" y="106177"/>
                      <a:pt x="-4852" y="248910"/>
                      <a:pt x="-4852" y="248910"/>
                    </a:cubicBezTo>
                    <a:cubicBezTo>
                      <a:pt x="-4852" y="248910"/>
                      <a:pt x="6578" y="321229"/>
                      <a:pt x="115102" y="296484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8" name="Vrije vorm 202">
                <a:extLst>
                  <a:ext uri="{FF2B5EF4-FFF2-40B4-BE49-F238E27FC236}">
                    <a16:creationId xmlns:a16="http://schemas.microsoft.com/office/drawing/2014/main" id="{AAD520EE-8793-43DD-81B9-27FF43B342C4}"/>
                  </a:ext>
                </a:extLst>
              </p:cNvPr>
              <p:cNvSpPr/>
              <p:nvPr/>
            </p:nvSpPr>
            <p:spPr>
              <a:xfrm flipH="1" flipV="1">
                <a:off x="10008617" y="1496510"/>
                <a:ext cx="541218" cy="483386"/>
              </a:xfrm>
              <a:custGeom>
                <a:avLst/>
                <a:gdLst>
                  <a:gd name="connsiteX0" fmla="*/ 7576 w 467845"/>
                  <a:gd name="connsiteY0" fmla="*/ 18404 h 298152"/>
                  <a:gd name="connsiteX1" fmla="*/ 88440 w 467845"/>
                  <a:gd name="connsiteY1" fmla="*/ -4021 h 298152"/>
                  <a:gd name="connsiteX2" fmla="*/ 117187 w 467845"/>
                  <a:gd name="connsiteY2" fmla="*/ -4021 h 298152"/>
                  <a:gd name="connsiteX3" fmla="*/ 129509 w 467845"/>
                  <a:gd name="connsiteY3" fmla="*/ 87036 h 298152"/>
                  <a:gd name="connsiteX4" fmla="*/ 206736 w 467845"/>
                  <a:gd name="connsiteY4" fmla="*/ 156010 h 298152"/>
                  <a:gd name="connsiteX5" fmla="*/ 418963 w 467845"/>
                  <a:gd name="connsiteY5" fmla="*/ 132508 h 298152"/>
                  <a:gd name="connsiteX6" fmla="*/ 91165 w 467845"/>
                  <a:gd name="connsiteY6" fmla="*/ 270352 h 298152"/>
                  <a:gd name="connsiteX7" fmla="*/ 7576 w 467845"/>
                  <a:gd name="connsiteY7" fmla="*/ 18404 h 29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7845" h="298152">
                    <a:moveTo>
                      <a:pt x="7576" y="18404"/>
                    </a:moveTo>
                    <a:cubicBezTo>
                      <a:pt x="7576" y="18404"/>
                      <a:pt x="51464" y="46971"/>
                      <a:pt x="88440" y="-4021"/>
                    </a:cubicBezTo>
                    <a:lnTo>
                      <a:pt x="117187" y="-4021"/>
                    </a:lnTo>
                    <a:cubicBezTo>
                      <a:pt x="117187" y="-4021"/>
                      <a:pt x="115550" y="55020"/>
                      <a:pt x="129509" y="87036"/>
                    </a:cubicBezTo>
                    <a:cubicBezTo>
                      <a:pt x="143468" y="119063"/>
                      <a:pt x="198517" y="118235"/>
                      <a:pt x="206736" y="156010"/>
                    </a:cubicBezTo>
                    <a:cubicBezTo>
                      <a:pt x="206736" y="156010"/>
                      <a:pt x="341467" y="91180"/>
                      <a:pt x="418963" y="132508"/>
                    </a:cubicBezTo>
                    <a:cubicBezTo>
                      <a:pt x="594173" y="225927"/>
                      <a:pt x="225969" y="345758"/>
                      <a:pt x="91165" y="270352"/>
                    </a:cubicBezTo>
                    <a:cubicBezTo>
                      <a:pt x="-8984" y="214346"/>
                      <a:pt x="-13316" y="118918"/>
                      <a:pt x="7576" y="18404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 dirty="0"/>
              </a:p>
            </p:txBody>
          </p:sp>
          <p:sp>
            <p:nvSpPr>
              <p:cNvPr id="129" name="Vrije vorm 184">
                <a:extLst>
                  <a:ext uri="{FF2B5EF4-FFF2-40B4-BE49-F238E27FC236}">
                    <a16:creationId xmlns:a16="http://schemas.microsoft.com/office/drawing/2014/main" id="{B5E993A3-F007-4243-B342-B9752D8A4586}"/>
                  </a:ext>
                </a:extLst>
              </p:cNvPr>
              <p:cNvSpPr/>
              <p:nvPr/>
            </p:nvSpPr>
            <p:spPr>
              <a:xfrm flipV="1">
                <a:off x="10133269" y="1922068"/>
                <a:ext cx="75730" cy="225927"/>
              </a:xfrm>
              <a:custGeom>
                <a:avLst/>
                <a:gdLst>
                  <a:gd name="connsiteX0" fmla="*/ 29040 w 33836"/>
                  <a:gd name="connsiteY0" fmla="*/ 80875 h 82781"/>
                  <a:gd name="connsiteX1" fmla="*/ 19381 w 33836"/>
                  <a:gd name="connsiteY1" fmla="*/ 43378 h 82781"/>
                  <a:gd name="connsiteX2" fmla="*/ 11069 w 33836"/>
                  <a:gd name="connsiteY2" fmla="*/ 25697 h 82781"/>
                  <a:gd name="connsiteX3" fmla="*/ -1252 w 33836"/>
                  <a:gd name="connsiteY3" fmla="*/ 10181 h 82781"/>
                  <a:gd name="connsiteX4" fmla="*/ -1273 w 33836"/>
                  <a:gd name="connsiteY4" fmla="*/ 12657 h 82781"/>
                  <a:gd name="connsiteX5" fmla="*/ 12862 w 33836"/>
                  <a:gd name="connsiteY5" fmla="*/ -1907 h 82781"/>
                  <a:gd name="connsiteX6" fmla="*/ -3460 w 33836"/>
                  <a:gd name="connsiteY6" fmla="*/ 10161 h 82781"/>
                  <a:gd name="connsiteX7" fmla="*/ -4797 w 33836"/>
                  <a:gd name="connsiteY7" fmla="*/ 11227 h 82781"/>
                  <a:gd name="connsiteX8" fmla="*/ -3480 w 33836"/>
                  <a:gd name="connsiteY8" fmla="*/ 12646 h 82781"/>
                  <a:gd name="connsiteX9" fmla="*/ 15184 w 33836"/>
                  <a:gd name="connsiteY9" fmla="*/ 45067 h 82781"/>
                  <a:gd name="connsiteX10" fmla="*/ 29040 w 33836"/>
                  <a:gd name="connsiteY10" fmla="*/ 80875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6" h="82781">
                    <a:moveTo>
                      <a:pt x="29040" y="80875"/>
                    </a:moveTo>
                    <a:cubicBezTo>
                      <a:pt x="27298" y="68072"/>
                      <a:pt x="24127" y="55456"/>
                      <a:pt x="19381" y="43378"/>
                    </a:cubicBezTo>
                    <a:cubicBezTo>
                      <a:pt x="17132" y="37288"/>
                      <a:pt x="14469" y="31311"/>
                      <a:pt x="11069" y="25697"/>
                    </a:cubicBezTo>
                    <a:cubicBezTo>
                      <a:pt x="7743" y="20073"/>
                      <a:pt x="4054" y="14438"/>
                      <a:pt x="-1252" y="10181"/>
                    </a:cubicBezTo>
                    <a:lnTo>
                      <a:pt x="-1273" y="12657"/>
                    </a:lnTo>
                    <a:cubicBezTo>
                      <a:pt x="3588" y="7975"/>
                      <a:pt x="8313" y="3138"/>
                      <a:pt x="12862" y="-1907"/>
                    </a:cubicBezTo>
                    <a:cubicBezTo>
                      <a:pt x="7245" y="1916"/>
                      <a:pt x="1826" y="5965"/>
                      <a:pt x="-3460" y="10161"/>
                    </a:cubicBezTo>
                    <a:lnTo>
                      <a:pt x="-4797" y="11227"/>
                    </a:lnTo>
                    <a:lnTo>
                      <a:pt x="-3480" y="12646"/>
                    </a:lnTo>
                    <a:cubicBezTo>
                      <a:pt x="4904" y="21699"/>
                      <a:pt x="10023" y="33538"/>
                      <a:pt x="15184" y="45067"/>
                    </a:cubicBezTo>
                    <a:cubicBezTo>
                      <a:pt x="20023" y="56813"/>
                      <a:pt x="24521" y="68776"/>
                      <a:pt x="29040" y="80875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0" name="Vrije vorm 185">
                <a:extLst>
                  <a:ext uri="{FF2B5EF4-FFF2-40B4-BE49-F238E27FC236}">
                    <a16:creationId xmlns:a16="http://schemas.microsoft.com/office/drawing/2014/main" id="{BE210B20-F49F-4648-89AA-C205758B6A98}"/>
                  </a:ext>
                </a:extLst>
              </p:cNvPr>
              <p:cNvSpPr/>
              <p:nvPr/>
            </p:nvSpPr>
            <p:spPr>
              <a:xfrm flipV="1">
                <a:off x="10265633" y="1912242"/>
                <a:ext cx="42492" cy="72000"/>
              </a:xfrm>
              <a:custGeom>
                <a:avLst/>
                <a:gdLst>
                  <a:gd name="connsiteX0" fmla="*/ -4852 w 18985"/>
                  <a:gd name="connsiteY0" fmla="*/ 15322 h 34544"/>
                  <a:gd name="connsiteX1" fmla="*/ 4641 w 18985"/>
                  <a:gd name="connsiteY1" fmla="*/ -1945 h 34544"/>
                  <a:gd name="connsiteX2" fmla="*/ 14133 w 18985"/>
                  <a:gd name="connsiteY2" fmla="*/ 15322 h 34544"/>
                  <a:gd name="connsiteX3" fmla="*/ 4641 w 18985"/>
                  <a:gd name="connsiteY3" fmla="*/ 32599 h 34544"/>
                  <a:gd name="connsiteX4" fmla="*/ -4852 w 18985"/>
                  <a:gd name="connsiteY4" fmla="*/ 15322 h 34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44">
                    <a:moveTo>
                      <a:pt x="-4852" y="15322"/>
                    </a:moveTo>
                    <a:cubicBezTo>
                      <a:pt x="-4852" y="5782"/>
                      <a:pt x="-593" y="-1945"/>
                      <a:pt x="4641" y="-1945"/>
                    </a:cubicBezTo>
                    <a:cubicBezTo>
                      <a:pt x="9885" y="-1945"/>
                      <a:pt x="14133" y="5782"/>
                      <a:pt x="14133" y="15322"/>
                    </a:cubicBezTo>
                    <a:cubicBezTo>
                      <a:pt x="14133" y="24861"/>
                      <a:pt x="9885" y="32599"/>
                      <a:pt x="4641" y="32599"/>
                    </a:cubicBezTo>
                    <a:cubicBezTo>
                      <a:pt x="-593" y="32599"/>
                      <a:pt x="-4852" y="24861"/>
                      <a:pt x="-4852" y="15322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1" name="Vrije vorm 186">
                <a:extLst>
                  <a:ext uri="{FF2B5EF4-FFF2-40B4-BE49-F238E27FC236}">
                    <a16:creationId xmlns:a16="http://schemas.microsoft.com/office/drawing/2014/main" id="{775C5ECC-E67E-4F63-AE31-58AEEA607052}"/>
                  </a:ext>
                </a:extLst>
              </p:cNvPr>
              <p:cNvSpPr/>
              <p:nvPr/>
            </p:nvSpPr>
            <p:spPr>
              <a:xfrm flipV="1">
                <a:off x="10108373" y="1918142"/>
                <a:ext cx="42492" cy="72000"/>
              </a:xfrm>
              <a:custGeom>
                <a:avLst/>
                <a:gdLst>
                  <a:gd name="connsiteX0" fmla="*/ -4785 w 18985"/>
                  <a:gd name="connsiteY0" fmla="*/ 15336 h 34554"/>
                  <a:gd name="connsiteX1" fmla="*/ 4708 w 18985"/>
                  <a:gd name="connsiteY1" fmla="*/ -1941 h 34554"/>
                  <a:gd name="connsiteX2" fmla="*/ 14201 w 18985"/>
                  <a:gd name="connsiteY2" fmla="*/ 15336 h 34554"/>
                  <a:gd name="connsiteX3" fmla="*/ 4708 w 18985"/>
                  <a:gd name="connsiteY3" fmla="*/ 32613 h 34554"/>
                  <a:gd name="connsiteX4" fmla="*/ -4785 w 18985"/>
                  <a:gd name="connsiteY4" fmla="*/ 15336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4785" y="15336"/>
                    </a:moveTo>
                    <a:cubicBezTo>
                      <a:pt x="-4785" y="5807"/>
                      <a:pt x="-536" y="-1941"/>
                      <a:pt x="4708" y="-1941"/>
                    </a:cubicBezTo>
                    <a:cubicBezTo>
                      <a:pt x="9941" y="-1941"/>
                      <a:pt x="14201" y="5807"/>
                      <a:pt x="14201" y="15336"/>
                    </a:cubicBezTo>
                    <a:cubicBezTo>
                      <a:pt x="14201" y="24876"/>
                      <a:pt x="9941" y="32613"/>
                      <a:pt x="4708" y="32613"/>
                    </a:cubicBezTo>
                    <a:cubicBezTo>
                      <a:pt x="-536" y="32613"/>
                      <a:pt x="-4785" y="24876"/>
                      <a:pt x="-4785" y="15336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2" name="Vrije vorm 187">
                <a:extLst>
                  <a:ext uri="{FF2B5EF4-FFF2-40B4-BE49-F238E27FC236}">
                    <a16:creationId xmlns:a16="http://schemas.microsoft.com/office/drawing/2014/main" id="{73418E69-AB15-4EF5-9653-AF912F0B4312}"/>
                  </a:ext>
                </a:extLst>
              </p:cNvPr>
              <p:cNvSpPr/>
              <p:nvPr/>
            </p:nvSpPr>
            <p:spPr>
              <a:xfrm flipV="1">
                <a:off x="10263344" y="1797744"/>
                <a:ext cx="115068" cy="54186"/>
              </a:xfrm>
              <a:custGeom>
                <a:avLst/>
                <a:gdLst>
                  <a:gd name="connsiteX0" fmla="*/ -4853 w 51412"/>
                  <a:gd name="connsiteY0" fmla="*/ 5612 h 19854"/>
                  <a:gd name="connsiteX1" fmla="*/ 7583 w 51412"/>
                  <a:gd name="connsiteY1" fmla="*/ 14810 h 19854"/>
                  <a:gd name="connsiteX2" fmla="*/ 23294 w 51412"/>
                  <a:gd name="connsiteY2" fmla="*/ 17845 h 19854"/>
                  <a:gd name="connsiteX3" fmla="*/ 38839 w 51412"/>
                  <a:gd name="connsiteY3" fmla="*/ 11837 h 19854"/>
                  <a:gd name="connsiteX4" fmla="*/ 46559 w 51412"/>
                  <a:gd name="connsiteY4" fmla="*/ -1991 h 19854"/>
                  <a:gd name="connsiteX5" fmla="*/ 34704 w 51412"/>
                  <a:gd name="connsiteY5" fmla="*/ 5415 h 19854"/>
                  <a:gd name="connsiteX6" fmla="*/ 22755 w 51412"/>
                  <a:gd name="connsiteY6" fmla="*/ 8067 h 19854"/>
                  <a:gd name="connsiteX7" fmla="*/ -4853 w 51412"/>
                  <a:gd name="connsiteY7" fmla="*/ 5612 h 19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412" h="19854">
                    <a:moveTo>
                      <a:pt x="-4853" y="5612"/>
                    </a:moveTo>
                    <a:cubicBezTo>
                      <a:pt x="-1568" y="9776"/>
                      <a:pt x="2817" y="12707"/>
                      <a:pt x="7583" y="14810"/>
                    </a:cubicBezTo>
                    <a:cubicBezTo>
                      <a:pt x="12371" y="16933"/>
                      <a:pt x="17729" y="18021"/>
                      <a:pt x="23294" y="17845"/>
                    </a:cubicBezTo>
                    <a:cubicBezTo>
                      <a:pt x="28828" y="17461"/>
                      <a:pt x="34548" y="15514"/>
                      <a:pt x="38839" y="11837"/>
                    </a:cubicBezTo>
                    <a:cubicBezTo>
                      <a:pt x="43357" y="8367"/>
                      <a:pt x="45679" y="3033"/>
                      <a:pt x="46559" y="-1991"/>
                    </a:cubicBezTo>
                    <a:cubicBezTo>
                      <a:pt x="42124" y="1013"/>
                      <a:pt x="38735" y="3944"/>
                      <a:pt x="34704" y="5415"/>
                    </a:cubicBezTo>
                    <a:cubicBezTo>
                      <a:pt x="30797" y="6938"/>
                      <a:pt x="26942" y="7880"/>
                      <a:pt x="22755" y="8067"/>
                    </a:cubicBezTo>
                    <a:cubicBezTo>
                      <a:pt x="14340" y="8512"/>
                      <a:pt x="5438" y="6803"/>
                      <a:pt x="-4853" y="5612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3" name="Vrije vorm 188">
                <a:extLst>
                  <a:ext uri="{FF2B5EF4-FFF2-40B4-BE49-F238E27FC236}">
                    <a16:creationId xmlns:a16="http://schemas.microsoft.com/office/drawing/2014/main" id="{153C84B2-6EDF-4067-8599-76CC9C9808C9}"/>
                  </a:ext>
                </a:extLst>
              </p:cNvPr>
              <p:cNvSpPr/>
              <p:nvPr/>
            </p:nvSpPr>
            <p:spPr>
              <a:xfrm flipV="1">
                <a:off x="10084352" y="1799329"/>
                <a:ext cx="91642" cy="52600"/>
              </a:xfrm>
              <a:custGeom>
                <a:avLst/>
                <a:gdLst>
                  <a:gd name="connsiteX0" fmla="*/ 36164 w 40945"/>
                  <a:gd name="connsiteY0" fmla="*/ 5612 h 19273"/>
                  <a:gd name="connsiteX1" fmla="*/ 13686 w 40945"/>
                  <a:gd name="connsiteY1" fmla="*/ 8512 h 19273"/>
                  <a:gd name="connsiteX2" fmla="*/ 4525 w 40945"/>
                  <a:gd name="connsiteY2" fmla="*/ 5384 h 19273"/>
                  <a:gd name="connsiteX3" fmla="*/ -4781 w 40945"/>
                  <a:gd name="connsiteY3" fmla="*/ -1991 h 19273"/>
                  <a:gd name="connsiteX4" fmla="*/ -14 w 40945"/>
                  <a:gd name="connsiteY4" fmla="*/ 10491 h 19273"/>
                  <a:gd name="connsiteX5" fmla="*/ 12784 w 40945"/>
                  <a:gd name="connsiteY5" fmla="*/ 17203 h 19273"/>
                  <a:gd name="connsiteX6" fmla="*/ 26391 w 40945"/>
                  <a:gd name="connsiteY6" fmla="*/ 14406 h 19273"/>
                  <a:gd name="connsiteX7" fmla="*/ 36164 w 40945"/>
                  <a:gd name="connsiteY7" fmla="*/ 5612 h 19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45" h="19273">
                    <a:moveTo>
                      <a:pt x="36164" y="5612"/>
                    </a:moveTo>
                    <a:cubicBezTo>
                      <a:pt x="27573" y="7311"/>
                      <a:pt x="20225" y="9217"/>
                      <a:pt x="13686" y="8512"/>
                    </a:cubicBezTo>
                    <a:cubicBezTo>
                      <a:pt x="10421" y="8336"/>
                      <a:pt x="7509" y="7176"/>
                      <a:pt x="4525" y="5384"/>
                    </a:cubicBezTo>
                    <a:cubicBezTo>
                      <a:pt x="1416" y="3665"/>
                      <a:pt x="-1268" y="858"/>
                      <a:pt x="-4781" y="-1991"/>
                    </a:cubicBezTo>
                    <a:cubicBezTo>
                      <a:pt x="-4564" y="2381"/>
                      <a:pt x="-3237" y="6917"/>
                      <a:pt x="-14" y="10491"/>
                    </a:cubicBezTo>
                    <a:cubicBezTo>
                      <a:pt x="2960" y="14209"/>
                      <a:pt x="7862" y="16778"/>
                      <a:pt x="12784" y="17203"/>
                    </a:cubicBezTo>
                    <a:cubicBezTo>
                      <a:pt x="17707" y="17596"/>
                      <a:pt x="22422" y="16509"/>
                      <a:pt x="26391" y="14406"/>
                    </a:cubicBezTo>
                    <a:cubicBezTo>
                      <a:pt x="30360" y="12335"/>
                      <a:pt x="33842" y="9465"/>
                      <a:pt x="36164" y="5612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4" name="Vrije vorm 190">
                <a:extLst>
                  <a:ext uri="{FF2B5EF4-FFF2-40B4-BE49-F238E27FC236}">
                    <a16:creationId xmlns:a16="http://schemas.microsoft.com/office/drawing/2014/main" id="{6713AF7C-B668-418D-B95A-C3DBA2DEABD1}"/>
                  </a:ext>
                </a:extLst>
              </p:cNvPr>
              <p:cNvSpPr/>
              <p:nvPr/>
            </p:nvSpPr>
            <p:spPr>
              <a:xfrm flipV="1">
                <a:off x="10482810" y="1958041"/>
                <a:ext cx="62310" cy="140928"/>
              </a:xfrm>
              <a:custGeom>
                <a:avLst/>
                <a:gdLst>
                  <a:gd name="connsiteX0" fmla="*/ 17481 w 27840"/>
                  <a:gd name="connsiteY0" fmla="*/ 48626 h 51637"/>
                  <a:gd name="connsiteX1" fmla="*/ -4925 w 27840"/>
                  <a:gd name="connsiteY1" fmla="*/ 15802 h 51637"/>
                  <a:gd name="connsiteX2" fmla="*/ 910 w 27840"/>
                  <a:gd name="connsiteY2" fmla="*/ -1672 h 51637"/>
                  <a:gd name="connsiteX3" fmla="*/ 17481 w 27840"/>
                  <a:gd name="connsiteY3" fmla="*/ 48626 h 51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40" h="51637">
                    <a:moveTo>
                      <a:pt x="17481" y="48626"/>
                    </a:moveTo>
                    <a:cubicBezTo>
                      <a:pt x="5843" y="54520"/>
                      <a:pt x="-4448" y="35793"/>
                      <a:pt x="-4925" y="15802"/>
                    </a:cubicBezTo>
                    <a:cubicBezTo>
                      <a:pt x="4599" y="17241"/>
                      <a:pt x="6206" y="6158"/>
                      <a:pt x="910" y="-1672"/>
                    </a:cubicBezTo>
                    <a:cubicBezTo>
                      <a:pt x="19802" y="-5681"/>
                      <a:pt x="29823" y="42380"/>
                      <a:pt x="17481" y="48626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5" name="Vrije vorm 191">
                <a:extLst>
                  <a:ext uri="{FF2B5EF4-FFF2-40B4-BE49-F238E27FC236}">
                    <a16:creationId xmlns:a16="http://schemas.microsoft.com/office/drawing/2014/main" id="{DB46716D-2B66-40D6-90D1-C8D3582726AC}"/>
                  </a:ext>
                </a:extLst>
              </p:cNvPr>
              <p:cNvSpPr/>
              <p:nvPr/>
            </p:nvSpPr>
            <p:spPr>
              <a:xfrm flipV="1">
                <a:off x="9681512" y="2509471"/>
                <a:ext cx="429259" cy="629411"/>
              </a:xfrm>
              <a:custGeom>
                <a:avLst/>
                <a:gdLst>
                  <a:gd name="connsiteX0" fmla="*/ 68221 w 191791"/>
                  <a:gd name="connsiteY0" fmla="*/ -1590 h 230620"/>
                  <a:gd name="connsiteX1" fmla="*/ 187097 w 191791"/>
                  <a:gd name="connsiteY1" fmla="*/ 173885 h 230620"/>
                  <a:gd name="connsiteX2" fmla="*/ 121819 w 191791"/>
                  <a:gd name="connsiteY2" fmla="*/ 229030 h 230620"/>
                  <a:gd name="connsiteX3" fmla="*/ -4694 w 191791"/>
                  <a:gd name="connsiteY3" fmla="*/ 17800 h 230620"/>
                  <a:gd name="connsiteX4" fmla="*/ 68221 w 191791"/>
                  <a:gd name="connsiteY4" fmla="*/ -1590 h 230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791" h="230620">
                    <a:moveTo>
                      <a:pt x="68221" y="-1590"/>
                    </a:moveTo>
                    <a:lnTo>
                      <a:pt x="187097" y="173885"/>
                    </a:lnTo>
                    <a:lnTo>
                      <a:pt x="121819" y="229030"/>
                    </a:lnTo>
                    <a:lnTo>
                      <a:pt x="-4694" y="17800"/>
                    </a:lnTo>
                    <a:lnTo>
                      <a:pt x="68221" y="-1590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6" name="Vrije vorm 192">
                <a:extLst>
                  <a:ext uri="{FF2B5EF4-FFF2-40B4-BE49-F238E27FC236}">
                    <a16:creationId xmlns:a16="http://schemas.microsoft.com/office/drawing/2014/main" id="{3810EA1A-46C6-4F11-9FA9-E03413A53783}"/>
                  </a:ext>
                </a:extLst>
              </p:cNvPr>
              <p:cNvSpPr/>
              <p:nvPr/>
            </p:nvSpPr>
            <p:spPr>
              <a:xfrm flipV="1">
                <a:off x="10209165" y="2150577"/>
                <a:ext cx="71012" cy="125522"/>
              </a:xfrm>
              <a:custGeom>
                <a:avLst/>
                <a:gdLst>
                  <a:gd name="connsiteX0" fmla="*/ -4805 w 31728"/>
                  <a:gd name="connsiteY0" fmla="*/ 20627 h 45992"/>
                  <a:gd name="connsiteX1" fmla="*/ 11828 w 31728"/>
                  <a:gd name="connsiteY1" fmla="*/ -1829 h 45992"/>
                  <a:gd name="connsiteX2" fmla="*/ 26886 w 31728"/>
                  <a:gd name="connsiteY2" fmla="*/ 21694 h 45992"/>
                  <a:gd name="connsiteX3" fmla="*/ 10252 w 31728"/>
                  <a:gd name="connsiteY3" fmla="*/ 44150 h 45992"/>
                  <a:gd name="connsiteX4" fmla="*/ -4805 w 31728"/>
                  <a:gd name="connsiteY4" fmla="*/ 20627 h 45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28" h="45992">
                    <a:moveTo>
                      <a:pt x="-4805" y="20627"/>
                    </a:moveTo>
                    <a:cubicBezTo>
                      <a:pt x="-4370" y="7918"/>
                      <a:pt x="3081" y="-2129"/>
                      <a:pt x="11828" y="-1829"/>
                    </a:cubicBezTo>
                    <a:cubicBezTo>
                      <a:pt x="20564" y="-1539"/>
                      <a:pt x="27311" y="9006"/>
                      <a:pt x="26886" y="21694"/>
                    </a:cubicBezTo>
                    <a:cubicBezTo>
                      <a:pt x="26450" y="34404"/>
                      <a:pt x="18999" y="44461"/>
                      <a:pt x="10252" y="44150"/>
                    </a:cubicBezTo>
                    <a:cubicBezTo>
                      <a:pt x="1517" y="43860"/>
                      <a:pt x="-5230" y="33316"/>
                      <a:pt x="-4805" y="20627"/>
                    </a:cubicBezTo>
                  </a:path>
                </a:pathLst>
              </a:custGeom>
              <a:solidFill>
                <a:srgbClr val="B8596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7" name="Vrije vorm 193">
                <a:extLst>
                  <a:ext uri="{FF2B5EF4-FFF2-40B4-BE49-F238E27FC236}">
                    <a16:creationId xmlns:a16="http://schemas.microsoft.com/office/drawing/2014/main" id="{A2AE3588-0591-4FC4-8139-79AD26449C82}"/>
                  </a:ext>
                </a:extLst>
              </p:cNvPr>
              <p:cNvSpPr/>
              <p:nvPr/>
            </p:nvSpPr>
            <p:spPr>
              <a:xfrm flipV="1">
                <a:off x="10209165" y="2150577"/>
                <a:ext cx="70923" cy="112812"/>
              </a:xfrm>
              <a:custGeom>
                <a:avLst/>
                <a:gdLst>
                  <a:gd name="connsiteX0" fmla="*/ 19662 w 31688"/>
                  <a:gd name="connsiteY0" fmla="*/ 19893 h 41335"/>
                  <a:gd name="connsiteX1" fmla="*/ 26865 w 31688"/>
                  <a:gd name="connsiteY1" fmla="*/ 17138 h 41335"/>
                  <a:gd name="connsiteX2" fmla="*/ 10252 w 31688"/>
                  <a:gd name="connsiteY2" fmla="*/ 39491 h 41335"/>
                  <a:gd name="connsiteX3" fmla="*/ -4805 w 31688"/>
                  <a:gd name="connsiteY3" fmla="*/ 15968 h 41335"/>
                  <a:gd name="connsiteX4" fmla="*/ 1921 w 31688"/>
                  <a:gd name="connsiteY4" fmla="*/ -1838 h 41335"/>
                  <a:gd name="connsiteX5" fmla="*/ 19662 w 31688"/>
                  <a:gd name="connsiteY5" fmla="*/ 19893 h 41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688" h="41335">
                    <a:moveTo>
                      <a:pt x="19662" y="19893"/>
                    </a:moveTo>
                    <a:cubicBezTo>
                      <a:pt x="22429" y="19417"/>
                      <a:pt x="24834" y="18443"/>
                      <a:pt x="26865" y="17138"/>
                    </a:cubicBezTo>
                    <a:cubicBezTo>
                      <a:pt x="26398" y="29795"/>
                      <a:pt x="18979" y="39801"/>
                      <a:pt x="10252" y="39491"/>
                    </a:cubicBezTo>
                    <a:cubicBezTo>
                      <a:pt x="1517" y="39200"/>
                      <a:pt x="-5230" y="28656"/>
                      <a:pt x="-4805" y="15968"/>
                    </a:cubicBezTo>
                    <a:cubicBezTo>
                      <a:pt x="-4546" y="8624"/>
                      <a:pt x="-1914" y="2243"/>
                      <a:pt x="1921" y="-1838"/>
                    </a:cubicBezTo>
                    <a:cubicBezTo>
                      <a:pt x="-867" y="9318"/>
                      <a:pt x="5361" y="22358"/>
                      <a:pt x="19662" y="19893"/>
                    </a:cubicBezTo>
                  </a:path>
                </a:pathLst>
              </a:custGeom>
              <a:solidFill>
                <a:srgbClr val="642A32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8" name="Vrije vorm 194">
                <a:extLst>
                  <a:ext uri="{FF2B5EF4-FFF2-40B4-BE49-F238E27FC236}">
                    <a16:creationId xmlns:a16="http://schemas.microsoft.com/office/drawing/2014/main" id="{8EC44D1A-E5AC-444F-8D06-DAA3D2D8528D}"/>
                  </a:ext>
                </a:extLst>
              </p:cNvPr>
              <p:cNvSpPr/>
              <p:nvPr/>
            </p:nvSpPr>
            <p:spPr>
              <a:xfrm flipV="1">
                <a:off x="10360832" y="3070412"/>
                <a:ext cx="444799" cy="243269"/>
              </a:xfrm>
              <a:custGeom>
                <a:avLst/>
                <a:gdLst>
                  <a:gd name="connsiteX0" fmla="*/ 193784 w 198734"/>
                  <a:gd name="connsiteY0" fmla="*/ 54990 h 89135"/>
                  <a:gd name="connsiteX1" fmla="*/ -4951 w 198734"/>
                  <a:gd name="connsiteY1" fmla="*/ 279 h 89135"/>
                  <a:gd name="connsiteX2" fmla="*/ 9796 w 198734"/>
                  <a:gd name="connsiteY2" fmla="*/ 34067 h 89135"/>
                  <a:gd name="connsiteX3" fmla="*/ 118858 w 198734"/>
                  <a:gd name="connsiteY3" fmla="*/ 80564 h 89135"/>
                  <a:gd name="connsiteX4" fmla="*/ 193784 w 198734"/>
                  <a:gd name="connsiteY4" fmla="*/ 54990 h 89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8734" h="89135">
                    <a:moveTo>
                      <a:pt x="193784" y="54990"/>
                    </a:moveTo>
                    <a:cubicBezTo>
                      <a:pt x="193784" y="54990"/>
                      <a:pt x="75240" y="-13010"/>
                      <a:pt x="-4951" y="279"/>
                    </a:cubicBezTo>
                    <a:lnTo>
                      <a:pt x="9796" y="34067"/>
                    </a:lnTo>
                    <a:cubicBezTo>
                      <a:pt x="9796" y="34067"/>
                      <a:pt x="54689" y="47812"/>
                      <a:pt x="118858" y="80564"/>
                    </a:cubicBezTo>
                    <a:cubicBezTo>
                      <a:pt x="168788" y="106055"/>
                      <a:pt x="193784" y="54990"/>
                      <a:pt x="193784" y="54990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9" name="Vrije vorm 195">
                <a:extLst>
                  <a:ext uri="{FF2B5EF4-FFF2-40B4-BE49-F238E27FC236}">
                    <a16:creationId xmlns:a16="http://schemas.microsoft.com/office/drawing/2014/main" id="{EEC30F49-5B78-4E63-9EA5-6E1958EF2886}"/>
                  </a:ext>
                </a:extLst>
              </p:cNvPr>
              <p:cNvSpPr/>
              <p:nvPr/>
            </p:nvSpPr>
            <p:spPr>
              <a:xfrm flipV="1">
                <a:off x="10623995" y="3042036"/>
                <a:ext cx="213017" cy="125457"/>
              </a:xfrm>
              <a:custGeom>
                <a:avLst/>
                <a:gdLst>
                  <a:gd name="connsiteX0" fmla="*/ 2642 w 95175"/>
                  <a:gd name="connsiteY0" fmla="*/ 44491 h 45968"/>
                  <a:gd name="connsiteX1" fmla="*/ 90170 w 95175"/>
                  <a:gd name="connsiteY1" fmla="*/ 36650 h 45968"/>
                  <a:gd name="connsiteX2" fmla="*/ 88004 w 95175"/>
                  <a:gd name="connsiteY2" fmla="*/ -1478 h 45968"/>
                  <a:gd name="connsiteX3" fmla="*/ -5006 w 95175"/>
                  <a:gd name="connsiteY3" fmla="*/ 23578 h 45968"/>
                  <a:gd name="connsiteX4" fmla="*/ 2642 w 95175"/>
                  <a:gd name="connsiteY4" fmla="*/ 44491 h 45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175" h="45968">
                    <a:moveTo>
                      <a:pt x="2642" y="44491"/>
                    </a:moveTo>
                    <a:lnTo>
                      <a:pt x="90170" y="36650"/>
                    </a:lnTo>
                    <a:lnTo>
                      <a:pt x="88004" y="-1478"/>
                    </a:lnTo>
                    <a:lnTo>
                      <a:pt x="-5006" y="23578"/>
                    </a:lnTo>
                    <a:lnTo>
                      <a:pt x="2642" y="44491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0" name="Vrije vorm 196">
                <a:extLst>
                  <a:ext uri="{FF2B5EF4-FFF2-40B4-BE49-F238E27FC236}">
                    <a16:creationId xmlns:a16="http://schemas.microsoft.com/office/drawing/2014/main" id="{CB1DA131-E8DF-4A55-B7B5-755A2EEB5B93}"/>
                  </a:ext>
                </a:extLst>
              </p:cNvPr>
              <p:cNvSpPr/>
              <p:nvPr/>
            </p:nvSpPr>
            <p:spPr>
              <a:xfrm flipV="1">
                <a:off x="10201853" y="3216343"/>
                <a:ext cx="234029" cy="165066"/>
              </a:xfrm>
              <a:custGeom>
                <a:avLst/>
                <a:gdLst>
                  <a:gd name="connsiteX0" fmla="*/ 92014 w 104563"/>
                  <a:gd name="connsiteY0" fmla="*/ 57673 h 60481"/>
                  <a:gd name="connsiteX1" fmla="*/ 48396 w 104563"/>
                  <a:gd name="connsiteY1" fmla="*/ 26952 h 60481"/>
                  <a:gd name="connsiteX2" fmla="*/ 31151 w 104563"/>
                  <a:gd name="connsiteY2" fmla="*/ 22177 h 60481"/>
                  <a:gd name="connsiteX3" fmla="*/ 19742 w 104563"/>
                  <a:gd name="connsiteY3" fmla="*/ 27169 h 60481"/>
                  <a:gd name="connsiteX4" fmla="*/ 20736 w 104563"/>
                  <a:gd name="connsiteY4" fmla="*/ 49252 h 60481"/>
                  <a:gd name="connsiteX5" fmla="*/ 82200 w 104563"/>
                  <a:gd name="connsiteY5" fmla="*/ 58606 h 60481"/>
                  <a:gd name="connsiteX6" fmla="*/ 92014 w 104563"/>
                  <a:gd name="connsiteY6" fmla="*/ 57673 h 60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563" h="60481">
                    <a:moveTo>
                      <a:pt x="92014" y="57673"/>
                    </a:moveTo>
                    <a:cubicBezTo>
                      <a:pt x="92014" y="57673"/>
                      <a:pt x="126824" y="9954"/>
                      <a:pt x="48396" y="26952"/>
                    </a:cubicBezTo>
                    <a:cubicBezTo>
                      <a:pt x="48396" y="26952"/>
                      <a:pt x="31555" y="-31001"/>
                      <a:pt x="31151" y="22177"/>
                    </a:cubicBezTo>
                    <a:cubicBezTo>
                      <a:pt x="31151" y="22177"/>
                      <a:pt x="3699" y="-34057"/>
                      <a:pt x="19742" y="27169"/>
                    </a:cubicBezTo>
                    <a:cubicBezTo>
                      <a:pt x="19742" y="27169"/>
                      <a:pt x="-36251" y="-14915"/>
                      <a:pt x="20736" y="49252"/>
                    </a:cubicBezTo>
                    <a:cubicBezTo>
                      <a:pt x="20736" y="49252"/>
                      <a:pt x="29379" y="61630"/>
                      <a:pt x="82200" y="58606"/>
                    </a:cubicBezTo>
                    <a:lnTo>
                      <a:pt x="92014" y="57673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1" name="Vrije vorm 197">
                <a:extLst>
                  <a:ext uri="{FF2B5EF4-FFF2-40B4-BE49-F238E27FC236}">
                    <a16:creationId xmlns:a16="http://schemas.microsoft.com/office/drawing/2014/main" id="{D8184595-24E3-4D7D-9839-59921270C3D5}"/>
                  </a:ext>
                </a:extLst>
              </p:cNvPr>
              <p:cNvSpPr/>
              <p:nvPr/>
            </p:nvSpPr>
            <p:spPr>
              <a:xfrm flipV="1">
                <a:off x="10198409" y="3234097"/>
                <a:ext cx="69898" cy="49453"/>
              </a:xfrm>
              <a:custGeom>
                <a:avLst/>
                <a:gdLst>
                  <a:gd name="connsiteX0" fmla="*/ 26410 w 31230"/>
                  <a:gd name="connsiteY0" fmla="*/ 16704 h 18120"/>
                  <a:gd name="connsiteX1" fmla="*/ 24410 w 31230"/>
                  <a:gd name="connsiteY1" fmla="*/ 3622 h 18120"/>
                  <a:gd name="connsiteX2" fmla="*/ 26410 w 31230"/>
                  <a:gd name="connsiteY2" fmla="*/ 16704 h 18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1230" h="18120">
                    <a:moveTo>
                      <a:pt x="26410" y="16704"/>
                    </a:moveTo>
                    <a:cubicBezTo>
                      <a:pt x="26410" y="16704"/>
                      <a:pt x="-42505" y="-12961"/>
                      <a:pt x="24410" y="3622"/>
                    </a:cubicBezTo>
                    <a:lnTo>
                      <a:pt x="26410" y="16704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2" name="Vrije vorm 198">
                <a:extLst>
                  <a:ext uri="{FF2B5EF4-FFF2-40B4-BE49-F238E27FC236}">
                    <a16:creationId xmlns:a16="http://schemas.microsoft.com/office/drawing/2014/main" id="{2B11FD3C-257E-4B02-B44E-897590FA3758}"/>
                  </a:ext>
                </a:extLst>
              </p:cNvPr>
              <p:cNvSpPr/>
              <p:nvPr/>
            </p:nvSpPr>
            <p:spPr>
              <a:xfrm flipV="1">
                <a:off x="8692546" y="2396056"/>
                <a:ext cx="659929" cy="675999"/>
              </a:xfrm>
              <a:custGeom>
                <a:avLst/>
                <a:gdLst>
                  <a:gd name="connsiteX0" fmla="*/ 290486 w 294853"/>
                  <a:gd name="connsiteY0" fmla="*/ 3811 h 247690"/>
                  <a:gd name="connsiteX1" fmla="*/ 285926 w 294853"/>
                  <a:gd name="connsiteY1" fmla="*/ -1626 h 247690"/>
                  <a:gd name="connsiteX2" fmla="*/ -4367 w 294853"/>
                  <a:gd name="connsiteY2" fmla="*/ 240605 h 247690"/>
                  <a:gd name="connsiteX3" fmla="*/ 172 w 294853"/>
                  <a:gd name="connsiteY3" fmla="*/ 246064 h 247690"/>
                  <a:gd name="connsiteX4" fmla="*/ 290486 w 294853"/>
                  <a:gd name="connsiteY4" fmla="*/ 3811 h 247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4853" h="247690">
                    <a:moveTo>
                      <a:pt x="290486" y="3811"/>
                    </a:moveTo>
                    <a:lnTo>
                      <a:pt x="285926" y="-1626"/>
                    </a:lnTo>
                    <a:lnTo>
                      <a:pt x="-4367" y="240605"/>
                    </a:lnTo>
                    <a:lnTo>
                      <a:pt x="172" y="246064"/>
                    </a:lnTo>
                    <a:lnTo>
                      <a:pt x="290486" y="3811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3" name="Vrije vorm 199">
                <a:extLst>
                  <a:ext uri="{FF2B5EF4-FFF2-40B4-BE49-F238E27FC236}">
                    <a16:creationId xmlns:a16="http://schemas.microsoft.com/office/drawing/2014/main" id="{65B29918-54BB-4EC3-A976-34D2449B19A6}"/>
                  </a:ext>
                </a:extLst>
              </p:cNvPr>
              <p:cNvSpPr/>
              <p:nvPr/>
            </p:nvSpPr>
            <p:spPr>
              <a:xfrm flipV="1">
                <a:off x="9205338" y="2925452"/>
                <a:ext cx="625427" cy="352544"/>
              </a:xfrm>
              <a:custGeom>
                <a:avLst/>
                <a:gdLst>
                  <a:gd name="connsiteX0" fmla="*/ 246284 w 279438"/>
                  <a:gd name="connsiteY0" fmla="*/ -1479 h 129174"/>
                  <a:gd name="connsiteX1" fmla="*/ 75323 w 279438"/>
                  <a:gd name="connsiteY1" fmla="*/ 65983 h 129174"/>
                  <a:gd name="connsiteX2" fmla="*/ 56524 w 279438"/>
                  <a:gd name="connsiteY2" fmla="*/ 41206 h 129174"/>
                  <a:gd name="connsiteX3" fmla="*/ 39674 w 279438"/>
                  <a:gd name="connsiteY3" fmla="*/ 46934 h 129174"/>
                  <a:gd name="connsiteX4" fmla="*/ 22740 w 279438"/>
                  <a:gd name="connsiteY4" fmla="*/ 51865 h 129174"/>
                  <a:gd name="connsiteX5" fmla="*/ 5309 w 279438"/>
                  <a:gd name="connsiteY5" fmla="*/ 62596 h 129174"/>
                  <a:gd name="connsiteX6" fmla="*/ -2681 w 279438"/>
                  <a:gd name="connsiteY6" fmla="*/ 79469 h 129174"/>
                  <a:gd name="connsiteX7" fmla="*/ 17393 w 279438"/>
                  <a:gd name="connsiteY7" fmla="*/ 113153 h 129174"/>
                  <a:gd name="connsiteX8" fmla="*/ 30222 w 279438"/>
                  <a:gd name="connsiteY8" fmla="*/ 127696 h 129174"/>
                  <a:gd name="connsiteX9" fmla="*/ 274886 w 279438"/>
                  <a:gd name="connsiteY9" fmla="*/ 51036 h 129174"/>
                  <a:gd name="connsiteX10" fmla="*/ 246284 w 279438"/>
                  <a:gd name="connsiteY10" fmla="*/ -1479 h 129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9438" h="129174">
                    <a:moveTo>
                      <a:pt x="246284" y="-1479"/>
                    </a:moveTo>
                    <a:lnTo>
                      <a:pt x="75323" y="65983"/>
                    </a:lnTo>
                    <a:cubicBezTo>
                      <a:pt x="75323" y="65983"/>
                      <a:pt x="70618" y="49441"/>
                      <a:pt x="56524" y="41206"/>
                    </a:cubicBezTo>
                    <a:cubicBezTo>
                      <a:pt x="56524" y="41206"/>
                      <a:pt x="37881" y="36566"/>
                      <a:pt x="39674" y="46934"/>
                    </a:cubicBezTo>
                    <a:cubicBezTo>
                      <a:pt x="39674" y="46934"/>
                      <a:pt x="28025" y="39559"/>
                      <a:pt x="22740" y="51865"/>
                    </a:cubicBezTo>
                    <a:cubicBezTo>
                      <a:pt x="22740" y="51865"/>
                      <a:pt x="5195" y="49368"/>
                      <a:pt x="5309" y="62596"/>
                    </a:cubicBezTo>
                    <a:cubicBezTo>
                      <a:pt x="5309" y="62596"/>
                      <a:pt x="-9707" y="61342"/>
                      <a:pt x="-2681" y="79469"/>
                    </a:cubicBezTo>
                    <a:cubicBezTo>
                      <a:pt x="4335" y="97585"/>
                      <a:pt x="17393" y="113153"/>
                      <a:pt x="17393" y="113153"/>
                    </a:cubicBezTo>
                    <a:lnTo>
                      <a:pt x="30222" y="127696"/>
                    </a:lnTo>
                    <a:lnTo>
                      <a:pt x="274886" y="51036"/>
                    </a:lnTo>
                    <a:lnTo>
                      <a:pt x="246284" y="-1479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4" name="Vrije vorm 200">
                <a:extLst>
                  <a:ext uri="{FF2B5EF4-FFF2-40B4-BE49-F238E27FC236}">
                    <a16:creationId xmlns:a16="http://schemas.microsoft.com/office/drawing/2014/main" id="{74567323-7534-420C-9A04-6221DCA350CF}"/>
                  </a:ext>
                </a:extLst>
              </p:cNvPr>
              <p:cNvSpPr/>
              <p:nvPr/>
            </p:nvSpPr>
            <p:spPr>
              <a:xfrm flipV="1">
                <a:off x="9212908" y="2891930"/>
                <a:ext cx="165893" cy="177552"/>
              </a:xfrm>
              <a:custGeom>
                <a:avLst/>
                <a:gdLst>
                  <a:gd name="connsiteX0" fmla="*/ 69651 w 74120"/>
                  <a:gd name="connsiteY0" fmla="*/ 10383 h 65056"/>
                  <a:gd name="connsiteX1" fmla="*/ 44883 w 74120"/>
                  <a:gd name="connsiteY1" fmla="*/ -1249 h 65056"/>
                  <a:gd name="connsiteX2" fmla="*/ 17224 w 74120"/>
                  <a:gd name="connsiteY2" fmla="*/ 36154 h 65056"/>
                  <a:gd name="connsiteX3" fmla="*/ -2228 w 74120"/>
                  <a:gd name="connsiteY3" fmla="*/ 62691 h 65056"/>
                  <a:gd name="connsiteX4" fmla="*/ 69651 w 74120"/>
                  <a:gd name="connsiteY4" fmla="*/ 10383 h 6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120" h="65056">
                    <a:moveTo>
                      <a:pt x="69651" y="10383"/>
                    </a:moveTo>
                    <a:cubicBezTo>
                      <a:pt x="69651" y="10383"/>
                      <a:pt x="66490" y="-3662"/>
                      <a:pt x="44883" y="-1249"/>
                    </a:cubicBezTo>
                    <a:cubicBezTo>
                      <a:pt x="23266" y="1165"/>
                      <a:pt x="17224" y="36154"/>
                      <a:pt x="17224" y="36154"/>
                    </a:cubicBezTo>
                    <a:cubicBezTo>
                      <a:pt x="17224" y="36154"/>
                      <a:pt x="-12757" y="56031"/>
                      <a:pt x="-2228" y="62691"/>
                    </a:cubicBezTo>
                    <a:cubicBezTo>
                      <a:pt x="8301" y="69331"/>
                      <a:pt x="62096" y="35056"/>
                      <a:pt x="69651" y="10383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5" name="Vrije vorm 201">
                <a:extLst>
                  <a:ext uri="{FF2B5EF4-FFF2-40B4-BE49-F238E27FC236}">
                    <a16:creationId xmlns:a16="http://schemas.microsoft.com/office/drawing/2014/main" id="{46C4D165-13FD-46C0-801E-9A6EF75AAF0A}"/>
                  </a:ext>
                </a:extLst>
              </p:cNvPr>
              <p:cNvSpPr/>
              <p:nvPr/>
            </p:nvSpPr>
            <p:spPr>
              <a:xfrm flipV="1">
                <a:off x="9667989" y="2991546"/>
                <a:ext cx="192119" cy="268642"/>
              </a:xfrm>
              <a:custGeom>
                <a:avLst/>
                <a:gdLst>
                  <a:gd name="connsiteX0" fmla="*/ 81194 w 85838"/>
                  <a:gd name="connsiteY0" fmla="*/ 41755 h 98432"/>
                  <a:gd name="connsiteX1" fmla="*/ 12247 w 85838"/>
                  <a:gd name="connsiteY1" fmla="*/ 96963 h 98432"/>
                  <a:gd name="connsiteX2" fmla="*/ -4645 w 85838"/>
                  <a:gd name="connsiteY2" fmla="*/ 71420 h 98432"/>
                  <a:gd name="connsiteX3" fmla="*/ 46228 w 85838"/>
                  <a:gd name="connsiteY3" fmla="*/ -1469 h 98432"/>
                  <a:gd name="connsiteX4" fmla="*/ 81194 w 85838"/>
                  <a:gd name="connsiteY4" fmla="*/ 41755 h 98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838" h="98432">
                    <a:moveTo>
                      <a:pt x="81194" y="41755"/>
                    </a:moveTo>
                    <a:lnTo>
                      <a:pt x="12247" y="96963"/>
                    </a:lnTo>
                    <a:lnTo>
                      <a:pt x="-4645" y="71420"/>
                    </a:lnTo>
                    <a:lnTo>
                      <a:pt x="46228" y="-1469"/>
                    </a:lnTo>
                    <a:lnTo>
                      <a:pt x="81194" y="41755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6" name="Vrije vorm 207">
                <a:extLst>
                  <a:ext uri="{FF2B5EF4-FFF2-40B4-BE49-F238E27FC236}">
                    <a16:creationId xmlns:a16="http://schemas.microsoft.com/office/drawing/2014/main" id="{D85FD8CB-B1CA-43AA-8AC0-FAD95DCAEB9F}"/>
                  </a:ext>
                </a:extLst>
              </p:cNvPr>
              <p:cNvSpPr/>
              <p:nvPr/>
            </p:nvSpPr>
            <p:spPr>
              <a:xfrm flipV="1">
                <a:off x="10068803" y="1872368"/>
                <a:ext cx="110399" cy="155448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7" name="Vrije vorm 208">
                <a:extLst>
                  <a:ext uri="{FF2B5EF4-FFF2-40B4-BE49-F238E27FC236}">
                    <a16:creationId xmlns:a16="http://schemas.microsoft.com/office/drawing/2014/main" id="{01675551-F8E2-4EB9-B6BE-17EDD69E2D2C}"/>
                  </a:ext>
                </a:extLst>
              </p:cNvPr>
              <p:cNvSpPr/>
              <p:nvPr/>
            </p:nvSpPr>
            <p:spPr>
              <a:xfrm flipV="1">
                <a:off x="10215703" y="1868786"/>
                <a:ext cx="135652" cy="154591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8" name="Vrije vorm 209">
                <a:extLst>
                  <a:ext uri="{FF2B5EF4-FFF2-40B4-BE49-F238E27FC236}">
                    <a16:creationId xmlns:a16="http://schemas.microsoft.com/office/drawing/2014/main" id="{74F20964-853B-4848-86D9-FE9FFCE765A4}"/>
                  </a:ext>
                </a:extLst>
              </p:cNvPr>
              <p:cNvSpPr/>
              <p:nvPr/>
            </p:nvSpPr>
            <p:spPr>
              <a:xfrm flipV="1">
                <a:off x="10350380" y="1925268"/>
                <a:ext cx="180000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9" name="Vrije vorm 210">
                <a:extLst>
                  <a:ext uri="{FF2B5EF4-FFF2-40B4-BE49-F238E27FC236}">
                    <a16:creationId xmlns:a16="http://schemas.microsoft.com/office/drawing/2014/main" id="{6C7DCB01-87DB-49F2-8A92-88EA6638F8B8}"/>
                  </a:ext>
                </a:extLst>
              </p:cNvPr>
              <p:cNvSpPr/>
              <p:nvPr/>
            </p:nvSpPr>
            <p:spPr>
              <a:xfrm flipV="1">
                <a:off x="10170481" y="1949355"/>
                <a:ext cx="49121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</p:grpSp>
      <p:sp>
        <p:nvSpPr>
          <p:cNvPr id="4" name="Tekstvak 3">
            <a:extLst>
              <a:ext uri="{FF2B5EF4-FFF2-40B4-BE49-F238E27FC236}">
                <a16:creationId xmlns:a16="http://schemas.microsoft.com/office/drawing/2014/main" id="{F24194B3-3CB0-4C05-BC2A-56E5E00E41E7}"/>
              </a:ext>
            </a:extLst>
          </p:cNvPr>
          <p:cNvSpPr txBox="1"/>
          <p:nvPr/>
        </p:nvSpPr>
        <p:spPr>
          <a:xfrm>
            <a:off x="2366312" y="596900"/>
            <a:ext cx="5133052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Various strategies to find and select co-founders: </a:t>
            </a:r>
          </a:p>
          <a:p>
            <a:pPr marL="342900" indent="-342900">
              <a:buFont typeface="Arial"/>
              <a:buAutoNum type="arabicPeriod"/>
            </a:pPr>
            <a:r>
              <a:rPr lang="en-US" sz="1600" dirty="0"/>
              <a:t>Resource-seeking strategy </a:t>
            </a:r>
            <a:br>
              <a:rPr lang="en-US" sz="1600" dirty="0"/>
            </a:br>
            <a:r>
              <a:rPr lang="en-US" sz="1600" dirty="0">
                <a:solidFill>
                  <a:schemeClr val="accent1"/>
                </a:solidFill>
              </a:rPr>
              <a:t>C</a:t>
            </a:r>
            <a:r>
              <a:rPr lang="en-US" dirty="0">
                <a:solidFill>
                  <a:schemeClr val="accent1"/>
                </a:solidFill>
              </a:rPr>
              <a:t>onceptualized and measured based on diversity of experience or professional backgrounds within a team. Do all ventures need diversity of professional backgrounds? </a:t>
            </a:r>
            <a:br>
              <a:rPr lang="en-US" dirty="0">
                <a:solidFill>
                  <a:schemeClr val="accent1"/>
                </a:solidFill>
              </a:rPr>
            </a:br>
            <a:endParaRPr lang="en-US" dirty="0">
              <a:solidFill>
                <a:schemeClr val="accent1"/>
              </a:solidFill>
            </a:endParaRPr>
          </a:p>
          <a:p>
            <a:pPr marL="342900" indent="-342900">
              <a:buFont typeface="Arial"/>
              <a:buAutoNum type="arabicPeriod"/>
            </a:pPr>
            <a:r>
              <a:rPr lang="en-US" sz="1600" dirty="0"/>
              <a:t>Interpersonal-attraction strategy </a:t>
            </a:r>
            <a:br>
              <a:rPr lang="en-US" dirty="0"/>
            </a:br>
            <a:r>
              <a:rPr lang="en-US" dirty="0">
                <a:solidFill>
                  <a:schemeClr val="accent1"/>
                </a:solidFill>
              </a:rPr>
              <a:t>Studies utilizing interpersonal attraction measure it at team-level rather than dyadic level</a:t>
            </a: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Font typeface="Arial"/>
              <a:buAutoNum type="arabicPeriod"/>
            </a:pPr>
            <a:r>
              <a:rPr lang="en-US" sz="1600" dirty="0"/>
              <a:t>Hybrid strategy </a:t>
            </a:r>
            <a:br>
              <a:rPr lang="en-US" sz="1600" dirty="0"/>
            </a:br>
            <a:r>
              <a:rPr lang="en-US" dirty="0">
                <a:solidFill>
                  <a:schemeClr val="accent1"/>
                </a:solidFill>
              </a:rPr>
              <a:t>Integrating these frameworks into a hybrid overlooks the distinct outcomes they predict</a:t>
            </a:r>
          </a:p>
        </p:txBody>
      </p:sp>
    </p:spTree>
    <p:extLst>
      <p:ext uri="{BB962C8B-B14F-4D97-AF65-F5344CB8AC3E}">
        <p14:creationId xmlns:p14="http://schemas.microsoft.com/office/powerpoint/2010/main" val="2393869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roep 75">
            <a:extLst>
              <a:ext uri="{FF2B5EF4-FFF2-40B4-BE49-F238E27FC236}">
                <a16:creationId xmlns:a16="http://schemas.microsoft.com/office/drawing/2014/main" id="{D14D44E5-261B-47F6-8D7F-7C7B541CD61A}"/>
              </a:ext>
            </a:extLst>
          </p:cNvPr>
          <p:cNvGrpSpPr/>
          <p:nvPr/>
        </p:nvGrpSpPr>
        <p:grpSpPr>
          <a:xfrm>
            <a:off x="1898190" y="137864"/>
            <a:ext cx="9595310" cy="6720136"/>
            <a:chOff x="6774990" y="1382464"/>
            <a:chExt cx="4424850" cy="4271278"/>
          </a:xfrm>
        </p:grpSpPr>
        <p:sp>
          <p:nvSpPr>
            <p:cNvPr id="77" name="Vrije vorm 140">
              <a:extLst>
                <a:ext uri="{FF2B5EF4-FFF2-40B4-BE49-F238E27FC236}">
                  <a16:creationId xmlns:a16="http://schemas.microsoft.com/office/drawing/2014/main" id="{321E92BF-398E-4658-B280-A686C7874B1A}"/>
                </a:ext>
              </a:extLst>
            </p:cNvPr>
            <p:cNvSpPr/>
            <p:nvPr/>
          </p:nvSpPr>
          <p:spPr>
            <a:xfrm flipV="1">
              <a:off x="8346531" y="1935296"/>
              <a:ext cx="64457" cy="3718446"/>
            </a:xfrm>
            <a:custGeom>
              <a:avLst/>
              <a:gdLst>
                <a:gd name="connsiteX0" fmla="*/ 24672 w 28799"/>
                <a:gd name="connsiteY0" fmla="*/ -1201 h 1362460"/>
                <a:gd name="connsiteX1" fmla="*/ -4127 w 28799"/>
                <a:gd name="connsiteY1" fmla="*/ -1201 h 1362460"/>
                <a:gd name="connsiteX2" fmla="*/ -4127 w 28799"/>
                <a:gd name="connsiteY2" fmla="*/ 1361259 h 1362460"/>
                <a:gd name="connsiteX3" fmla="*/ 24672 w 28799"/>
                <a:gd name="connsiteY3" fmla="*/ 1361259 h 1362460"/>
                <a:gd name="connsiteX4" fmla="*/ 24672 w 28799"/>
                <a:gd name="connsiteY4" fmla="*/ -1201 h 136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799" h="1362460">
                  <a:moveTo>
                    <a:pt x="24672" y="-1201"/>
                  </a:moveTo>
                  <a:lnTo>
                    <a:pt x="-4127" y="-1201"/>
                  </a:lnTo>
                  <a:lnTo>
                    <a:pt x="-4127" y="1361259"/>
                  </a:lnTo>
                  <a:lnTo>
                    <a:pt x="24672" y="1361259"/>
                  </a:lnTo>
                  <a:lnTo>
                    <a:pt x="24672" y="-1201"/>
                  </a:lnTo>
                </a:path>
              </a:pathLst>
            </a:custGeom>
            <a:solidFill>
              <a:srgbClr val="404952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" name="Vrije vorm 141">
              <a:extLst>
                <a:ext uri="{FF2B5EF4-FFF2-40B4-BE49-F238E27FC236}">
                  <a16:creationId xmlns:a16="http://schemas.microsoft.com/office/drawing/2014/main" id="{4F895B74-C547-42CC-8F77-617ADF5835C2}"/>
                </a:ext>
              </a:extLst>
            </p:cNvPr>
            <p:cNvSpPr/>
            <p:nvPr/>
          </p:nvSpPr>
          <p:spPr>
            <a:xfrm flipV="1">
              <a:off x="8346531" y="1935296"/>
              <a:ext cx="64457" cy="2197250"/>
            </a:xfrm>
            <a:custGeom>
              <a:avLst/>
              <a:gdLst>
                <a:gd name="connsiteX0" fmla="*/ 24672 w 28799"/>
                <a:gd name="connsiteY0" fmla="*/ -1506 h 805085"/>
                <a:gd name="connsiteX1" fmla="*/ -4127 w 28799"/>
                <a:gd name="connsiteY1" fmla="*/ -1506 h 805085"/>
                <a:gd name="connsiteX2" fmla="*/ -4127 w 28799"/>
                <a:gd name="connsiteY2" fmla="*/ 803579 h 805085"/>
                <a:gd name="connsiteX3" fmla="*/ 24672 w 28799"/>
                <a:gd name="connsiteY3" fmla="*/ 803579 h 805085"/>
                <a:gd name="connsiteX4" fmla="*/ 24672 w 28799"/>
                <a:gd name="connsiteY4" fmla="*/ -1506 h 80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799" h="805085">
                  <a:moveTo>
                    <a:pt x="24672" y="-1506"/>
                  </a:moveTo>
                  <a:lnTo>
                    <a:pt x="-4127" y="-1506"/>
                  </a:lnTo>
                  <a:lnTo>
                    <a:pt x="-4127" y="803579"/>
                  </a:lnTo>
                  <a:lnTo>
                    <a:pt x="24672" y="803579"/>
                  </a:lnTo>
                  <a:lnTo>
                    <a:pt x="24672" y="-1506"/>
                  </a:lnTo>
                </a:path>
              </a:pathLst>
            </a:custGeom>
            <a:solidFill>
              <a:srgbClr val="14161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1" name="Vrije vorm 142">
              <a:extLst>
                <a:ext uri="{FF2B5EF4-FFF2-40B4-BE49-F238E27FC236}">
                  <a16:creationId xmlns:a16="http://schemas.microsoft.com/office/drawing/2014/main" id="{0CD0AC39-3385-4ED1-9C6E-6EDD6063867C}"/>
                </a:ext>
              </a:extLst>
            </p:cNvPr>
            <p:cNvSpPr/>
            <p:nvPr/>
          </p:nvSpPr>
          <p:spPr>
            <a:xfrm flipV="1">
              <a:off x="8356784" y="4731600"/>
              <a:ext cx="620034" cy="903083"/>
            </a:xfrm>
            <a:custGeom>
              <a:avLst/>
              <a:gdLst>
                <a:gd name="connsiteX0" fmla="*/ 272794 w 277028"/>
                <a:gd name="connsiteY0" fmla="*/ 14891 h 330895"/>
                <a:gd name="connsiteX1" fmla="*/ 257622 w 277028"/>
                <a:gd name="connsiteY1" fmla="*/ -645 h 330895"/>
                <a:gd name="connsiteX2" fmla="*/ -4235 w 277028"/>
                <a:gd name="connsiteY2" fmla="*/ 314714 h 330895"/>
                <a:gd name="connsiteX3" fmla="*/ 10937 w 277028"/>
                <a:gd name="connsiteY3" fmla="*/ 330251 h 330895"/>
                <a:gd name="connsiteX4" fmla="*/ 272794 w 277028"/>
                <a:gd name="connsiteY4" fmla="*/ 14891 h 330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028" h="330895">
                  <a:moveTo>
                    <a:pt x="272794" y="14891"/>
                  </a:moveTo>
                  <a:lnTo>
                    <a:pt x="257622" y="-645"/>
                  </a:lnTo>
                  <a:lnTo>
                    <a:pt x="-4235" y="314714"/>
                  </a:lnTo>
                  <a:lnTo>
                    <a:pt x="10937" y="330251"/>
                  </a:lnTo>
                  <a:lnTo>
                    <a:pt x="272794" y="14891"/>
                  </a:lnTo>
                </a:path>
              </a:pathLst>
            </a:custGeom>
            <a:solidFill>
              <a:srgbClr val="404952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" name="Vrije vorm 143">
              <a:extLst>
                <a:ext uri="{FF2B5EF4-FFF2-40B4-BE49-F238E27FC236}">
                  <a16:creationId xmlns:a16="http://schemas.microsoft.com/office/drawing/2014/main" id="{7AE253E5-6200-43DE-8939-12A932C1A94B}"/>
                </a:ext>
              </a:extLst>
            </p:cNvPr>
            <p:cNvSpPr/>
            <p:nvPr/>
          </p:nvSpPr>
          <p:spPr>
            <a:xfrm flipV="1">
              <a:off x="7780679" y="4731600"/>
              <a:ext cx="620056" cy="903083"/>
            </a:xfrm>
            <a:custGeom>
              <a:avLst/>
              <a:gdLst>
                <a:gd name="connsiteX0" fmla="*/ -4019 w 277038"/>
                <a:gd name="connsiteY0" fmla="*/ 14891 h 330895"/>
                <a:gd name="connsiteX1" fmla="*/ 11163 w 277038"/>
                <a:gd name="connsiteY1" fmla="*/ -645 h 330895"/>
                <a:gd name="connsiteX2" fmla="*/ 273019 w 277038"/>
                <a:gd name="connsiteY2" fmla="*/ 314714 h 330895"/>
                <a:gd name="connsiteX3" fmla="*/ 257848 w 277038"/>
                <a:gd name="connsiteY3" fmla="*/ 330251 h 330895"/>
                <a:gd name="connsiteX4" fmla="*/ -4019 w 277038"/>
                <a:gd name="connsiteY4" fmla="*/ 14891 h 330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038" h="330895">
                  <a:moveTo>
                    <a:pt x="-4019" y="14891"/>
                  </a:moveTo>
                  <a:lnTo>
                    <a:pt x="11163" y="-645"/>
                  </a:lnTo>
                  <a:lnTo>
                    <a:pt x="273019" y="314714"/>
                  </a:lnTo>
                  <a:lnTo>
                    <a:pt x="257848" y="330251"/>
                  </a:lnTo>
                  <a:lnTo>
                    <a:pt x="-4019" y="14891"/>
                  </a:lnTo>
                </a:path>
              </a:pathLst>
            </a:custGeom>
            <a:solidFill>
              <a:srgbClr val="404952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" name="Vrije vorm 144">
              <a:extLst>
                <a:ext uri="{FF2B5EF4-FFF2-40B4-BE49-F238E27FC236}">
                  <a16:creationId xmlns:a16="http://schemas.microsoft.com/office/drawing/2014/main" id="{22582CAF-80C2-4292-B20C-9C8FBE53492F}"/>
                </a:ext>
              </a:extLst>
            </p:cNvPr>
            <p:cNvSpPr/>
            <p:nvPr/>
          </p:nvSpPr>
          <p:spPr>
            <a:xfrm flipV="1">
              <a:off x="8263518" y="4652617"/>
              <a:ext cx="230459" cy="129982"/>
            </a:xfrm>
            <a:custGeom>
              <a:avLst/>
              <a:gdLst>
                <a:gd name="connsiteX0" fmla="*/ 98841 w 102968"/>
                <a:gd name="connsiteY0" fmla="*/ -831 h 47626"/>
                <a:gd name="connsiteX1" fmla="*/ -4127 w 102968"/>
                <a:gd name="connsiteY1" fmla="*/ -831 h 47626"/>
                <a:gd name="connsiteX2" fmla="*/ -4127 w 102968"/>
                <a:gd name="connsiteY2" fmla="*/ 46795 h 47626"/>
                <a:gd name="connsiteX3" fmla="*/ 98841 w 102968"/>
                <a:gd name="connsiteY3" fmla="*/ 46795 h 47626"/>
                <a:gd name="connsiteX4" fmla="*/ 98841 w 102968"/>
                <a:gd name="connsiteY4" fmla="*/ -831 h 4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968" h="47626">
                  <a:moveTo>
                    <a:pt x="98841" y="-831"/>
                  </a:moveTo>
                  <a:lnTo>
                    <a:pt x="-4127" y="-831"/>
                  </a:lnTo>
                  <a:lnTo>
                    <a:pt x="-4127" y="46795"/>
                  </a:lnTo>
                  <a:lnTo>
                    <a:pt x="98841" y="46795"/>
                  </a:lnTo>
                  <a:lnTo>
                    <a:pt x="98841" y="-831"/>
                  </a:lnTo>
                </a:path>
              </a:pathLst>
            </a:custGeom>
            <a:solidFill>
              <a:srgbClr val="404952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0" name="Vrije vorm 145">
              <a:extLst>
                <a:ext uri="{FF2B5EF4-FFF2-40B4-BE49-F238E27FC236}">
                  <a16:creationId xmlns:a16="http://schemas.microsoft.com/office/drawing/2014/main" id="{87A06E88-F10B-49E0-BA42-DC961658720D}"/>
                </a:ext>
              </a:extLst>
            </p:cNvPr>
            <p:cNvSpPr/>
            <p:nvPr/>
          </p:nvSpPr>
          <p:spPr>
            <a:xfrm flipV="1">
              <a:off x="6775153" y="1382464"/>
              <a:ext cx="3207375" cy="2584905"/>
            </a:xfrm>
            <a:custGeom>
              <a:avLst/>
              <a:gdLst>
                <a:gd name="connsiteX0" fmla="*/ 22185 w 1433040"/>
                <a:gd name="connsiteY0" fmla="*/ 27559 h 947124"/>
                <a:gd name="connsiteX1" fmla="*/ 1402591 w 1433040"/>
                <a:gd name="connsiteY1" fmla="*/ 27559 h 947124"/>
                <a:gd name="connsiteX2" fmla="*/ 1402591 w 1433040"/>
                <a:gd name="connsiteY2" fmla="*/ 916275 h 947124"/>
                <a:gd name="connsiteX3" fmla="*/ 22185 w 1433040"/>
                <a:gd name="connsiteY3" fmla="*/ 916275 h 947124"/>
                <a:gd name="connsiteX4" fmla="*/ 1428914 w 1433040"/>
                <a:gd name="connsiteY4" fmla="*/ -1650 h 947124"/>
                <a:gd name="connsiteX5" fmla="*/ 18278 w 1433040"/>
                <a:gd name="connsiteY5" fmla="*/ -1650 h 947124"/>
                <a:gd name="connsiteX6" fmla="*/ -4127 w 1433040"/>
                <a:gd name="connsiteY6" fmla="*/ 23572 h 947124"/>
                <a:gd name="connsiteX7" fmla="*/ -4127 w 1433040"/>
                <a:gd name="connsiteY7" fmla="*/ 945475 h 947124"/>
                <a:gd name="connsiteX8" fmla="*/ 1428914 w 1433040"/>
                <a:gd name="connsiteY8" fmla="*/ 945475 h 947124"/>
                <a:gd name="connsiteX9" fmla="*/ 1428914 w 1433040"/>
                <a:gd name="connsiteY9" fmla="*/ -1650 h 947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3040" h="947124">
                  <a:moveTo>
                    <a:pt x="22185" y="27559"/>
                  </a:moveTo>
                  <a:lnTo>
                    <a:pt x="1402591" y="27559"/>
                  </a:lnTo>
                  <a:lnTo>
                    <a:pt x="1402591" y="916275"/>
                  </a:lnTo>
                  <a:lnTo>
                    <a:pt x="22185" y="916275"/>
                  </a:lnTo>
                  <a:close/>
                  <a:moveTo>
                    <a:pt x="1428914" y="-1650"/>
                  </a:moveTo>
                  <a:lnTo>
                    <a:pt x="18278" y="-1650"/>
                  </a:lnTo>
                  <a:lnTo>
                    <a:pt x="-4127" y="23572"/>
                  </a:lnTo>
                  <a:lnTo>
                    <a:pt x="-4127" y="945475"/>
                  </a:lnTo>
                  <a:lnTo>
                    <a:pt x="1428914" y="945475"/>
                  </a:lnTo>
                  <a:lnTo>
                    <a:pt x="1428914" y="-1650"/>
                  </a:lnTo>
                </a:path>
              </a:pathLst>
            </a:custGeom>
            <a:solidFill>
              <a:srgbClr val="74777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7" name="Vrije vorm 146">
              <a:extLst>
                <a:ext uri="{FF2B5EF4-FFF2-40B4-BE49-F238E27FC236}">
                  <a16:creationId xmlns:a16="http://schemas.microsoft.com/office/drawing/2014/main" id="{379141C5-03E7-4FB1-8372-25178648F664}"/>
                </a:ext>
              </a:extLst>
            </p:cNvPr>
            <p:cNvSpPr/>
            <p:nvPr/>
          </p:nvSpPr>
          <p:spPr>
            <a:xfrm flipV="1">
              <a:off x="6803797" y="1421729"/>
              <a:ext cx="3096483" cy="2437765"/>
            </a:xfrm>
            <a:custGeom>
              <a:avLst/>
              <a:gdLst>
                <a:gd name="connsiteX0" fmla="*/ 1379377 w 1383494"/>
                <a:gd name="connsiteY0" fmla="*/ -1664 h 893211"/>
                <a:gd name="connsiteX1" fmla="*/ -4117 w 1383494"/>
                <a:gd name="connsiteY1" fmla="*/ -1664 h 893211"/>
                <a:gd name="connsiteX2" fmla="*/ -4117 w 1383494"/>
                <a:gd name="connsiteY2" fmla="*/ 891548 h 893211"/>
                <a:gd name="connsiteX3" fmla="*/ 1379377 w 1383494"/>
                <a:gd name="connsiteY3" fmla="*/ 891548 h 893211"/>
                <a:gd name="connsiteX4" fmla="*/ 1379377 w 1383494"/>
                <a:gd name="connsiteY4" fmla="*/ -1664 h 89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494" h="893211">
                  <a:moveTo>
                    <a:pt x="1379377" y="-1664"/>
                  </a:moveTo>
                  <a:lnTo>
                    <a:pt x="-4117" y="-1664"/>
                  </a:lnTo>
                  <a:lnTo>
                    <a:pt x="-4117" y="891548"/>
                  </a:lnTo>
                  <a:lnTo>
                    <a:pt x="1379377" y="891548"/>
                  </a:lnTo>
                  <a:lnTo>
                    <a:pt x="1379377" y="-1664"/>
                  </a:lnTo>
                </a:path>
              </a:pathLst>
            </a:custGeom>
            <a:solidFill>
              <a:srgbClr val="FEFEED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dirty="0"/>
            </a:p>
          </p:txBody>
        </p:sp>
        <p:sp>
          <p:nvSpPr>
            <p:cNvPr id="98" name="Vrije vorm 147">
              <a:extLst>
                <a:ext uri="{FF2B5EF4-FFF2-40B4-BE49-F238E27FC236}">
                  <a16:creationId xmlns:a16="http://schemas.microsoft.com/office/drawing/2014/main" id="{BFEFDCE9-7693-4041-B4FE-50324F60C276}"/>
                </a:ext>
              </a:extLst>
            </p:cNvPr>
            <p:cNvSpPr/>
            <p:nvPr/>
          </p:nvSpPr>
          <p:spPr>
            <a:xfrm flipV="1">
              <a:off x="6774990" y="1382720"/>
              <a:ext cx="3154076" cy="2515787"/>
            </a:xfrm>
            <a:custGeom>
              <a:avLst/>
              <a:gdLst>
                <a:gd name="connsiteX0" fmla="*/ 21615 w 1409226"/>
                <a:gd name="connsiteY0" fmla="*/ 26914 h 921799"/>
                <a:gd name="connsiteX1" fmla="*/ 1379378 w 1409226"/>
                <a:gd name="connsiteY1" fmla="*/ 26914 h 921799"/>
                <a:gd name="connsiteX2" fmla="*/ 1379378 w 1409226"/>
                <a:gd name="connsiteY2" fmla="*/ 891558 h 921799"/>
                <a:gd name="connsiteX3" fmla="*/ 21615 w 1409226"/>
                <a:gd name="connsiteY3" fmla="*/ 891558 h 921799"/>
                <a:gd name="connsiteX4" fmla="*/ 1405109 w 1409226"/>
                <a:gd name="connsiteY4" fmla="*/ -1664 h 921799"/>
                <a:gd name="connsiteX5" fmla="*/ -4117 w 1409226"/>
                <a:gd name="connsiteY5" fmla="*/ -1664 h 921799"/>
                <a:gd name="connsiteX6" fmla="*/ -4117 w 1409226"/>
                <a:gd name="connsiteY6" fmla="*/ 920135 h 921799"/>
                <a:gd name="connsiteX7" fmla="*/ 1405109 w 1409226"/>
                <a:gd name="connsiteY7" fmla="*/ 920135 h 921799"/>
                <a:gd name="connsiteX8" fmla="*/ 1405109 w 1409226"/>
                <a:gd name="connsiteY8" fmla="*/ -1664 h 92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9226" h="921799">
                  <a:moveTo>
                    <a:pt x="21615" y="26914"/>
                  </a:moveTo>
                  <a:lnTo>
                    <a:pt x="1379378" y="26914"/>
                  </a:lnTo>
                  <a:lnTo>
                    <a:pt x="1379378" y="891558"/>
                  </a:lnTo>
                  <a:lnTo>
                    <a:pt x="21615" y="891558"/>
                  </a:lnTo>
                  <a:close/>
                  <a:moveTo>
                    <a:pt x="1405109" y="-1664"/>
                  </a:moveTo>
                  <a:lnTo>
                    <a:pt x="-4117" y="-1664"/>
                  </a:lnTo>
                  <a:lnTo>
                    <a:pt x="-4117" y="920135"/>
                  </a:lnTo>
                  <a:lnTo>
                    <a:pt x="1405109" y="920135"/>
                  </a:lnTo>
                  <a:lnTo>
                    <a:pt x="1405109" y="-1664"/>
                  </a:lnTo>
                </a:path>
              </a:pathLst>
            </a:custGeom>
            <a:solidFill>
              <a:srgbClr val="929590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9" name="Vrije vorm 148">
              <a:extLst>
                <a:ext uri="{FF2B5EF4-FFF2-40B4-BE49-F238E27FC236}">
                  <a16:creationId xmlns:a16="http://schemas.microsoft.com/office/drawing/2014/main" id="{D29C2FCE-AC01-4197-9E11-8A9A3E00994E}"/>
                </a:ext>
              </a:extLst>
            </p:cNvPr>
            <p:cNvSpPr/>
            <p:nvPr/>
          </p:nvSpPr>
          <p:spPr>
            <a:xfrm flipV="1">
              <a:off x="6827782" y="1441207"/>
              <a:ext cx="3048493" cy="2379048"/>
            </a:xfrm>
            <a:custGeom>
              <a:avLst/>
              <a:gdLst>
                <a:gd name="connsiteX0" fmla="*/ 7894 w 1362052"/>
                <a:gd name="connsiteY0" fmla="*/ 20312 h 871697"/>
                <a:gd name="connsiteX1" fmla="*/ 7894 w 1362052"/>
                <a:gd name="connsiteY1" fmla="*/ 857134 h 871697"/>
                <a:gd name="connsiteX2" fmla="*/ 1357936 w 1362052"/>
                <a:gd name="connsiteY2" fmla="*/ 857134 h 871697"/>
                <a:gd name="connsiteX3" fmla="*/ 1357936 w 1362052"/>
                <a:gd name="connsiteY3" fmla="*/ 870030 h 871697"/>
                <a:gd name="connsiteX4" fmla="*/ -4117 w 1362052"/>
                <a:gd name="connsiteY4" fmla="*/ 870030 h 871697"/>
                <a:gd name="connsiteX5" fmla="*/ -4117 w 1362052"/>
                <a:gd name="connsiteY5" fmla="*/ -1668 h 871697"/>
                <a:gd name="connsiteX6" fmla="*/ 7894 w 1362052"/>
                <a:gd name="connsiteY6" fmla="*/ -1668 h 871697"/>
                <a:gd name="connsiteX7" fmla="*/ 7894 w 1362052"/>
                <a:gd name="connsiteY7" fmla="*/ 20312 h 871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62052" h="871697">
                  <a:moveTo>
                    <a:pt x="7894" y="20312"/>
                  </a:moveTo>
                  <a:lnTo>
                    <a:pt x="7894" y="857134"/>
                  </a:lnTo>
                  <a:lnTo>
                    <a:pt x="1357936" y="857134"/>
                  </a:lnTo>
                  <a:lnTo>
                    <a:pt x="1357936" y="870030"/>
                  </a:lnTo>
                  <a:lnTo>
                    <a:pt x="-4117" y="870030"/>
                  </a:lnTo>
                  <a:lnTo>
                    <a:pt x="-4117" y="-1668"/>
                  </a:lnTo>
                  <a:lnTo>
                    <a:pt x="7894" y="-1668"/>
                  </a:lnTo>
                  <a:lnTo>
                    <a:pt x="7894" y="20312"/>
                  </a:lnTo>
                </a:path>
              </a:pathLst>
            </a:custGeom>
            <a:solidFill>
              <a:srgbClr val="74777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0" name="Vrije vorm 149">
              <a:extLst>
                <a:ext uri="{FF2B5EF4-FFF2-40B4-BE49-F238E27FC236}">
                  <a16:creationId xmlns:a16="http://schemas.microsoft.com/office/drawing/2014/main" id="{B1589899-A585-4702-A651-6F4FDF201B0D}"/>
                </a:ext>
              </a:extLst>
            </p:cNvPr>
            <p:cNvSpPr/>
            <p:nvPr/>
          </p:nvSpPr>
          <p:spPr>
            <a:xfrm flipV="1">
              <a:off x="6827782" y="1441207"/>
              <a:ext cx="3048493" cy="35193"/>
            </a:xfrm>
            <a:custGeom>
              <a:avLst/>
              <a:gdLst>
                <a:gd name="connsiteX0" fmla="*/ 7894 w 1362052"/>
                <a:gd name="connsiteY0" fmla="*/ -2138 h 12895"/>
                <a:gd name="connsiteX1" fmla="*/ 1357936 w 1362052"/>
                <a:gd name="connsiteY1" fmla="*/ -2138 h 12895"/>
                <a:gd name="connsiteX2" fmla="*/ 1357936 w 1362052"/>
                <a:gd name="connsiteY2" fmla="*/ 10758 h 12895"/>
                <a:gd name="connsiteX3" fmla="*/ -4117 w 1362052"/>
                <a:gd name="connsiteY3" fmla="*/ 10758 h 12895"/>
                <a:gd name="connsiteX4" fmla="*/ 7894 w 1362052"/>
                <a:gd name="connsiteY4" fmla="*/ -2138 h 12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052" h="12895">
                  <a:moveTo>
                    <a:pt x="7894" y="-2138"/>
                  </a:moveTo>
                  <a:lnTo>
                    <a:pt x="1357936" y="-2138"/>
                  </a:lnTo>
                  <a:lnTo>
                    <a:pt x="1357936" y="10758"/>
                  </a:lnTo>
                  <a:lnTo>
                    <a:pt x="-4117" y="10758"/>
                  </a:lnTo>
                  <a:lnTo>
                    <a:pt x="7894" y="-2138"/>
                  </a:lnTo>
                </a:path>
              </a:pathLst>
            </a:custGeom>
            <a:solidFill>
              <a:srgbClr val="585C5E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1" name="Vrije vorm 150">
              <a:extLst>
                <a:ext uri="{FF2B5EF4-FFF2-40B4-BE49-F238E27FC236}">
                  <a16:creationId xmlns:a16="http://schemas.microsoft.com/office/drawing/2014/main" id="{786FD7BC-71EF-4FDA-B9C2-B45F3DCB1000}"/>
                </a:ext>
              </a:extLst>
            </p:cNvPr>
            <p:cNvSpPr/>
            <p:nvPr/>
          </p:nvSpPr>
          <p:spPr>
            <a:xfrm flipV="1">
              <a:off x="6775153" y="3888753"/>
              <a:ext cx="3207375" cy="78615"/>
            </a:xfrm>
            <a:custGeom>
              <a:avLst/>
              <a:gdLst>
                <a:gd name="connsiteX0" fmla="*/ -4127 w 1433040"/>
                <a:gd name="connsiteY0" fmla="*/ 27658 h 28805"/>
                <a:gd name="connsiteX1" fmla="*/ -4127 w 1433040"/>
                <a:gd name="connsiteY1" fmla="*/ 24074 h 28805"/>
                <a:gd name="connsiteX2" fmla="*/ 18278 w 1433040"/>
                <a:gd name="connsiteY2" fmla="*/ -1148 h 28805"/>
                <a:gd name="connsiteX3" fmla="*/ 1428914 w 1433040"/>
                <a:gd name="connsiteY3" fmla="*/ -1148 h 28805"/>
                <a:gd name="connsiteX4" fmla="*/ 1404912 w 1433040"/>
                <a:gd name="connsiteY4" fmla="*/ 27658 h 28805"/>
                <a:gd name="connsiteX5" fmla="*/ -4127 w 1433040"/>
                <a:gd name="connsiteY5" fmla="*/ 27658 h 28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3040" h="28805">
                  <a:moveTo>
                    <a:pt x="-4127" y="27658"/>
                  </a:moveTo>
                  <a:lnTo>
                    <a:pt x="-4127" y="24074"/>
                  </a:lnTo>
                  <a:lnTo>
                    <a:pt x="18278" y="-1148"/>
                  </a:lnTo>
                  <a:lnTo>
                    <a:pt x="1428914" y="-1148"/>
                  </a:lnTo>
                  <a:lnTo>
                    <a:pt x="1404912" y="27658"/>
                  </a:lnTo>
                  <a:lnTo>
                    <a:pt x="-4127" y="27658"/>
                  </a:lnTo>
                </a:path>
              </a:pathLst>
            </a:custGeom>
            <a:solidFill>
              <a:srgbClr val="585C5E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102" name="Groep 101">
              <a:extLst>
                <a:ext uri="{FF2B5EF4-FFF2-40B4-BE49-F238E27FC236}">
                  <a16:creationId xmlns:a16="http://schemas.microsoft.com/office/drawing/2014/main" id="{D0FDAF5B-DE78-462A-9DDD-60ECE184FD8E}"/>
                </a:ext>
              </a:extLst>
            </p:cNvPr>
            <p:cNvGrpSpPr/>
            <p:nvPr/>
          </p:nvGrpSpPr>
          <p:grpSpPr>
            <a:xfrm>
              <a:off x="8692545" y="1496510"/>
              <a:ext cx="2507295" cy="4092940"/>
              <a:chOff x="8692546" y="1496510"/>
              <a:chExt cx="2144466" cy="4092940"/>
            </a:xfrm>
          </p:grpSpPr>
          <p:sp>
            <p:nvSpPr>
              <p:cNvPr id="103" name="Vrije vorm 158">
                <a:extLst>
                  <a:ext uri="{FF2B5EF4-FFF2-40B4-BE49-F238E27FC236}">
                    <a16:creationId xmlns:a16="http://schemas.microsoft.com/office/drawing/2014/main" id="{86E53C24-79A6-4084-86D3-32550FD47EEB}"/>
                  </a:ext>
                </a:extLst>
              </p:cNvPr>
              <p:cNvSpPr/>
              <p:nvPr/>
            </p:nvSpPr>
            <p:spPr>
              <a:xfrm flipV="1">
                <a:off x="10488123" y="5239824"/>
                <a:ext cx="103562" cy="247581"/>
              </a:xfrm>
              <a:custGeom>
                <a:avLst/>
                <a:gdLst>
                  <a:gd name="connsiteX0" fmla="*/ -4934 w 46271"/>
                  <a:gd name="connsiteY0" fmla="*/ 82830 h 90715"/>
                  <a:gd name="connsiteX1" fmla="*/ 8942 w 46271"/>
                  <a:gd name="connsiteY1" fmla="*/ -572 h 90715"/>
                  <a:gd name="connsiteX2" fmla="*/ 41337 w 46271"/>
                  <a:gd name="connsiteY2" fmla="*/ -572 h 90715"/>
                  <a:gd name="connsiteX3" fmla="*/ 30518 w 46271"/>
                  <a:gd name="connsiteY3" fmla="*/ 90143 h 90715"/>
                  <a:gd name="connsiteX4" fmla="*/ -4934 w 46271"/>
                  <a:gd name="connsiteY4" fmla="*/ 82830 h 9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71" h="90715">
                    <a:moveTo>
                      <a:pt x="-4934" y="82830"/>
                    </a:moveTo>
                    <a:lnTo>
                      <a:pt x="8942" y="-572"/>
                    </a:lnTo>
                    <a:lnTo>
                      <a:pt x="41337" y="-572"/>
                    </a:lnTo>
                    <a:lnTo>
                      <a:pt x="30518" y="90143"/>
                    </a:lnTo>
                    <a:lnTo>
                      <a:pt x="-4934" y="8283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4" name="Vrije vorm 159">
                <a:extLst>
                  <a:ext uri="{FF2B5EF4-FFF2-40B4-BE49-F238E27FC236}">
                    <a16:creationId xmlns:a16="http://schemas.microsoft.com/office/drawing/2014/main" id="{993185B0-CD2D-439A-8737-264B1D16F977}"/>
                  </a:ext>
                </a:extLst>
              </p:cNvPr>
              <p:cNvSpPr/>
              <p:nvPr/>
            </p:nvSpPr>
            <p:spPr>
              <a:xfrm flipV="1">
                <a:off x="10488123" y="5379529"/>
                <a:ext cx="344836" cy="209918"/>
              </a:xfrm>
              <a:custGeom>
                <a:avLst/>
                <a:gdLst>
                  <a:gd name="connsiteX0" fmla="*/ 51127 w 154071"/>
                  <a:gd name="connsiteY0" fmla="*/ 76392 h 76915"/>
                  <a:gd name="connsiteX1" fmla="*/ 97647 w 154071"/>
                  <a:gd name="connsiteY1" fmla="*/ 43951 h 76915"/>
                  <a:gd name="connsiteX2" fmla="*/ 148976 w 154071"/>
                  <a:gd name="connsiteY2" fmla="*/ 7905 h 76915"/>
                  <a:gd name="connsiteX3" fmla="*/ 39489 w 154071"/>
                  <a:gd name="connsiteY3" fmla="*/ 10204 h 76915"/>
                  <a:gd name="connsiteX4" fmla="*/ 39489 w 154071"/>
                  <a:gd name="connsiteY4" fmla="*/ 3057 h 76915"/>
                  <a:gd name="connsiteX5" fmla="*/ -4980 w 154071"/>
                  <a:gd name="connsiteY5" fmla="*/ 5005 h 76915"/>
                  <a:gd name="connsiteX6" fmla="*/ -4980 w 154071"/>
                  <a:gd name="connsiteY6" fmla="*/ 64056 h 76915"/>
                  <a:gd name="connsiteX7" fmla="*/ 31965 w 154071"/>
                  <a:gd name="connsiteY7" fmla="*/ 61466 h 76915"/>
                  <a:gd name="connsiteX8" fmla="*/ 29219 w 154071"/>
                  <a:gd name="connsiteY8" fmla="*/ 67308 h 76915"/>
                  <a:gd name="connsiteX9" fmla="*/ 51127 w 154071"/>
                  <a:gd name="connsiteY9" fmla="*/ 76392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4071" h="76915">
                    <a:moveTo>
                      <a:pt x="51127" y="76392"/>
                    </a:moveTo>
                    <a:cubicBezTo>
                      <a:pt x="51127" y="76392"/>
                      <a:pt x="69594" y="52382"/>
                      <a:pt x="97647" y="43951"/>
                    </a:cubicBezTo>
                    <a:cubicBezTo>
                      <a:pt x="125690" y="35509"/>
                      <a:pt x="151028" y="24778"/>
                      <a:pt x="148976" y="7905"/>
                    </a:cubicBezTo>
                    <a:cubicBezTo>
                      <a:pt x="148976" y="7905"/>
                      <a:pt x="107223" y="-12511"/>
                      <a:pt x="39489" y="10204"/>
                    </a:cubicBezTo>
                    <a:lnTo>
                      <a:pt x="39489" y="3057"/>
                    </a:lnTo>
                    <a:lnTo>
                      <a:pt x="-4980" y="5005"/>
                    </a:lnTo>
                    <a:lnTo>
                      <a:pt x="-4980" y="64056"/>
                    </a:lnTo>
                    <a:lnTo>
                      <a:pt x="31965" y="61466"/>
                    </a:lnTo>
                    <a:lnTo>
                      <a:pt x="29219" y="67308"/>
                    </a:lnTo>
                    <a:lnTo>
                      <a:pt x="51127" y="76392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5" name="Vrije vorm 160">
                <a:extLst>
                  <a:ext uri="{FF2B5EF4-FFF2-40B4-BE49-F238E27FC236}">
                    <a16:creationId xmlns:a16="http://schemas.microsoft.com/office/drawing/2014/main" id="{ECF8D9A3-4657-40C2-BFDC-FBDB93627B2E}"/>
                  </a:ext>
                </a:extLst>
              </p:cNvPr>
              <p:cNvSpPr/>
              <p:nvPr/>
            </p:nvSpPr>
            <p:spPr>
              <a:xfrm flipV="1">
                <a:off x="10488123" y="5541372"/>
                <a:ext cx="344746" cy="48078"/>
              </a:xfrm>
              <a:custGeom>
                <a:avLst/>
                <a:gdLst>
                  <a:gd name="connsiteX0" fmla="*/ 68962 w 154031"/>
                  <a:gd name="connsiteY0" fmla="*/ 9408 h 17616"/>
                  <a:gd name="connsiteX1" fmla="*/ 148624 w 154031"/>
                  <a:gd name="connsiteY1" fmla="*/ 12329 h 17616"/>
                  <a:gd name="connsiteX2" fmla="*/ 148976 w 154031"/>
                  <a:gd name="connsiteY2" fmla="*/ 7937 h 17616"/>
                  <a:gd name="connsiteX3" fmla="*/ 39489 w 154031"/>
                  <a:gd name="connsiteY3" fmla="*/ 10237 h 17616"/>
                  <a:gd name="connsiteX4" fmla="*/ 39489 w 154031"/>
                  <a:gd name="connsiteY4" fmla="*/ 3090 h 17616"/>
                  <a:gd name="connsiteX5" fmla="*/ -4979 w 154031"/>
                  <a:gd name="connsiteY5" fmla="*/ 5037 h 17616"/>
                  <a:gd name="connsiteX6" fmla="*/ -4979 w 154031"/>
                  <a:gd name="connsiteY6" fmla="*/ 16825 h 17616"/>
                  <a:gd name="connsiteX7" fmla="*/ 68962 w 154031"/>
                  <a:gd name="connsiteY7" fmla="*/ 9408 h 17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031" h="17616">
                    <a:moveTo>
                      <a:pt x="68962" y="9408"/>
                    </a:moveTo>
                    <a:cubicBezTo>
                      <a:pt x="129669" y="-6191"/>
                      <a:pt x="145079" y="11138"/>
                      <a:pt x="148624" y="12329"/>
                    </a:cubicBezTo>
                    <a:cubicBezTo>
                      <a:pt x="149017" y="10869"/>
                      <a:pt x="149152" y="9408"/>
                      <a:pt x="148976" y="7937"/>
                    </a:cubicBezTo>
                    <a:cubicBezTo>
                      <a:pt x="148976" y="7937"/>
                      <a:pt x="107223" y="-12478"/>
                      <a:pt x="39489" y="10237"/>
                    </a:cubicBezTo>
                    <a:lnTo>
                      <a:pt x="39489" y="3090"/>
                    </a:lnTo>
                    <a:lnTo>
                      <a:pt x="-4979" y="5037"/>
                    </a:lnTo>
                    <a:lnTo>
                      <a:pt x="-4979" y="16825"/>
                    </a:lnTo>
                    <a:cubicBezTo>
                      <a:pt x="10897" y="15861"/>
                      <a:pt x="24203" y="20916"/>
                      <a:pt x="68962" y="94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6" name="Vrije vorm 161">
                <a:extLst>
                  <a:ext uri="{FF2B5EF4-FFF2-40B4-BE49-F238E27FC236}">
                    <a16:creationId xmlns:a16="http://schemas.microsoft.com/office/drawing/2014/main" id="{09EF8DC4-7B60-48C5-BF61-5A76F7354ADF}"/>
                  </a:ext>
                </a:extLst>
              </p:cNvPr>
              <p:cNvSpPr/>
              <p:nvPr/>
            </p:nvSpPr>
            <p:spPr>
              <a:xfrm flipV="1">
                <a:off x="10596278" y="5413208"/>
                <a:ext cx="53579" cy="60204"/>
              </a:xfrm>
              <a:custGeom>
                <a:avLst/>
                <a:gdLst>
                  <a:gd name="connsiteX0" fmla="*/ -3349 w 23939"/>
                  <a:gd name="connsiteY0" fmla="*/ -540 h 22059"/>
                  <a:gd name="connsiteX1" fmla="*/ -1732 w 23939"/>
                  <a:gd name="connsiteY1" fmla="*/ 319 h 22059"/>
                  <a:gd name="connsiteX2" fmla="*/ 17668 w 23939"/>
                  <a:gd name="connsiteY2" fmla="*/ 17731 h 22059"/>
                  <a:gd name="connsiteX3" fmla="*/ 18860 w 23939"/>
                  <a:gd name="connsiteY3" fmla="*/ 20228 h 22059"/>
                  <a:gd name="connsiteX4" fmla="*/ 16352 w 23939"/>
                  <a:gd name="connsiteY4" fmla="*/ 21398 h 22059"/>
                  <a:gd name="connsiteX5" fmla="*/ -4966 w 23939"/>
                  <a:gd name="connsiteY5" fmla="*/ 2495 h 22059"/>
                  <a:gd name="connsiteX6" fmla="*/ -4437 w 23939"/>
                  <a:gd name="connsiteY6" fmla="*/ -209 h 22059"/>
                  <a:gd name="connsiteX7" fmla="*/ -3349 w 23939"/>
                  <a:gd name="connsiteY7" fmla="*/ -540 h 2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9">
                    <a:moveTo>
                      <a:pt x="-3349" y="-540"/>
                    </a:moveTo>
                    <a:lnTo>
                      <a:pt x="-1732" y="319"/>
                    </a:lnTo>
                    <a:cubicBezTo>
                      <a:pt x="7387" y="13909"/>
                      <a:pt x="17574" y="17700"/>
                      <a:pt x="17668" y="17731"/>
                    </a:cubicBezTo>
                    <a:cubicBezTo>
                      <a:pt x="18694" y="18104"/>
                      <a:pt x="19222" y="19223"/>
                      <a:pt x="18860" y="20228"/>
                    </a:cubicBezTo>
                    <a:cubicBezTo>
                      <a:pt x="18476" y="21253"/>
                      <a:pt x="17367" y="21771"/>
                      <a:pt x="16352" y="21398"/>
                    </a:cubicBezTo>
                    <a:cubicBezTo>
                      <a:pt x="15885" y="21243"/>
                      <a:pt x="4859" y="17130"/>
                      <a:pt x="-4966" y="2495"/>
                    </a:cubicBezTo>
                    <a:lnTo>
                      <a:pt x="-4437" y="-209"/>
                    </a:lnTo>
                    <a:lnTo>
                      <a:pt x="-3349" y="-540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7" name="Vrije vorm 162">
                <a:extLst>
                  <a:ext uri="{FF2B5EF4-FFF2-40B4-BE49-F238E27FC236}">
                    <a16:creationId xmlns:a16="http://schemas.microsoft.com/office/drawing/2014/main" id="{D15BA5C9-C189-4C6D-A43E-822F034401FC}"/>
                  </a:ext>
                </a:extLst>
              </p:cNvPr>
              <p:cNvSpPr/>
              <p:nvPr/>
            </p:nvSpPr>
            <p:spPr>
              <a:xfrm flipV="1">
                <a:off x="10619055" y="5425675"/>
                <a:ext cx="53579" cy="60201"/>
              </a:xfrm>
              <a:custGeom>
                <a:avLst/>
                <a:gdLst>
                  <a:gd name="connsiteX0" fmla="*/ -3358 w 23939"/>
                  <a:gd name="connsiteY0" fmla="*/ -535 h 22058"/>
                  <a:gd name="connsiteX1" fmla="*/ -1730 w 23939"/>
                  <a:gd name="connsiteY1" fmla="*/ 324 h 22058"/>
                  <a:gd name="connsiteX2" fmla="*/ 17669 w 23939"/>
                  <a:gd name="connsiteY2" fmla="*/ 17746 h 22058"/>
                  <a:gd name="connsiteX3" fmla="*/ 18851 w 23939"/>
                  <a:gd name="connsiteY3" fmla="*/ 20243 h 22058"/>
                  <a:gd name="connsiteX4" fmla="*/ 16353 w 23939"/>
                  <a:gd name="connsiteY4" fmla="*/ 21413 h 22058"/>
                  <a:gd name="connsiteX5" fmla="*/ -4974 w 23939"/>
                  <a:gd name="connsiteY5" fmla="*/ 2500 h 22058"/>
                  <a:gd name="connsiteX6" fmla="*/ -4435 w 23939"/>
                  <a:gd name="connsiteY6" fmla="*/ -204 h 22058"/>
                  <a:gd name="connsiteX7" fmla="*/ -3358 w 23939"/>
                  <a:gd name="connsiteY7" fmla="*/ -535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8">
                    <a:moveTo>
                      <a:pt x="-3358" y="-535"/>
                    </a:moveTo>
                    <a:lnTo>
                      <a:pt x="-1730" y="324"/>
                    </a:lnTo>
                    <a:cubicBezTo>
                      <a:pt x="7389" y="13904"/>
                      <a:pt x="17566" y="17705"/>
                      <a:pt x="17669" y="17746"/>
                    </a:cubicBezTo>
                    <a:cubicBezTo>
                      <a:pt x="18685" y="18109"/>
                      <a:pt x="19213" y="19217"/>
                      <a:pt x="18851" y="20243"/>
                    </a:cubicBezTo>
                    <a:cubicBezTo>
                      <a:pt x="18478" y="21247"/>
                      <a:pt x="17348" y="21765"/>
                      <a:pt x="16353" y="21413"/>
                    </a:cubicBezTo>
                    <a:cubicBezTo>
                      <a:pt x="15887" y="21237"/>
                      <a:pt x="4850" y="17135"/>
                      <a:pt x="-4974" y="2500"/>
                    </a:cubicBezTo>
                    <a:lnTo>
                      <a:pt x="-4435" y="-204"/>
                    </a:lnTo>
                    <a:lnTo>
                      <a:pt x="-3358" y="-535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8" name="Vrije vorm 163">
                <a:extLst>
                  <a:ext uri="{FF2B5EF4-FFF2-40B4-BE49-F238E27FC236}">
                    <a16:creationId xmlns:a16="http://schemas.microsoft.com/office/drawing/2014/main" id="{E1028ED3-DB1D-49C7-9E4F-FDF17A003330}"/>
                  </a:ext>
                </a:extLst>
              </p:cNvPr>
              <p:cNvSpPr/>
              <p:nvPr/>
            </p:nvSpPr>
            <p:spPr>
              <a:xfrm flipV="1">
                <a:off x="10641856" y="5437976"/>
                <a:ext cx="53548" cy="60228"/>
              </a:xfrm>
              <a:custGeom>
                <a:avLst/>
                <a:gdLst>
                  <a:gd name="connsiteX0" fmla="*/ -3366 w 23925"/>
                  <a:gd name="connsiteY0" fmla="*/ -530 h 22068"/>
                  <a:gd name="connsiteX1" fmla="*/ -1749 w 23925"/>
                  <a:gd name="connsiteY1" fmla="*/ 340 h 22068"/>
                  <a:gd name="connsiteX2" fmla="*/ 17661 w 23925"/>
                  <a:gd name="connsiteY2" fmla="*/ 17751 h 22068"/>
                  <a:gd name="connsiteX3" fmla="*/ 18822 w 23925"/>
                  <a:gd name="connsiteY3" fmla="*/ 20248 h 22068"/>
                  <a:gd name="connsiteX4" fmla="*/ 16324 w 23925"/>
                  <a:gd name="connsiteY4" fmla="*/ 21418 h 22068"/>
                  <a:gd name="connsiteX5" fmla="*/ -4983 w 23925"/>
                  <a:gd name="connsiteY5" fmla="*/ 2504 h 22068"/>
                  <a:gd name="connsiteX6" fmla="*/ -4454 w 23925"/>
                  <a:gd name="connsiteY6" fmla="*/ -189 h 22068"/>
                  <a:gd name="connsiteX7" fmla="*/ -3366 w 23925"/>
                  <a:gd name="connsiteY7" fmla="*/ -530 h 22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5" h="22068">
                    <a:moveTo>
                      <a:pt x="-3366" y="-530"/>
                    </a:moveTo>
                    <a:lnTo>
                      <a:pt x="-1749" y="340"/>
                    </a:lnTo>
                    <a:cubicBezTo>
                      <a:pt x="7309" y="13836"/>
                      <a:pt x="17557" y="17710"/>
                      <a:pt x="17661" y="17751"/>
                    </a:cubicBezTo>
                    <a:cubicBezTo>
                      <a:pt x="18677" y="18124"/>
                      <a:pt x="19195" y="19243"/>
                      <a:pt x="18822" y="20248"/>
                    </a:cubicBezTo>
                    <a:cubicBezTo>
                      <a:pt x="18449" y="21263"/>
                      <a:pt x="17340" y="21791"/>
                      <a:pt x="16324" y="21418"/>
                    </a:cubicBezTo>
                    <a:cubicBezTo>
                      <a:pt x="15858" y="21252"/>
                      <a:pt x="4832" y="17140"/>
                      <a:pt x="-4983" y="2504"/>
                    </a:cubicBezTo>
                    <a:lnTo>
                      <a:pt x="-4454" y="-189"/>
                    </a:lnTo>
                    <a:lnTo>
                      <a:pt x="-3366" y="-530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9" name="Vrije vorm 164">
                <a:extLst>
                  <a:ext uri="{FF2B5EF4-FFF2-40B4-BE49-F238E27FC236}">
                    <a16:creationId xmlns:a16="http://schemas.microsoft.com/office/drawing/2014/main" id="{CBFBD366-1FF0-4C2C-820C-6CAA162AE41C}"/>
                  </a:ext>
                </a:extLst>
              </p:cNvPr>
              <p:cNvSpPr/>
              <p:nvPr/>
            </p:nvSpPr>
            <p:spPr>
              <a:xfrm flipV="1">
                <a:off x="10045873" y="5239824"/>
                <a:ext cx="103609" cy="247581"/>
              </a:xfrm>
              <a:custGeom>
                <a:avLst/>
                <a:gdLst>
                  <a:gd name="connsiteX0" fmla="*/ 41523 w 46292"/>
                  <a:gd name="connsiteY0" fmla="*/ 82830 h 90715"/>
                  <a:gd name="connsiteX1" fmla="*/ 27636 w 46292"/>
                  <a:gd name="connsiteY1" fmla="*/ -572 h 90715"/>
                  <a:gd name="connsiteX2" fmla="*/ -4769 w 46292"/>
                  <a:gd name="connsiteY2" fmla="*/ -572 h 90715"/>
                  <a:gd name="connsiteX3" fmla="*/ 6071 w 46292"/>
                  <a:gd name="connsiteY3" fmla="*/ 90143 h 90715"/>
                  <a:gd name="connsiteX4" fmla="*/ 41523 w 46292"/>
                  <a:gd name="connsiteY4" fmla="*/ 82830 h 9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92" h="90715">
                    <a:moveTo>
                      <a:pt x="41523" y="82830"/>
                    </a:moveTo>
                    <a:lnTo>
                      <a:pt x="27636" y="-572"/>
                    </a:lnTo>
                    <a:lnTo>
                      <a:pt x="-4769" y="-572"/>
                    </a:lnTo>
                    <a:lnTo>
                      <a:pt x="6071" y="90143"/>
                    </a:lnTo>
                    <a:lnTo>
                      <a:pt x="41523" y="8283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0" name="Vrije vorm 165">
                <a:extLst>
                  <a:ext uri="{FF2B5EF4-FFF2-40B4-BE49-F238E27FC236}">
                    <a16:creationId xmlns:a16="http://schemas.microsoft.com/office/drawing/2014/main" id="{262F5350-0492-42F0-A774-B81D05B3CD27}"/>
                  </a:ext>
                </a:extLst>
              </p:cNvPr>
              <p:cNvSpPr/>
              <p:nvPr/>
            </p:nvSpPr>
            <p:spPr>
              <a:xfrm flipV="1">
                <a:off x="9797782" y="5379529"/>
                <a:ext cx="351698" cy="209918"/>
              </a:xfrm>
              <a:custGeom>
                <a:avLst/>
                <a:gdLst>
                  <a:gd name="connsiteX0" fmla="*/ 96309 w 157137"/>
                  <a:gd name="connsiteY0" fmla="*/ 76392 h 76915"/>
                  <a:gd name="connsiteX1" fmla="*/ 49789 w 157137"/>
                  <a:gd name="connsiteY1" fmla="*/ 43951 h 76915"/>
                  <a:gd name="connsiteX2" fmla="*/ -4618 w 157137"/>
                  <a:gd name="connsiteY2" fmla="*/ 7905 h 76915"/>
                  <a:gd name="connsiteX3" fmla="*/ 107936 w 157137"/>
                  <a:gd name="connsiteY3" fmla="*/ 10204 h 76915"/>
                  <a:gd name="connsiteX4" fmla="*/ 107936 w 157137"/>
                  <a:gd name="connsiteY4" fmla="*/ 3057 h 76915"/>
                  <a:gd name="connsiteX5" fmla="*/ 152415 w 157137"/>
                  <a:gd name="connsiteY5" fmla="*/ 5005 h 76915"/>
                  <a:gd name="connsiteX6" fmla="*/ 152415 w 157137"/>
                  <a:gd name="connsiteY6" fmla="*/ 64056 h 76915"/>
                  <a:gd name="connsiteX7" fmla="*/ 115470 w 157137"/>
                  <a:gd name="connsiteY7" fmla="*/ 61466 h 76915"/>
                  <a:gd name="connsiteX8" fmla="*/ 118196 w 157137"/>
                  <a:gd name="connsiteY8" fmla="*/ 67308 h 76915"/>
                  <a:gd name="connsiteX9" fmla="*/ 96309 w 157137"/>
                  <a:gd name="connsiteY9" fmla="*/ 76392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7137" h="76915">
                    <a:moveTo>
                      <a:pt x="96309" y="76392"/>
                    </a:moveTo>
                    <a:cubicBezTo>
                      <a:pt x="96309" y="76392"/>
                      <a:pt x="77842" y="52382"/>
                      <a:pt x="49789" y="43951"/>
                    </a:cubicBezTo>
                    <a:cubicBezTo>
                      <a:pt x="21746" y="35509"/>
                      <a:pt x="-6670" y="24778"/>
                      <a:pt x="-4618" y="7905"/>
                    </a:cubicBezTo>
                    <a:cubicBezTo>
                      <a:pt x="-4618" y="7905"/>
                      <a:pt x="40213" y="-12511"/>
                      <a:pt x="107936" y="10204"/>
                    </a:cubicBezTo>
                    <a:lnTo>
                      <a:pt x="107936" y="3057"/>
                    </a:lnTo>
                    <a:lnTo>
                      <a:pt x="152415" y="5005"/>
                    </a:lnTo>
                    <a:lnTo>
                      <a:pt x="152415" y="64056"/>
                    </a:lnTo>
                    <a:lnTo>
                      <a:pt x="115470" y="61466"/>
                    </a:lnTo>
                    <a:lnTo>
                      <a:pt x="118196" y="67308"/>
                    </a:lnTo>
                    <a:lnTo>
                      <a:pt x="96309" y="76392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1" name="Vrije vorm 166">
                <a:extLst>
                  <a:ext uri="{FF2B5EF4-FFF2-40B4-BE49-F238E27FC236}">
                    <a16:creationId xmlns:a16="http://schemas.microsoft.com/office/drawing/2014/main" id="{F8173FDC-6709-4E0D-8458-6F3282855BF6}"/>
                  </a:ext>
                </a:extLst>
              </p:cNvPr>
              <p:cNvSpPr/>
              <p:nvPr/>
            </p:nvSpPr>
            <p:spPr>
              <a:xfrm flipV="1">
                <a:off x="9797851" y="5533796"/>
                <a:ext cx="351631" cy="55654"/>
              </a:xfrm>
              <a:custGeom>
                <a:avLst/>
                <a:gdLst>
                  <a:gd name="connsiteX0" fmla="*/ 69220 w 157107"/>
                  <a:gd name="connsiteY0" fmla="*/ 6341 h 20392"/>
                  <a:gd name="connsiteX1" fmla="*/ -4296 w 157107"/>
                  <a:gd name="connsiteY1" fmla="*/ 12328 h 20392"/>
                  <a:gd name="connsiteX2" fmla="*/ -4648 w 157107"/>
                  <a:gd name="connsiteY2" fmla="*/ 7936 h 20392"/>
                  <a:gd name="connsiteX3" fmla="*/ 107906 w 157107"/>
                  <a:gd name="connsiteY3" fmla="*/ 10235 h 20392"/>
                  <a:gd name="connsiteX4" fmla="*/ 107906 w 157107"/>
                  <a:gd name="connsiteY4" fmla="*/ 3088 h 20392"/>
                  <a:gd name="connsiteX5" fmla="*/ 152385 w 157107"/>
                  <a:gd name="connsiteY5" fmla="*/ 5036 h 20392"/>
                  <a:gd name="connsiteX6" fmla="*/ 152385 w 157107"/>
                  <a:gd name="connsiteY6" fmla="*/ 19899 h 20392"/>
                  <a:gd name="connsiteX7" fmla="*/ 69220 w 157107"/>
                  <a:gd name="connsiteY7" fmla="*/ 6341 h 20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07" h="20392">
                    <a:moveTo>
                      <a:pt x="69220" y="6341"/>
                    </a:moveTo>
                    <a:cubicBezTo>
                      <a:pt x="26597" y="-361"/>
                      <a:pt x="-741" y="11137"/>
                      <a:pt x="-4296" y="12328"/>
                    </a:cubicBezTo>
                    <a:cubicBezTo>
                      <a:pt x="-4680" y="10867"/>
                      <a:pt x="-4825" y="9407"/>
                      <a:pt x="-4648" y="7936"/>
                    </a:cubicBezTo>
                    <a:cubicBezTo>
                      <a:pt x="-4648" y="7936"/>
                      <a:pt x="40182" y="-12480"/>
                      <a:pt x="107906" y="10235"/>
                    </a:cubicBezTo>
                    <a:lnTo>
                      <a:pt x="107906" y="3088"/>
                    </a:lnTo>
                    <a:lnTo>
                      <a:pt x="152385" y="5036"/>
                    </a:lnTo>
                    <a:lnTo>
                      <a:pt x="152385" y="19899"/>
                    </a:lnTo>
                    <a:cubicBezTo>
                      <a:pt x="136508" y="18936"/>
                      <a:pt x="110124" y="12773"/>
                      <a:pt x="69220" y="6341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2" name="Vrije vorm 167">
                <a:extLst>
                  <a:ext uri="{FF2B5EF4-FFF2-40B4-BE49-F238E27FC236}">
                    <a16:creationId xmlns:a16="http://schemas.microsoft.com/office/drawing/2014/main" id="{4FDF349A-0AD0-4DDD-BB38-DC20C73ECADD}"/>
                  </a:ext>
                </a:extLst>
              </p:cNvPr>
              <p:cNvSpPr/>
              <p:nvPr/>
            </p:nvSpPr>
            <p:spPr>
              <a:xfrm flipV="1">
                <a:off x="9987746" y="5413208"/>
                <a:ext cx="53579" cy="60204"/>
              </a:xfrm>
              <a:custGeom>
                <a:avLst/>
                <a:gdLst>
                  <a:gd name="connsiteX0" fmla="*/ 17585 w 23939"/>
                  <a:gd name="connsiteY0" fmla="*/ -540 h 22059"/>
                  <a:gd name="connsiteX1" fmla="*/ 15947 w 23939"/>
                  <a:gd name="connsiteY1" fmla="*/ 319 h 22059"/>
                  <a:gd name="connsiteX2" fmla="*/ -3453 w 23939"/>
                  <a:gd name="connsiteY2" fmla="*/ 17731 h 22059"/>
                  <a:gd name="connsiteX3" fmla="*/ -4624 w 23939"/>
                  <a:gd name="connsiteY3" fmla="*/ 20228 h 22059"/>
                  <a:gd name="connsiteX4" fmla="*/ -2126 w 23939"/>
                  <a:gd name="connsiteY4" fmla="*/ 21398 h 22059"/>
                  <a:gd name="connsiteX5" fmla="*/ 19202 w 23939"/>
                  <a:gd name="connsiteY5" fmla="*/ 2495 h 22059"/>
                  <a:gd name="connsiteX6" fmla="*/ 18663 w 23939"/>
                  <a:gd name="connsiteY6" fmla="*/ -209 h 22059"/>
                  <a:gd name="connsiteX7" fmla="*/ 17585 w 23939"/>
                  <a:gd name="connsiteY7" fmla="*/ -540 h 2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9">
                    <a:moveTo>
                      <a:pt x="17585" y="-540"/>
                    </a:moveTo>
                    <a:lnTo>
                      <a:pt x="15947" y="319"/>
                    </a:lnTo>
                    <a:cubicBezTo>
                      <a:pt x="6849" y="13909"/>
                      <a:pt x="-3338" y="17700"/>
                      <a:pt x="-3453" y="17731"/>
                    </a:cubicBezTo>
                    <a:cubicBezTo>
                      <a:pt x="-4458" y="18104"/>
                      <a:pt x="-4986" y="19223"/>
                      <a:pt x="-4624" y="20228"/>
                    </a:cubicBezTo>
                    <a:cubicBezTo>
                      <a:pt x="-4250" y="21253"/>
                      <a:pt x="-3131" y="21771"/>
                      <a:pt x="-2126" y="21398"/>
                    </a:cubicBezTo>
                    <a:cubicBezTo>
                      <a:pt x="-1659" y="21243"/>
                      <a:pt x="9377" y="17130"/>
                      <a:pt x="19202" y="2495"/>
                    </a:cubicBezTo>
                    <a:lnTo>
                      <a:pt x="18663" y="-209"/>
                    </a:lnTo>
                    <a:lnTo>
                      <a:pt x="17585" y="-540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3" name="Vrije vorm 168">
                <a:extLst>
                  <a:ext uri="{FF2B5EF4-FFF2-40B4-BE49-F238E27FC236}">
                    <a16:creationId xmlns:a16="http://schemas.microsoft.com/office/drawing/2014/main" id="{6A0C17EC-5588-4A11-A94D-BDD7510ABA6D}"/>
                  </a:ext>
                </a:extLst>
              </p:cNvPr>
              <p:cNvSpPr/>
              <p:nvPr/>
            </p:nvSpPr>
            <p:spPr>
              <a:xfrm flipV="1">
                <a:off x="9964968" y="5425675"/>
                <a:ext cx="53582" cy="60201"/>
              </a:xfrm>
              <a:custGeom>
                <a:avLst/>
                <a:gdLst>
                  <a:gd name="connsiteX0" fmla="*/ 17584 w 23940"/>
                  <a:gd name="connsiteY0" fmla="*/ -535 h 22058"/>
                  <a:gd name="connsiteX1" fmla="*/ 15967 w 23940"/>
                  <a:gd name="connsiteY1" fmla="*/ 324 h 22058"/>
                  <a:gd name="connsiteX2" fmla="*/ -3433 w 23940"/>
                  <a:gd name="connsiteY2" fmla="*/ 17746 h 22058"/>
                  <a:gd name="connsiteX3" fmla="*/ -4614 w 23940"/>
                  <a:gd name="connsiteY3" fmla="*/ 20243 h 22058"/>
                  <a:gd name="connsiteX4" fmla="*/ -2116 w 23940"/>
                  <a:gd name="connsiteY4" fmla="*/ 21413 h 22058"/>
                  <a:gd name="connsiteX5" fmla="*/ 19211 w 23940"/>
                  <a:gd name="connsiteY5" fmla="*/ 2500 h 22058"/>
                  <a:gd name="connsiteX6" fmla="*/ 18672 w 23940"/>
                  <a:gd name="connsiteY6" fmla="*/ -204 h 22058"/>
                  <a:gd name="connsiteX7" fmla="*/ 17584 w 23940"/>
                  <a:gd name="connsiteY7" fmla="*/ -535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40" h="22058">
                    <a:moveTo>
                      <a:pt x="17584" y="-535"/>
                    </a:moveTo>
                    <a:lnTo>
                      <a:pt x="15967" y="324"/>
                    </a:lnTo>
                    <a:cubicBezTo>
                      <a:pt x="6848" y="13904"/>
                      <a:pt x="-3329" y="17705"/>
                      <a:pt x="-3433" y="17746"/>
                    </a:cubicBezTo>
                    <a:cubicBezTo>
                      <a:pt x="-4459" y="18109"/>
                      <a:pt x="-4977" y="19217"/>
                      <a:pt x="-4614" y="20243"/>
                    </a:cubicBezTo>
                    <a:cubicBezTo>
                      <a:pt x="-4241" y="21247"/>
                      <a:pt x="-3122" y="21765"/>
                      <a:pt x="-2116" y="21413"/>
                    </a:cubicBezTo>
                    <a:cubicBezTo>
                      <a:pt x="-1650" y="21237"/>
                      <a:pt x="9376" y="17135"/>
                      <a:pt x="19211" y="2500"/>
                    </a:cubicBezTo>
                    <a:lnTo>
                      <a:pt x="18672" y="-204"/>
                    </a:lnTo>
                    <a:lnTo>
                      <a:pt x="17584" y="-535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4" name="Vrije vorm 169">
                <a:extLst>
                  <a:ext uri="{FF2B5EF4-FFF2-40B4-BE49-F238E27FC236}">
                    <a16:creationId xmlns:a16="http://schemas.microsoft.com/office/drawing/2014/main" id="{6898B399-3D6D-46F8-A59F-1237172AFA0A}"/>
                  </a:ext>
                </a:extLst>
              </p:cNvPr>
              <p:cNvSpPr/>
              <p:nvPr/>
            </p:nvSpPr>
            <p:spPr>
              <a:xfrm flipV="1">
                <a:off x="9942190" y="5437976"/>
                <a:ext cx="53559" cy="60228"/>
              </a:xfrm>
              <a:custGeom>
                <a:avLst/>
                <a:gdLst>
                  <a:gd name="connsiteX0" fmla="*/ 17592 w 23930"/>
                  <a:gd name="connsiteY0" fmla="*/ -530 h 22068"/>
                  <a:gd name="connsiteX1" fmla="*/ 15976 w 23930"/>
                  <a:gd name="connsiteY1" fmla="*/ 340 h 22068"/>
                  <a:gd name="connsiteX2" fmla="*/ -3435 w 23930"/>
                  <a:gd name="connsiteY2" fmla="*/ 17751 h 22068"/>
                  <a:gd name="connsiteX3" fmla="*/ -4605 w 23930"/>
                  <a:gd name="connsiteY3" fmla="*/ 20248 h 22068"/>
                  <a:gd name="connsiteX4" fmla="*/ -2108 w 23930"/>
                  <a:gd name="connsiteY4" fmla="*/ 21418 h 22068"/>
                  <a:gd name="connsiteX5" fmla="*/ 19209 w 23930"/>
                  <a:gd name="connsiteY5" fmla="*/ 2504 h 22068"/>
                  <a:gd name="connsiteX6" fmla="*/ 18670 w 23930"/>
                  <a:gd name="connsiteY6" fmla="*/ -189 h 22068"/>
                  <a:gd name="connsiteX7" fmla="*/ 17592 w 23930"/>
                  <a:gd name="connsiteY7" fmla="*/ -530 h 22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8">
                    <a:moveTo>
                      <a:pt x="17592" y="-530"/>
                    </a:moveTo>
                    <a:lnTo>
                      <a:pt x="15976" y="340"/>
                    </a:lnTo>
                    <a:cubicBezTo>
                      <a:pt x="6918" y="13836"/>
                      <a:pt x="-3341" y="17710"/>
                      <a:pt x="-3435" y="17751"/>
                    </a:cubicBezTo>
                    <a:cubicBezTo>
                      <a:pt x="-4450" y="18124"/>
                      <a:pt x="-4968" y="19243"/>
                      <a:pt x="-4605" y="20248"/>
                    </a:cubicBezTo>
                    <a:cubicBezTo>
                      <a:pt x="-4233" y="21263"/>
                      <a:pt x="-3113" y="21791"/>
                      <a:pt x="-2108" y="21418"/>
                    </a:cubicBezTo>
                    <a:cubicBezTo>
                      <a:pt x="-1642" y="21252"/>
                      <a:pt x="9395" y="17140"/>
                      <a:pt x="19209" y="2504"/>
                    </a:cubicBezTo>
                    <a:lnTo>
                      <a:pt x="18670" y="-189"/>
                    </a:lnTo>
                    <a:lnTo>
                      <a:pt x="17592" y="-530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5" name="Vrije vorm 170">
                <a:extLst>
                  <a:ext uri="{FF2B5EF4-FFF2-40B4-BE49-F238E27FC236}">
                    <a16:creationId xmlns:a16="http://schemas.microsoft.com/office/drawing/2014/main" id="{48506ED5-B521-4C75-901A-0D461955E295}"/>
                  </a:ext>
                </a:extLst>
              </p:cNvPr>
              <p:cNvSpPr/>
              <p:nvPr/>
            </p:nvSpPr>
            <p:spPr>
              <a:xfrm flipV="1">
                <a:off x="10007023" y="3405379"/>
                <a:ext cx="614606" cy="1999898"/>
              </a:xfrm>
              <a:custGeom>
                <a:avLst/>
                <a:gdLst>
                  <a:gd name="connsiteX0" fmla="*/ 202206 w 274603"/>
                  <a:gd name="connsiteY0" fmla="*/ 718736 h 732774"/>
                  <a:gd name="connsiteX1" fmla="*/ 235938 w 274603"/>
                  <a:gd name="connsiteY1" fmla="*/ 316017 h 732774"/>
                  <a:gd name="connsiteX2" fmla="*/ 269753 w 274603"/>
                  <a:gd name="connsiteY2" fmla="*/ 21063 h 732774"/>
                  <a:gd name="connsiteX3" fmla="*/ 191884 w 274603"/>
                  <a:gd name="connsiteY3" fmla="*/ 8789 h 732774"/>
                  <a:gd name="connsiteX4" fmla="*/ 145779 w 274603"/>
                  <a:gd name="connsiteY4" fmla="*/ 297591 h 732774"/>
                  <a:gd name="connsiteX5" fmla="*/ 108886 w 274603"/>
                  <a:gd name="connsiteY5" fmla="*/ 572057 h 732774"/>
                  <a:gd name="connsiteX6" fmla="*/ 88387 w 274603"/>
                  <a:gd name="connsiteY6" fmla="*/ 572057 h 732774"/>
                  <a:gd name="connsiteX7" fmla="*/ 70977 w 274603"/>
                  <a:gd name="connsiteY7" fmla="*/ 8789 h 732774"/>
                  <a:gd name="connsiteX8" fmla="*/ -4850 w 274603"/>
                  <a:gd name="connsiteY8" fmla="*/ 6738 h 732774"/>
                  <a:gd name="connsiteX9" fmla="*/ 1295 w 274603"/>
                  <a:gd name="connsiteY9" fmla="*/ 731818 h 732774"/>
                  <a:gd name="connsiteX10" fmla="*/ 202206 w 274603"/>
                  <a:gd name="connsiteY10" fmla="*/ 718736 h 732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4603" h="732774">
                    <a:moveTo>
                      <a:pt x="202206" y="718736"/>
                    </a:moveTo>
                    <a:lnTo>
                      <a:pt x="235938" y="316017"/>
                    </a:lnTo>
                    <a:lnTo>
                      <a:pt x="269753" y="21063"/>
                    </a:lnTo>
                    <a:cubicBezTo>
                      <a:pt x="269753" y="21063"/>
                      <a:pt x="253359" y="-1455"/>
                      <a:pt x="191884" y="8789"/>
                    </a:cubicBezTo>
                    <a:lnTo>
                      <a:pt x="145779" y="297591"/>
                    </a:lnTo>
                    <a:lnTo>
                      <a:pt x="108886" y="572057"/>
                    </a:lnTo>
                    <a:lnTo>
                      <a:pt x="88387" y="572057"/>
                    </a:lnTo>
                    <a:lnTo>
                      <a:pt x="70977" y="8789"/>
                    </a:lnTo>
                    <a:cubicBezTo>
                      <a:pt x="70977" y="8789"/>
                      <a:pt x="44333" y="-11699"/>
                      <a:pt x="-4850" y="6738"/>
                    </a:cubicBezTo>
                    <a:lnTo>
                      <a:pt x="1295" y="731818"/>
                    </a:lnTo>
                    <a:lnTo>
                      <a:pt x="202206" y="718736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6" name="Vrije vorm 171">
                <a:extLst>
                  <a:ext uri="{FF2B5EF4-FFF2-40B4-BE49-F238E27FC236}">
                    <a16:creationId xmlns:a16="http://schemas.microsoft.com/office/drawing/2014/main" id="{8A02C6EA-8E12-45D0-9744-B0A87C8A6AE3}"/>
                  </a:ext>
                </a:extLst>
              </p:cNvPr>
              <p:cNvSpPr/>
              <p:nvPr/>
            </p:nvSpPr>
            <p:spPr>
              <a:xfrm flipV="1">
                <a:off x="10215703" y="2260815"/>
                <a:ext cx="160597" cy="405605"/>
              </a:xfrm>
              <a:custGeom>
                <a:avLst/>
                <a:gdLst>
                  <a:gd name="connsiteX0" fmla="*/ -4843 w 71754"/>
                  <a:gd name="connsiteY0" fmla="*/ 112648 h 148616"/>
                  <a:gd name="connsiteX1" fmla="*/ -2076 w 71754"/>
                  <a:gd name="connsiteY1" fmla="*/ -1735 h 148616"/>
                  <a:gd name="connsiteX2" fmla="*/ 66912 w 71754"/>
                  <a:gd name="connsiteY2" fmla="*/ 29091 h 148616"/>
                  <a:gd name="connsiteX3" fmla="*/ 64735 w 71754"/>
                  <a:gd name="connsiteY3" fmla="*/ 146882 h 148616"/>
                  <a:gd name="connsiteX4" fmla="*/ -4843 w 71754"/>
                  <a:gd name="connsiteY4" fmla="*/ 112648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-4843" y="112648"/>
                    </a:moveTo>
                    <a:lnTo>
                      <a:pt x="-2076" y="-1735"/>
                    </a:lnTo>
                    <a:lnTo>
                      <a:pt x="66912" y="29091"/>
                    </a:lnTo>
                    <a:lnTo>
                      <a:pt x="64735" y="146882"/>
                    </a:lnTo>
                    <a:lnTo>
                      <a:pt x="-4843" y="112648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7" name="Vrije vorm 172">
                <a:extLst>
                  <a:ext uri="{FF2B5EF4-FFF2-40B4-BE49-F238E27FC236}">
                    <a16:creationId xmlns:a16="http://schemas.microsoft.com/office/drawing/2014/main" id="{6ADD9500-5F63-480A-AFFA-D17E6F86267C}"/>
                  </a:ext>
                </a:extLst>
              </p:cNvPr>
              <p:cNvSpPr/>
              <p:nvPr/>
            </p:nvSpPr>
            <p:spPr>
              <a:xfrm flipV="1">
                <a:off x="9964668" y="2468366"/>
                <a:ext cx="714365" cy="1013218"/>
              </a:xfrm>
              <a:custGeom>
                <a:avLst/>
                <a:gdLst>
                  <a:gd name="connsiteX0" fmla="*/ -3775 w 319175"/>
                  <a:gd name="connsiteY0" fmla="*/ 326754 h 371249"/>
                  <a:gd name="connsiteX1" fmla="*/ 16122 w 319175"/>
                  <a:gd name="connsiteY1" fmla="*/ 18199 h 371249"/>
                  <a:gd name="connsiteX2" fmla="*/ 147621 w 319175"/>
                  <a:gd name="connsiteY2" fmla="*/ -1201 h 371249"/>
                  <a:gd name="connsiteX3" fmla="*/ 221126 w 319175"/>
                  <a:gd name="connsiteY3" fmla="*/ 13310 h 371249"/>
                  <a:gd name="connsiteX4" fmla="*/ 314323 w 319175"/>
                  <a:gd name="connsiteY4" fmla="*/ 358936 h 371249"/>
                  <a:gd name="connsiteX5" fmla="*/ 174834 w 319175"/>
                  <a:gd name="connsiteY5" fmla="*/ 369719 h 371249"/>
                  <a:gd name="connsiteX6" fmla="*/ 134511 w 319175"/>
                  <a:gd name="connsiteY6" fmla="*/ 332378 h 371249"/>
                  <a:gd name="connsiteX7" fmla="*/ 101929 w 319175"/>
                  <a:gd name="connsiteY7" fmla="*/ 367139 h 371249"/>
                  <a:gd name="connsiteX8" fmla="*/ -4853 w 319175"/>
                  <a:gd name="connsiteY8" fmla="*/ 354658 h 371249"/>
                  <a:gd name="connsiteX9" fmla="*/ -3775 w 319175"/>
                  <a:gd name="connsiteY9" fmla="*/ 326754 h 371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9175" h="371249">
                    <a:moveTo>
                      <a:pt x="-3775" y="326754"/>
                    </a:moveTo>
                    <a:cubicBezTo>
                      <a:pt x="-3775" y="326754"/>
                      <a:pt x="2868" y="122080"/>
                      <a:pt x="16122" y="18199"/>
                    </a:cubicBezTo>
                    <a:cubicBezTo>
                      <a:pt x="16122" y="18199"/>
                      <a:pt x="66830" y="-4505"/>
                      <a:pt x="147621" y="-1201"/>
                    </a:cubicBezTo>
                    <a:cubicBezTo>
                      <a:pt x="204680" y="1119"/>
                      <a:pt x="221126" y="13310"/>
                      <a:pt x="221126" y="13310"/>
                    </a:cubicBezTo>
                    <a:lnTo>
                      <a:pt x="314323" y="358936"/>
                    </a:lnTo>
                    <a:cubicBezTo>
                      <a:pt x="314323" y="358936"/>
                      <a:pt x="261802" y="369822"/>
                      <a:pt x="174834" y="369719"/>
                    </a:cubicBezTo>
                    <a:lnTo>
                      <a:pt x="134511" y="332378"/>
                    </a:lnTo>
                    <a:cubicBezTo>
                      <a:pt x="134511" y="332378"/>
                      <a:pt x="123557" y="361370"/>
                      <a:pt x="101929" y="367139"/>
                    </a:cubicBezTo>
                    <a:cubicBezTo>
                      <a:pt x="69151" y="364881"/>
                      <a:pt x="33367" y="360956"/>
                      <a:pt x="-4853" y="354658"/>
                    </a:cubicBezTo>
                    <a:lnTo>
                      <a:pt x="-3775" y="326754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8" name="Vrije vorm 173">
                <a:extLst>
                  <a:ext uri="{FF2B5EF4-FFF2-40B4-BE49-F238E27FC236}">
                    <a16:creationId xmlns:a16="http://schemas.microsoft.com/office/drawing/2014/main" id="{B4128F31-6B7E-4509-9BBD-0EB941814666}"/>
                  </a:ext>
                </a:extLst>
              </p:cNvPr>
              <p:cNvSpPr/>
              <p:nvPr/>
            </p:nvSpPr>
            <p:spPr>
              <a:xfrm flipV="1">
                <a:off x="10523215" y="2496496"/>
                <a:ext cx="310225" cy="697342"/>
              </a:xfrm>
              <a:custGeom>
                <a:avLst/>
                <a:gdLst>
                  <a:gd name="connsiteX0" fmla="*/ 133621 w 138607"/>
                  <a:gd name="connsiteY0" fmla="*/ 38794 h 255510"/>
                  <a:gd name="connsiteX1" fmla="*/ 65380 w 138607"/>
                  <a:gd name="connsiteY1" fmla="*/ 253929 h 255510"/>
                  <a:gd name="connsiteX2" fmla="*/ -4986 w 138607"/>
                  <a:gd name="connsiteY2" fmla="*/ 229650 h 255510"/>
                  <a:gd name="connsiteX3" fmla="*/ 69898 w 138607"/>
                  <a:gd name="connsiteY3" fmla="*/ -1582 h 255510"/>
                  <a:gd name="connsiteX4" fmla="*/ 133621 w 138607"/>
                  <a:gd name="connsiteY4" fmla="*/ 38794 h 255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607" h="255510">
                    <a:moveTo>
                      <a:pt x="133621" y="38794"/>
                    </a:moveTo>
                    <a:lnTo>
                      <a:pt x="65380" y="253929"/>
                    </a:lnTo>
                    <a:lnTo>
                      <a:pt x="-4986" y="229650"/>
                    </a:lnTo>
                    <a:lnTo>
                      <a:pt x="69898" y="-1582"/>
                    </a:lnTo>
                    <a:lnTo>
                      <a:pt x="133621" y="38794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9" name="Vrije vorm 174">
                <a:extLst>
                  <a:ext uri="{FF2B5EF4-FFF2-40B4-BE49-F238E27FC236}">
                    <a16:creationId xmlns:a16="http://schemas.microsoft.com/office/drawing/2014/main" id="{7C6F55D7-BCA9-4560-844E-5527E3A31425}"/>
                  </a:ext>
                </a:extLst>
              </p:cNvPr>
              <p:cNvSpPr/>
              <p:nvPr/>
            </p:nvSpPr>
            <p:spPr>
              <a:xfrm flipV="1">
                <a:off x="10009145" y="3456896"/>
                <a:ext cx="69757" cy="80102"/>
              </a:xfrm>
              <a:custGeom>
                <a:avLst/>
                <a:gdLst>
                  <a:gd name="connsiteX0" fmla="*/ 26418 w 31167"/>
                  <a:gd name="connsiteY0" fmla="*/ 18981 h 29350"/>
                  <a:gd name="connsiteX1" fmla="*/ 448 w 31167"/>
                  <a:gd name="connsiteY1" fmla="*/ 27692 h 29350"/>
                  <a:gd name="connsiteX2" fmla="*/ -4536 w 31167"/>
                  <a:gd name="connsiteY2" fmla="*/ 19250 h 29350"/>
                  <a:gd name="connsiteX3" fmla="*/ 448 w 31167"/>
                  <a:gd name="connsiteY3" fmla="*/ 7277 h 29350"/>
                  <a:gd name="connsiteX4" fmla="*/ 22573 w 31167"/>
                  <a:gd name="connsiteY4" fmla="*/ -1321 h 29350"/>
                  <a:gd name="connsiteX5" fmla="*/ 26418 w 31167"/>
                  <a:gd name="connsiteY5" fmla="*/ 18981 h 2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67" h="29350">
                    <a:moveTo>
                      <a:pt x="26418" y="18981"/>
                    </a:moveTo>
                    <a:cubicBezTo>
                      <a:pt x="9060" y="22710"/>
                      <a:pt x="645" y="27630"/>
                      <a:pt x="448" y="27692"/>
                    </a:cubicBezTo>
                    <a:cubicBezTo>
                      <a:pt x="-4630" y="29380"/>
                      <a:pt x="-3977" y="24460"/>
                      <a:pt x="-4536" y="19250"/>
                    </a:cubicBezTo>
                    <a:cubicBezTo>
                      <a:pt x="-5293" y="12373"/>
                      <a:pt x="-4122" y="8696"/>
                      <a:pt x="448" y="7277"/>
                    </a:cubicBezTo>
                    <a:cubicBezTo>
                      <a:pt x="1277" y="7028"/>
                      <a:pt x="5298" y="2833"/>
                      <a:pt x="22573" y="-1321"/>
                    </a:cubicBezTo>
                    <a:cubicBezTo>
                      <a:pt x="23869" y="5443"/>
                      <a:pt x="25154" y="12207"/>
                      <a:pt x="26418" y="18981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0" name="Vrije vorm 175">
                <a:extLst>
                  <a:ext uri="{FF2B5EF4-FFF2-40B4-BE49-F238E27FC236}">
                    <a16:creationId xmlns:a16="http://schemas.microsoft.com/office/drawing/2014/main" id="{974F91C1-4F1C-43C0-A126-D053B0602246}"/>
                  </a:ext>
                </a:extLst>
              </p:cNvPr>
              <p:cNvSpPr/>
              <p:nvPr/>
            </p:nvSpPr>
            <p:spPr>
              <a:xfrm flipV="1">
                <a:off x="10107152" y="3489000"/>
                <a:ext cx="255880" cy="70970"/>
              </a:xfrm>
              <a:custGeom>
                <a:avLst/>
                <a:gdLst>
                  <a:gd name="connsiteX0" fmla="*/ 106957 w 114326"/>
                  <a:gd name="connsiteY0" fmla="*/ 21867 h 26004"/>
                  <a:gd name="connsiteX1" fmla="*/ 43648 w 114326"/>
                  <a:gd name="connsiteY1" fmla="*/ 20199 h 26004"/>
                  <a:gd name="connsiteX2" fmla="*/ -3121 w 114326"/>
                  <a:gd name="connsiteY2" fmla="*/ 24695 h 26004"/>
                  <a:gd name="connsiteX3" fmla="*/ -4821 w 114326"/>
                  <a:gd name="connsiteY3" fmla="*/ 3668 h 26004"/>
                  <a:gd name="connsiteX4" fmla="*/ 43213 w 114326"/>
                  <a:gd name="connsiteY4" fmla="*/ -1169 h 26004"/>
                  <a:gd name="connsiteX5" fmla="*/ 65069 w 114326"/>
                  <a:gd name="connsiteY5" fmla="*/ -1221 h 26004"/>
                  <a:gd name="connsiteX6" fmla="*/ 109506 w 114326"/>
                  <a:gd name="connsiteY6" fmla="*/ 1534 h 26004"/>
                  <a:gd name="connsiteX7" fmla="*/ 106957 w 114326"/>
                  <a:gd name="connsiteY7" fmla="*/ 21867 h 26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26" h="26004">
                    <a:moveTo>
                      <a:pt x="106957" y="21867"/>
                    </a:moveTo>
                    <a:cubicBezTo>
                      <a:pt x="87661" y="20033"/>
                      <a:pt x="66530" y="19660"/>
                      <a:pt x="43648" y="20199"/>
                    </a:cubicBezTo>
                    <a:cubicBezTo>
                      <a:pt x="25989" y="20624"/>
                      <a:pt x="10165" y="22457"/>
                      <a:pt x="-3121" y="24695"/>
                    </a:cubicBezTo>
                    <a:cubicBezTo>
                      <a:pt x="-2696" y="17641"/>
                      <a:pt x="-3629" y="10649"/>
                      <a:pt x="-4821" y="3668"/>
                    </a:cubicBezTo>
                    <a:cubicBezTo>
                      <a:pt x="8714" y="1234"/>
                      <a:pt x="24891" y="-734"/>
                      <a:pt x="43213" y="-1169"/>
                    </a:cubicBezTo>
                    <a:cubicBezTo>
                      <a:pt x="50664" y="-1335"/>
                      <a:pt x="57949" y="-1356"/>
                      <a:pt x="65069" y="-1221"/>
                    </a:cubicBezTo>
                    <a:cubicBezTo>
                      <a:pt x="81018" y="-931"/>
                      <a:pt x="95712" y="-61"/>
                      <a:pt x="109506" y="1534"/>
                    </a:cubicBezTo>
                    <a:cubicBezTo>
                      <a:pt x="107993" y="8205"/>
                      <a:pt x="107092" y="14979"/>
                      <a:pt x="106957" y="21867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1" name="Vrije vorm 176">
                <a:extLst>
                  <a:ext uri="{FF2B5EF4-FFF2-40B4-BE49-F238E27FC236}">
                    <a16:creationId xmlns:a16="http://schemas.microsoft.com/office/drawing/2014/main" id="{3EF9D638-65EF-4645-B1F6-987D23C6A21C}"/>
                  </a:ext>
                </a:extLst>
              </p:cNvPr>
              <p:cNvSpPr/>
              <p:nvPr/>
            </p:nvSpPr>
            <p:spPr>
              <a:xfrm flipV="1">
                <a:off x="10385673" y="3469027"/>
                <a:ext cx="99719" cy="78601"/>
              </a:xfrm>
              <a:custGeom>
                <a:avLst/>
                <a:gdLst>
                  <a:gd name="connsiteX0" fmla="*/ 39044 w 44554"/>
                  <a:gd name="connsiteY0" fmla="*/ 19089 h 28800"/>
                  <a:gd name="connsiteX1" fmla="*/ 32360 w 44554"/>
                  <a:gd name="connsiteY1" fmla="*/ 27117 h 28800"/>
                  <a:gd name="connsiteX2" fmla="*/ -4895 w 44554"/>
                  <a:gd name="connsiteY2" fmla="*/ 18758 h 28800"/>
                  <a:gd name="connsiteX3" fmla="*/ -2460 w 44554"/>
                  <a:gd name="connsiteY3" fmla="*/ -1316 h 28800"/>
                  <a:gd name="connsiteX4" fmla="*/ 36650 w 44554"/>
                  <a:gd name="connsiteY4" fmla="*/ 8503 h 28800"/>
                  <a:gd name="connsiteX5" fmla="*/ 39044 w 44554"/>
                  <a:gd name="connsiteY5" fmla="*/ 19089 h 2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554" h="28800">
                    <a:moveTo>
                      <a:pt x="39044" y="19089"/>
                    </a:moveTo>
                    <a:cubicBezTo>
                      <a:pt x="38060" y="24247"/>
                      <a:pt x="37448" y="28836"/>
                      <a:pt x="32360" y="27117"/>
                    </a:cubicBezTo>
                    <a:cubicBezTo>
                      <a:pt x="21002" y="23294"/>
                      <a:pt x="8545" y="20601"/>
                      <a:pt x="-4895" y="18758"/>
                    </a:cubicBezTo>
                    <a:cubicBezTo>
                      <a:pt x="-4450" y="12015"/>
                      <a:pt x="-3465" y="5354"/>
                      <a:pt x="-2460" y="-1316"/>
                    </a:cubicBezTo>
                    <a:cubicBezTo>
                      <a:pt x="11520" y="900"/>
                      <a:pt x="24515" y="4029"/>
                      <a:pt x="36650" y="8503"/>
                    </a:cubicBezTo>
                    <a:cubicBezTo>
                      <a:pt x="40194" y="9798"/>
                      <a:pt x="40039" y="13869"/>
                      <a:pt x="39044" y="19089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2" name="Vrije vorm 177">
                <a:extLst>
                  <a:ext uri="{FF2B5EF4-FFF2-40B4-BE49-F238E27FC236}">
                    <a16:creationId xmlns:a16="http://schemas.microsoft.com/office/drawing/2014/main" id="{67127D22-749A-4615-AE29-17300A611380}"/>
                  </a:ext>
                </a:extLst>
              </p:cNvPr>
              <p:cNvSpPr/>
              <p:nvPr/>
            </p:nvSpPr>
            <p:spPr>
              <a:xfrm flipV="1">
                <a:off x="10185944" y="3492138"/>
                <a:ext cx="101543" cy="75534"/>
              </a:xfrm>
              <a:custGeom>
                <a:avLst/>
                <a:gdLst>
                  <a:gd name="connsiteX0" fmla="*/ 32859 w 45369"/>
                  <a:gd name="connsiteY0" fmla="*/ 3385 h 27676"/>
                  <a:gd name="connsiteX1" fmla="*/ 3179 w 45369"/>
                  <a:gd name="connsiteY1" fmla="*/ 4887 h 27676"/>
                  <a:gd name="connsiteX2" fmla="*/ 2868 w 45369"/>
                  <a:gd name="connsiteY2" fmla="*/ 21677 h 27676"/>
                  <a:gd name="connsiteX3" fmla="*/ 32527 w 45369"/>
                  <a:gd name="connsiteY3" fmla="*/ 21480 h 27676"/>
                  <a:gd name="connsiteX4" fmla="*/ -4821 w 45369"/>
                  <a:gd name="connsiteY4" fmla="*/ 26369 h 27676"/>
                  <a:gd name="connsiteX5" fmla="*/ -4355 w 45369"/>
                  <a:gd name="connsiteY5" fmla="*/ 961 h 27676"/>
                  <a:gd name="connsiteX6" fmla="*/ 40549 w 45369"/>
                  <a:gd name="connsiteY6" fmla="*/ -1307 h 27676"/>
                  <a:gd name="connsiteX7" fmla="*/ 40041 w 45369"/>
                  <a:gd name="connsiteY7" fmla="*/ 26069 h 27676"/>
                  <a:gd name="connsiteX8" fmla="*/ -4821 w 45369"/>
                  <a:gd name="connsiteY8" fmla="*/ 26369 h 2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69" h="27676">
                    <a:moveTo>
                      <a:pt x="32859" y="3385"/>
                    </a:moveTo>
                    <a:lnTo>
                      <a:pt x="3179" y="4887"/>
                    </a:lnTo>
                    <a:lnTo>
                      <a:pt x="2868" y="21677"/>
                    </a:lnTo>
                    <a:lnTo>
                      <a:pt x="32527" y="21480"/>
                    </a:lnTo>
                    <a:close/>
                    <a:moveTo>
                      <a:pt x="-4821" y="26369"/>
                    </a:moveTo>
                    <a:lnTo>
                      <a:pt x="-4355" y="961"/>
                    </a:lnTo>
                    <a:lnTo>
                      <a:pt x="40549" y="-1307"/>
                    </a:lnTo>
                    <a:lnTo>
                      <a:pt x="40041" y="26069"/>
                    </a:lnTo>
                    <a:lnTo>
                      <a:pt x="-4821" y="26369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3" name="Vrije vorm 178">
                <a:extLst>
                  <a:ext uri="{FF2B5EF4-FFF2-40B4-BE49-F238E27FC236}">
                    <a16:creationId xmlns:a16="http://schemas.microsoft.com/office/drawing/2014/main" id="{5B923B41-AC04-4DD7-8C4D-AE2FC593D9A0}"/>
                  </a:ext>
                </a:extLst>
              </p:cNvPr>
              <p:cNvSpPr/>
              <p:nvPr/>
            </p:nvSpPr>
            <p:spPr>
              <a:xfrm flipV="1">
                <a:off x="10276588" y="2471082"/>
                <a:ext cx="75359" cy="99196"/>
              </a:xfrm>
              <a:custGeom>
                <a:avLst/>
                <a:gdLst>
                  <a:gd name="connsiteX0" fmla="*/ -4850 w 33670"/>
                  <a:gd name="connsiteY0" fmla="*/ -1712 h 36346"/>
                  <a:gd name="connsiteX1" fmla="*/ 5607 w 33670"/>
                  <a:gd name="connsiteY1" fmla="*/ 34634 h 36346"/>
                  <a:gd name="connsiteX2" fmla="*/ 28820 w 33670"/>
                  <a:gd name="connsiteY2" fmla="*/ 24007 h 3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70" h="36346">
                    <a:moveTo>
                      <a:pt x="-4850" y="-1712"/>
                    </a:moveTo>
                    <a:lnTo>
                      <a:pt x="5607" y="34634"/>
                    </a:lnTo>
                    <a:lnTo>
                      <a:pt x="28820" y="24007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4" name="Vrije vorm 179">
                <a:extLst>
                  <a:ext uri="{FF2B5EF4-FFF2-40B4-BE49-F238E27FC236}">
                    <a16:creationId xmlns:a16="http://schemas.microsoft.com/office/drawing/2014/main" id="{5933A1A3-AC05-44CE-A0DA-FF58D38A009B}"/>
                  </a:ext>
                </a:extLst>
              </p:cNvPr>
              <p:cNvSpPr/>
              <p:nvPr/>
            </p:nvSpPr>
            <p:spPr>
              <a:xfrm flipV="1">
                <a:off x="10234074" y="2479704"/>
                <a:ext cx="42514" cy="90574"/>
              </a:xfrm>
              <a:custGeom>
                <a:avLst/>
                <a:gdLst>
                  <a:gd name="connsiteX0" fmla="*/ 11173 w 18995"/>
                  <a:gd name="connsiteY0" fmla="*/ 31477 h 33187"/>
                  <a:gd name="connsiteX1" fmla="*/ 14167 w 18995"/>
                  <a:gd name="connsiteY1" fmla="*/ -1710 h 33187"/>
                  <a:gd name="connsiteX2" fmla="*/ -4828 w 18995"/>
                  <a:gd name="connsiteY2" fmla="*/ 21782 h 33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95" h="33187">
                    <a:moveTo>
                      <a:pt x="11173" y="31477"/>
                    </a:moveTo>
                    <a:lnTo>
                      <a:pt x="14167" y="-1710"/>
                    </a:lnTo>
                    <a:lnTo>
                      <a:pt x="-4828" y="21782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5" name="Vrije vorm 181">
                <a:extLst>
                  <a:ext uri="{FF2B5EF4-FFF2-40B4-BE49-F238E27FC236}">
                    <a16:creationId xmlns:a16="http://schemas.microsoft.com/office/drawing/2014/main" id="{3C068270-1369-454B-9895-AB3D823836EC}"/>
                  </a:ext>
                </a:extLst>
              </p:cNvPr>
              <p:cNvSpPr/>
              <p:nvPr/>
            </p:nvSpPr>
            <p:spPr>
              <a:xfrm flipV="1">
                <a:off x="10152730" y="2411320"/>
                <a:ext cx="117154" cy="166984"/>
              </a:xfrm>
              <a:custGeom>
                <a:avLst/>
                <a:gdLst>
                  <a:gd name="connsiteX0" fmla="*/ -4812 w 52344"/>
                  <a:gd name="connsiteY0" fmla="*/ 36602 h 61184"/>
                  <a:gd name="connsiteX1" fmla="*/ 23604 w 52344"/>
                  <a:gd name="connsiteY1" fmla="*/ -1722 h 61184"/>
                  <a:gd name="connsiteX2" fmla="*/ 47533 w 52344"/>
                  <a:gd name="connsiteY2" fmla="*/ 34406 h 61184"/>
                  <a:gd name="connsiteX3" fmla="*/ 9894 w 52344"/>
                  <a:gd name="connsiteY3" fmla="*/ 59462 h 61184"/>
                  <a:gd name="connsiteX4" fmla="*/ -4812 w 52344"/>
                  <a:gd name="connsiteY4" fmla="*/ 36602 h 6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44" h="61184">
                    <a:moveTo>
                      <a:pt x="-4812" y="36602"/>
                    </a:moveTo>
                    <a:lnTo>
                      <a:pt x="23604" y="-1722"/>
                    </a:lnTo>
                    <a:lnTo>
                      <a:pt x="47533" y="34406"/>
                    </a:lnTo>
                    <a:lnTo>
                      <a:pt x="9894" y="59462"/>
                    </a:lnTo>
                    <a:lnTo>
                      <a:pt x="-4812" y="36602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6" name="Vrije vorm 182">
                <a:extLst>
                  <a:ext uri="{FF2B5EF4-FFF2-40B4-BE49-F238E27FC236}">
                    <a16:creationId xmlns:a16="http://schemas.microsoft.com/office/drawing/2014/main" id="{8E959020-0C3C-413E-8479-D3F2DCC06E4C}"/>
                  </a:ext>
                </a:extLst>
              </p:cNvPr>
              <p:cNvSpPr/>
              <p:nvPr/>
            </p:nvSpPr>
            <p:spPr>
              <a:xfrm flipV="1">
                <a:off x="10299992" y="2397527"/>
                <a:ext cx="125527" cy="175014"/>
              </a:xfrm>
              <a:custGeom>
                <a:avLst/>
                <a:gdLst>
                  <a:gd name="connsiteX0" fmla="*/ 51217 w 56085"/>
                  <a:gd name="connsiteY0" fmla="*/ 39571 h 64126"/>
                  <a:gd name="connsiteX1" fmla="*/ 15132 w 56085"/>
                  <a:gd name="connsiteY1" fmla="*/ -1726 h 64126"/>
                  <a:gd name="connsiteX2" fmla="*/ -4868 w 56085"/>
                  <a:gd name="connsiteY2" fmla="*/ 35448 h 64126"/>
                  <a:gd name="connsiteX3" fmla="*/ 36740 w 56085"/>
                  <a:gd name="connsiteY3" fmla="*/ 62400 h 64126"/>
                  <a:gd name="connsiteX4" fmla="*/ 51217 w 56085"/>
                  <a:gd name="connsiteY4" fmla="*/ 39571 h 64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085" h="64126">
                    <a:moveTo>
                      <a:pt x="51217" y="39571"/>
                    </a:moveTo>
                    <a:lnTo>
                      <a:pt x="15132" y="-1726"/>
                    </a:lnTo>
                    <a:lnTo>
                      <a:pt x="-4868" y="35448"/>
                    </a:lnTo>
                    <a:lnTo>
                      <a:pt x="36740" y="62400"/>
                    </a:lnTo>
                    <a:lnTo>
                      <a:pt x="51217" y="39571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7" name="Vrije vorm 183">
                <a:extLst>
                  <a:ext uri="{FF2B5EF4-FFF2-40B4-BE49-F238E27FC236}">
                    <a16:creationId xmlns:a16="http://schemas.microsoft.com/office/drawing/2014/main" id="{15A90AC8-D594-48F9-83D8-D247235A813A}"/>
                  </a:ext>
                </a:extLst>
              </p:cNvPr>
              <p:cNvSpPr/>
              <p:nvPr/>
            </p:nvSpPr>
            <p:spPr>
              <a:xfrm flipV="1">
                <a:off x="10075840" y="1562595"/>
                <a:ext cx="486717" cy="828513"/>
              </a:xfrm>
              <a:custGeom>
                <a:avLst/>
                <a:gdLst>
                  <a:gd name="connsiteX0" fmla="*/ 115102 w 217463"/>
                  <a:gd name="connsiteY0" fmla="*/ 296484 h 303572"/>
                  <a:gd name="connsiteX1" fmla="*/ 178898 w 217463"/>
                  <a:gd name="connsiteY1" fmla="*/ 236542 h 303572"/>
                  <a:gd name="connsiteX2" fmla="*/ 175550 w 217463"/>
                  <a:gd name="connsiteY2" fmla="*/ 160411 h 303572"/>
                  <a:gd name="connsiteX3" fmla="*/ 202401 w 217463"/>
                  <a:gd name="connsiteY3" fmla="*/ 167734 h 303572"/>
                  <a:gd name="connsiteX4" fmla="*/ 174317 w 217463"/>
                  <a:gd name="connsiteY4" fmla="*/ 94027 h 303572"/>
                  <a:gd name="connsiteX5" fmla="*/ 168421 w 217463"/>
                  <a:gd name="connsiteY5" fmla="*/ 53838 h 303572"/>
                  <a:gd name="connsiteX6" fmla="*/ 79877 w 217463"/>
                  <a:gd name="connsiteY6" fmla="*/ -1350 h 303572"/>
                  <a:gd name="connsiteX7" fmla="*/ -3899 w 217463"/>
                  <a:gd name="connsiteY7" fmla="*/ 62404 h 303572"/>
                  <a:gd name="connsiteX8" fmla="*/ -4852 w 217463"/>
                  <a:gd name="connsiteY8" fmla="*/ 248910 h 303572"/>
                  <a:gd name="connsiteX9" fmla="*/ 115102 w 217463"/>
                  <a:gd name="connsiteY9" fmla="*/ 296484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63" h="303572">
                    <a:moveTo>
                      <a:pt x="115102" y="296484"/>
                    </a:moveTo>
                    <a:cubicBezTo>
                      <a:pt x="180649" y="281548"/>
                      <a:pt x="178898" y="236542"/>
                      <a:pt x="178898" y="236542"/>
                    </a:cubicBezTo>
                    <a:cubicBezTo>
                      <a:pt x="178898" y="236542"/>
                      <a:pt x="176846" y="201802"/>
                      <a:pt x="175550" y="160411"/>
                    </a:cubicBezTo>
                    <a:cubicBezTo>
                      <a:pt x="181613" y="168760"/>
                      <a:pt x="191882" y="172240"/>
                      <a:pt x="202401" y="167734"/>
                    </a:cubicBezTo>
                    <a:cubicBezTo>
                      <a:pt x="224723" y="158194"/>
                      <a:pt x="208236" y="87947"/>
                      <a:pt x="174317" y="94027"/>
                    </a:cubicBezTo>
                    <a:cubicBezTo>
                      <a:pt x="172856" y="74419"/>
                      <a:pt x="170938" y="59131"/>
                      <a:pt x="168421" y="53838"/>
                    </a:cubicBezTo>
                    <a:cubicBezTo>
                      <a:pt x="158896" y="33867"/>
                      <a:pt x="117008" y="3415"/>
                      <a:pt x="79877" y="-1350"/>
                    </a:cubicBezTo>
                    <a:cubicBezTo>
                      <a:pt x="42746" y="-6104"/>
                      <a:pt x="-3899" y="18641"/>
                      <a:pt x="-3899" y="62404"/>
                    </a:cubicBezTo>
                    <a:cubicBezTo>
                      <a:pt x="-3899" y="106177"/>
                      <a:pt x="-4852" y="248910"/>
                      <a:pt x="-4852" y="248910"/>
                    </a:cubicBezTo>
                    <a:cubicBezTo>
                      <a:pt x="-4852" y="248910"/>
                      <a:pt x="6578" y="321229"/>
                      <a:pt x="115102" y="296484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8" name="Vrije vorm 202">
                <a:extLst>
                  <a:ext uri="{FF2B5EF4-FFF2-40B4-BE49-F238E27FC236}">
                    <a16:creationId xmlns:a16="http://schemas.microsoft.com/office/drawing/2014/main" id="{AAD520EE-8793-43DD-81B9-27FF43B342C4}"/>
                  </a:ext>
                </a:extLst>
              </p:cNvPr>
              <p:cNvSpPr/>
              <p:nvPr/>
            </p:nvSpPr>
            <p:spPr>
              <a:xfrm flipH="1" flipV="1">
                <a:off x="10008617" y="1496510"/>
                <a:ext cx="541218" cy="483386"/>
              </a:xfrm>
              <a:custGeom>
                <a:avLst/>
                <a:gdLst>
                  <a:gd name="connsiteX0" fmla="*/ 7576 w 467845"/>
                  <a:gd name="connsiteY0" fmla="*/ 18404 h 298152"/>
                  <a:gd name="connsiteX1" fmla="*/ 88440 w 467845"/>
                  <a:gd name="connsiteY1" fmla="*/ -4021 h 298152"/>
                  <a:gd name="connsiteX2" fmla="*/ 117187 w 467845"/>
                  <a:gd name="connsiteY2" fmla="*/ -4021 h 298152"/>
                  <a:gd name="connsiteX3" fmla="*/ 129509 w 467845"/>
                  <a:gd name="connsiteY3" fmla="*/ 87036 h 298152"/>
                  <a:gd name="connsiteX4" fmla="*/ 206736 w 467845"/>
                  <a:gd name="connsiteY4" fmla="*/ 156010 h 298152"/>
                  <a:gd name="connsiteX5" fmla="*/ 418963 w 467845"/>
                  <a:gd name="connsiteY5" fmla="*/ 132508 h 298152"/>
                  <a:gd name="connsiteX6" fmla="*/ 91165 w 467845"/>
                  <a:gd name="connsiteY6" fmla="*/ 270352 h 298152"/>
                  <a:gd name="connsiteX7" fmla="*/ 7576 w 467845"/>
                  <a:gd name="connsiteY7" fmla="*/ 18404 h 29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7845" h="298152">
                    <a:moveTo>
                      <a:pt x="7576" y="18404"/>
                    </a:moveTo>
                    <a:cubicBezTo>
                      <a:pt x="7576" y="18404"/>
                      <a:pt x="51464" y="46971"/>
                      <a:pt x="88440" y="-4021"/>
                    </a:cubicBezTo>
                    <a:lnTo>
                      <a:pt x="117187" y="-4021"/>
                    </a:lnTo>
                    <a:cubicBezTo>
                      <a:pt x="117187" y="-4021"/>
                      <a:pt x="115550" y="55020"/>
                      <a:pt x="129509" y="87036"/>
                    </a:cubicBezTo>
                    <a:cubicBezTo>
                      <a:pt x="143468" y="119063"/>
                      <a:pt x="198517" y="118235"/>
                      <a:pt x="206736" y="156010"/>
                    </a:cubicBezTo>
                    <a:cubicBezTo>
                      <a:pt x="206736" y="156010"/>
                      <a:pt x="341467" y="91180"/>
                      <a:pt x="418963" y="132508"/>
                    </a:cubicBezTo>
                    <a:cubicBezTo>
                      <a:pt x="594173" y="225927"/>
                      <a:pt x="225969" y="345758"/>
                      <a:pt x="91165" y="270352"/>
                    </a:cubicBezTo>
                    <a:cubicBezTo>
                      <a:pt x="-8984" y="214346"/>
                      <a:pt x="-13316" y="118918"/>
                      <a:pt x="7576" y="18404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 dirty="0"/>
              </a:p>
            </p:txBody>
          </p:sp>
          <p:sp>
            <p:nvSpPr>
              <p:cNvPr id="129" name="Vrije vorm 184">
                <a:extLst>
                  <a:ext uri="{FF2B5EF4-FFF2-40B4-BE49-F238E27FC236}">
                    <a16:creationId xmlns:a16="http://schemas.microsoft.com/office/drawing/2014/main" id="{B5E993A3-F007-4243-B342-B9752D8A4586}"/>
                  </a:ext>
                </a:extLst>
              </p:cNvPr>
              <p:cNvSpPr/>
              <p:nvPr/>
            </p:nvSpPr>
            <p:spPr>
              <a:xfrm flipV="1">
                <a:off x="10133269" y="1922068"/>
                <a:ext cx="75730" cy="225927"/>
              </a:xfrm>
              <a:custGeom>
                <a:avLst/>
                <a:gdLst>
                  <a:gd name="connsiteX0" fmla="*/ 29040 w 33836"/>
                  <a:gd name="connsiteY0" fmla="*/ 80875 h 82781"/>
                  <a:gd name="connsiteX1" fmla="*/ 19381 w 33836"/>
                  <a:gd name="connsiteY1" fmla="*/ 43378 h 82781"/>
                  <a:gd name="connsiteX2" fmla="*/ 11069 w 33836"/>
                  <a:gd name="connsiteY2" fmla="*/ 25697 h 82781"/>
                  <a:gd name="connsiteX3" fmla="*/ -1252 w 33836"/>
                  <a:gd name="connsiteY3" fmla="*/ 10181 h 82781"/>
                  <a:gd name="connsiteX4" fmla="*/ -1273 w 33836"/>
                  <a:gd name="connsiteY4" fmla="*/ 12657 h 82781"/>
                  <a:gd name="connsiteX5" fmla="*/ 12862 w 33836"/>
                  <a:gd name="connsiteY5" fmla="*/ -1907 h 82781"/>
                  <a:gd name="connsiteX6" fmla="*/ -3460 w 33836"/>
                  <a:gd name="connsiteY6" fmla="*/ 10161 h 82781"/>
                  <a:gd name="connsiteX7" fmla="*/ -4797 w 33836"/>
                  <a:gd name="connsiteY7" fmla="*/ 11227 h 82781"/>
                  <a:gd name="connsiteX8" fmla="*/ -3480 w 33836"/>
                  <a:gd name="connsiteY8" fmla="*/ 12646 h 82781"/>
                  <a:gd name="connsiteX9" fmla="*/ 15184 w 33836"/>
                  <a:gd name="connsiteY9" fmla="*/ 45067 h 82781"/>
                  <a:gd name="connsiteX10" fmla="*/ 29040 w 33836"/>
                  <a:gd name="connsiteY10" fmla="*/ 80875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6" h="82781">
                    <a:moveTo>
                      <a:pt x="29040" y="80875"/>
                    </a:moveTo>
                    <a:cubicBezTo>
                      <a:pt x="27298" y="68072"/>
                      <a:pt x="24127" y="55456"/>
                      <a:pt x="19381" y="43378"/>
                    </a:cubicBezTo>
                    <a:cubicBezTo>
                      <a:pt x="17132" y="37288"/>
                      <a:pt x="14469" y="31311"/>
                      <a:pt x="11069" y="25697"/>
                    </a:cubicBezTo>
                    <a:cubicBezTo>
                      <a:pt x="7743" y="20073"/>
                      <a:pt x="4054" y="14438"/>
                      <a:pt x="-1252" y="10181"/>
                    </a:cubicBezTo>
                    <a:lnTo>
                      <a:pt x="-1273" y="12657"/>
                    </a:lnTo>
                    <a:cubicBezTo>
                      <a:pt x="3588" y="7975"/>
                      <a:pt x="8313" y="3138"/>
                      <a:pt x="12862" y="-1907"/>
                    </a:cubicBezTo>
                    <a:cubicBezTo>
                      <a:pt x="7245" y="1916"/>
                      <a:pt x="1826" y="5965"/>
                      <a:pt x="-3460" y="10161"/>
                    </a:cubicBezTo>
                    <a:lnTo>
                      <a:pt x="-4797" y="11227"/>
                    </a:lnTo>
                    <a:lnTo>
                      <a:pt x="-3480" y="12646"/>
                    </a:lnTo>
                    <a:cubicBezTo>
                      <a:pt x="4904" y="21699"/>
                      <a:pt x="10023" y="33538"/>
                      <a:pt x="15184" y="45067"/>
                    </a:cubicBezTo>
                    <a:cubicBezTo>
                      <a:pt x="20023" y="56813"/>
                      <a:pt x="24521" y="68776"/>
                      <a:pt x="29040" y="80875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0" name="Vrije vorm 185">
                <a:extLst>
                  <a:ext uri="{FF2B5EF4-FFF2-40B4-BE49-F238E27FC236}">
                    <a16:creationId xmlns:a16="http://schemas.microsoft.com/office/drawing/2014/main" id="{BE210B20-F49F-4648-89AA-C205758B6A98}"/>
                  </a:ext>
                </a:extLst>
              </p:cNvPr>
              <p:cNvSpPr/>
              <p:nvPr/>
            </p:nvSpPr>
            <p:spPr>
              <a:xfrm flipV="1">
                <a:off x="10265633" y="1912242"/>
                <a:ext cx="42492" cy="72000"/>
              </a:xfrm>
              <a:custGeom>
                <a:avLst/>
                <a:gdLst>
                  <a:gd name="connsiteX0" fmla="*/ -4852 w 18985"/>
                  <a:gd name="connsiteY0" fmla="*/ 15322 h 34544"/>
                  <a:gd name="connsiteX1" fmla="*/ 4641 w 18985"/>
                  <a:gd name="connsiteY1" fmla="*/ -1945 h 34544"/>
                  <a:gd name="connsiteX2" fmla="*/ 14133 w 18985"/>
                  <a:gd name="connsiteY2" fmla="*/ 15322 h 34544"/>
                  <a:gd name="connsiteX3" fmla="*/ 4641 w 18985"/>
                  <a:gd name="connsiteY3" fmla="*/ 32599 h 34544"/>
                  <a:gd name="connsiteX4" fmla="*/ -4852 w 18985"/>
                  <a:gd name="connsiteY4" fmla="*/ 15322 h 34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44">
                    <a:moveTo>
                      <a:pt x="-4852" y="15322"/>
                    </a:moveTo>
                    <a:cubicBezTo>
                      <a:pt x="-4852" y="5782"/>
                      <a:pt x="-593" y="-1945"/>
                      <a:pt x="4641" y="-1945"/>
                    </a:cubicBezTo>
                    <a:cubicBezTo>
                      <a:pt x="9885" y="-1945"/>
                      <a:pt x="14133" y="5782"/>
                      <a:pt x="14133" y="15322"/>
                    </a:cubicBezTo>
                    <a:cubicBezTo>
                      <a:pt x="14133" y="24861"/>
                      <a:pt x="9885" y="32599"/>
                      <a:pt x="4641" y="32599"/>
                    </a:cubicBezTo>
                    <a:cubicBezTo>
                      <a:pt x="-593" y="32599"/>
                      <a:pt x="-4852" y="24861"/>
                      <a:pt x="-4852" y="15322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1" name="Vrije vorm 186">
                <a:extLst>
                  <a:ext uri="{FF2B5EF4-FFF2-40B4-BE49-F238E27FC236}">
                    <a16:creationId xmlns:a16="http://schemas.microsoft.com/office/drawing/2014/main" id="{775C5ECC-E67E-4F63-AE31-58AEEA607052}"/>
                  </a:ext>
                </a:extLst>
              </p:cNvPr>
              <p:cNvSpPr/>
              <p:nvPr/>
            </p:nvSpPr>
            <p:spPr>
              <a:xfrm flipV="1">
                <a:off x="10108373" y="1918142"/>
                <a:ext cx="42492" cy="72000"/>
              </a:xfrm>
              <a:custGeom>
                <a:avLst/>
                <a:gdLst>
                  <a:gd name="connsiteX0" fmla="*/ -4785 w 18985"/>
                  <a:gd name="connsiteY0" fmla="*/ 15336 h 34554"/>
                  <a:gd name="connsiteX1" fmla="*/ 4708 w 18985"/>
                  <a:gd name="connsiteY1" fmla="*/ -1941 h 34554"/>
                  <a:gd name="connsiteX2" fmla="*/ 14201 w 18985"/>
                  <a:gd name="connsiteY2" fmla="*/ 15336 h 34554"/>
                  <a:gd name="connsiteX3" fmla="*/ 4708 w 18985"/>
                  <a:gd name="connsiteY3" fmla="*/ 32613 h 34554"/>
                  <a:gd name="connsiteX4" fmla="*/ -4785 w 18985"/>
                  <a:gd name="connsiteY4" fmla="*/ 15336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4785" y="15336"/>
                    </a:moveTo>
                    <a:cubicBezTo>
                      <a:pt x="-4785" y="5807"/>
                      <a:pt x="-536" y="-1941"/>
                      <a:pt x="4708" y="-1941"/>
                    </a:cubicBezTo>
                    <a:cubicBezTo>
                      <a:pt x="9941" y="-1941"/>
                      <a:pt x="14201" y="5807"/>
                      <a:pt x="14201" y="15336"/>
                    </a:cubicBezTo>
                    <a:cubicBezTo>
                      <a:pt x="14201" y="24876"/>
                      <a:pt x="9941" y="32613"/>
                      <a:pt x="4708" y="32613"/>
                    </a:cubicBezTo>
                    <a:cubicBezTo>
                      <a:pt x="-536" y="32613"/>
                      <a:pt x="-4785" y="24876"/>
                      <a:pt x="-4785" y="15336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2" name="Vrije vorm 187">
                <a:extLst>
                  <a:ext uri="{FF2B5EF4-FFF2-40B4-BE49-F238E27FC236}">
                    <a16:creationId xmlns:a16="http://schemas.microsoft.com/office/drawing/2014/main" id="{73418E69-AB15-4EF5-9653-AF912F0B4312}"/>
                  </a:ext>
                </a:extLst>
              </p:cNvPr>
              <p:cNvSpPr/>
              <p:nvPr/>
            </p:nvSpPr>
            <p:spPr>
              <a:xfrm flipV="1">
                <a:off x="10263344" y="1797744"/>
                <a:ext cx="115068" cy="54186"/>
              </a:xfrm>
              <a:custGeom>
                <a:avLst/>
                <a:gdLst>
                  <a:gd name="connsiteX0" fmla="*/ -4853 w 51412"/>
                  <a:gd name="connsiteY0" fmla="*/ 5612 h 19854"/>
                  <a:gd name="connsiteX1" fmla="*/ 7583 w 51412"/>
                  <a:gd name="connsiteY1" fmla="*/ 14810 h 19854"/>
                  <a:gd name="connsiteX2" fmla="*/ 23294 w 51412"/>
                  <a:gd name="connsiteY2" fmla="*/ 17845 h 19854"/>
                  <a:gd name="connsiteX3" fmla="*/ 38839 w 51412"/>
                  <a:gd name="connsiteY3" fmla="*/ 11837 h 19854"/>
                  <a:gd name="connsiteX4" fmla="*/ 46559 w 51412"/>
                  <a:gd name="connsiteY4" fmla="*/ -1991 h 19854"/>
                  <a:gd name="connsiteX5" fmla="*/ 34704 w 51412"/>
                  <a:gd name="connsiteY5" fmla="*/ 5415 h 19854"/>
                  <a:gd name="connsiteX6" fmla="*/ 22755 w 51412"/>
                  <a:gd name="connsiteY6" fmla="*/ 8067 h 19854"/>
                  <a:gd name="connsiteX7" fmla="*/ -4853 w 51412"/>
                  <a:gd name="connsiteY7" fmla="*/ 5612 h 19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412" h="19854">
                    <a:moveTo>
                      <a:pt x="-4853" y="5612"/>
                    </a:moveTo>
                    <a:cubicBezTo>
                      <a:pt x="-1568" y="9776"/>
                      <a:pt x="2817" y="12707"/>
                      <a:pt x="7583" y="14810"/>
                    </a:cubicBezTo>
                    <a:cubicBezTo>
                      <a:pt x="12371" y="16933"/>
                      <a:pt x="17729" y="18021"/>
                      <a:pt x="23294" y="17845"/>
                    </a:cubicBezTo>
                    <a:cubicBezTo>
                      <a:pt x="28828" y="17461"/>
                      <a:pt x="34548" y="15514"/>
                      <a:pt x="38839" y="11837"/>
                    </a:cubicBezTo>
                    <a:cubicBezTo>
                      <a:pt x="43357" y="8367"/>
                      <a:pt x="45679" y="3033"/>
                      <a:pt x="46559" y="-1991"/>
                    </a:cubicBezTo>
                    <a:cubicBezTo>
                      <a:pt x="42124" y="1013"/>
                      <a:pt x="38735" y="3944"/>
                      <a:pt x="34704" y="5415"/>
                    </a:cubicBezTo>
                    <a:cubicBezTo>
                      <a:pt x="30797" y="6938"/>
                      <a:pt x="26942" y="7880"/>
                      <a:pt x="22755" y="8067"/>
                    </a:cubicBezTo>
                    <a:cubicBezTo>
                      <a:pt x="14340" y="8512"/>
                      <a:pt x="5438" y="6803"/>
                      <a:pt x="-4853" y="5612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3" name="Vrije vorm 188">
                <a:extLst>
                  <a:ext uri="{FF2B5EF4-FFF2-40B4-BE49-F238E27FC236}">
                    <a16:creationId xmlns:a16="http://schemas.microsoft.com/office/drawing/2014/main" id="{153C84B2-6EDF-4067-8599-76CC9C9808C9}"/>
                  </a:ext>
                </a:extLst>
              </p:cNvPr>
              <p:cNvSpPr/>
              <p:nvPr/>
            </p:nvSpPr>
            <p:spPr>
              <a:xfrm flipV="1">
                <a:off x="10084352" y="1799329"/>
                <a:ext cx="91642" cy="52600"/>
              </a:xfrm>
              <a:custGeom>
                <a:avLst/>
                <a:gdLst>
                  <a:gd name="connsiteX0" fmla="*/ 36164 w 40945"/>
                  <a:gd name="connsiteY0" fmla="*/ 5612 h 19273"/>
                  <a:gd name="connsiteX1" fmla="*/ 13686 w 40945"/>
                  <a:gd name="connsiteY1" fmla="*/ 8512 h 19273"/>
                  <a:gd name="connsiteX2" fmla="*/ 4525 w 40945"/>
                  <a:gd name="connsiteY2" fmla="*/ 5384 h 19273"/>
                  <a:gd name="connsiteX3" fmla="*/ -4781 w 40945"/>
                  <a:gd name="connsiteY3" fmla="*/ -1991 h 19273"/>
                  <a:gd name="connsiteX4" fmla="*/ -14 w 40945"/>
                  <a:gd name="connsiteY4" fmla="*/ 10491 h 19273"/>
                  <a:gd name="connsiteX5" fmla="*/ 12784 w 40945"/>
                  <a:gd name="connsiteY5" fmla="*/ 17203 h 19273"/>
                  <a:gd name="connsiteX6" fmla="*/ 26391 w 40945"/>
                  <a:gd name="connsiteY6" fmla="*/ 14406 h 19273"/>
                  <a:gd name="connsiteX7" fmla="*/ 36164 w 40945"/>
                  <a:gd name="connsiteY7" fmla="*/ 5612 h 19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45" h="19273">
                    <a:moveTo>
                      <a:pt x="36164" y="5612"/>
                    </a:moveTo>
                    <a:cubicBezTo>
                      <a:pt x="27573" y="7311"/>
                      <a:pt x="20225" y="9217"/>
                      <a:pt x="13686" y="8512"/>
                    </a:cubicBezTo>
                    <a:cubicBezTo>
                      <a:pt x="10421" y="8336"/>
                      <a:pt x="7509" y="7176"/>
                      <a:pt x="4525" y="5384"/>
                    </a:cubicBezTo>
                    <a:cubicBezTo>
                      <a:pt x="1416" y="3665"/>
                      <a:pt x="-1268" y="858"/>
                      <a:pt x="-4781" y="-1991"/>
                    </a:cubicBezTo>
                    <a:cubicBezTo>
                      <a:pt x="-4564" y="2381"/>
                      <a:pt x="-3237" y="6917"/>
                      <a:pt x="-14" y="10491"/>
                    </a:cubicBezTo>
                    <a:cubicBezTo>
                      <a:pt x="2960" y="14209"/>
                      <a:pt x="7862" y="16778"/>
                      <a:pt x="12784" y="17203"/>
                    </a:cubicBezTo>
                    <a:cubicBezTo>
                      <a:pt x="17707" y="17596"/>
                      <a:pt x="22422" y="16509"/>
                      <a:pt x="26391" y="14406"/>
                    </a:cubicBezTo>
                    <a:cubicBezTo>
                      <a:pt x="30360" y="12335"/>
                      <a:pt x="33842" y="9465"/>
                      <a:pt x="36164" y="5612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4" name="Vrije vorm 190">
                <a:extLst>
                  <a:ext uri="{FF2B5EF4-FFF2-40B4-BE49-F238E27FC236}">
                    <a16:creationId xmlns:a16="http://schemas.microsoft.com/office/drawing/2014/main" id="{6713AF7C-B668-418D-B95A-C3DBA2DEABD1}"/>
                  </a:ext>
                </a:extLst>
              </p:cNvPr>
              <p:cNvSpPr/>
              <p:nvPr/>
            </p:nvSpPr>
            <p:spPr>
              <a:xfrm flipV="1">
                <a:off x="10482810" y="1958041"/>
                <a:ext cx="62310" cy="140928"/>
              </a:xfrm>
              <a:custGeom>
                <a:avLst/>
                <a:gdLst>
                  <a:gd name="connsiteX0" fmla="*/ 17481 w 27840"/>
                  <a:gd name="connsiteY0" fmla="*/ 48626 h 51637"/>
                  <a:gd name="connsiteX1" fmla="*/ -4925 w 27840"/>
                  <a:gd name="connsiteY1" fmla="*/ 15802 h 51637"/>
                  <a:gd name="connsiteX2" fmla="*/ 910 w 27840"/>
                  <a:gd name="connsiteY2" fmla="*/ -1672 h 51637"/>
                  <a:gd name="connsiteX3" fmla="*/ 17481 w 27840"/>
                  <a:gd name="connsiteY3" fmla="*/ 48626 h 51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40" h="51637">
                    <a:moveTo>
                      <a:pt x="17481" y="48626"/>
                    </a:moveTo>
                    <a:cubicBezTo>
                      <a:pt x="5843" y="54520"/>
                      <a:pt x="-4448" y="35793"/>
                      <a:pt x="-4925" y="15802"/>
                    </a:cubicBezTo>
                    <a:cubicBezTo>
                      <a:pt x="4599" y="17241"/>
                      <a:pt x="6206" y="6158"/>
                      <a:pt x="910" y="-1672"/>
                    </a:cubicBezTo>
                    <a:cubicBezTo>
                      <a:pt x="19802" y="-5681"/>
                      <a:pt x="29823" y="42380"/>
                      <a:pt x="17481" y="48626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5" name="Vrije vorm 191">
                <a:extLst>
                  <a:ext uri="{FF2B5EF4-FFF2-40B4-BE49-F238E27FC236}">
                    <a16:creationId xmlns:a16="http://schemas.microsoft.com/office/drawing/2014/main" id="{DB46716D-2B66-40D6-90D1-C8D3582726AC}"/>
                  </a:ext>
                </a:extLst>
              </p:cNvPr>
              <p:cNvSpPr/>
              <p:nvPr/>
            </p:nvSpPr>
            <p:spPr>
              <a:xfrm flipV="1">
                <a:off x="9681512" y="2509471"/>
                <a:ext cx="429259" cy="629411"/>
              </a:xfrm>
              <a:custGeom>
                <a:avLst/>
                <a:gdLst>
                  <a:gd name="connsiteX0" fmla="*/ 68221 w 191791"/>
                  <a:gd name="connsiteY0" fmla="*/ -1590 h 230620"/>
                  <a:gd name="connsiteX1" fmla="*/ 187097 w 191791"/>
                  <a:gd name="connsiteY1" fmla="*/ 173885 h 230620"/>
                  <a:gd name="connsiteX2" fmla="*/ 121819 w 191791"/>
                  <a:gd name="connsiteY2" fmla="*/ 229030 h 230620"/>
                  <a:gd name="connsiteX3" fmla="*/ -4694 w 191791"/>
                  <a:gd name="connsiteY3" fmla="*/ 17800 h 230620"/>
                  <a:gd name="connsiteX4" fmla="*/ 68221 w 191791"/>
                  <a:gd name="connsiteY4" fmla="*/ -1590 h 230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791" h="230620">
                    <a:moveTo>
                      <a:pt x="68221" y="-1590"/>
                    </a:moveTo>
                    <a:lnTo>
                      <a:pt x="187097" y="173885"/>
                    </a:lnTo>
                    <a:lnTo>
                      <a:pt x="121819" y="229030"/>
                    </a:lnTo>
                    <a:lnTo>
                      <a:pt x="-4694" y="17800"/>
                    </a:lnTo>
                    <a:lnTo>
                      <a:pt x="68221" y="-1590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6" name="Vrije vorm 192">
                <a:extLst>
                  <a:ext uri="{FF2B5EF4-FFF2-40B4-BE49-F238E27FC236}">
                    <a16:creationId xmlns:a16="http://schemas.microsoft.com/office/drawing/2014/main" id="{3810EA1A-46C6-4F11-9FA9-E03413A53783}"/>
                  </a:ext>
                </a:extLst>
              </p:cNvPr>
              <p:cNvSpPr/>
              <p:nvPr/>
            </p:nvSpPr>
            <p:spPr>
              <a:xfrm flipV="1">
                <a:off x="10209165" y="2150577"/>
                <a:ext cx="71012" cy="125522"/>
              </a:xfrm>
              <a:custGeom>
                <a:avLst/>
                <a:gdLst>
                  <a:gd name="connsiteX0" fmla="*/ -4805 w 31728"/>
                  <a:gd name="connsiteY0" fmla="*/ 20627 h 45992"/>
                  <a:gd name="connsiteX1" fmla="*/ 11828 w 31728"/>
                  <a:gd name="connsiteY1" fmla="*/ -1829 h 45992"/>
                  <a:gd name="connsiteX2" fmla="*/ 26886 w 31728"/>
                  <a:gd name="connsiteY2" fmla="*/ 21694 h 45992"/>
                  <a:gd name="connsiteX3" fmla="*/ 10252 w 31728"/>
                  <a:gd name="connsiteY3" fmla="*/ 44150 h 45992"/>
                  <a:gd name="connsiteX4" fmla="*/ -4805 w 31728"/>
                  <a:gd name="connsiteY4" fmla="*/ 20627 h 45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28" h="45992">
                    <a:moveTo>
                      <a:pt x="-4805" y="20627"/>
                    </a:moveTo>
                    <a:cubicBezTo>
                      <a:pt x="-4370" y="7918"/>
                      <a:pt x="3081" y="-2129"/>
                      <a:pt x="11828" y="-1829"/>
                    </a:cubicBezTo>
                    <a:cubicBezTo>
                      <a:pt x="20564" y="-1539"/>
                      <a:pt x="27311" y="9006"/>
                      <a:pt x="26886" y="21694"/>
                    </a:cubicBezTo>
                    <a:cubicBezTo>
                      <a:pt x="26450" y="34404"/>
                      <a:pt x="18999" y="44461"/>
                      <a:pt x="10252" y="44150"/>
                    </a:cubicBezTo>
                    <a:cubicBezTo>
                      <a:pt x="1517" y="43860"/>
                      <a:pt x="-5230" y="33316"/>
                      <a:pt x="-4805" y="20627"/>
                    </a:cubicBezTo>
                  </a:path>
                </a:pathLst>
              </a:custGeom>
              <a:solidFill>
                <a:srgbClr val="B8596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7" name="Vrije vorm 193">
                <a:extLst>
                  <a:ext uri="{FF2B5EF4-FFF2-40B4-BE49-F238E27FC236}">
                    <a16:creationId xmlns:a16="http://schemas.microsoft.com/office/drawing/2014/main" id="{A2AE3588-0591-4FC4-8139-79AD26449C82}"/>
                  </a:ext>
                </a:extLst>
              </p:cNvPr>
              <p:cNvSpPr/>
              <p:nvPr/>
            </p:nvSpPr>
            <p:spPr>
              <a:xfrm flipV="1">
                <a:off x="10209165" y="2150577"/>
                <a:ext cx="70923" cy="112812"/>
              </a:xfrm>
              <a:custGeom>
                <a:avLst/>
                <a:gdLst>
                  <a:gd name="connsiteX0" fmla="*/ 19662 w 31688"/>
                  <a:gd name="connsiteY0" fmla="*/ 19893 h 41335"/>
                  <a:gd name="connsiteX1" fmla="*/ 26865 w 31688"/>
                  <a:gd name="connsiteY1" fmla="*/ 17138 h 41335"/>
                  <a:gd name="connsiteX2" fmla="*/ 10252 w 31688"/>
                  <a:gd name="connsiteY2" fmla="*/ 39491 h 41335"/>
                  <a:gd name="connsiteX3" fmla="*/ -4805 w 31688"/>
                  <a:gd name="connsiteY3" fmla="*/ 15968 h 41335"/>
                  <a:gd name="connsiteX4" fmla="*/ 1921 w 31688"/>
                  <a:gd name="connsiteY4" fmla="*/ -1838 h 41335"/>
                  <a:gd name="connsiteX5" fmla="*/ 19662 w 31688"/>
                  <a:gd name="connsiteY5" fmla="*/ 19893 h 41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688" h="41335">
                    <a:moveTo>
                      <a:pt x="19662" y="19893"/>
                    </a:moveTo>
                    <a:cubicBezTo>
                      <a:pt x="22429" y="19417"/>
                      <a:pt x="24834" y="18443"/>
                      <a:pt x="26865" y="17138"/>
                    </a:cubicBezTo>
                    <a:cubicBezTo>
                      <a:pt x="26398" y="29795"/>
                      <a:pt x="18979" y="39801"/>
                      <a:pt x="10252" y="39491"/>
                    </a:cubicBezTo>
                    <a:cubicBezTo>
                      <a:pt x="1517" y="39200"/>
                      <a:pt x="-5230" y="28656"/>
                      <a:pt x="-4805" y="15968"/>
                    </a:cubicBezTo>
                    <a:cubicBezTo>
                      <a:pt x="-4546" y="8624"/>
                      <a:pt x="-1914" y="2243"/>
                      <a:pt x="1921" y="-1838"/>
                    </a:cubicBezTo>
                    <a:cubicBezTo>
                      <a:pt x="-867" y="9318"/>
                      <a:pt x="5361" y="22358"/>
                      <a:pt x="19662" y="19893"/>
                    </a:cubicBezTo>
                  </a:path>
                </a:pathLst>
              </a:custGeom>
              <a:solidFill>
                <a:srgbClr val="642A32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8" name="Vrije vorm 194">
                <a:extLst>
                  <a:ext uri="{FF2B5EF4-FFF2-40B4-BE49-F238E27FC236}">
                    <a16:creationId xmlns:a16="http://schemas.microsoft.com/office/drawing/2014/main" id="{8EC44D1A-E5AC-444F-8D06-DAA3D2D8528D}"/>
                  </a:ext>
                </a:extLst>
              </p:cNvPr>
              <p:cNvSpPr/>
              <p:nvPr/>
            </p:nvSpPr>
            <p:spPr>
              <a:xfrm flipV="1">
                <a:off x="10360832" y="3070412"/>
                <a:ext cx="444799" cy="243269"/>
              </a:xfrm>
              <a:custGeom>
                <a:avLst/>
                <a:gdLst>
                  <a:gd name="connsiteX0" fmla="*/ 193784 w 198734"/>
                  <a:gd name="connsiteY0" fmla="*/ 54990 h 89135"/>
                  <a:gd name="connsiteX1" fmla="*/ -4951 w 198734"/>
                  <a:gd name="connsiteY1" fmla="*/ 279 h 89135"/>
                  <a:gd name="connsiteX2" fmla="*/ 9796 w 198734"/>
                  <a:gd name="connsiteY2" fmla="*/ 34067 h 89135"/>
                  <a:gd name="connsiteX3" fmla="*/ 118858 w 198734"/>
                  <a:gd name="connsiteY3" fmla="*/ 80564 h 89135"/>
                  <a:gd name="connsiteX4" fmla="*/ 193784 w 198734"/>
                  <a:gd name="connsiteY4" fmla="*/ 54990 h 89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8734" h="89135">
                    <a:moveTo>
                      <a:pt x="193784" y="54990"/>
                    </a:moveTo>
                    <a:cubicBezTo>
                      <a:pt x="193784" y="54990"/>
                      <a:pt x="75240" y="-13010"/>
                      <a:pt x="-4951" y="279"/>
                    </a:cubicBezTo>
                    <a:lnTo>
                      <a:pt x="9796" y="34067"/>
                    </a:lnTo>
                    <a:cubicBezTo>
                      <a:pt x="9796" y="34067"/>
                      <a:pt x="54689" y="47812"/>
                      <a:pt x="118858" y="80564"/>
                    </a:cubicBezTo>
                    <a:cubicBezTo>
                      <a:pt x="168788" y="106055"/>
                      <a:pt x="193784" y="54990"/>
                      <a:pt x="193784" y="54990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9" name="Vrije vorm 195">
                <a:extLst>
                  <a:ext uri="{FF2B5EF4-FFF2-40B4-BE49-F238E27FC236}">
                    <a16:creationId xmlns:a16="http://schemas.microsoft.com/office/drawing/2014/main" id="{EEC30F49-5B78-4E63-9EA5-6E1958EF2886}"/>
                  </a:ext>
                </a:extLst>
              </p:cNvPr>
              <p:cNvSpPr/>
              <p:nvPr/>
            </p:nvSpPr>
            <p:spPr>
              <a:xfrm flipV="1">
                <a:off x="10623995" y="3042036"/>
                <a:ext cx="213017" cy="125457"/>
              </a:xfrm>
              <a:custGeom>
                <a:avLst/>
                <a:gdLst>
                  <a:gd name="connsiteX0" fmla="*/ 2642 w 95175"/>
                  <a:gd name="connsiteY0" fmla="*/ 44491 h 45968"/>
                  <a:gd name="connsiteX1" fmla="*/ 90170 w 95175"/>
                  <a:gd name="connsiteY1" fmla="*/ 36650 h 45968"/>
                  <a:gd name="connsiteX2" fmla="*/ 88004 w 95175"/>
                  <a:gd name="connsiteY2" fmla="*/ -1478 h 45968"/>
                  <a:gd name="connsiteX3" fmla="*/ -5006 w 95175"/>
                  <a:gd name="connsiteY3" fmla="*/ 23578 h 45968"/>
                  <a:gd name="connsiteX4" fmla="*/ 2642 w 95175"/>
                  <a:gd name="connsiteY4" fmla="*/ 44491 h 45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175" h="45968">
                    <a:moveTo>
                      <a:pt x="2642" y="44491"/>
                    </a:moveTo>
                    <a:lnTo>
                      <a:pt x="90170" y="36650"/>
                    </a:lnTo>
                    <a:lnTo>
                      <a:pt x="88004" y="-1478"/>
                    </a:lnTo>
                    <a:lnTo>
                      <a:pt x="-5006" y="23578"/>
                    </a:lnTo>
                    <a:lnTo>
                      <a:pt x="2642" y="44491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0" name="Vrije vorm 196">
                <a:extLst>
                  <a:ext uri="{FF2B5EF4-FFF2-40B4-BE49-F238E27FC236}">
                    <a16:creationId xmlns:a16="http://schemas.microsoft.com/office/drawing/2014/main" id="{CB1DA131-E8DF-4A55-B7B5-755A2EEB5B93}"/>
                  </a:ext>
                </a:extLst>
              </p:cNvPr>
              <p:cNvSpPr/>
              <p:nvPr/>
            </p:nvSpPr>
            <p:spPr>
              <a:xfrm flipV="1">
                <a:off x="10201853" y="3216343"/>
                <a:ext cx="234029" cy="165066"/>
              </a:xfrm>
              <a:custGeom>
                <a:avLst/>
                <a:gdLst>
                  <a:gd name="connsiteX0" fmla="*/ 92014 w 104563"/>
                  <a:gd name="connsiteY0" fmla="*/ 57673 h 60481"/>
                  <a:gd name="connsiteX1" fmla="*/ 48396 w 104563"/>
                  <a:gd name="connsiteY1" fmla="*/ 26952 h 60481"/>
                  <a:gd name="connsiteX2" fmla="*/ 31151 w 104563"/>
                  <a:gd name="connsiteY2" fmla="*/ 22177 h 60481"/>
                  <a:gd name="connsiteX3" fmla="*/ 19742 w 104563"/>
                  <a:gd name="connsiteY3" fmla="*/ 27169 h 60481"/>
                  <a:gd name="connsiteX4" fmla="*/ 20736 w 104563"/>
                  <a:gd name="connsiteY4" fmla="*/ 49252 h 60481"/>
                  <a:gd name="connsiteX5" fmla="*/ 82200 w 104563"/>
                  <a:gd name="connsiteY5" fmla="*/ 58606 h 60481"/>
                  <a:gd name="connsiteX6" fmla="*/ 92014 w 104563"/>
                  <a:gd name="connsiteY6" fmla="*/ 57673 h 60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563" h="60481">
                    <a:moveTo>
                      <a:pt x="92014" y="57673"/>
                    </a:moveTo>
                    <a:cubicBezTo>
                      <a:pt x="92014" y="57673"/>
                      <a:pt x="126824" y="9954"/>
                      <a:pt x="48396" y="26952"/>
                    </a:cubicBezTo>
                    <a:cubicBezTo>
                      <a:pt x="48396" y="26952"/>
                      <a:pt x="31555" y="-31001"/>
                      <a:pt x="31151" y="22177"/>
                    </a:cubicBezTo>
                    <a:cubicBezTo>
                      <a:pt x="31151" y="22177"/>
                      <a:pt x="3699" y="-34057"/>
                      <a:pt x="19742" y="27169"/>
                    </a:cubicBezTo>
                    <a:cubicBezTo>
                      <a:pt x="19742" y="27169"/>
                      <a:pt x="-36251" y="-14915"/>
                      <a:pt x="20736" y="49252"/>
                    </a:cubicBezTo>
                    <a:cubicBezTo>
                      <a:pt x="20736" y="49252"/>
                      <a:pt x="29379" y="61630"/>
                      <a:pt x="82200" y="58606"/>
                    </a:cubicBezTo>
                    <a:lnTo>
                      <a:pt x="92014" y="57673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1" name="Vrije vorm 197">
                <a:extLst>
                  <a:ext uri="{FF2B5EF4-FFF2-40B4-BE49-F238E27FC236}">
                    <a16:creationId xmlns:a16="http://schemas.microsoft.com/office/drawing/2014/main" id="{D8184595-24E3-4D7D-9839-59921270C3D5}"/>
                  </a:ext>
                </a:extLst>
              </p:cNvPr>
              <p:cNvSpPr/>
              <p:nvPr/>
            </p:nvSpPr>
            <p:spPr>
              <a:xfrm flipV="1">
                <a:off x="10198409" y="3234097"/>
                <a:ext cx="69898" cy="49453"/>
              </a:xfrm>
              <a:custGeom>
                <a:avLst/>
                <a:gdLst>
                  <a:gd name="connsiteX0" fmla="*/ 26410 w 31230"/>
                  <a:gd name="connsiteY0" fmla="*/ 16704 h 18120"/>
                  <a:gd name="connsiteX1" fmla="*/ 24410 w 31230"/>
                  <a:gd name="connsiteY1" fmla="*/ 3622 h 18120"/>
                  <a:gd name="connsiteX2" fmla="*/ 26410 w 31230"/>
                  <a:gd name="connsiteY2" fmla="*/ 16704 h 18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1230" h="18120">
                    <a:moveTo>
                      <a:pt x="26410" y="16704"/>
                    </a:moveTo>
                    <a:cubicBezTo>
                      <a:pt x="26410" y="16704"/>
                      <a:pt x="-42505" y="-12961"/>
                      <a:pt x="24410" y="3622"/>
                    </a:cubicBezTo>
                    <a:lnTo>
                      <a:pt x="26410" y="16704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2" name="Vrije vorm 198">
                <a:extLst>
                  <a:ext uri="{FF2B5EF4-FFF2-40B4-BE49-F238E27FC236}">
                    <a16:creationId xmlns:a16="http://schemas.microsoft.com/office/drawing/2014/main" id="{2B11FD3C-257E-4B02-B44E-897590FA3758}"/>
                  </a:ext>
                </a:extLst>
              </p:cNvPr>
              <p:cNvSpPr/>
              <p:nvPr/>
            </p:nvSpPr>
            <p:spPr>
              <a:xfrm flipV="1">
                <a:off x="8692546" y="2396056"/>
                <a:ext cx="659929" cy="675999"/>
              </a:xfrm>
              <a:custGeom>
                <a:avLst/>
                <a:gdLst>
                  <a:gd name="connsiteX0" fmla="*/ 290486 w 294853"/>
                  <a:gd name="connsiteY0" fmla="*/ 3811 h 247690"/>
                  <a:gd name="connsiteX1" fmla="*/ 285926 w 294853"/>
                  <a:gd name="connsiteY1" fmla="*/ -1626 h 247690"/>
                  <a:gd name="connsiteX2" fmla="*/ -4367 w 294853"/>
                  <a:gd name="connsiteY2" fmla="*/ 240605 h 247690"/>
                  <a:gd name="connsiteX3" fmla="*/ 172 w 294853"/>
                  <a:gd name="connsiteY3" fmla="*/ 246064 h 247690"/>
                  <a:gd name="connsiteX4" fmla="*/ 290486 w 294853"/>
                  <a:gd name="connsiteY4" fmla="*/ 3811 h 247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4853" h="247690">
                    <a:moveTo>
                      <a:pt x="290486" y="3811"/>
                    </a:moveTo>
                    <a:lnTo>
                      <a:pt x="285926" y="-1626"/>
                    </a:lnTo>
                    <a:lnTo>
                      <a:pt x="-4367" y="240605"/>
                    </a:lnTo>
                    <a:lnTo>
                      <a:pt x="172" y="246064"/>
                    </a:lnTo>
                    <a:lnTo>
                      <a:pt x="290486" y="3811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3" name="Vrije vorm 199">
                <a:extLst>
                  <a:ext uri="{FF2B5EF4-FFF2-40B4-BE49-F238E27FC236}">
                    <a16:creationId xmlns:a16="http://schemas.microsoft.com/office/drawing/2014/main" id="{65B29918-54BB-4EC3-A976-34D2449B19A6}"/>
                  </a:ext>
                </a:extLst>
              </p:cNvPr>
              <p:cNvSpPr/>
              <p:nvPr/>
            </p:nvSpPr>
            <p:spPr>
              <a:xfrm flipV="1">
                <a:off x="9205338" y="2925452"/>
                <a:ext cx="625427" cy="352544"/>
              </a:xfrm>
              <a:custGeom>
                <a:avLst/>
                <a:gdLst>
                  <a:gd name="connsiteX0" fmla="*/ 246284 w 279438"/>
                  <a:gd name="connsiteY0" fmla="*/ -1479 h 129174"/>
                  <a:gd name="connsiteX1" fmla="*/ 75323 w 279438"/>
                  <a:gd name="connsiteY1" fmla="*/ 65983 h 129174"/>
                  <a:gd name="connsiteX2" fmla="*/ 56524 w 279438"/>
                  <a:gd name="connsiteY2" fmla="*/ 41206 h 129174"/>
                  <a:gd name="connsiteX3" fmla="*/ 39674 w 279438"/>
                  <a:gd name="connsiteY3" fmla="*/ 46934 h 129174"/>
                  <a:gd name="connsiteX4" fmla="*/ 22740 w 279438"/>
                  <a:gd name="connsiteY4" fmla="*/ 51865 h 129174"/>
                  <a:gd name="connsiteX5" fmla="*/ 5309 w 279438"/>
                  <a:gd name="connsiteY5" fmla="*/ 62596 h 129174"/>
                  <a:gd name="connsiteX6" fmla="*/ -2681 w 279438"/>
                  <a:gd name="connsiteY6" fmla="*/ 79469 h 129174"/>
                  <a:gd name="connsiteX7" fmla="*/ 17393 w 279438"/>
                  <a:gd name="connsiteY7" fmla="*/ 113153 h 129174"/>
                  <a:gd name="connsiteX8" fmla="*/ 30222 w 279438"/>
                  <a:gd name="connsiteY8" fmla="*/ 127696 h 129174"/>
                  <a:gd name="connsiteX9" fmla="*/ 274886 w 279438"/>
                  <a:gd name="connsiteY9" fmla="*/ 51036 h 129174"/>
                  <a:gd name="connsiteX10" fmla="*/ 246284 w 279438"/>
                  <a:gd name="connsiteY10" fmla="*/ -1479 h 129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9438" h="129174">
                    <a:moveTo>
                      <a:pt x="246284" y="-1479"/>
                    </a:moveTo>
                    <a:lnTo>
                      <a:pt x="75323" y="65983"/>
                    </a:lnTo>
                    <a:cubicBezTo>
                      <a:pt x="75323" y="65983"/>
                      <a:pt x="70618" y="49441"/>
                      <a:pt x="56524" y="41206"/>
                    </a:cubicBezTo>
                    <a:cubicBezTo>
                      <a:pt x="56524" y="41206"/>
                      <a:pt x="37881" y="36566"/>
                      <a:pt x="39674" y="46934"/>
                    </a:cubicBezTo>
                    <a:cubicBezTo>
                      <a:pt x="39674" y="46934"/>
                      <a:pt x="28025" y="39559"/>
                      <a:pt x="22740" y="51865"/>
                    </a:cubicBezTo>
                    <a:cubicBezTo>
                      <a:pt x="22740" y="51865"/>
                      <a:pt x="5195" y="49368"/>
                      <a:pt x="5309" y="62596"/>
                    </a:cubicBezTo>
                    <a:cubicBezTo>
                      <a:pt x="5309" y="62596"/>
                      <a:pt x="-9707" y="61342"/>
                      <a:pt x="-2681" y="79469"/>
                    </a:cubicBezTo>
                    <a:cubicBezTo>
                      <a:pt x="4335" y="97585"/>
                      <a:pt x="17393" y="113153"/>
                      <a:pt x="17393" y="113153"/>
                    </a:cubicBezTo>
                    <a:lnTo>
                      <a:pt x="30222" y="127696"/>
                    </a:lnTo>
                    <a:lnTo>
                      <a:pt x="274886" y="51036"/>
                    </a:lnTo>
                    <a:lnTo>
                      <a:pt x="246284" y="-1479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4" name="Vrije vorm 200">
                <a:extLst>
                  <a:ext uri="{FF2B5EF4-FFF2-40B4-BE49-F238E27FC236}">
                    <a16:creationId xmlns:a16="http://schemas.microsoft.com/office/drawing/2014/main" id="{74567323-7534-420C-9A04-6221DCA350CF}"/>
                  </a:ext>
                </a:extLst>
              </p:cNvPr>
              <p:cNvSpPr/>
              <p:nvPr/>
            </p:nvSpPr>
            <p:spPr>
              <a:xfrm flipV="1">
                <a:off x="9212908" y="2891930"/>
                <a:ext cx="165893" cy="177552"/>
              </a:xfrm>
              <a:custGeom>
                <a:avLst/>
                <a:gdLst>
                  <a:gd name="connsiteX0" fmla="*/ 69651 w 74120"/>
                  <a:gd name="connsiteY0" fmla="*/ 10383 h 65056"/>
                  <a:gd name="connsiteX1" fmla="*/ 44883 w 74120"/>
                  <a:gd name="connsiteY1" fmla="*/ -1249 h 65056"/>
                  <a:gd name="connsiteX2" fmla="*/ 17224 w 74120"/>
                  <a:gd name="connsiteY2" fmla="*/ 36154 h 65056"/>
                  <a:gd name="connsiteX3" fmla="*/ -2228 w 74120"/>
                  <a:gd name="connsiteY3" fmla="*/ 62691 h 65056"/>
                  <a:gd name="connsiteX4" fmla="*/ 69651 w 74120"/>
                  <a:gd name="connsiteY4" fmla="*/ 10383 h 6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120" h="65056">
                    <a:moveTo>
                      <a:pt x="69651" y="10383"/>
                    </a:moveTo>
                    <a:cubicBezTo>
                      <a:pt x="69651" y="10383"/>
                      <a:pt x="66490" y="-3662"/>
                      <a:pt x="44883" y="-1249"/>
                    </a:cubicBezTo>
                    <a:cubicBezTo>
                      <a:pt x="23266" y="1165"/>
                      <a:pt x="17224" y="36154"/>
                      <a:pt x="17224" y="36154"/>
                    </a:cubicBezTo>
                    <a:cubicBezTo>
                      <a:pt x="17224" y="36154"/>
                      <a:pt x="-12757" y="56031"/>
                      <a:pt x="-2228" y="62691"/>
                    </a:cubicBezTo>
                    <a:cubicBezTo>
                      <a:pt x="8301" y="69331"/>
                      <a:pt x="62096" y="35056"/>
                      <a:pt x="69651" y="10383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5" name="Vrije vorm 201">
                <a:extLst>
                  <a:ext uri="{FF2B5EF4-FFF2-40B4-BE49-F238E27FC236}">
                    <a16:creationId xmlns:a16="http://schemas.microsoft.com/office/drawing/2014/main" id="{46C4D165-13FD-46C0-801E-9A6EF75AAF0A}"/>
                  </a:ext>
                </a:extLst>
              </p:cNvPr>
              <p:cNvSpPr/>
              <p:nvPr/>
            </p:nvSpPr>
            <p:spPr>
              <a:xfrm flipV="1">
                <a:off x="9667989" y="2991546"/>
                <a:ext cx="192119" cy="268642"/>
              </a:xfrm>
              <a:custGeom>
                <a:avLst/>
                <a:gdLst>
                  <a:gd name="connsiteX0" fmla="*/ 81194 w 85838"/>
                  <a:gd name="connsiteY0" fmla="*/ 41755 h 98432"/>
                  <a:gd name="connsiteX1" fmla="*/ 12247 w 85838"/>
                  <a:gd name="connsiteY1" fmla="*/ 96963 h 98432"/>
                  <a:gd name="connsiteX2" fmla="*/ -4645 w 85838"/>
                  <a:gd name="connsiteY2" fmla="*/ 71420 h 98432"/>
                  <a:gd name="connsiteX3" fmla="*/ 46228 w 85838"/>
                  <a:gd name="connsiteY3" fmla="*/ -1469 h 98432"/>
                  <a:gd name="connsiteX4" fmla="*/ 81194 w 85838"/>
                  <a:gd name="connsiteY4" fmla="*/ 41755 h 98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838" h="98432">
                    <a:moveTo>
                      <a:pt x="81194" y="41755"/>
                    </a:moveTo>
                    <a:lnTo>
                      <a:pt x="12247" y="96963"/>
                    </a:lnTo>
                    <a:lnTo>
                      <a:pt x="-4645" y="71420"/>
                    </a:lnTo>
                    <a:lnTo>
                      <a:pt x="46228" y="-1469"/>
                    </a:lnTo>
                    <a:lnTo>
                      <a:pt x="81194" y="41755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6" name="Vrije vorm 207">
                <a:extLst>
                  <a:ext uri="{FF2B5EF4-FFF2-40B4-BE49-F238E27FC236}">
                    <a16:creationId xmlns:a16="http://schemas.microsoft.com/office/drawing/2014/main" id="{D85FD8CB-B1CA-43AA-8AC0-FAD95DCAEB9F}"/>
                  </a:ext>
                </a:extLst>
              </p:cNvPr>
              <p:cNvSpPr/>
              <p:nvPr/>
            </p:nvSpPr>
            <p:spPr>
              <a:xfrm flipV="1">
                <a:off x="10068803" y="1872368"/>
                <a:ext cx="110399" cy="155448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7" name="Vrije vorm 208">
                <a:extLst>
                  <a:ext uri="{FF2B5EF4-FFF2-40B4-BE49-F238E27FC236}">
                    <a16:creationId xmlns:a16="http://schemas.microsoft.com/office/drawing/2014/main" id="{01675551-F8E2-4EB9-B6BE-17EDD69E2D2C}"/>
                  </a:ext>
                </a:extLst>
              </p:cNvPr>
              <p:cNvSpPr/>
              <p:nvPr/>
            </p:nvSpPr>
            <p:spPr>
              <a:xfrm flipV="1">
                <a:off x="10215703" y="1868786"/>
                <a:ext cx="135652" cy="154591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8" name="Vrije vorm 209">
                <a:extLst>
                  <a:ext uri="{FF2B5EF4-FFF2-40B4-BE49-F238E27FC236}">
                    <a16:creationId xmlns:a16="http://schemas.microsoft.com/office/drawing/2014/main" id="{74F20964-853B-4848-86D9-FE9FFCE765A4}"/>
                  </a:ext>
                </a:extLst>
              </p:cNvPr>
              <p:cNvSpPr/>
              <p:nvPr/>
            </p:nvSpPr>
            <p:spPr>
              <a:xfrm flipV="1">
                <a:off x="10350380" y="1925268"/>
                <a:ext cx="180000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9" name="Vrije vorm 210">
                <a:extLst>
                  <a:ext uri="{FF2B5EF4-FFF2-40B4-BE49-F238E27FC236}">
                    <a16:creationId xmlns:a16="http://schemas.microsoft.com/office/drawing/2014/main" id="{6C7DCB01-87DB-49F2-8A92-88EA6638F8B8}"/>
                  </a:ext>
                </a:extLst>
              </p:cNvPr>
              <p:cNvSpPr/>
              <p:nvPr/>
            </p:nvSpPr>
            <p:spPr>
              <a:xfrm flipV="1">
                <a:off x="10170481" y="1949355"/>
                <a:ext cx="49121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</p:grpSp>
      <p:sp>
        <p:nvSpPr>
          <p:cNvPr id="4" name="Tekstvak 3">
            <a:extLst>
              <a:ext uri="{FF2B5EF4-FFF2-40B4-BE49-F238E27FC236}">
                <a16:creationId xmlns:a16="http://schemas.microsoft.com/office/drawing/2014/main" id="{F24194B3-3CB0-4C05-BC2A-56E5E00E41E7}"/>
              </a:ext>
            </a:extLst>
          </p:cNvPr>
          <p:cNvSpPr txBox="1"/>
          <p:nvPr/>
        </p:nvSpPr>
        <p:spPr>
          <a:xfrm>
            <a:off x="2366311" y="596900"/>
            <a:ext cx="615332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Many studies frame the </a:t>
            </a:r>
            <a:r>
              <a:rPr lang="en-US" sz="1600" b="1" dirty="0"/>
              <a:t>formation phase as a team-level </a:t>
            </a:r>
            <a:r>
              <a:rPr lang="en-US" sz="1600" dirty="0"/>
              <a:t>phenomenon, where a </a:t>
            </a:r>
            <a:r>
              <a:rPr lang="en-US" sz="1600" b="1" dirty="0"/>
              <a:t>research apply a one-sided</a:t>
            </a:r>
            <a:r>
              <a:rPr lang="en-US" sz="1600" dirty="0"/>
              <a:t>, </a:t>
            </a:r>
            <a:r>
              <a:rPr lang="en-US" sz="1600" b="1" dirty="0"/>
              <a:t>unilateral</a:t>
            </a:r>
            <a:r>
              <a:rPr lang="en-US" sz="1600" dirty="0"/>
              <a:t> </a:t>
            </a:r>
            <a:r>
              <a:rPr lang="en-US" sz="1600" b="1" dirty="0"/>
              <a:t>strategy</a:t>
            </a:r>
            <a:r>
              <a:rPr lang="en-US" sz="1600" dirty="0"/>
              <a:t> to assemble a team</a:t>
            </a:r>
            <a:br>
              <a:rPr lang="en-US" sz="1600" dirty="0"/>
            </a:b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is </a:t>
            </a:r>
            <a:r>
              <a:rPr lang="en-US" sz="1600" b="1" dirty="0"/>
              <a:t>oversimplifies</a:t>
            </a:r>
            <a:r>
              <a:rPr lang="en-US" sz="1600" dirty="0"/>
              <a:t> the </a:t>
            </a:r>
            <a:r>
              <a:rPr lang="en-US" sz="1600" b="1" dirty="0"/>
              <a:t>formation pro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Neglecting</a:t>
            </a:r>
            <a:r>
              <a:rPr lang="en-US" sz="1600" dirty="0"/>
              <a:t> the complex, </a:t>
            </a:r>
            <a:r>
              <a:rPr lang="en-US" sz="1600" b="1" dirty="0"/>
              <a:t>two-sided</a:t>
            </a:r>
            <a:r>
              <a:rPr lang="en-US" sz="1600" dirty="0"/>
              <a:t> decision-ma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 essence, one cannot select a co-founder without being chosen in retu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sz="1600" dirty="0">
                <a:sym typeface="Wingdings" panose="05000000000000000000" pitchFamily="2" charset="2"/>
              </a:rPr>
              <a:t> This paper focuses on co-founders </a:t>
            </a:r>
            <a:r>
              <a:rPr lang="en-US" sz="1600" b="1" dirty="0">
                <a:sym typeface="Wingdings" panose="05000000000000000000" pitchFamily="2" charset="2"/>
              </a:rPr>
              <a:t>exploring an selecting each other</a:t>
            </a:r>
            <a:r>
              <a:rPr lang="en-US" sz="1600" dirty="0">
                <a:sym typeface="Wingdings" panose="05000000000000000000" pitchFamily="2" charset="2"/>
              </a:rPr>
              <a:t>, determining </a:t>
            </a:r>
            <a:r>
              <a:rPr lang="en-US" sz="1600" b="1" dirty="0">
                <a:sym typeface="Wingdings" panose="05000000000000000000" pitchFamily="2" charset="2"/>
              </a:rPr>
              <a:t>whether or not </a:t>
            </a:r>
            <a:r>
              <a:rPr lang="en-US" sz="1600" dirty="0">
                <a:sym typeface="Wingdings" panose="05000000000000000000" pitchFamily="2" charset="2"/>
              </a:rPr>
              <a:t>they have the </a:t>
            </a:r>
            <a:r>
              <a:rPr lang="en-US" sz="1600" b="1" dirty="0">
                <a:sym typeface="Wingdings" panose="05000000000000000000" pitchFamily="2" charset="2"/>
              </a:rPr>
              <a:t>intention to collaborate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691816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RESEARCH QUESTION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CA0B48C7-59F5-47C3-9DB4-8852546E5572}"/>
              </a:ext>
            </a:extLst>
          </p:cNvPr>
          <p:cNvSpPr txBox="1"/>
          <p:nvPr/>
        </p:nvSpPr>
        <p:spPr>
          <a:xfrm>
            <a:off x="1461746" y="1580380"/>
            <a:ext cx="3758252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39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4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41842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3" name="Groep 2262">
            <a:extLst>
              <a:ext uri="{FF2B5EF4-FFF2-40B4-BE49-F238E27FC236}">
                <a16:creationId xmlns:a16="http://schemas.microsoft.com/office/drawing/2014/main" id="{EEEA2432-7E07-5675-BEC5-0F7BA037260B}"/>
              </a:ext>
            </a:extLst>
          </p:cNvPr>
          <p:cNvGrpSpPr/>
          <p:nvPr/>
        </p:nvGrpSpPr>
        <p:grpSpPr>
          <a:xfrm>
            <a:off x="8903276" y="1761031"/>
            <a:ext cx="1755121" cy="3991906"/>
            <a:chOff x="3746777" y="1060540"/>
            <a:chExt cx="1755121" cy="3991906"/>
          </a:xfrm>
        </p:grpSpPr>
        <p:grpSp>
          <p:nvGrpSpPr>
            <p:cNvPr id="2256" name="Groep 2255">
              <a:extLst>
                <a:ext uri="{FF2B5EF4-FFF2-40B4-BE49-F238E27FC236}">
                  <a16:creationId xmlns:a16="http://schemas.microsoft.com/office/drawing/2014/main" id="{84673D5D-CFB9-43C6-88B5-AA9870BF4544}"/>
                </a:ext>
              </a:extLst>
            </p:cNvPr>
            <p:cNvGrpSpPr/>
            <p:nvPr/>
          </p:nvGrpSpPr>
          <p:grpSpPr>
            <a:xfrm>
              <a:off x="3746777" y="1172166"/>
              <a:ext cx="1755121" cy="3880280"/>
              <a:chOff x="3596071" y="1050503"/>
              <a:chExt cx="550926" cy="1475463"/>
            </a:xfrm>
          </p:grpSpPr>
          <p:sp>
            <p:nvSpPr>
              <p:cNvPr id="2172" name="Vrije vorm 2171">
                <a:extLst>
                  <a:ext uri="{FF2B5EF4-FFF2-40B4-BE49-F238E27FC236}">
                    <a16:creationId xmlns:a16="http://schemas.microsoft.com/office/drawing/2014/main" id="{E6121BB5-03D7-66C7-4002-03EFC1756B40}"/>
                  </a:ext>
                </a:extLst>
              </p:cNvPr>
              <p:cNvSpPr/>
              <p:nvPr/>
            </p:nvSpPr>
            <p:spPr>
              <a:xfrm flipV="1">
                <a:off x="3976741" y="1601908"/>
                <a:ext cx="158297" cy="158377"/>
              </a:xfrm>
              <a:custGeom>
                <a:avLst/>
                <a:gdLst>
                  <a:gd name="connsiteX0" fmla="*/ 156021 w 158297"/>
                  <a:gd name="connsiteY0" fmla="*/ 129444 h 158377"/>
                  <a:gd name="connsiteX1" fmla="*/ -1510 w 158297"/>
                  <a:gd name="connsiteY1" fmla="*/ -3439 h 158377"/>
                  <a:gd name="connsiteX2" fmla="*/ -2277 w 158297"/>
                  <a:gd name="connsiteY2" fmla="*/ 33436 h 158377"/>
                  <a:gd name="connsiteX3" fmla="*/ 80711 w 158297"/>
                  <a:gd name="connsiteY3" fmla="*/ 127901 h 158377"/>
                  <a:gd name="connsiteX4" fmla="*/ 156021 w 158297"/>
                  <a:gd name="connsiteY4" fmla="*/ 129444 h 158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297" h="158377">
                    <a:moveTo>
                      <a:pt x="156021" y="129444"/>
                    </a:moveTo>
                    <a:cubicBezTo>
                      <a:pt x="156021" y="129444"/>
                      <a:pt x="76867" y="18065"/>
                      <a:pt x="-1510" y="-3439"/>
                    </a:cubicBezTo>
                    <a:lnTo>
                      <a:pt x="-2277" y="33436"/>
                    </a:lnTo>
                    <a:cubicBezTo>
                      <a:pt x="-2277" y="33436"/>
                      <a:pt x="40751" y="68001"/>
                      <a:pt x="80711" y="127901"/>
                    </a:cubicBezTo>
                    <a:cubicBezTo>
                      <a:pt x="120672" y="187822"/>
                      <a:pt x="156021" y="129444"/>
                      <a:pt x="156021" y="129444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3" name="Vrije vorm 2172">
                <a:extLst>
                  <a:ext uri="{FF2B5EF4-FFF2-40B4-BE49-F238E27FC236}">
                    <a16:creationId xmlns:a16="http://schemas.microsoft.com/office/drawing/2014/main" id="{2B96E10B-2911-35AD-6890-D3C8DFE5F726}"/>
                  </a:ext>
                </a:extLst>
              </p:cNvPr>
              <p:cNvSpPr/>
              <p:nvPr/>
            </p:nvSpPr>
            <p:spPr>
              <a:xfrm flipV="1">
                <a:off x="3968834" y="2397861"/>
                <a:ext cx="46271" cy="90725"/>
              </a:xfrm>
              <a:custGeom>
                <a:avLst/>
                <a:gdLst>
                  <a:gd name="connsiteX0" fmla="*/ -2223 w 46271"/>
                  <a:gd name="connsiteY0" fmla="*/ 80808 h 90725"/>
                  <a:gd name="connsiteX1" fmla="*/ 11653 w 46271"/>
                  <a:gd name="connsiteY1" fmla="*/ -2605 h 90725"/>
                  <a:gd name="connsiteX2" fmla="*/ 44048 w 46271"/>
                  <a:gd name="connsiteY2" fmla="*/ -2605 h 90725"/>
                  <a:gd name="connsiteX3" fmla="*/ 33219 w 46271"/>
                  <a:gd name="connsiteY3" fmla="*/ 88121 h 90725"/>
                  <a:gd name="connsiteX4" fmla="*/ -2223 w 46271"/>
                  <a:gd name="connsiteY4" fmla="*/ 8080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71" h="90725">
                    <a:moveTo>
                      <a:pt x="-2223" y="80808"/>
                    </a:moveTo>
                    <a:lnTo>
                      <a:pt x="11653" y="-2605"/>
                    </a:lnTo>
                    <a:lnTo>
                      <a:pt x="44048" y="-2605"/>
                    </a:lnTo>
                    <a:lnTo>
                      <a:pt x="33219" y="88121"/>
                    </a:lnTo>
                    <a:lnTo>
                      <a:pt x="-2223" y="8080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4" name="Vrije vorm 2173">
                <a:extLst>
                  <a:ext uri="{FF2B5EF4-FFF2-40B4-BE49-F238E27FC236}">
                    <a16:creationId xmlns:a16="http://schemas.microsoft.com/office/drawing/2014/main" id="{F00A5DF4-4D66-D570-BACF-4E2C0C9B33F1}"/>
                  </a:ext>
                </a:extLst>
              </p:cNvPr>
              <p:cNvSpPr/>
              <p:nvPr/>
            </p:nvSpPr>
            <p:spPr>
              <a:xfrm flipV="1">
                <a:off x="3968834" y="2449050"/>
                <a:ext cx="154062" cy="76915"/>
              </a:xfrm>
              <a:custGeom>
                <a:avLst/>
                <a:gdLst>
                  <a:gd name="connsiteX0" fmla="*/ 53828 w 154062"/>
                  <a:gd name="connsiteY0" fmla="*/ 74360 h 76915"/>
                  <a:gd name="connsiteX1" fmla="*/ 100348 w 154062"/>
                  <a:gd name="connsiteY1" fmla="*/ 41908 h 76915"/>
                  <a:gd name="connsiteX2" fmla="*/ 151677 w 154062"/>
                  <a:gd name="connsiteY2" fmla="*/ 5873 h 76915"/>
                  <a:gd name="connsiteX3" fmla="*/ 42200 w 154062"/>
                  <a:gd name="connsiteY3" fmla="*/ 8172 h 76915"/>
                  <a:gd name="connsiteX4" fmla="*/ 42200 w 154062"/>
                  <a:gd name="connsiteY4" fmla="*/ 1025 h 76915"/>
                  <a:gd name="connsiteX5" fmla="*/ -2268 w 154062"/>
                  <a:gd name="connsiteY5" fmla="*/ 2972 h 76915"/>
                  <a:gd name="connsiteX6" fmla="*/ -2268 w 154062"/>
                  <a:gd name="connsiteY6" fmla="*/ 62023 h 76915"/>
                  <a:gd name="connsiteX7" fmla="*/ 34666 w 154062"/>
                  <a:gd name="connsiteY7" fmla="*/ 59423 h 76915"/>
                  <a:gd name="connsiteX8" fmla="*/ 31941 w 154062"/>
                  <a:gd name="connsiteY8" fmla="*/ 65265 h 76915"/>
                  <a:gd name="connsiteX9" fmla="*/ 53828 w 154062"/>
                  <a:gd name="connsiteY9" fmla="*/ 74360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4062" h="76915">
                    <a:moveTo>
                      <a:pt x="53828" y="74360"/>
                    </a:moveTo>
                    <a:cubicBezTo>
                      <a:pt x="53828" y="74360"/>
                      <a:pt x="72295" y="50339"/>
                      <a:pt x="100348" y="41908"/>
                    </a:cubicBezTo>
                    <a:cubicBezTo>
                      <a:pt x="128401" y="33477"/>
                      <a:pt x="153739" y="22746"/>
                      <a:pt x="151677" y="5873"/>
                    </a:cubicBezTo>
                    <a:cubicBezTo>
                      <a:pt x="151677" y="5873"/>
                      <a:pt x="109934" y="-14543"/>
                      <a:pt x="42200" y="8172"/>
                    </a:cubicBezTo>
                    <a:lnTo>
                      <a:pt x="42200" y="1025"/>
                    </a:lnTo>
                    <a:lnTo>
                      <a:pt x="-2268" y="2972"/>
                    </a:lnTo>
                    <a:lnTo>
                      <a:pt x="-2268" y="62023"/>
                    </a:lnTo>
                    <a:lnTo>
                      <a:pt x="34666" y="59423"/>
                    </a:lnTo>
                    <a:lnTo>
                      <a:pt x="31941" y="65265"/>
                    </a:lnTo>
                    <a:lnTo>
                      <a:pt x="53828" y="74360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5" name="Vrije vorm 2174">
                <a:extLst>
                  <a:ext uri="{FF2B5EF4-FFF2-40B4-BE49-F238E27FC236}">
                    <a16:creationId xmlns:a16="http://schemas.microsoft.com/office/drawing/2014/main" id="{8F344841-6649-9A59-7E1B-C0949663EB37}"/>
                  </a:ext>
                </a:extLst>
              </p:cNvPr>
              <p:cNvSpPr/>
              <p:nvPr/>
            </p:nvSpPr>
            <p:spPr>
              <a:xfrm flipV="1">
                <a:off x="3968834" y="2508352"/>
                <a:ext cx="154025" cy="17614"/>
              </a:xfrm>
              <a:custGeom>
                <a:avLst/>
                <a:gdLst>
                  <a:gd name="connsiteX0" fmla="*/ 71673 w 154025"/>
                  <a:gd name="connsiteY0" fmla="*/ 7376 h 17614"/>
                  <a:gd name="connsiteX1" fmla="*/ 151335 w 154025"/>
                  <a:gd name="connsiteY1" fmla="*/ 10297 h 17614"/>
                  <a:gd name="connsiteX2" fmla="*/ 151677 w 154025"/>
                  <a:gd name="connsiteY2" fmla="*/ 5905 h 17614"/>
                  <a:gd name="connsiteX3" fmla="*/ 42200 w 154025"/>
                  <a:gd name="connsiteY3" fmla="*/ 8204 h 17614"/>
                  <a:gd name="connsiteX4" fmla="*/ 42200 w 154025"/>
                  <a:gd name="connsiteY4" fmla="*/ 1058 h 17614"/>
                  <a:gd name="connsiteX5" fmla="*/ -2268 w 154025"/>
                  <a:gd name="connsiteY5" fmla="*/ 3005 h 17614"/>
                  <a:gd name="connsiteX6" fmla="*/ -2268 w 154025"/>
                  <a:gd name="connsiteY6" fmla="*/ 14782 h 17614"/>
                  <a:gd name="connsiteX7" fmla="*/ 71673 w 154025"/>
                  <a:gd name="connsiteY7" fmla="*/ 7376 h 17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025" h="17614">
                    <a:moveTo>
                      <a:pt x="71673" y="7376"/>
                    </a:moveTo>
                    <a:cubicBezTo>
                      <a:pt x="132370" y="-8223"/>
                      <a:pt x="147780" y="9095"/>
                      <a:pt x="151335" y="10297"/>
                    </a:cubicBezTo>
                    <a:cubicBezTo>
                      <a:pt x="151718" y="8836"/>
                      <a:pt x="151863" y="7366"/>
                      <a:pt x="151677" y="5905"/>
                    </a:cubicBezTo>
                    <a:cubicBezTo>
                      <a:pt x="151677" y="5905"/>
                      <a:pt x="109934" y="-14511"/>
                      <a:pt x="42200" y="8204"/>
                    </a:cubicBezTo>
                    <a:lnTo>
                      <a:pt x="42200" y="1058"/>
                    </a:lnTo>
                    <a:lnTo>
                      <a:pt x="-2268" y="3005"/>
                    </a:lnTo>
                    <a:lnTo>
                      <a:pt x="-2268" y="14782"/>
                    </a:lnTo>
                    <a:cubicBezTo>
                      <a:pt x="13598" y="13829"/>
                      <a:pt x="26914" y="18884"/>
                      <a:pt x="71673" y="7376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6" name="Vrije vorm 2175">
                <a:extLst>
                  <a:ext uri="{FF2B5EF4-FFF2-40B4-BE49-F238E27FC236}">
                    <a16:creationId xmlns:a16="http://schemas.microsoft.com/office/drawing/2014/main" id="{6FB580B9-DED5-3F08-4A37-5D6C3995B742}"/>
                  </a:ext>
                </a:extLst>
              </p:cNvPr>
              <p:cNvSpPr/>
              <p:nvPr/>
            </p:nvSpPr>
            <p:spPr>
              <a:xfrm flipV="1">
                <a:off x="4017158" y="2461390"/>
                <a:ext cx="23928" cy="22058"/>
              </a:xfrm>
              <a:custGeom>
                <a:avLst/>
                <a:gdLst>
                  <a:gd name="connsiteX0" fmla="*/ -638 w 23928"/>
                  <a:gd name="connsiteY0" fmla="*/ -2573 h 22058"/>
                  <a:gd name="connsiteX1" fmla="*/ 979 w 23928"/>
                  <a:gd name="connsiteY1" fmla="*/ -1713 h 22058"/>
                  <a:gd name="connsiteX2" fmla="*/ 20379 w 23928"/>
                  <a:gd name="connsiteY2" fmla="*/ 15699 h 22058"/>
                  <a:gd name="connsiteX3" fmla="*/ 21560 w 23928"/>
                  <a:gd name="connsiteY3" fmla="*/ 18195 h 22058"/>
                  <a:gd name="connsiteX4" fmla="*/ 19063 w 23928"/>
                  <a:gd name="connsiteY4" fmla="*/ 19376 h 22058"/>
                  <a:gd name="connsiteX5" fmla="*/ -2254 w 23928"/>
                  <a:gd name="connsiteY5" fmla="*/ 462 h 22058"/>
                  <a:gd name="connsiteX6" fmla="*/ -1726 w 23928"/>
                  <a:gd name="connsiteY6" fmla="*/ -2241 h 22058"/>
                  <a:gd name="connsiteX7" fmla="*/ -638 w 23928"/>
                  <a:gd name="connsiteY7" fmla="*/ -257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8" h="22058">
                    <a:moveTo>
                      <a:pt x="-638" y="-2573"/>
                    </a:moveTo>
                    <a:lnTo>
                      <a:pt x="979" y="-1713"/>
                    </a:lnTo>
                    <a:cubicBezTo>
                      <a:pt x="10098" y="11877"/>
                      <a:pt x="20275" y="15668"/>
                      <a:pt x="20379" y="15699"/>
                    </a:cubicBezTo>
                    <a:cubicBezTo>
                      <a:pt x="21394" y="16072"/>
                      <a:pt x="21923" y="17190"/>
                      <a:pt x="21560" y="18195"/>
                    </a:cubicBezTo>
                    <a:cubicBezTo>
                      <a:pt x="21187" y="19210"/>
                      <a:pt x="20068" y="19728"/>
                      <a:pt x="19063" y="19376"/>
                    </a:cubicBezTo>
                    <a:cubicBezTo>
                      <a:pt x="18596" y="19200"/>
                      <a:pt x="7560" y="15098"/>
                      <a:pt x="-2254" y="462"/>
                    </a:cubicBezTo>
                    <a:lnTo>
                      <a:pt x="-1726" y="-2241"/>
                    </a:lnTo>
                    <a:lnTo>
                      <a:pt x="-638" y="-257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7" name="Vrije vorm 2176">
                <a:extLst>
                  <a:ext uri="{FF2B5EF4-FFF2-40B4-BE49-F238E27FC236}">
                    <a16:creationId xmlns:a16="http://schemas.microsoft.com/office/drawing/2014/main" id="{9AED3979-3B35-34D9-C159-D64930DD35C9}"/>
                  </a:ext>
                </a:extLst>
              </p:cNvPr>
              <p:cNvSpPr/>
              <p:nvPr/>
            </p:nvSpPr>
            <p:spPr>
              <a:xfrm flipV="1">
                <a:off x="4027334" y="2465958"/>
                <a:ext cx="23930" cy="22069"/>
              </a:xfrm>
              <a:custGeom>
                <a:avLst/>
                <a:gdLst>
                  <a:gd name="connsiteX0" fmla="*/ -646 w 23930"/>
                  <a:gd name="connsiteY0" fmla="*/ -2568 h 22069"/>
                  <a:gd name="connsiteX1" fmla="*/ 971 w 23930"/>
                  <a:gd name="connsiteY1" fmla="*/ -1698 h 22069"/>
                  <a:gd name="connsiteX2" fmla="*/ 20381 w 23930"/>
                  <a:gd name="connsiteY2" fmla="*/ 15714 h 22069"/>
                  <a:gd name="connsiteX3" fmla="*/ 21552 w 23930"/>
                  <a:gd name="connsiteY3" fmla="*/ 18211 h 22069"/>
                  <a:gd name="connsiteX4" fmla="*/ 19054 w 23930"/>
                  <a:gd name="connsiteY4" fmla="*/ 19391 h 22069"/>
                  <a:gd name="connsiteX5" fmla="*/ -2263 w 23930"/>
                  <a:gd name="connsiteY5" fmla="*/ 477 h 22069"/>
                  <a:gd name="connsiteX6" fmla="*/ -1734 w 23930"/>
                  <a:gd name="connsiteY6" fmla="*/ -2236 h 22069"/>
                  <a:gd name="connsiteX7" fmla="*/ -646 w 23930"/>
                  <a:gd name="connsiteY7" fmla="*/ -2568 h 2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9">
                    <a:moveTo>
                      <a:pt x="-646" y="-2568"/>
                    </a:moveTo>
                    <a:lnTo>
                      <a:pt x="971" y="-1698"/>
                    </a:lnTo>
                    <a:cubicBezTo>
                      <a:pt x="10090" y="11892"/>
                      <a:pt x="20277" y="15673"/>
                      <a:pt x="20381" y="15714"/>
                    </a:cubicBezTo>
                    <a:cubicBezTo>
                      <a:pt x="21396" y="16077"/>
                      <a:pt x="21915" y="17195"/>
                      <a:pt x="21552" y="18211"/>
                    </a:cubicBezTo>
                    <a:cubicBezTo>
                      <a:pt x="21189" y="19226"/>
                      <a:pt x="20059" y="19743"/>
                      <a:pt x="19054" y="19391"/>
                    </a:cubicBezTo>
                    <a:cubicBezTo>
                      <a:pt x="18588" y="19226"/>
                      <a:pt x="7561" y="15113"/>
                      <a:pt x="-2263" y="477"/>
                    </a:cubicBezTo>
                    <a:lnTo>
                      <a:pt x="-1734" y="-2236"/>
                    </a:lnTo>
                    <a:lnTo>
                      <a:pt x="-646" y="-256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8" name="Vrije vorm 2177">
                <a:extLst>
                  <a:ext uri="{FF2B5EF4-FFF2-40B4-BE49-F238E27FC236}">
                    <a16:creationId xmlns:a16="http://schemas.microsoft.com/office/drawing/2014/main" id="{849E6182-8A00-5781-6A64-34DAA201F478}"/>
                  </a:ext>
                </a:extLst>
              </p:cNvPr>
              <p:cNvSpPr/>
              <p:nvPr/>
            </p:nvSpPr>
            <p:spPr>
              <a:xfrm flipV="1">
                <a:off x="4037511" y="2470470"/>
                <a:ext cx="23930" cy="22062"/>
              </a:xfrm>
              <a:custGeom>
                <a:avLst/>
                <a:gdLst>
                  <a:gd name="connsiteX0" fmla="*/ -655 w 23930"/>
                  <a:gd name="connsiteY0" fmla="*/ -2563 h 22062"/>
                  <a:gd name="connsiteX1" fmla="*/ 972 w 23930"/>
                  <a:gd name="connsiteY1" fmla="*/ -1703 h 22062"/>
                  <a:gd name="connsiteX2" fmla="*/ 20372 w 23930"/>
                  <a:gd name="connsiteY2" fmla="*/ 15719 h 22062"/>
                  <a:gd name="connsiteX3" fmla="*/ 21543 w 23930"/>
                  <a:gd name="connsiteY3" fmla="*/ 18215 h 22062"/>
                  <a:gd name="connsiteX4" fmla="*/ 19046 w 23930"/>
                  <a:gd name="connsiteY4" fmla="*/ 19386 h 22062"/>
                  <a:gd name="connsiteX5" fmla="*/ -2271 w 23930"/>
                  <a:gd name="connsiteY5" fmla="*/ 472 h 22062"/>
                  <a:gd name="connsiteX6" fmla="*/ -1732 w 23930"/>
                  <a:gd name="connsiteY6" fmla="*/ -2231 h 22062"/>
                  <a:gd name="connsiteX7" fmla="*/ -655 w 23930"/>
                  <a:gd name="connsiteY7" fmla="*/ -2563 h 2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2">
                    <a:moveTo>
                      <a:pt x="-655" y="-2563"/>
                    </a:moveTo>
                    <a:lnTo>
                      <a:pt x="972" y="-1703"/>
                    </a:lnTo>
                    <a:cubicBezTo>
                      <a:pt x="10030" y="11804"/>
                      <a:pt x="20279" y="15678"/>
                      <a:pt x="20372" y="15719"/>
                    </a:cubicBezTo>
                    <a:cubicBezTo>
                      <a:pt x="21388" y="16092"/>
                      <a:pt x="21906" y="17210"/>
                      <a:pt x="21543" y="18215"/>
                    </a:cubicBezTo>
                    <a:cubicBezTo>
                      <a:pt x="21170" y="19220"/>
                      <a:pt x="20051" y="19748"/>
                      <a:pt x="19046" y="19386"/>
                    </a:cubicBezTo>
                    <a:cubicBezTo>
                      <a:pt x="18579" y="19220"/>
                      <a:pt x="7553" y="15108"/>
                      <a:pt x="-2271" y="472"/>
                    </a:cubicBezTo>
                    <a:lnTo>
                      <a:pt x="-1732" y="-2231"/>
                    </a:lnTo>
                    <a:lnTo>
                      <a:pt x="-655" y="-256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9" name="Vrije vorm 2178">
                <a:extLst>
                  <a:ext uri="{FF2B5EF4-FFF2-40B4-BE49-F238E27FC236}">
                    <a16:creationId xmlns:a16="http://schemas.microsoft.com/office/drawing/2014/main" id="{07439461-02AE-A3DD-B2E7-5D95B6725AC5}"/>
                  </a:ext>
                </a:extLst>
              </p:cNvPr>
              <p:cNvSpPr/>
              <p:nvPr/>
            </p:nvSpPr>
            <p:spPr>
              <a:xfrm flipV="1">
                <a:off x="3771239" y="2397861"/>
                <a:ext cx="46281" cy="90725"/>
              </a:xfrm>
              <a:custGeom>
                <a:avLst/>
                <a:gdLst>
                  <a:gd name="connsiteX0" fmla="*/ 44224 w 46281"/>
                  <a:gd name="connsiteY0" fmla="*/ 80808 h 90725"/>
                  <a:gd name="connsiteX1" fmla="*/ 30348 w 46281"/>
                  <a:gd name="connsiteY1" fmla="*/ -2605 h 90725"/>
                  <a:gd name="connsiteX2" fmla="*/ -2058 w 46281"/>
                  <a:gd name="connsiteY2" fmla="*/ -2605 h 90725"/>
                  <a:gd name="connsiteX3" fmla="*/ 8782 w 46281"/>
                  <a:gd name="connsiteY3" fmla="*/ 88121 h 90725"/>
                  <a:gd name="connsiteX4" fmla="*/ 44224 w 46281"/>
                  <a:gd name="connsiteY4" fmla="*/ 8080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81" h="90725">
                    <a:moveTo>
                      <a:pt x="44224" y="80808"/>
                    </a:moveTo>
                    <a:lnTo>
                      <a:pt x="30348" y="-2605"/>
                    </a:lnTo>
                    <a:lnTo>
                      <a:pt x="-2058" y="-2605"/>
                    </a:lnTo>
                    <a:lnTo>
                      <a:pt x="8782" y="88121"/>
                    </a:lnTo>
                    <a:lnTo>
                      <a:pt x="44224" y="8080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0" name="Vrije vorm 2179">
                <a:extLst>
                  <a:ext uri="{FF2B5EF4-FFF2-40B4-BE49-F238E27FC236}">
                    <a16:creationId xmlns:a16="http://schemas.microsoft.com/office/drawing/2014/main" id="{EEC07634-47E1-0806-1C4D-FABB20A4FCB8}"/>
                  </a:ext>
                </a:extLst>
              </p:cNvPr>
              <p:cNvSpPr/>
              <p:nvPr/>
            </p:nvSpPr>
            <p:spPr>
              <a:xfrm flipV="1">
                <a:off x="3660393" y="2449050"/>
                <a:ext cx="157127" cy="76915"/>
              </a:xfrm>
              <a:custGeom>
                <a:avLst/>
                <a:gdLst>
                  <a:gd name="connsiteX0" fmla="*/ 99020 w 157127"/>
                  <a:gd name="connsiteY0" fmla="*/ 74360 h 76915"/>
                  <a:gd name="connsiteX1" fmla="*/ 52500 w 157127"/>
                  <a:gd name="connsiteY1" fmla="*/ 41908 h 76915"/>
                  <a:gd name="connsiteX2" fmla="*/ -1907 w 157127"/>
                  <a:gd name="connsiteY2" fmla="*/ 5873 h 76915"/>
                  <a:gd name="connsiteX3" fmla="*/ 110648 w 157127"/>
                  <a:gd name="connsiteY3" fmla="*/ 8172 h 76915"/>
                  <a:gd name="connsiteX4" fmla="*/ 110648 w 157127"/>
                  <a:gd name="connsiteY4" fmla="*/ 1025 h 76915"/>
                  <a:gd name="connsiteX5" fmla="*/ 155116 w 157127"/>
                  <a:gd name="connsiteY5" fmla="*/ 2972 h 76915"/>
                  <a:gd name="connsiteX6" fmla="*/ 155116 w 157127"/>
                  <a:gd name="connsiteY6" fmla="*/ 62023 h 76915"/>
                  <a:gd name="connsiteX7" fmla="*/ 118171 w 157127"/>
                  <a:gd name="connsiteY7" fmla="*/ 59423 h 76915"/>
                  <a:gd name="connsiteX8" fmla="*/ 120907 w 157127"/>
                  <a:gd name="connsiteY8" fmla="*/ 65265 h 76915"/>
                  <a:gd name="connsiteX9" fmla="*/ 99020 w 157127"/>
                  <a:gd name="connsiteY9" fmla="*/ 74360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7127" h="76915">
                    <a:moveTo>
                      <a:pt x="99020" y="74360"/>
                    </a:moveTo>
                    <a:cubicBezTo>
                      <a:pt x="99020" y="74360"/>
                      <a:pt x="80543" y="50339"/>
                      <a:pt x="52500" y="41908"/>
                    </a:cubicBezTo>
                    <a:cubicBezTo>
                      <a:pt x="24447" y="33477"/>
                      <a:pt x="-3959" y="22746"/>
                      <a:pt x="-1907" y="5873"/>
                    </a:cubicBezTo>
                    <a:cubicBezTo>
                      <a:pt x="-1907" y="5873"/>
                      <a:pt x="42914" y="-14543"/>
                      <a:pt x="110648" y="8172"/>
                    </a:cubicBezTo>
                    <a:lnTo>
                      <a:pt x="110648" y="1025"/>
                    </a:lnTo>
                    <a:lnTo>
                      <a:pt x="155116" y="2972"/>
                    </a:lnTo>
                    <a:lnTo>
                      <a:pt x="155116" y="62023"/>
                    </a:lnTo>
                    <a:lnTo>
                      <a:pt x="118171" y="59423"/>
                    </a:lnTo>
                    <a:lnTo>
                      <a:pt x="120907" y="65265"/>
                    </a:lnTo>
                    <a:lnTo>
                      <a:pt x="99020" y="74360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1" name="Vrije vorm 2180">
                <a:extLst>
                  <a:ext uri="{FF2B5EF4-FFF2-40B4-BE49-F238E27FC236}">
                    <a16:creationId xmlns:a16="http://schemas.microsoft.com/office/drawing/2014/main" id="{F015E664-BD19-F37B-DC9F-7368BE723372}"/>
                  </a:ext>
                </a:extLst>
              </p:cNvPr>
              <p:cNvSpPr/>
              <p:nvPr/>
            </p:nvSpPr>
            <p:spPr>
              <a:xfrm flipV="1">
                <a:off x="3660417" y="2505584"/>
                <a:ext cx="157103" cy="20381"/>
              </a:xfrm>
              <a:custGeom>
                <a:avLst/>
                <a:gdLst>
                  <a:gd name="connsiteX0" fmla="*/ 71928 w 157103"/>
                  <a:gd name="connsiteY0" fmla="*/ 4308 h 20381"/>
                  <a:gd name="connsiteX1" fmla="*/ -1589 w 157103"/>
                  <a:gd name="connsiteY1" fmla="*/ 10295 h 20381"/>
                  <a:gd name="connsiteX2" fmla="*/ -1931 w 157103"/>
                  <a:gd name="connsiteY2" fmla="*/ 5904 h 20381"/>
                  <a:gd name="connsiteX3" fmla="*/ 110624 w 157103"/>
                  <a:gd name="connsiteY3" fmla="*/ 8203 h 20381"/>
                  <a:gd name="connsiteX4" fmla="*/ 110624 w 157103"/>
                  <a:gd name="connsiteY4" fmla="*/ 1056 h 20381"/>
                  <a:gd name="connsiteX5" fmla="*/ 155092 w 157103"/>
                  <a:gd name="connsiteY5" fmla="*/ 3003 h 20381"/>
                  <a:gd name="connsiteX6" fmla="*/ 155092 w 157103"/>
                  <a:gd name="connsiteY6" fmla="*/ 17857 h 20381"/>
                  <a:gd name="connsiteX7" fmla="*/ 71928 w 157103"/>
                  <a:gd name="connsiteY7" fmla="*/ 4308 h 20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03" h="20381">
                    <a:moveTo>
                      <a:pt x="71928" y="4308"/>
                    </a:moveTo>
                    <a:cubicBezTo>
                      <a:pt x="29314" y="-2393"/>
                      <a:pt x="1966" y="9094"/>
                      <a:pt x="-1589" y="10295"/>
                    </a:cubicBezTo>
                    <a:cubicBezTo>
                      <a:pt x="-1972" y="8835"/>
                      <a:pt x="-2117" y="7364"/>
                      <a:pt x="-1931" y="5904"/>
                    </a:cubicBezTo>
                    <a:cubicBezTo>
                      <a:pt x="-1931" y="5904"/>
                      <a:pt x="42890" y="-14512"/>
                      <a:pt x="110624" y="8203"/>
                    </a:cubicBezTo>
                    <a:lnTo>
                      <a:pt x="110624" y="1056"/>
                    </a:lnTo>
                    <a:lnTo>
                      <a:pt x="155092" y="3003"/>
                    </a:lnTo>
                    <a:lnTo>
                      <a:pt x="155092" y="17857"/>
                    </a:lnTo>
                    <a:cubicBezTo>
                      <a:pt x="139216" y="16893"/>
                      <a:pt x="112841" y="10741"/>
                      <a:pt x="71928" y="43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2" name="Vrije vorm 2181">
                <a:extLst>
                  <a:ext uri="{FF2B5EF4-FFF2-40B4-BE49-F238E27FC236}">
                    <a16:creationId xmlns:a16="http://schemas.microsoft.com/office/drawing/2014/main" id="{7E837022-0899-43EC-2719-59AE819551BF}"/>
                  </a:ext>
                </a:extLst>
              </p:cNvPr>
              <p:cNvSpPr/>
              <p:nvPr/>
            </p:nvSpPr>
            <p:spPr>
              <a:xfrm flipV="1">
                <a:off x="3745269" y="2461390"/>
                <a:ext cx="23929" cy="22058"/>
              </a:xfrm>
              <a:custGeom>
                <a:avLst/>
                <a:gdLst>
                  <a:gd name="connsiteX0" fmla="*/ 20285 w 23929"/>
                  <a:gd name="connsiteY0" fmla="*/ -2573 h 22058"/>
                  <a:gd name="connsiteX1" fmla="*/ 18658 w 23929"/>
                  <a:gd name="connsiteY1" fmla="*/ -1713 h 22058"/>
                  <a:gd name="connsiteX2" fmla="*/ -742 w 23929"/>
                  <a:gd name="connsiteY2" fmla="*/ 15699 h 22058"/>
                  <a:gd name="connsiteX3" fmla="*/ -1912 w 23929"/>
                  <a:gd name="connsiteY3" fmla="*/ 18195 h 22058"/>
                  <a:gd name="connsiteX4" fmla="*/ 585 w 23929"/>
                  <a:gd name="connsiteY4" fmla="*/ 19376 h 22058"/>
                  <a:gd name="connsiteX5" fmla="*/ 21902 w 23929"/>
                  <a:gd name="connsiteY5" fmla="*/ 462 h 22058"/>
                  <a:gd name="connsiteX6" fmla="*/ 21374 w 23929"/>
                  <a:gd name="connsiteY6" fmla="*/ -2241 h 22058"/>
                  <a:gd name="connsiteX7" fmla="*/ 20285 w 23929"/>
                  <a:gd name="connsiteY7" fmla="*/ -257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9" h="22058">
                    <a:moveTo>
                      <a:pt x="20285" y="-2573"/>
                    </a:moveTo>
                    <a:lnTo>
                      <a:pt x="18658" y="-1713"/>
                    </a:lnTo>
                    <a:cubicBezTo>
                      <a:pt x="9549" y="11877"/>
                      <a:pt x="-638" y="15668"/>
                      <a:pt x="-742" y="15699"/>
                    </a:cubicBezTo>
                    <a:cubicBezTo>
                      <a:pt x="-1747" y="16072"/>
                      <a:pt x="-2275" y="17190"/>
                      <a:pt x="-1912" y="18195"/>
                    </a:cubicBezTo>
                    <a:cubicBezTo>
                      <a:pt x="-1539" y="19210"/>
                      <a:pt x="-420" y="19728"/>
                      <a:pt x="585" y="19376"/>
                    </a:cubicBezTo>
                    <a:cubicBezTo>
                      <a:pt x="1051" y="19200"/>
                      <a:pt x="12088" y="15098"/>
                      <a:pt x="21902" y="462"/>
                    </a:cubicBezTo>
                    <a:lnTo>
                      <a:pt x="21374" y="-2241"/>
                    </a:lnTo>
                    <a:lnTo>
                      <a:pt x="20285" y="-257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3" name="Vrije vorm 2182">
                <a:extLst>
                  <a:ext uri="{FF2B5EF4-FFF2-40B4-BE49-F238E27FC236}">
                    <a16:creationId xmlns:a16="http://schemas.microsoft.com/office/drawing/2014/main" id="{F9BB557D-5FE9-E8CD-11EA-1EDC82838B80}"/>
                  </a:ext>
                </a:extLst>
              </p:cNvPr>
              <p:cNvSpPr/>
              <p:nvPr/>
            </p:nvSpPr>
            <p:spPr>
              <a:xfrm flipV="1">
                <a:off x="3735087" y="2465958"/>
                <a:ext cx="23934" cy="22069"/>
              </a:xfrm>
              <a:custGeom>
                <a:avLst/>
                <a:gdLst>
                  <a:gd name="connsiteX0" fmla="*/ 20299 w 23934"/>
                  <a:gd name="connsiteY0" fmla="*/ -2568 h 22069"/>
                  <a:gd name="connsiteX1" fmla="*/ 18672 w 23934"/>
                  <a:gd name="connsiteY1" fmla="*/ -1698 h 22069"/>
                  <a:gd name="connsiteX2" fmla="*/ -728 w 23934"/>
                  <a:gd name="connsiteY2" fmla="*/ 15714 h 22069"/>
                  <a:gd name="connsiteX3" fmla="*/ -1899 w 23934"/>
                  <a:gd name="connsiteY3" fmla="*/ 18211 h 22069"/>
                  <a:gd name="connsiteX4" fmla="*/ 599 w 23934"/>
                  <a:gd name="connsiteY4" fmla="*/ 19391 h 22069"/>
                  <a:gd name="connsiteX5" fmla="*/ 21916 w 23934"/>
                  <a:gd name="connsiteY5" fmla="*/ 477 h 22069"/>
                  <a:gd name="connsiteX6" fmla="*/ 21387 w 23934"/>
                  <a:gd name="connsiteY6" fmla="*/ -2236 h 22069"/>
                  <a:gd name="connsiteX7" fmla="*/ 20299 w 23934"/>
                  <a:gd name="connsiteY7" fmla="*/ -2568 h 2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4" h="22069">
                    <a:moveTo>
                      <a:pt x="20299" y="-2568"/>
                    </a:moveTo>
                    <a:lnTo>
                      <a:pt x="18672" y="-1698"/>
                    </a:lnTo>
                    <a:cubicBezTo>
                      <a:pt x="9563" y="11892"/>
                      <a:pt x="-624" y="15673"/>
                      <a:pt x="-728" y="15714"/>
                    </a:cubicBezTo>
                    <a:cubicBezTo>
                      <a:pt x="-1743" y="16077"/>
                      <a:pt x="-2272" y="17195"/>
                      <a:pt x="-1899" y="18211"/>
                    </a:cubicBezTo>
                    <a:cubicBezTo>
                      <a:pt x="-1536" y="19226"/>
                      <a:pt x="-406" y="19743"/>
                      <a:pt x="599" y="19391"/>
                    </a:cubicBezTo>
                    <a:cubicBezTo>
                      <a:pt x="1065" y="19226"/>
                      <a:pt x="12092" y="15113"/>
                      <a:pt x="21916" y="477"/>
                    </a:cubicBezTo>
                    <a:lnTo>
                      <a:pt x="21387" y="-2236"/>
                    </a:lnTo>
                    <a:lnTo>
                      <a:pt x="20299" y="-256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4" name="Vrije vorm 2183">
                <a:extLst>
                  <a:ext uri="{FF2B5EF4-FFF2-40B4-BE49-F238E27FC236}">
                    <a16:creationId xmlns:a16="http://schemas.microsoft.com/office/drawing/2014/main" id="{3A8837B4-9412-DE7B-157B-0F1409EC1B8D}"/>
                  </a:ext>
                </a:extLst>
              </p:cNvPr>
              <p:cNvSpPr/>
              <p:nvPr/>
            </p:nvSpPr>
            <p:spPr>
              <a:xfrm flipV="1">
                <a:off x="3724910" y="2470470"/>
                <a:ext cx="23923" cy="22062"/>
              </a:xfrm>
              <a:custGeom>
                <a:avLst/>
                <a:gdLst>
                  <a:gd name="connsiteX0" fmla="*/ 20297 w 23923"/>
                  <a:gd name="connsiteY0" fmla="*/ -2563 h 22062"/>
                  <a:gd name="connsiteX1" fmla="*/ 18681 w 23923"/>
                  <a:gd name="connsiteY1" fmla="*/ -1703 h 22062"/>
                  <a:gd name="connsiteX2" fmla="*/ -729 w 23923"/>
                  <a:gd name="connsiteY2" fmla="*/ 15719 h 22062"/>
                  <a:gd name="connsiteX3" fmla="*/ -1890 w 23923"/>
                  <a:gd name="connsiteY3" fmla="*/ 18215 h 22062"/>
                  <a:gd name="connsiteX4" fmla="*/ 597 w 23923"/>
                  <a:gd name="connsiteY4" fmla="*/ 19386 h 22062"/>
                  <a:gd name="connsiteX5" fmla="*/ 21914 w 23923"/>
                  <a:gd name="connsiteY5" fmla="*/ 472 h 22062"/>
                  <a:gd name="connsiteX6" fmla="*/ 21385 w 23923"/>
                  <a:gd name="connsiteY6" fmla="*/ -2231 h 22062"/>
                  <a:gd name="connsiteX7" fmla="*/ 20297 w 23923"/>
                  <a:gd name="connsiteY7" fmla="*/ -2563 h 2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3" h="22062">
                    <a:moveTo>
                      <a:pt x="20297" y="-2563"/>
                    </a:moveTo>
                    <a:lnTo>
                      <a:pt x="18681" y="-1703"/>
                    </a:lnTo>
                    <a:cubicBezTo>
                      <a:pt x="9623" y="11804"/>
                      <a:pt x="-626" y="15678"/>
                      <a:pt x="-729" y="15719"/>
                    </a:cubicBezTo>
                    <a:cubicBezTo>
                      <a:pt x="-1735" y="16092"/>
                      <a:pt x="-2263" y="17210"/>
                      <a:pt x="-1890" y="18215"/>
                    </a:cubicBezTo>
                    <a:cubicBezTo>
                      <a:pt x="-1517" y="19220"/>
                      <a:pt x="-398" y="19748"/>
                      <a:pt x="597" y="19386"/>
                    </a:cubicBezTo>
                    <a:cubicBezTo>
                      <a:pt x="1074" y="19220"/>
                      <a:pt x="12100" y="15108"/>
                      <a:pt x="21914" y="472"/>
                    </a:cubicBezTo>
                    <a:lnTo>
                      <a:pt x="21385" y="-2231"/>
                    </a:lnTo>
                    <a:lnTo>
                      <a:pt x="20297" y="-256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5" name="Vrije vorm 2184">
                <a:extLst>
                  <a:ext uri="{FF2B5EF4-FFF2-40B4-BE49-F238E27FC236}">
                    <a16:creationId xmlns:a16="http://schemas.microsoft.com/office/drawing/2014/main" id="{33B03FB8-1F2C-845F-27ED-B5587803D134}"/>
                  </a:ext>
                </a:extLst>
              </p:cNvPr>
              <p:cNvSpPr/>
              <p:nvPr/>
            </p:nvSpPr>
            <p:spPr>
              <a:xfrm flipV="1">
                <a:off x="3753881" y="1725721"/>
                <a:ext cx="274592" cy="732766"/>
              </a:xfrm>
              <a:custGeom>
                <a:avLst/>
                <a:gdLst>
                  <a:gd name="connsiteX0" fmla="*/ 204917 w 274592"/>
                  <a:gd name="connsiteY0" fmla="*/ 716696 h 732766"/>
                  <a:gd name="connsiteX1" fmla="*/ 238649 w 274592"/>
                  <a:gd name="connsiteY1" fmla="*/ 313987 h 732766"/>
                  <a:gd name="connsiteX2" fmla="*/ 272454 w 274592"/>
                  <a:gd name="connsiteY2" fmla="*/ 19043 h 732766"/>
                  <a:gd name="connsiteX3" fmla="*/ 194585 w 274592"/>
                  <a:gd name="connsiteY3" fmla="*/ 6749 h 732766"/>
                  <a:gd name="connsiteX4" fmla="*/ 148479 w 274592"/>
                  <a:gd name="connsiteY4" fmla="*/ 295550 h 732766"/>
                  <a:gd name="connsiteX5" fmla="*/ 111597 w 274592"/>
                  <a:gd name="connsiteY5" fmla="*/ 570016 h 732766"/>
                  <a:gd name="connsiteX6" fmla="*/ 91098 w 274592"/>
                  <a:gd name="connsiteY6" fmla="*/ 570016 h 732766"/>
                  <a:gd name="connsiteX7" fmla="*/ 73678 w 274592"/>
                  <a:gd name="connsiteY7" fmla="*/ 6749 h 732766"/>
                  <a:gd name="connsiteX8" fmla="*/ -2139 w 274592"/>
                  <a:gd name="connsiteY8" fmla="*/ 4708 h 732766"/>
                  <a:gd name="connsiteX9" fmla="*/ 4006 w 274592"/>
                  <a:gd name="connsiteY9" fmla="*/ 729778 h 732766"/>
                  <a:gd name="connsiteX10" fmla="*/ 204917 w 274592"/>
                  <a:gd name="connsiteY10" fmla="*/ 716696 h 732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4592" h="732766">
                    <a:moveTo>
                      <a:pt x="204917" y="716696"/>
                    </a:moveTo>
                    <a:lnTo>
                      <a:pt x="238649" y="313987"/>
                    </a:lnTo>
                    <a:lnTo>
                      <a:pt x="272454" y="19043"/>
                    </a:lnTo>
                    <a:cubicBezTo>
                      <a:pt x="272454" y="19043"/>
                      <a:pt x="256070" y="-3496"/>
                      <a:pt x="194585" y="6749"/>
                    </a:cubicBezTo>
                    <a:lnTo>
                      <a:pt x="148479" y="295550"/>
                    </a:lnTo>
                    <a:lnTo>
                      <a:pt x="111597" y="570016"/>
                    </a:lnTo>
                    <a:lnTo>
                      <a:pt x="91098" y="570016"/>
                    </a:lnTo>
                    <a:lnTo>
                      <a:pt x="73678" y="6749"/>
                    </a:lnTo>
                    <a:cubicBezTo>
                      <a:pt x="73678" y="6749"/>
                      <a:pt x="47034" y="-13729"/>
                      <a:pt x="-2139" y="4708"/>
                    </a:cubicBezTo>
                    <a:lnTo>
                      <a:pt x="4006" y="729778"/>
                    </a:lnTo>
                    <a:lnTo>
                      <a:pt x="204917" y="716696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6" name="Vrije vorm 2185">
                <a:extLst>
                  <a:ext uri="{FF2B5EF4-FFF2-40B4-BE49-F238E27FC236}">
                    <a16:creationId xmlns:a16="http://schemas.microsoft.com/office/drawing/2014/main" id="{BECDB975-821C-692D-01DE-7C7180F05C64}"/>
                  </a:ext>
                </a:extLst>
              </p:cNvPr>
              <p:cNvSpPr/>
              <p:nvPr/>
            </p:nvSpPr>
            <p:spPr>
              <a:xfrm flipV="1">
                <a:off x="3847118" y="1306335"/>
                <a:ext cx="71754" cy="148616"/>
              </a:xfrm>
              <a:custGeom>
                <a:avLst/>
                <a:gdLst>
                  <a:gd name="connsiteX0" fmla="*/ -2132 w 71754"/>
                  <a:gd name="connsiteY0" fmla="*/ 110616 h 148616"/>
                  <a:gd name="connsiteX1" fmla="*/ 624 w 71754"/>
                  <a:gd name="connsiteY1" fmla="*/ -3767 h 148616"/>
                  <a:gd name="connsiteX2" fmla="*/ 69622 w 71754"/>
                  <a:gd name="connsiteY2" fmla="*/ 27058 h 148616"/>
                  <a:gd name="connsiteX3" fmla="*/ 67446 w 71754"/>
                  <a:gd name="connsiteY3" fmla="*/ 144849 h 148616"/>
                  <a:gd name="connsiteX4" fmla="*/ -2132 w 71754"/>
                  <a:gd name="connsiteY4" fmla="*/ 11061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-2132" y="110616"/>
                    </a:moveTo>
                    <a:lnTo>
                      <a:pt x="624" y="-3767"/>
                    </a:lnTo>
                    <a:lnTo>
                      <a:pt x="69622" y="27058"/>
                    </a:lnTo>
                    <a:lnTo>
                      <a:pt x="67446" y="144849"/>
                    </a:lnTo>
                    <a:lnTo>
                      <a:pt x="-2132" y="11061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7" name="Vrije vorm 2186">
                <a:extLst>
                  <a:ext uri="{FF2B5EF4-FFF2-40B4-BE49-F238E27FC236}">
                    <a16:creationId xmlns:a16="http://schemas.microsoft.com/office/drawing/2014/main" id="{F64C87EA-70C9-3D9B-A9D6-5DE729C2A05A}"/>
                  </a:ext>
                </a:extLst>
              </p:cNvPr>
              <p:cNvSpPr/>
              <p:nvPr/>
            </p:nvSpPr>
            <p:spPr>
              <a:xfrm flipV="1">
                <a:off x="3734958" y="1382383"/>
                <a:ext cx="319165" cy="371257"/>
              </a:xfrm>
              <a:custGeom>
                <a:avLst/>
                <a:gdLst>
                  <a:gd name="connsiteX0" fmla="*/ -1074 w 319165"/>
                  <a:gd name="connsiteY0" fmla="*/ 324719 h 371257"/>
                  <a:gd name="connsiteX1" fmla="*/ 18833 w 319165"/>
                  <a:gd name="connsiteY1" fmla="*/ 16165 h 371257"/>
                  <a:gd name="connsiteX2" fmla="*/ 150321 w 319165"/>
                  <a:gd name="connsiteY2" fmla="*/ -3236 h 371257"/>
                  <a:gd name="connsiteX3" fmla="*/ 223838 w 319165"/>
                  <a:gd name="connsiteY3" fmla="*/ 11276 h 371257"/>
                  <a:gd name="connsiteX4" fmla="*/ 317023 w 319165"/>
                  <a:gd name="connsiteY4" fmla="*/ 356912 h 371257"/>
                  <a:gd name="connsiteX5" fmla="*/ 177545 w 319165"/>
                  <a:gd name="connsiteY5" fmla="*/ 367695 h 371257"/>
                  <a:gd name="connsiteX6" fmla="*/ 137212 w 319165"/>
                  <a:gd name="connsiteY6" fmla="*/ 330344 h 371257"/>
                  <a:gd name="connsiteX7" fmla="*/ 104630 w 319165"/>
                  <a:gd name="connsiteY7" fmla="*/ 365115 h 371257"/>
                  <a:gd name="connsiteX8" fmla="*/ -2142 w 319165"/>
                  <a:gd name="connsiteY8" fmla="*/ 352634 h 371257"/>
                  <a:gd name="connsiteX9" fmla="*/ -1074 w 319165"/>
                  <a:gd name="connsiteY9" fmla="*/ 324719 h 371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9165" h="371257">
                    <a:moveTo>
                      <a:pt x="-1074" y="324719"/>
                    </a:moveTo>
                    <a:cubicBezTo>
                      <a:pt x="-1074" y="324719"/>
                      <a:pt x="5579" y="120045"/>
                      <a:pt x="18833" y="16165"/>
                    </a:cubicBezTo>
                    <a:cubicBezTo>
                      <a:pt x="18833" y="16165"/>
                      <a:pt x="69540" y="-6529"/>
                      <a:pt x="150321" y="-3236"/>
                    </a:cubicBezTo>
                    <a:cubicBezTo>
                      <a:pt x="207391" y="-915"/>
                      <a:pt x="223838" y="11276"/>
                      <a:pt x="223838" y="11276"/>
                    </a:cubicBezTo>
                    <a:lnTo>
                      <a:pt x="317023" y="356912"/>
                    </a:lnTo>
                    <a:cubicBezTo>
                      <a:pt x="317023" y="356912"/>
                      <a:pt x="264513" y="367798"/>
                      <a:pt x="177545" y="367695"/>
                    </a:cubicBezTo>
                    <a:lnTo>
                      <a:pt x="137212" y="330344"/>
                    </a:lnTo>
                    <a:cubicBezTo>
                      <a:pt x="137212" y="330344"/>
                      <a:pt x="126268" y="359346"/>
                      <a:pt x="104630" y="365115"/>
                    </a:cubicBezTo>
                    <a:cubicBezTo>
                      <a:pt x="71851" y="362857"/>
                      <a:pt x="36067" y="358921"/>
                      <a:pt x="-2142" y="352634"/>
                    </a:cubicBezTo>
                    <a:lnTo>
                      <a:pt x="-1074" y="324719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8" name="Vrije vorm 2187">
                <a:extLst>
                  <a:ext uri="{FF2B5EF4-FFF2-40B4-BE49-F238E27FC236}">
                    <a16:creationId xmlns:a16="http://schemas.microsoft.com/office/drawing/2014/main" id="{A9E2E2D5-88C4-47F9-C8A8-377153885F56}"/>
                  </a:ext>
                </a:extLst>
              </p:cNvPr>
              <p:cNvSpPr/>
              <p:nvPr/>
            </p:nvSpPr>
            <p:spPr>
              <a:xfrm flipV="1">
                <a:off x="3983456" y="1393167"/>
                <a:ext cx="151447" cy="235778"/>
              </a:xfrm>
              <a:custGeom>
                <a:avLst/>
                <a:gdLst>
                  <a:gd name="connsiteX0" fmla="*/ 73993 w 151447"/>
                  <a:gd name="connsiteY0" fmla="*/ -3625 h 235778"/>
                  <a:gd name="connsiteX1" fmla="*/ -2279 w 151447"/>
                  <a:gd name="connsiteY1" fmla="*/ 208797 h 235778"/>
                  <a:gd name="connsiteX2" fmla="*/ 68387 w 151447"/>
                  <a:gd name="connsiteY2" fmla="*/ 232154 h 235778"/>
                  <a:gd name="connsiteX3" fmla="*/ 149168 w 151447"/>
                  <a:gd name="connsiteY3" fmla="*/ 2901 h 235778"/>
                  <a:gd name="connsiteX4" fmla="*/ 73993 w 151447"/>
                  <a:gd name="connsiteY4" fmla="*/ -3625 h 235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447" h="235778">
                    <a:moveTo>
                      <a:pt x="73993" y="-3625"/>
                    </a:moveTo>
                    <a:lnTo>
                      <a:pt x="-2279" y="208797"/>
                    </a:lnTo>
                    <a:lnTo>
                      <a:pt x="68387" y="232154"/>
                    </a:lnTo>
                    <a:lnTo>
                      <a:pt x="149168" y="2901"/>
                    </a:lnTo>
                    <a:lnTo>
                      <a:pt x="73993" y="-3625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9" name="Vrije vorm 2188">
                <a:extLst>
                  <a:ext uri="{FF2B5EF4-FFF2-40B4-BE49-F238E27FC236}">
                    <a16:creationId xmlns:a16="http://schemas.microsoft.com/office/drawing/2014/main" id="{AF57E26C-C6D5-7452-6B91-D8869835032F}"/>
                  </a:ext>
                </a:extLst>
              </p:cNvPr>
              <p:cNvSpPr/>
              <p:nvPr/>
            </p:nvSpPr>
            <p:spPr>
              <a:xfrm flipV="1">
                <a:off x="3754820" y="1744586"/>
                <a:ext cx="31166" cy="29350"/>
              </a:xfrm>
              <a:custGeom>
                <a:avLst/>
                <a:gdLst>
                  <a:gd name="connsiteX0" fmla="*/ 29129 w 31166"/>
                  <a:gd name="connsiteY0" fmla="*/ 16938 h 29350"/>
                  <a:gd name="connsiteX1" fmla="*/ 3169 w 31166"/>
                  <a:gd name="connsiteY1" fmla="*/ 25660 h 29350"/>
                  <a:gd name="connsiteX2" fmla="*/ -1826 w 31166"/>
                  <a:gd name="connsiteY2" fmla="*/ 17218 h 29350"/>
                  <a:gd name="connsiteX3" fmla="*/ 3169 w 31166"/>
                  <a:gd name="connsiteY3" fmla="*/ 5244 h 29350"/>
                  <a:gd name="connsiteX4" fmla="*/ 25284 w 31166"/>
                  <a:gd name="connsiteY4" fmla="*/ -3353 h 29350"/>
                  <a:gd name="connsiteX5" fmla="*/ 29129 w 31166"/>
                  <a:gd name="connsiteY5" fmla="*/ 16938 h 2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66" h="29350">
                    <a:moveTo>
                      <a:pt x="29129" y="16938"/>
                    </a:moveTo>
                    <a:cubicBezTo>
                      <a:pt x="11781" y="20677"/>
                      <a:pt x="3366" y="25598"/>
                      <a:pt x="3169" y="25660"/>
                    </a:cubicBezTo>
                    <a:cubicBezTo>
                      <a:pt x="-1919" y="27348"/>
                      <a:pt x="-1256" y="22418"/>
                      <a:pt x="-1826" y="17218"/>
                    </a:cubicBezTo>
                    <a:cubicBezTo>
                      <a:pt x="-2583" y="10340"/>
                      <a:pt x="-1401" y="6663"/>
                      <a:pt x="3169" y="5244"/>
                    </a:cubicBezTo>
                    <a:cubicBezTo>
                      <a:pt x="3998" y="4995"/>
                      <a:pt x="8008" y="801"/>
                      <a:pt x="25284" y="-3353"/>
                    </a:cubicBezTo>
                    <a:cubicBezTo>
                      <a:pt x="26579" y="3411"/>
                      <a:pt x="27864" y="10174"/>
                      <a:pt x="29129" y="1693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0" name="Vrije vorm 2189">
                <a:extLst>
                  <a:ext uri="{FF2B5EF4-FFF2-40B4-BE49-F238E27FC236}">
                    <a16:creationId xmlns:a16="http://schemas.microsoft.com/office/drawing/2014/main" id="{951BBB1C-9D83-78BE-E77A-4C367F15EBF2}"/>
                  </a:ext>
                </a:extLst>
              </p:cNvPr>
              <p:cNvSpPr/>
              <p:nvPr/>
            </p:nvSpPr>
            <p:spPr>
              <a:xfrm flipV="1">
                <a:off x="3798619" y="1756359"/>
                <a:ext cx="114316" cy="25998"/>
              </a:xfrm>
              <a:custGeom>
                <a:avLst/>
                <a:gdLst>
                  <a:gd name="connsiteX0" fmla="*/ 109668 w 114316"/>
                  <a:gd name="connsiteY0" fmla="*/ 19839 h 25998"/>
                  <a:gd name="connsiteX1" fmla="*/ 46338 w 114316"/>
                  <a:gd name="connsiteY1" fmla="*/ 18171 h 25998"/>
                  <a:gd name="connsiteX2" fmla="*/ -420 w 114316"/>
                  <a:gd name="connsiteY2" fmla="*/ 22656 h 25998"/>
                  <a:gd name="connsiteX3" fmla="*/ -2109 w 114316"/>
                  <a:gd name="connsiteY3" fmla="*/ 1640 h 25998"/>
                  <a:gd name="connsiteX4" fmla="*/ 45914 w 114316"/>
                  <a:gd name="connsiteY4" fmla="*/ -3187 h 25998"/>
                  <a:gd name="connsiteX5" fmla="*/ 67769 w 114316"/>
                  <a:gd name="connsiteY5" fmla="*/ -3260 h 25998"/>
                  <a:gd name="connsiteX6" fmla="*/ 112207 w 114316"/>
                  <a:gd name="connsiteY6" fmla="*/ -494 h 25998"/>
                  <a:gd name="connsiteX7" fmla="*/ 109668 w 114316"/>
                  <a:gd name="connsiteY7" fmla="*/ 19839 h 25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16" h="25998">
                    <a:moveTo>
                      <a:pt x="109668" y="19839"/>
                    </a:moveTo>
                    <a:cubicBezTo>
                      <a:pt x="90361" y="18005"/>
                      <a:pt x="69231" y="17632"/>
                      <a:pt x="46338" y="18171"/>
                    </a:cubicBezTo>
                    <a:cubicBezTo>
                      <a:pt x="28700" y="18596"/>
                      <a:pt x="12876" y="20419"/>
                      <a:pt x="-420" y="22656"/>
                    </a:cubicBezTo>
                    <a:cubicBezTo>
                      <a:pt x="5" y="15613"/>
                      <a:pt x="-928" y="8611"/>
                      <a:pt x="-2109" y="1640"/>
                    </a:cubicBezTo>
                    <a:cubicBezTo>
                      <a:pt x="11425" y="-794"/>
                      <a:pt x="27591" y="-2752"/>
                      <a:pt x="45914" y="-3187"/>
                    </a:cubicBezTo>
                    <a:cubicBezTo>
                      <a:pt x="53375" y="-3374"/>
                      <a:pt x="60660" y="-3384"/>
                      <a:pt x="67769" y="-3260"/>
                    </a:cubicBezTo>
                    <a:cubicBezTo>
                      <a:pt x="83719" y="-2959"/>
                      <a:pt x="98413" y="-2089"/>
                      <a:pt x="112207" y="-494"/>
                    </a:cubicBezTo>
                    <a:cubicBezTo>
                      <a:pt x="110694" y="6176"/>
                      <a:pt x="109803" y="12951"/>
                      <a:pt x="109668" y="19839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1" name="Vrije vorm 2190">
                <a:extLst>
                  <a:ext uri="{FF2B5EF4-FFF2-40B4-BE49-F238E27FC236}">
                    <a16:creationId xmlns:a16="http://schemas.microsoft.com/office/drawing/2014/main" id="{144FB1C2-F211-1DD3-D889-1B7D4D4C90B6}"/>
                  </a:ext>
                </a:extLst>
              </p:cNvPr>
              <p:cNvSpPr/>
              <p:nvPr/>
            </p:nvSpPr>
            <p:spPr>
              <a:xfrm flipV="1">
                <a:off x="3923049" y="1749031"/>
                <a:ext cx="44557" cy="28800"/>
              </a:xfrm>
              <a:custGeom>
                <a:avLst/>
                <a:gdLst>
                  <a:gd name="connsiteX0" fmla="*/ 41755 w 44557"/>
                  <a:gd name="connsiteY0" fmla="*/ 17057 h 28800"/>
                  <a:gd name="connsiteX1" fmla="*/ 35082 w 44557"/>
                  <a:gd name="connsiteY1" fmla="*/ 25084 h 28800"/>
                  <a:gd name="connsiteX2" fmla="*/ -2184 w 44557"/>
                  <a:gd name="connsiteY2" fmla="*/ 16715 h 28800"/>
                  <a:gd name="connsiteX3" fmla="*/ 261 w 44557"/>
                  <a:gd name="connsiteY3" fmla="*/ -3348 h 28800"/>
                  <a:gd name="connsiteX4" fmla="*/ 39372 w 44557"/>
                  <a:gd name="connsiteY4" fmla="*/ 6461 h 28800"/>
                  <a:gd name="connsiteX5" fmla="*/ 41755 w 44557"/>
                  <a:gd name="connsiteY5" fmla="*/ 17057 h 2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557" h="28800">
                    <a:moveTo>
                      <a:pt x="41755" y="17057"/>
                    </a:moveTo>
                    <a:cubicBezTo>
                      <a:pt x="40781" y="22215"/>
                      <a:pt x="40160" y="26804"/>
                      <a:pt x="35082" y="25084"/>
                    </a:cubicBezTo>
                    <a:cubicBezTo>
                      <a:pt x="23713" y="21262"/>
                      <a:pt x="11267" y="18559"/>
                      <a:pt x="-2184" y="16715"/>
                    </a:cubicBezTo>
                    <a:cubicBezTo>
                      <a:pt x="-1739" y="9993"/>
                      <a:pt x="-744" y="3322"/>
                      <a:pt x="261" y="-3348"/>
                    </a:cubicBezTo>
                    <a:cubicBezTo>
                      <a:pt x="14231" y="-1132"/>
                      <a:pt x="27226" y="1996"/>
                      <a:pt x="39372" y="6461"/>
                    </a:cubicBezTo>
                    <a:cubicBezTo>
                      <a:pt x="42916" y="7766"/>
                      <a:pt x="42750" y="11836"/>
                      <a:pt x="41755" y="17057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2" name="Vrije vorm 2191">
                <a:extLst>
                  <a:ext uri="{FF2B5EF4-FFF2-40B4-BE49-F238E27FC236}">
                    <a16:creationId xmlns:a16="http://schemas.microsoft.com/office/drawing/2014/main" id="{45989386-952D-F1FE-9810-F4C865A1B64E}"/>
                  </a:ext>
                </a:extLst>
              </p:cNvPr>
              <p:cNvSpPr/>
              <p:nvPr/>
            </p:nvSpPr>
            <p:spPr>
              <a:xfrm flipV="1">
                <a:off x="3833822" y="1757499"/>
                <a:ext cx="45370" cy="27676"/>
              </a:xfrm>
              <a:custGeom>
                <a:avLst/>
                <a:gdLst>
                  <a:gd name="connsiteX0" fmla="*/ 35560 w 45370"/>
                  <a:gd name="connsiteY0" fmla="*/ 1352 h 27676"/>
                  <a:gd name="connsiteX1" fmla="*/ 5890 w 45370"/>
                  <a:gd name="connsiteY1" fmla="*/ 2854 h 27676"/>
                  <a:gd name="connsiteX2" fmla="*/ 5580 w 45370"/>
                  <a:gd name="connsiteY2" fmla="*/ 19645 h 27676"/>
                  <a:gd name="connsiteX3" fmla="*/ 35229 w 45370"/>
                  <a:gd name="connsiteY3" fmla="*/ 19448 h 27676"/>
                  <a:gd name="connsiteX4" fmla="*/ -2110 w 45370"/>
                  <a:gd name="connsiteY4" fmla="*/ 24337 h 27676"/>
                  <a:gd name="connsiteX5" fmla="*/ -1644 w 45370"/>
                  <a:gd name="connsiteY5" fmla="*/ -1071 h 27676"/>
                  <a:gd name="connsiteX6" fmla="*/ 43260 w 45370"/>
                  <a:gd name="connsiteY6" fmla="*/ -3340 h 27676"/>
                  <a:gd name="connsiteX7" fmla="*/ 42752 w 45370"/>
                  <a:gd name="connsiteY7" fmla="*/ 24036 h 27676"/>
                  <a:gd name="connsiteX8" fmla="*/ -2110 w 45370"/>
                  <a:gd name="connsiteY8" fmla="*/ 24337 h 2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70" h="27676">
                    <a:moveTo>
                      <a:pt x="35560" y="1352"/>
                    </a:moveTo>
                    <a:lnTo>
                      <a:pt x="5890" y="2854"/>
                    </a:lnTo>
                    <a:lnTo>
                      <a:pt x="5580" y="19645"/>
                    </a:lnTo>
                    <a:lnTo>
                      <a:pt x="35229" y="19448"/>
                    </a:lnTo>
                    <a:close/>
                    <a:moveTo>
                      <a:pt x="-2110" y="24337"/>
                    </a:moveTo>
                    <a:lnTo>
                      <a:pt x="-1644" y="-1071"/>
                    </a:lnTo>
                    <a:lnTo>
                      <a:pt x="43260" y="-3340"/>
                    </a:lnTo>
                    <a:lnTo>
                      <a:pt x="42752" y="24036"/>
                    </a:lnTo>
                    <a:lnTo>
                      <a:pt x="-2110" y="24337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3" name="Vrije vorm 2192">
                <a:extLst>
                  <a:ext uri="{FF2B5EF4-FFF2-40B4-BE49-F238E27FC236}">
                    <a16:creationId xmlns:a16="http://schemas.microsoft.com/office/drawing/2014/main" id="{2CC58B2F-A4CC-F93C-998C-6F20975142D7}"/>
                  </a:ext>
                </a:extLst>
              </p:cNvPr>
              <p:cNvSpPr/>
              <p:nvPr/>
            </p:nvSpPr>
            <p:spPr>
              <a:xfrm flipV="1">
                <a:off x="3874311" y="1383389"/>
                <a:ext cx="33669" cy="36346"/>
              </a:xfrm>
              <a:custGeom>
                <a:avLst/>
                <a:gdLst>
                  <a:gd name="connsiteX0" fmla="*/ -2139 w 33669"/>
                  <a:gd name="connsiteY0" fmla="*/ -3744 h 36346"/>
                  <a:gd name="connsiteX1" fmla="*/ 8328 w 33669"/>
                  <a:gd name="connsiteY1" fmla="*/ 32602 h 36346"/>
                  <a:gd name="connsiteX2" fmla="*/ 31531 w 33669"/>
                  <a:gd name="connsiteY2" fmla="*/ 21985 h 3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69" h="36346">
                    <a:moveTo>
                      <a:pt x="-2139" y="-3744"/>
                    </a:moveTo>
                    <a:lnTo>
                      <a:pt x="8328" y="32602"/>
                    </a:lnTo>
                    <a:lnTo>
                      <a:pt x="31531" y="21985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4" name="Vrije vorm 2193">
                <a:extLst>
                  <a:ext uri="{FF2B5EF4-FFF2-40B4-BE49-F238E27FC236}">
                    <a16:creationId xmlns:a16="http://schemas.microsoft.com/office/drawing/2014/main" id="{BE0074B5-DC9C-13BC-A008-8BFB7977EF05}"/>
                  </a:ext>
                </a:extLst>
              </p:cNvPr>
              <p:cNvSpPr/>
              <p:nvPr/>
            </p:nvSpPr>
            <p:spPr>
              <a:xfrm flipV="1">
                <a:off x="3855316" y="1386537"/>
                <a:ext cx="18995" cy="33197"/>
              </a:xfrm>
              <a:custGeom>
                <a:avLst/>
                <a:gdLst>
                  <a:gd name="connsiteX0" fmla="*/ 13894 w 18995"/>
                  <a:gd name="connsiteY0" fmla="*/ 29455 h 33197"/>
                  <a:gd name="connsiteX1" fmla="*/ 16879 w 18995"/>
                  <a:gd name="connsiteY1" fmla="*/ -3743 h 33197"/>
                  <a:gd name="connsiteX2" fmla="*/ -2117 w 18995"/>
                  <a:gd name="connsiteY2" fmla="*/ 19760 h 33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95" h="33197">
                    <a:moveTo>
                      <a:pt x="13894" y="29455"/>
                    </a:moveTo>
                    <a:lnTo>
                      <a:pt x="16879" y="-3743"/>
                    </a:lnTo>
                    <a:lnTo>
                      <a:pt x="-2117" y="19760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6" name="Vrije vorm 2195">
                <a:extLst>
                  <a:ext uri="{FF2B5EF4-FFF2-40B4-BE49-F238E27FC236}">
                    <a16:creationId xmlns:a16="http://schemas.microsoft.com/office/drawing/2014/main" id="{684A0119-FE8E-5299-890D-738F91A19DDB}"/>
                  </a:ext>
                </a:extLst>
              </p:cNvPr>
              <p:cNvSpPr/>
              <p:nvPr/>
            </p:nvSpPr>
            <p:spPr>
              <a:xfrm flipV="1">
                <a:off x="3818982" y="1361492"/>
                <a:ext cx="52344" cy="61174"/>
              </a:xfrm>
              <a:custGeom>
                <a:avLst/>
                <a:gdLst>
                  <a:gd name="connsiteX0" fmla="*/ -2100 w 52344"/>
                  <a:gd name="connsiteY0" fmla="*/ 34559 h 61174"/>
                  <a:gd name="connsiteX1" fmla="*/ 26305 w 52344"/>
                  <a:gd name="connsiteY1" fmla="*/ -3755 h 61174"/>
                  <a:gd name="connsiteX2" fmla="*/ 50244 w 52344"/>
                  <a:gd name="connsiteY2" fmla="*/ 32374 h 61174"/>
                  <a:gd name="connsiteX3" fmla="*/ 12605 w 52344"/>
                  <a:gd name="connsiteY3" fmla="*/ 57420 h 61174"/>
                  <a:gd name="connsiteX4" fmla="*/ -2100 w 52344"/>
                  <a:gd name="connsiteY4" fmla="*/ 34559 h 6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44" h="61174">
                    <a:moveTo>
                      <a:pt x="-2100" y="34559"/>
                    </a:moveTo>
                    <a:lnTo>
                      <a:pt x="26305" y="-3755"/>
                    </a:lnTo>
                    <a:lnTo>
                      <a:pt x="50244" y="32374"/>
                    </a:lnTo>
                    <a:lnTo>
                      <a:pt x="12605" y="57420"/>
                    </a:lnTo>
                    <a:lnTo>
                      <a:pt x="-2100" y="3455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7" name="Vrije vorm 2196">
                <a:extLst>
                  <a:ext uri="{FF2B5EF4-FFF2-40B4-BE49-F238E27FC236}">
                    <a16:creationId xmlns:a16="http://schemas.microsoft.com/office/drawing/2014/main" id="{5A68B336-E9A5-7E92-666C-E812265DD42B}"/>
                  </a:ext>
                </a:extLst>
              </p:cNvPr>
              <p:cNvSpPr/>
              <p:nvPr/>
            </p:nvSpPr>
            <p:spPr>
              <a:xfrm flipV="1">
                <a:off x="3884778" y="1356437"/>
                <a:ext cx="56085" cy="64115"/>
              </a:xfrm>
              <a:custGeom>
                <a:avLst/>
                <a:gdLst>
                  <a:gd name="connsiteX0" fmla="*/ 53928 w 56085"/>
                  <a:gd name="connsiteY0" fmla="*/ 37539 h 64115"/>
                  <a:gd name="connsiteX1" fmla="*/ 17844 w 56085"/>
                  <a:gd name="connsiteY1" fmla="*/ -3759 h 64115"/>
                  <a:gd name="connsiteX2" fmla="*/ -2157 w 56085"/>
                  <a:gd name="connsiteY2" fmla="*/ 33406 h 64115"/>
                  <a:gd name="connsiteX3" fmla="*/ 39451 w 56085"/>
                  <a:gd name="connsiteY3" fmla="*/ 60357 h 64115"/>
                  <a:gd name="connsiteX4" fmla="*/ 53928 w 56085"/>
                  <a:gd name="connsiteY4" fmla="*/ 37539 h 6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085" h="64115">
                    <a:moveTo>
                      <a:pt x="53928" y="37539"/>
                    </a:moveTo>
                    <a:lnTo>
                      <a:pt x="17844" y="-3759"/>
                    </a:lnTo>
                    <a:lnTo>
                      <a:pt x="-2157" y="33406"/>
                    </a:lnTo>
                    <a:lnTo>
                      <a:pt x="39451" y="60357"/>
                    </a:lnTo>
                    <a:lnTo>
                      <a:pt x="53928" y="375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8" name="Vrije vorm 2197">
                <a:extLst>
                  <a:ext uri="{FF2B5EF4-FFF2-40B4-BE49-F238E27FC236}">
                    <a16:creationId xmlns:a16="http://schemas.microsoft.com/office/drawing/2014/main" id="{EEA4C16C-B79D-65EE-9D16-0E5E8F5F0D33}"/>
                  </a:ext>
                </a:extLst>
              </p:cNvPr>
              <p:cNvSpPr/>
              <p:nvPr/>
            </p:nvSpPr>
            <p:spPr>
              <a:xfrm flipV="1">
                <a:off x="4045895" y="1589513"/>
                <a:ext cx="101102" cy="51717"/>
              </a:xfrm>
              <a:custGeom>
                <a:avLst/>
                <a:gdLst>
                  <a:gd name="connsiteX0" fmla="*/ -2311 w 101102"/>
                  <a:gd name="connsiteY0" fmla="*/ 33354 h 51717"/>
                  <a:gd name="connsiteX1" fmla="*/ 84781 w 101102"/>
                  <a:gd name="connsiteY1" fmla="*/ 48207 h 51717"/>
                  <a:gd name="connsiteX2" fmla="*/ 98792 w 101102"/>
                  <a:gd name="connsiteY2" fmla="*/ 12669 h 51717"/>
                  <a:gd name="connsiteX3" fmla="*/ 3845 w 101102"/>
                  <a:gd name="connsiteY3" fmla="*/ -3510 h 51717"/>
                  <a:gd name="connsiteX4" fmla="*/ -2311 w 101102"/>
                  <a:gd name="connsiteY4" fmla="*/ 33354 h 5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102" h="51717">
                    <a:moveTo>
                      <a:pt x="-2311" y="33354"/>
                    </a:moveTo>
                    <a:lnTo>
                      <a:pt x="84781" y="48207"/>
                    </a:lnTo>
                    <a:lnTo>
                      <a:pt x="98792" y="12669"/>
                    </a:lnTo>
                    <a:lnTo>
                      <a:pt x="3845" y="-3510"/>
                    </a:lnTo>
                    <a:lnTo>
                      <a:pt x="-2311" y="33354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9" name="Vrije vorm 2198">
                <a:extLst>
                  <a:ext uri="{FF2B5EF4-FFF2-40B4-BE49-F238E27FC236}">
                    <a16:creationId xmlns:a16="http://schemas.microsoft.com/office/drawing/2014/main" id="{576313D6-6877-E4D1-1060-1347F14ACE8F}"/>
                  </a:ext>
                </a:extLst>
              </p:cNvPr>
              <p:cNvSpPr/>
              <p:nvPr/>
            </p:nvSpPr>
            <p:spPr>
              <a:xfrm flipV="1">
                <a:off x="3784629" y="1050503"/>
                <a:ext cx="217456" cy="303572"/>
              </a:xfrm>
              <a:custGeom>
                <a:avLst/>
                <a:gdLst>
                  <a:gd name="connsiteX0" fmla="*/ 117813 w 217456"/>
                  <a:gd name="connsiteY0" fmla="*/ 294452 h 303572"/>
                  <a:gd name="connsiteX1" fmla="*/ 181598 w 217456"/>
                  <a:gd name="connsiteY1" fmla="*/ 234500 h 303572"/>
                  <a:gd name="connsiteX2" fmla="*/ 178261 w 217456"/>
                  <a:gd name="connsiteY2" fmla="*/ 158389 h 303572"/>
                  <a:gd name="connsiteX3" fmla="*/ 205112 w 217456"/>
                  <a:gd name="connsiteY3" fmla="*/ 165702 h 303572"/>
                  <a:gd name="connsiteX4" fmla="*/ 177028 w 217456"/>
                  <a:gd name="connsiteY4" fmla="*/ 91995 h 303572"/>
                  <a:gd name="connsiteX5" fmla="*/ 171121 w 217456"/>
                  <a:gd name="connsiteY5" fmla="*/ 51805 h 303572"/>
                  <a:gd name="connsiteX6" fmla="*/ 82589 w 217456"/>
                  <a:gd name="connsiteY6" fmla="*/ -3382 h 303572"/>
                  <a:gd name="connsiteX7" fmla="*/ -1198 w 217456"/>
                  <a:gd name="connsiteY7" fmla="*/ 60372 h 303572"/>
                  <a:gd name="connsiteX8" fmla="*/ -2141 w 217456"/>
                  <a:gd name="connsiteY8" fmla="*/ 246877 h 303572"/>
                  <a:gd name="connsiteX9" fmla="*/ 117813 w 217456"/>
                  <a:gd name="connsiteY9" fmla="*/ 294452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6" h="303572">
                    <a:moveTo>
                      <a:pt x="117813" y="294452"/>
                    </a:moveTo>
                    <a:cubicBezTo>
                      <a:pt x="183350" y="279516"/>
                      <a:pt x="181598" y="234500"/>
                      <a:pt x="181598" y="234500"/>
                    </a:cubicBezTo>
                    <a:cubicBezTo>
                      <a:pt x="181598" y="234500"/>
                      <a:pt x="179557" y="199759"/>
                      <a:pt x="178261" y="158389"/>
                    </a:cubicBezTo>
                    <a:cubicBezTo>
                      <a:pt x="184324" y="166717"/>
                      <a:pt x="194583" y="170208"/>
                      <a:pt x="205112" y="165702"/>
                    </a:cubicBezTo>
                    <a:cubicBezTo>
                      <a:pt x="227424" y="156162"/>
                      <a:pt x="210937" y="85914"/>
                      <a:pt x="177028" y="91995"/>
                    </a:cubicBezTo>
                    <a:cubicBezTo>
                      <a:pt x="175567" y="72376"/>
                      <a:pt x="173639" y="57098"/>
                      <a:pt x="171121" y="51805"/>
                    </a:cubicBezTo>
                    <a:cubicBezTo>
                      <a:pt x="161608" y="31825"/>
                      <a:pt x="119709" y="1372"/>
                      <a:pt x="82589" y="-3382"/>
                    </a:cubicBezTo>
                    <a:cubicBezTo>
                      <a:pt x="45457" y="-8136"/>
                      <a:pt x="-1198" y="16599"/>
                      <a:pt x="-1198" y="60372"/>
                    </a:cubicBezTo>
                    <a:cubicBezTo>
                      <a:pt x="-1198" y="104144"/>
                      <a:pt x="-2141" y="246877"/>
                      <a:pt x="-2141" y="246877"/>
                    </a:cubicBezTo>
                    <a:cubicBezTo>
                      <a:pt x="-2141" y="246877"/>
                      <a:pt x="9279" y="319197"/>
                      <a:pt x="117813" y="29445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0" name="Vrije vorm 2199">
                <a:extLst>
                  <a:ext uri="{FF2B5EF4-FFF2-40B4-BE49-F238E27FC236}">
                    <a16:creationId xmlns:a16="http://schemas.microsoft.com/office/drawing/2014/main" id="{EEB6601C-690E-ED8B-CDB4-77C1394EE0CB}"/>
                  </a:ext>
                </a:extLst>
              </p:cNvPr>
              <p:cNvSpPr/>
              <p:nvPr/>
            </p:nvSpPr>
            <p:spPr>
              <a:xfrm flipV="1">
                <a:off x="3810288" y="1182216"/>
                <a:ext cx="33835" cy="82781"/>
              </a:xfrm>
              <a:custGeom>
                <a:avLst/>
                <a:gdLst>
                  <a:gd name="connsiteX0" fmla="*/ 31750 w 33835"/>
                  <a:gd name="connsiteY0" fmla="*/ 78842 h 82781"/>
                  <a:gd name="connsiteX1" fmla="*/ 22082 w 33835"/>
                  <a:gd name="connsiteY1" fmla="*/ 41346 h 82781"/>
                  <a:gd name="connsiteX2" fmla="*/ 13770 w 33835"/>
                  <a:gd name="connsiteY2" fmla="*/ 23655 h 82781"/>
                  <a:gd name="connsiteX3" fmla="*/ 1448 w 33835"/>
                  <a:gd name="connsiteY3" fmla="*/ 8149 h 82781"/>
                  <a:gd name="connsiteX4" fmla="*/ 1438 w 33835"/>
                  <a:gd name="connsiteY4" fmla="*/ 10624 h 82781"/>
                  <a:gd name="connsiteX5" fmla="*/ 15573 w 33835"/>
                  <a:gd name="connsiteY5" fmla="*/ -3939 h 82781"/>
                  <a:gd name="connsiteX6" fmla="*/ -749 w 33835"/>
                  <a:gd name="connsiteY6" fmla="*/ 8128 h 82781"/>
                  <a:gd name="connsiteX7" fmla="*/ -2085 w 33835"/>
                  <a:gd name="connsiteY7" fmla="*/ 9184 h 82781"/>
                  <a:gd name="connsiteX8" fmla="*/ -769 w 33835"/>
                  <a:gd name="connsiteY8" fmla="*/ 10604 h 82781"/>
                  <a:gd name="connsiteX9" fmla="*/ 17884 w 33835"/>
                  <a:gd name="connsiteY9" fmla="*/ 43035 h 82781"/>
                  <a:gd name="connsiteX10" fmla="*/ 31750 w 33835"/>
                  <a:gd name="connsiteY10" fmla="*/ 78842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5" h="82781">
                    <a:moveTo>
                      <a:pt x="31750" y="78842"/>
                    </a:moveTo>
                    <a:cubicBezTo>
                      <a:pt x="30009" y="66040"/>
                      <a:pt x="26828" y="53424"/>
                      <a:pt x="22082" y="41346"/>
                    </a:cubicBezTo>
                    <a:cubicBezTo>
                      <a:pt x="19833" y="35256"/>
                      <a:pt x="17180" y="29279"/>
                      <a:pt x="13770" y="23655"/>
                    </a:cubicBezTo>
                    <a:cubicBezTo>
                      <a:pt x="10444" y="18041"/>
                      <a:pt x="6765" y="12406"/>
                      <a:pt x="1448" y="8149"/>
                    </a:cubicBezTo>
                    <a:lnTo>
                      <a:pt x="1438" y="10624"/>
                    </a:lnTo>
                    <a:cubicBezTo>
                      <a:pt x="6298" y="5942"/>
                      <a:pt x="11024" y="1116"/>
                      <a:pt x="15573" y="-3939"/>
                    </a:cubicBezTo>
                    <a:cubicBezTo>
                      <a:pt x="9957" y="-117"/>
                      <a:pt x="4536" y="3923"/>
                      <a:pt x="-749" y="8128"/>
                    </a:cubicBezTo>
                    <a:lnTo>
                      <a:pt x="-2085" y="9184"/>
                    </a:lnTo>
                    <a:lnTo>
                      <a:pt x="-769" y="10604"/>
                    </a:lnTo>
                    <a:cubicBezTo>
                      <a:pt x="7615" y="19667"/>
                      <a:pt x="12734" y="31506"/>
                      <a:pt x="17884" y="43035"/>
                    </a:cubicBezTo>
                    <a:cubicBezTo>
                      <a:pt x="22734" y="54780"/>
                      <a:pt x="27232" y="66744"/>
                      <a:pt x="31750" y="7884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1" name="Vrije vorm 2200">
                <a:extLst>
                  <a:ext uri="{FF2B5EF4-FFF2-40B4-BE49-F238E27FC236}">
                    <a16:creationId xmlns:a16="http://schemas.microsoft.com/office/drawing/2014/main" id="{75CB5B7E-4F8C-BE3D-5318-62B88F707E89}"/>
                  </a:ext>
                </a:extLst>
              </p:cNvPr>
              <p:cNvSpPr/>
              <p:nvPr/>
            </p:nvSpPr>
            <p:spPr>
              <a:xfrm flipV="1">
                <a:off x="3883877" y="1171122"/>
                <a:ext cx="18985" cy="34554"/>
              </a:xfrm>
              <a:custGeom>
                <a:avLst/>
                <a:gdLst>
                  <a:gd name="connsiteX0" fmla="*/ -2141 w 18985"/>
                  <a:gd name="connsiteY0" fmla="*/ 13300 h 34554"/>
                  <a:gd name="connsiteX1" fmla="*/ 7352 w 18985"/>
                  <a:gd name="connsiteY1" fmla="*/ -3978 h 34554"/>
                  <a:gd name="connsiteX2" fmla="*/ 16845 w 18985"/>
                  <a:gd name="connsiteY2" fmla="*/ 13300 h 34554"/>
                  <a:gd name="connsiteX3" fmla="*/ 7352 w 18985"/>
                  <a:gd name="connsiteY3" fmla="*/ 30577 h 34554"/>
                  <a:gd name="connsiteX4" fmla="*/ -2141 w 18985"/>
                  <a:gd name="connsiteY4" fmla="*/ 13300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141" y="13300"/>
                    </a:moveTo>
                    <a:cubicBezTo>
                      <a:pt x="-2141" y="3760"/>
                      <a:pt x="2108" y="-3978"/>
                      <a:pt x="7352" y="-3978"/>
                    </a:cubicBezTo>
                    <a:cubicBezTo>
                      <a:pt x="12596" y="-3978"/>
                      <a:pt x="16845" y="3760"/>
                      <a:pt x="16845" y="13300"/>
                    </a:cubicBezTo>
                    <a:cubicBezTo>
                      <a:pt x="16845" y="22839"/>
                      <a:pt x="12596" y="30577"/>
                      <a:pt x="7352" y="30577"/>
                    </a:cubicBezTo>
                    <a:cubicBezTo>
                      <a:pt x="2108" y="30577"/>
                      <a:pt x="-2141" y="22839"/>
                      <a:pt x="-2141" y="13300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2" name="Vrije vorm 2201">
                <a:extLst>
                  <a:ext uri="{FF2B5EF4-FFF2-40B4-BE49-F238E27FC236}">
                    <a16:creationId xmlns:a16="http://schemas.microsoft.com/office/drawing/2014/main" id="{9527E8AD-7F84-B534-7C26-B29D483E5BCD}"/>
                  </a:ext>
                </a:extLst>
              </p:cNvPr>
              <p:cNvSpPr/>
              <p:nvPr/>
            </p:nvSpPr>
            <p:spPr>
              <a:xfrm flipV="1">
                <a:off x="3803904" y="1174934"/>
                <a:ext cx="18985" cy="34554"/>
              </a:xfrm>
              <a:custGeom>
                <a:avLst/>
                <a:gdLst>
                  <a:gd name="connsiteX0" fmla="*/ -2074 w 18985"/>
                  <a:gd name="connsiteY0" fmla="*/ 13304 h 34554"/>
                  <a:gd name="connsiteX1" fmla="*/ 7419 w 18985"/>
                  <a:gd name="connsiteY1" fmla="*/ -3973 h 34554"/>
                  <a:gd name="connsiteX2" fmla="*/ 16911 w 18985"/>
                  <a:gd name="connsiteY2" fmla="*/ 13304 h 34554"/>
                  <a:gd name="connsiteX3" fmla="*/ 7419 w 18985"/>
                  <a:gd name="connsiteY3" fmla="*/ 30581 h 34554"/>
                  <a:gd name="connsiteX4" fmla="*/ -2074 w 18985"/>
                  <a:gd name="connsiteY4" fmla="*/ 13304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074" y="13304"/>
                    </a:moveTo>
                    <a:cubicBezTo>
                      <a:pt x="-2074" y="3764"/>
                      <a:pt x="2175" y="-3973"/>
                      <a:pt x="7419" y="-3973"/>
                    </a:cubicBezTo>
                    <a:cubicBezTo>
                      <a:pt x="12662" y="-3973"/>
                      <a:pt x="16911" y="3764"/>
                      <a:pt x="16911" y="13304"/>
                    </a:cubicBezTo>
                    <a:cubicBezTo>
                      <a:pt x="16911" y="22854"/>
                      <a:pt x="12662" y="30581"/>
                      <a:pt x="7419" y="30581"/>
                    </a:cubicBezTo>
                    <a:cubicBezTo>
                      <a:pt x="2175" y="30581"/>
                      <a:pt x="-2074" y="22854"/>
                      <a:pt x="-2074" y="13304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3" name="Vrije vorm 2202">
                <a:extLst>
                  <a:ext uri="{FF2B5EF4-FFF2-40B4-BE49-F238E27FC236}">
                    <a16:creationId xmlns:a16="http://schemas.microsoft.com/office/drawing/2014/main" id="{6383AF2F-125C-8F6F-31EE-BD98CAA71F41}"/>
                  </a:ext>
                </a:extLst>
              </p:cNvPr>
              <p:cNvSpPr/>
              <p:nvPr/>
            </p:nvSpPr>
            <p:spPr>
              <a:xfrm flipV="1">
                <a:off x="3868404" y="1136664"/>
                <a:ext cx="51411" cy="19864"/>
              </a:xfrm>
              <a:custGeom>
                <a:avLst/>
                <a:gdLst>
                  <a:gd name="connsiteX0" fmla="*/ -2141 w 51411"/>
                  <a:gd name="connsiteY0" fmla="*/ 3589 h 19864"/>
                  <a:gd name="connsiteX1" fmla="*/ 10294 w 51411"/>
                  <a:gd name="connsiteY1" fmla="*/ 12777 h 19864"/>
                  <a:gd name="connsiteX2" fmla="*/ 25994 w 51411"/>
                  <a:gd name="connsiteY2" fmla="*/ 15822 h 19864"/>
                  <a:gd name="connsiteX3" fmla="*/ 41550 w 51411"/>
                  <a:gd name="connsiteY3" fmla="*/ 9815 h 19864"/>
                  <a:gd name="connsiteX4" fmla="*/ 49270 w 51411"/>
                  <a:gd name="connsiteY4" fmla="*/ -4023 h 19864"/>
                  <a:gd name="connsiteX5" fmla="*/ 37404 w 51411"/>
                  <a:gd name="connsiteY5" fmla="*/ 3382 h 19864"/>
                  <a:gd name="connsiteX6" fmla="*/ 25466 w 51411"/>
                  <a:gd name="connsiteY6" fmla="*/ 6044 h 19864"/>
                  <a:gd name="connsiteX7" fmla="*/ -2141 w 51411"/>
                  <a:gd name="connsiteY7" fmla="*/ 3589 h 19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411" h="19864">
                    <a:moveTo>
                      <a:pt x="-2141" y="3589"/>
                    </a:moveTo>
                    <a:cubicBezTo>
                      <a:pt x="1133" y="7753"/>
                      <a:pt x="5517" y="10685"/>
                      <a:pt x="10294" y="12777"/>
                    </a:cubicBezTo>
                    <a:cubicBezTo>
                      <a:pt x="15082" y="14911"/>
                      <a:pt x="20430" y="15998"/>
                      <a:pt x="25994" y="15822"/>
                    </a:cubicBezTo>
                    <a:cubicBezTo>
                      <a:pt x="31539" y="15429"/>
                      <a:pt x="37249" y="13492"/>
                      <a:pt x="41550" y="9815"/>
                    </a:cubicBezTo>
                    <a:cubicBezTo>
                      <a:pt x="46058" y="6335"/>
                      <a:pt x="48389" y="1010"/>
                      <a:pt x="49270" y="-4023"/>
                    </a:cubicBezTo>
                    <a:cubicBezTo>
                      <a:pt x="44835" y="-1010"/>
                      <a:pt x="41446" y="1922"/>
                      <a:pt x="37404" y="3382"/>
                    </a:cubicBezTo>
                    <a:cubicBezTo>
                      <a:pt x="33508" y="4915"/>
                      <a:pt x="29642" y="5848"/>
                      <a:pt x="25466" y="6044"/>
                    </a:cubicBezTo>
                    <a:cubicBezTo>
                      <a:pt x="17041" y="6490"/>
                      <a:pt x="8149" y="4781"/>
                      <a:pt x="-2141" y="3589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4" name="Vrije vorm 2203">
                <a:extLst>
                  <a:ext uri="{FF2B5EF4-FFF2-40B4-BE49-F238E27FC236}">
                    <a16:creationId xmlns:a16="http://schemas.microsoft.com/office/drawing/2014/main" id="{FB08627D-B637-E22C-EA3B-370CFBE65E72}"/>
                  </a:ext>
                </a:extLst>
              </p:cNvPr>
              <p:cNvSpPr/>
              <p:nvPr/>
            </p:nvSpPr>
            <p:spPr>
              <a:xfrm flipV="1">
                <a:off x="3788432" y="1137241"/>
                <a:ext cx="40934" cy="19286"/>
              </a:xfrm>
              <a:custGeom>
                <a:avLst/>
                <a:gdLst>
                  <a:gd name="connsiteX0" fmla="*/ 38864 w 40934"/>
                  <a:gd name="connsiteY0" fmla="*/ 3590 h 19286"/>
                  <a:gd name="connsiteX1" fmla="*/ 16397 w 40934"/>
                  <a:gd name="connsiteY1" fmla="*/ 6490 h 19286"/>
                  <a:gd name="connsiteX2" fmla="*/ 7226 w 40934"/>
                  <a:gd name="connsiteY2" fmla="*/ 3362 h 19286"/>
                  <a:gd name="connsiteX3" fmla="*/ -2070 w 40934"/>
                  <a:gd name="connsiteY3" fmla="*/ -4023 h 19286"/>
                  <a:gd name="connsiteX4" fmla="*/ 2697 w 40934"/>
                  <a:gd name="connsiteY4" fmla="*/ 8458 h 19286"/>
                  <a:gd name="connsiteX5" fmla="*/ 15496 w 40934"/>
                  <a:gd name="connsiteY5" fmla="*/ 15181 h 19286"/>
                  <a:gd name="connsiteX6" fmla="*/ 29102 w 40934"/>
                  <a:gd name="connsiteY6" fmla="*/ 12373 h 19286"/>
                  <a:gd name="connsiteX7" fmla="*/ 38864 w 40934"/>
                  <a:gd name="connsiteY7" fmla="*/ 3590 h 1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34" h="19286">
                    <a:moveTo>
                      <a:pt x="38864" y="3590"/>
                    </a:moveTo>
                    <a:cubicBezTo>
                      <a:pt x="30274" y="5289"/>
                      <a:pt x="22926" y="7194"/>
                      <a:pt x="16397" y="6490"/>
                    </a:cubicBezTo>
                    <a:cubicBezTo>
                      <a:pt x="13133" y="6314"/>
                      <a:pt x="10221" y="5154"/>
                      <a:pt x="7226" y="3362"/>
                    </a:cubicBezTo>
                    <a:cubicBezTo>
                      <a:pt x="4127" y="1632"/>
                      <a:pt x="1443" y="-1164"/>
                      <a:pt x="-2070" y="-4023"/>
                    </a:cubicBezTo>
                    <a:cubicBezTo>
                      <a:pt x="-1863" y="348"/>
                      <a:pt x="-526" y="4895"/>
                      <a:pt x="2697" y="8458"/>
                    </a:cubicBezTo>
                    <a:cubicBezTo>
                      <a:pt x="5671" y="12187"/>
                      <a:pt x="10573" y="14745"/>
                      <a:pt x="15496" y="15181"/>
                    </a:cubicBezTo>
                    <a:cubicBezTo>
                      <a:pt x="20418" y="15584"/>
                      <a:pt x="25133" y="14486"/>
                      <a:pt x="29102" y="12373"/>
                    </a:cubicBezTo>
                    <a:cubicBezTo>
                      <a:pt x="33072" y="10302"/>
                      <a:pt x="36543" y="7443"/>
                      <a:pt x="38864" y="3590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5" name="Vrije vorm 2204">
                <a:extLst>
                  <a:ext uri="{FF2B5EF4-FFF2-40B4-BE49-F238E27FC236}">
                    <a16:creationId xmlns:a16="http://schemas.microsoft.com/office/drawing/2014/main" id="{91E55DE5-72FA-F12D-E9C2-0FCD13D28F62}"/>
                  </a:ext>
                </a:extLst>
              </p:cNvPr>
              <p:cNvSpPr/>
              <p:nvPr/>
            </p:nvSpPr>
            <p:spPr>
              <a:xfrm flipV="1">
                <a:off x="3823977" y="1273677"/>
                <a:ext cx="87682" cy="29229"/>
              </a:xfrm>
              <a:custGeom>
                <a:avLst/>
                <a:gdLst>
                  <a:gd name="connsiteX0" fmla="*/ 85563 w 87682"/>
                  <a:gd name="connsiteY0" fmla="*/ 25361 h 29229"/>
                  <a:gd name="connsiteX1" fmla="*/ -2119 w 87682"/>
                  <a:gd name="connsiteY1" fmla="*/ 20793 h 29229"/>
                  <a:gd name="connsiteX2" fmla="*/ 85563 w 87682"/>
                  <a:gd name="connsiteY2" fmla="*/ 25361 h 29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682" h="29229">
                    <a:moveTo>
                      <a:pt x="85563" y="25361"/>
                    </a:moveTo>
                    <a:lnTo>
                      <a:pt x="-2119" y="20793"/>
                    </a:lnTo>
                    <a:cubicBezTo>
                      <a:pt x="-2119" y="20793"/>
                      <a:pt x="43551" y="-37626"/>
                      <a:pt x="85563" y="25361"/>
                    </a:cubicBezTo>
                  </a:path>
                </a:pathLst>
              </a:custGeom>
              <a:solidFill>
                <a:srgbClr val="B8596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6" name="Vrije vorm 2205">
                <a:extLst>
                  <a:ext uri="{FF2B5EF4-FFF2-40B4-BE49-F238E27FC236}">
                    <a16:creationId xmlns:a16="http://schemas.microsoft.com/office/drawing/2014/main" id="{7031E771-19BA-D139-5254-1F62EB164364}"/>
                  </a:ext>
                </a:extLst>
              </p:cNvPr>
              <p:cNvSpPr/>
              <p:nvPr/>
            </p:nvSpPr>
            <p:spPr>
              <a:xfrm flipV="1">
                <a:off x="3823977" y="1273677"/>
                <a:ext cx="87682" cy="25801"/>
              </a:xfrm>
              <a:custGeom>
                <a:avLst/>
                <a:gdLst>
                  <a:gd name="connsiteX0" fmla="*/ 77252 w 87682"/>
                  <a:gd name="connsiteY0" fmla="*/ 17032 h 25801"/>
                  <a:gd name="connsiteX1" fmla="*/ 25188 w 87682"/>
                  <a:gd name="connsiteY1" fmla="*/ -3870 h 25801"/>
                  <a:gd name="connsiteX2" fmla="*/ -2119 w 87682"/>
                  <a:gd name="connsiteY2" fmla="*/ 17364 h 25801"/>
                  <a:gd name="connsiteX3" fmla="*/ 85563 w 87682"/>
                  <a:gd name="connsiteY3" fmla="*/ 21932 h 25801"/>
                  <a:gd name="connsiteX4" fmla="*/ 82278 w 87682"/>
                  <a:gd name="connsiteY4" fmla="*/ 16732 h 25801"/>
                  <a:gd name="connsiteX5" fmla="*/ 77252 w 87682"/>
                  <a:gd name="connsiteY5" fmla="*/ 17032 h 25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7682" h="25801">
                    <a:moveTo>
                      <a:pt x="77252" y="17032"/>
                    </a:moveTo>
                    <a:cubicBezTo>
                      <a:pt x="56858" y="17032"/>
                      <a:pt x="37686" y="9937"/>
                      <a:pt x="25188" y="-3870"/>
                    </a:cubicBezTo>
                    <a:cubicBezTo>
                      <a:pt x="5124" y="2334"/>
                      <a:pt x="-2119" y="17364"/>
                      <a:pt x="-2119" y="17364"/>
                    </a:cubicBezTo>
                    <a:lnTo>
                      <a:pt x="85563" y="21932"/>
                    </a:lnTo>
                    <a:cubicBezTo>
                      <a:pt x="84486" y="20088"/>
                      <a:pt x="83387" y="18368"/>
                      <a:pt x="82278" y="16732"/>
                    </a:cubicBezTo>
                    <a:cubicBezTo>
                      <a:pt x="80620" y="16918"/>
                      <a:pt x="78952" y="17032"/>
                      <a:pt x="77252" y="17032"/>
                    </a:cubicBezTo>
                  </a:path>
                </a:pathLst>
              </a:custGeom>
              <a:solidFill>
                <a:srgbClr val="642A32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8" name="Vrije vorm 2207">
                <a:extLst>
                  <a:ext uri="{FF2B5EF4-FFF2-40B4-BE49-F238E27FC236}">
                    <a16:creationId xmlns:a16="http://schemas.microsoft.com/office/drawing/2014/main" id="{5F201119-BD85-6A21-E9F6-7DAFBDDB745E}"/>
                  </a:ext>
                </a:extLst>
              </p:cNvPr>
              <p:cNvSpPr/>
              <p:nvPr/>
            </p:nvSpPr>
            <p:spPr>
              <a:xfrm flipV="1">
                <a:off x="3966461" y="1195400"/>
                <a:ext cx="27833" cy="51643"/>
              </a:xfrm>
              <a:custGeom>
                <a:avLst/>
                <a:gdLst>
                  <a:gd name="connsiteX0" fmla="*/ 20192 w 27833"/>
                  <a:gd name="connsiteY0" fmla="*/ 46603 h 51643"/>
                  <a:gd name="connsiteX1" fmla="*/ -2214 w 27833"/>
                  <a:gd name="connsiteY1" fmla="*/ 13789 h 51643"/>
                  <a:gd name="connsiteX2" fmla="*/ 3611 w 27833"/>
                  <a:gd name="connsiteY2" fmla="*/ -3706 h 51643"/>
                  <a:gd name="connsiteX3" fmla="*/ 20192 w 27833"/>
                  <a:gd name="connsiteY3" fmla="*/ 4660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33" h="51643">
                    <a:moveTo>
                      <a:pt x="20192" y="46603"/>
                    </a:moveTo>
                    <a:cubicBezTo>
                      <a:pt x="8554" y="52486"/>
                      <a:pt x="-1737" y="33769"/>
                      <a:pt x="-2214" y="13789"/>
                    </a:cubicBezTo>
                    <a:cubicBezTo>
                      <a:pt x="7310" y="15208"/>
                      <a:pt x="8916" y="4135"/>
                      <a:pt x="3611" y="-3706"/>
                    </a:cubicBezTo>
                    <a:cubicBezTo>
                      <a:pt x="22503" y="-7704"/>
                      <a:pt x="32524" y="40357"/>
                      <a:pt x="20192" y="4660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9" name="Vrije vorm 2208">
                <a:extLst>
                  <a:ext uri="{FF2B5EF4-FFF2-40B4-BE49-F238E27FC236}">
                    <a16:creationId xmlns:a16="http://schemas.microsoft.com/office/drawing/2014/main" id="{4C2F19CA-83D3-5BFF-3A17-C484974AEFB4}"/>
                  </a:ext>
                </a:extLst>
              </p:cNvPr>
              <p:cNvSpPr/>
              <p:nvPr/>
            </p:nvSpPr>
            <p:spPr>
              <a:xfrm flipV="1">
                <a:off x="3937574" y="1663561"/>
                <a:ext cx="56069" cy="97947"/>
              </a:xfrm>
              <a:custGeom>
                <a:avLst/>
                <a:gdLst>
                  <a:gd name="connsiteX0" fmla="*/ 53868 w 56069"/>
                  <a:gd name="connsiteY0" fmla="*/ 3972 h 97947"/>
                  <a:gd name="connsiteX1" fmla="*/ 24665 w 56069"/>
                  <a:gd name="connsiteY1" fmla="*/ 44679 h 97947"/>
                  <a:gd name="connsiteX2" fmla="*/ 20053 w 56069"/>
                  <a:gd name="connsiteY2" fmla="*/ 60806 h 97947"/>
                  <a:gd name="connsiteX3" fmla="*/ 24665 w 56069"/>
                  <a:gd name="connsiteY3" fmla="*/ 71558 h 97947"/>
                  <a:gd name="connsiteX4" fmla="*/ 45412 w 56069"/>
                  <a:gd name="connsiteY4" fmla="*/ 70791 h 97947"/>
                  <a:gd name="connsiteX5" fmla="*/ 52334 w 56069"/>
                  <a:gd name="connsiteY5" fmla="*/ 26242 h 97947"/>
                  <a:gd name="connsiteX6" fmla="*/ 53868 w 56069"/>
                  <a:gd name="connsiteY6" fmla="*/ 3972 h 97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069" h="97947">
                    <a:moveTo>
                      <a:pt x="53868" y="3972"/>
                    </a:moveTo>
                    <a:cubicBezTo>
                      <a:pt x="53868" y="3972"/>
                      <a:pt x="9296" y="-29060"/>
                      <a:pt x="24665" y="44679"/>
                    </a:cubicBezTo>
                    <a:cubicBezTo>
                      <a:pt x="24665" y="44679"/>
                      <a:pt x="-29897" y="60040"/>
                      <a:pt x="20053" y="60806"/>
                    </a:cubicBezTo>
                    <a:cubicBezTo>
                      <a:pt x="20053" y="60806"/>
                      <a:pt x="-32965" y="86152"/>
                      <a:pt x="24665" y="71558"/>
                    </a:cubicBezTo>
                    <a:cubicBezTo>
                      <a:pt x="24665" y="71558"/>
                      <a:pt x="-15296" y="123783"/>
                      <a:pt x="45412" y="70791"/>
                    </a:cubicBezTo>
                    <a:cubicBezTo>
                      <a:pt x="45412" y="70791"/>
                      <a:pt x="57454" y="58755"/>
                      <a:pt x="52334" y="26242"/>
                    </a:cubicBezTo>
                    <a:lnTo>
                      <a:pt x="53868" y="3972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0" name="Vrije vorm 2209">
                <a:extLst>
                  <a:ext uri="{FF2B5EF4-FFF2-40B4-BE49-F238E27FC236}">
                    <a16:creationId xmlns:a16="http://schemas.microsoft.com/office/drawing/2014/main" id="{630B33E8-0C78-130D-7DCC-46F1410372DC}"/>
                  </a:ext>
                </a:extLst>
              </p:cNvPr>
              <p:cNvSpPr/>
              <p:nvPr/>
            </p:nvSpPr>
            <p:spPr>
              <a:xfrm flipV="1">
                <a:off x="3607439" y="1594472"/>
                <a:ext cx="139353" cy="177144"/>
              </a:xfrm>
              <a:custGeom>
                <a:avLst/>
                <a:gdLst>
                  <a:gd name="connsiteX0" fmla="*/ -1960 w 139353"/>
                  <a:gd name="connsiteY0" fmla="*/ 154626 h 177144"/>
                  <a:gd name="connsiteX1" fmla="*/ 130274 w 139353"/>
                  <a:gd name="connsiteY1" fmla="*/ -3436 h 177144"/>
                  <a:gd name="connsiteX2" fmla="*/ 137394 w 139353"/>
                  <a:gd name="connsiteY2" fmla="*/ 32744 h 177144"/>
                  <a:gd name="connsiteX3" fmla="*/ 71961 w 139353"/>
                  <a:gd name="connsiteY3" fmla="*/ 140115 h 177144"/>
                  <a:gd name="connsiteX4" fmla="*/ -1960 w 139353"/>
                  <a:gd name="connsiteY4" fmla="*/ 154626 h 177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353" h="177144">
                    <a:moveTo>
                      <a:pt x="-1960" y="154626"/>
                    </a:moveTo>
                    <a:cubicBezTo>
                      <a:pt x="-1960" y="154626"/>
                      <a:pt x="56778" y="31263"/>
                      <a:pt x="130274" y="-3436"/>
                    </a:cubicBezTo>
                    <a:lnTo>
                      <a:pt x="137394" y="32744"/>
                    </a:lnTo>
                    <a:cubicBezTo>
                      <a:pt x="137394" y="32744"/>
                      <a:pt x="100978" y="74207"/>
                      <a:pt x="71961" y="140115"/>
                    </a:cubicBezTo>
                    <a:cubicBezTo>
                      <a:pt x="42944" y="206023"/>
                      <a:pt x="-1960" y="154626"/>
                      <a:pt x="-1960" y="154626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1" name="Vrije vorm 2210">
                <a:extLst>
                  <a:ext uri="{FF2B5EF4-FFF2-40B4-BE49-F238E27FC236}">
                    <a16:creationId xmlns:a16="http://schemas.microsoft.com/office/drawing/2014/main" id="{A27D118F-CD2A-F07B-3C2B-E92B3CBCE930}"/>
                  </a:ext>
                </a:extLst>
              </p:cNvPr>
              <p:cNvSpPr/>
              <p:nvPr/>
            </p:nvSpPr>
            <p:spPr>
              <a:xfrm flipV="1">
                <a:off x="3608444" y="1397444"/>
                <a:ext cx="191791" cy="230620"/>
              </a:xfrm>
              <a:custGeom>
                <a:avLst/>
                <a:gdLst>
                  <a:gd name="connsiteX0" fmla="*/ 70933 w 191791"/>
                  <a:gd name="connsiteY0" fmla="*/ -3623 h 230620"/>
                  <a:gd name="connsiteX1" fmla="*/ 189809 w 191791"/>
                  <a:gd name="connsiteY1" fmla="*/ 171852 h 230620"/>
                  <a:gd name="connsiteX2" fmla="*/ 124531 w 191791"/>
                  <a:gd name="connsiteY2" fmla="*/ 226998 h 230620"/>
                  <a:gd name="connsiteX3" fmla="*/ -1983 w 191791"/>
                  <a:gd name="connsiteY3" fmla="*/ 15767 h 230620"/>
                  <a:gd name="connsiteX4" fmla="*/ 70933 w 191791"/>
                  <a:gd name="connsiteY4" fmla="*/ -3623 h 230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791" h="230620">
                    <a:moveTo>
                      <a:pt x="70933" y="-3623"/>
                    </a:moveTo>
                    <a:lnTo>
                      <a:pt x="189809" y="171852"/>
                    </a:lnTo>
                    <a:lnTo>
                      <a:pt x="124531" y="226998"/>
                    </a:lnTo>
                    <a:lnTo>
                      <a:pt x="-1983" y="15767"/>
                    </a:lnTo>
                    <a:lnTo>
                      <a:pt x="70933" y="-3623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2" name="Vrije vorm 2211">
                <a:extLst>
                  <a:ext uri="{FF2B5EF4-FFF2-40B4-BE49-F238E27FC236}">
                    <a16:creationId xmlns:a16="http://schemas.microsoft.com/office/drawing/2014/main" id="{AF593494-8DFF-F2AA-66D3-5C881F75E2A5}"/>
                  </a:ext>
                </a:extLst>
              </p:cNvPr>
              <p:cNvSpPr/>
              <p:nvPr/>
            </p:nvSpPr>
            <p:spPr>
              <a:xfrm flipV="1">
                <a:off x="3596071" y="1576596"/>
                <a:ext cx="103155" cy="64892"/>
              </a:xfrm>
              <a:custGeom>
                <a:avLst/>
                <a:gdLst>
                  <a:gd name="connsiteX0" fmla="*/ 101220 w 103155"/>
                  <a:gd name="connsiteY0" fmla="*/ 31731 h 64892"/>
                  <a:gd name="connsiteX1" fmla="*/ 18003 w 103155"/>
                  <a:gd name="connsiteY1" fmla="*/ 61375 h 64892"/>
                  <a:gd name="connsiteX2" fmla="*/ -1935 w 103155"/>
                  <a:gd name="connsiteY2" fmla="*/ 28800 h 64892"/>
                  <a:gd name="connsiteX3" fmla="*/ 88805 w 103155"/>
                  <a:gd name="connsiteY3" fmla="*/ -3517 h 64892"/>
                  <a:gd name="connsiteX4" fmla="*/ 101220 w 103155"/>
                  <a:gd name="connsiteY4" fmla="*/ 31731 h 64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155" h="64892">
                    <a:moveTo>
                      <a:pt x="101220" y="31731"/>
                    </a:moveTo>
                    <a:lnTo>
                      <a:pt x="18003" y="61375"/>
                    </a:lnTo>
                    <a:lnTo>
                      <a:pt x="-1935" y="28800"/>
                    </a:lnTo>
                    <a:lnTo>
                      <a:pt x="88805" y="-3517"/>
                    </a:lnTo>
                    <a:lnTo>
                      <a:pt x="101220" y="31731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3" name="Vrije vorm 2212">
                <a:extLst>
                  <a:ext uri="{FF2B5EF4-FFF2-40B4-BE49-F238E27FC236}">
                    <a16:creationId xmlns:a16="http://schemas.microsoft.com/office/drawing/2014/main" id="{B645E64A-862D-ED65-6C36-D57D417ED1CD}"/>
                  </a:ext>
                </a:extLst>
              </p:cNvPr>
              <p:cNvSpPr/>
              <p:nvPr/>
            </p:nvSpPr>
            <p:spPr>
              <a:xfrm flipV="1">
                <a:off x="3724833" y="1680583"/>
                <a:ext cx="67506" cy="92936"/>
              </a:xfrm>
              <a:custGeom>
                <a:avLst/>
                <a:gdLst>
                  <a:gd name="connsiteX0" fmla="*/ -2028 w 67506"/>
                  <a:gd name="connsiteY0" fmla="*/ 7349 h 92936"/>
                  <a:gd name="connsiteX1" fmla="*/ 33766 w 67506"/>
                  <a:gd name="connsiteY1" fmla="*/ 42401 h 92936"/>
                  <a:gd name="connsiteX2" fmla="*/ 41093 w 67506"/>
                  <a:gd name="connsiteY2" fmla="*/ 57493 h 92936"/>
                  <a:gd name="connsiteX3" fmla="*/ 38409 w 67506"/>
                  <a:gd name="connsiteY3" fmla="*/ 68886 h 92936"/>
                  <a:gd name="connsiteX4" fmla="*/ 17838 w 67506"/>
                  <a:gd name="connsiteY4" fmla="*/ 71704 h 92936"/>
                  <a:gd name="connsiteX5" fmla="*/ 3340 w 67506"/>
                  <a:gd name="connsiteY5" fmla="*/ 29018 h 92936"/>
                  <a:gd name="connsiteX6" fmla="*/ -2028 w 67506"/>
                  <a:gd name="connsiteY6" fmla="*/ 7349 h 92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506" h="92936">
                    <a:moveTo>
                      <a:pt x="-2028" y="7349"/>
                    </a:moveTo>
                    <a:cubicBezTo>
                      <a:pt x="-2028" y="7349"/>
                      <a:pt x="36170" y="-32881"/>
                      <a:pt x="33766" y="42401"/>
                    </a:cubicBezTo>
                    <a:cubicBezTo>
                      <a:pt x="33766" y="42401"/>
                      <a:pt x="90163" y="48129"/>
                      <a:pt x="41093" y="57493"/>
                    </a:cubicBezTo>
                    <a:cubicBezTo>
                      <a:pt x="41093" y="57493"/>
                      <a:pt x="97707" y="73320"/>
                      <a:pt x="38409" y="68886"/>
                    </a:cubicBezTo>
                    <a:cubicBezTo>
                      <a:pt x="38409" y="68886"/>
                      <a:pt x="86795" y="113436"/>
                      <a:pt x="17838" y="71704"/>
                    </a:cubicBezTo>
                    <a:cubicBezTo>
                      <a:pt x="17838" y="71704"/>
                      <a:pt x="3900" y="61936"/>
                      <a:pt x="3340" y="29018"/>
                    </a:cubicBezTo>
                    <a:lnTo>
                      <a:pt x="-2028" y="7349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2257" name="Vrije vorm 2256">
              <a:extLst>
                <a:ext uri="{FF2B5EF4-FFF2-40B4-BE49-F238E27FC236}">
                  <a16:creationId xmlns:a16="http://schemas.microsoft.com/office/drawing/2014/main" id="{1880F8EB-4527-A0E8-DDC6-C973D18512BE}"/>
                </a:ext>
              </a:extLst>
            </p:cNvPr>
            <p:cNvSpPr/>
            <p:nvPr/>
          </p:nvSpPr>
          <p:spPr>
            <a:xfrm flipH="1" flipV="1">
              <a:off x="4292989" y="1060540"/>
              <a:ext cx="714998" cy="528767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dirty="0"/>
            </a:p>
          </p:txBody>
        </p:sp>
        <p:grpSp>
          <p:nvGrpSpPr>
            <p:cNvPr id="2262" name="Groep 2261">
              <a:extLst>
                <a:ext uri="{FF2B5EF4-FFF2-40B4-BE49-F238E27FC236}">
                  <a16:creationId xmlns:a16="http://schemas.microsoft.com/office/drawing/2014/main" id="{DBFC7257-7A59-D3F4-94D8-33C1BF3E202A}"/>
                </a:ext>
              </a:extLst>
            </p:cNvPr>
            <p:cNvGrpSpPr/>
            <p:nvPr/>
          </p:nvGrpSpPr>
          <p:grpSpPr>
            <a:xfrm>
              <a:off x="4327649" y="1446834"/>
              <a:ext cx="599104" cy="194023"/>
              <a:chOff x="4327649" y="1446834"/>
              <a:chExt cx="599104" cy="194023"/>
            </a:xfrm>
          </p:grpSpPr>
          <p:sp>
            <p:nvSpPr>
              <p:cNvPr id="2258" name="Vrije vorm 2257">
                <a:extLst>
                  <a:ext uri="{FF2B5EF4-FFF2-40B4-BE49-F238E27FC236}">
                    <a16:creationId xmlns:a16="http://schemas.microsoft.com/office/drawing/2014/main" id="{E4396E65-836C-E7DB-E6F0-0FB5193DFD78}"/>
                  </a:ext>
                </a:extLst>
              </p:cNvPr>
              <p:cNvSpPr/>
              <p:nvPr/>
            </p:nvSpPr>
            <p:spPr>
              <a:xfrm flipV="1">
                <a:off x="4327649" y="1460857"/>
                <a:ext cx="180000" cy="180000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9" name="Vrije vorm 2258">
                <a:extLst>
                  <a:ext uri="{FF2B5EF4-FFF2-40B4-BE49-F238E27FC236}">
                    <a16:creationId xmlns:a16="http://schemas.microsoft.com/office/drawing/2014/main" id="{821F3876-C4DB-1C18-E816-777C8E5AE327}"/>
                  </a:ext>
                </a:extLst>
              </p:cNvPr>
              <p:cNvSpPr/>
              <p:nvPr/>
            </p:nvSpPr>
            <p:spPr>
              <a:xfrm flipV="1">
                <a:off x="4575074" y="1446834"/>
                <a:ext cx="180000" cy="180000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0" name="Vrije vorm 2259">
                <a:extLst>
                  <a:ext uri="{FF2B5EF4-FFF2-40B4-BE49-F238E27FC236}">
                    <a16:creationId xmlns:a16="http://schemas.microsoft.com/office/drawing/2014/main" id="{EE0FF516-9D34-D080-5231-06F78D90ADD9}"/>
                  </a:ext>
                </a:extLst>
              </p:cNvPr>
              <p:cNvSpPr/>
              <p:nvPr/>
            </p:nvSpPr>
            <p:spPr>
              <a:xfrm flipV="1">
                <a:off x="4746753" y="1519175"/>
                <a:ext cx="180000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1" name="Vrije vorm 2260">
                <a:extLst>
                  <a:ext uri="{FF2B5EF4-FFF2-40B4-BE49-F238E27FC236}">
                    <a16:creationId xmlns:a16="http://schemas.microsoft.com/office/drawing/2014/main" id="{0139FC2F-F275-1637-71FC-039748278B69}"/>
                  </a:ext>
                </a:extLst>
              </p:cNvPr>
              <p:cNvSpPr/>
              <p:nvPr/>
            </p:nvSpPr>
            <p:spPr>
              <a:xfrm flipV="1">
                <a:off x="4508557" y="1523698"/>
                <a:ext cx="72000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</p:grpSp>
      <p:pic>
        <p:nvPicPr>
          <p:cNvPr id="2265" name="Graphic 2264">
            <a:extLst>
              <a:ext uri="{FF2B5EF4-FFF2-40B4-BE49-F238E27FC236}">
                <a16:creationId xmlns:a16="http://schemas.microsoft.com/office/drawing/2014/main" id="{DC7DDFBB-6CA7-A839-3846-778F62CB0A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4396"/>
            <a:ext cx="12192000" cy="6873851"/>
          </a:xfrm>
          <a:prstGeom prst="rect">
            <a:avLst/>
          </a:prstGeom>
        </p:spPr>
      </p:pic>
      <p:grpSp>
        <p:nvGrpSpPr>
          <p:cNvPr id="2332" name="Groep 2331">
            <a:extLst>
              <a:ext uri="{FF2B5EF4-FFF2-40B4-BE49-F238E27FC236}">
                <a16:creationId xmlns:a16="http://schemas.microsoft.com/office/drawing/2014/main" id="{EE3B40AC-D7E8-AFBC-51C3-6437106EFF6F}"/>
              </a:ext>
            </a:extLst>
          </p:cNvPr>
          <p:cNvGrpSpPr/>
          <p:nvPr/>
        </p:nvGrpSpPr>
        <p:grpSpPr>
          <a:xfrm>
            <a:off x="5735098" y="2323024"/>
            <a:ext cx="1771140" cy="3977567"/>
            <a:chOff x="5199678" y="2512723"/>
            <a:chExt cx="1771140" cy="3977567"/>
          </a:xfrm>
        </p:grpSpPr>
        <p:grpSp>
          <p:nvGrpSpPr>
            <p:cNvPr id="51" name="Groep 50">
              <a:extLst>
                <a:ext uri="{FF2B5EF4-FFF2-40B4-BE49-F238E27FC236}">
                  <a16:creationId xmlns:a16="http://schemas.microsoft.com/office/drawing/2014/main" id="{2ADF297A-E5D5-E376-0A69-FFE49B8C2F4B}"/>
                </a:ext>
              </a:extLst>
            </p:cNvPr>
            <p:cNvGrpSpPr/>
            <p:nvPr/>
          </p:nvGrpSpPr>
          <p:grpSpPr>
            <a:xfrm>
              <a:off x="5199678" y="2524714"/>
              <a:ext cx="1771140" cy="3965576"/>
              <a:chOff x="7905572" y="1590935"/>
              <a:chExt cx="580127" cy="1500679"/>
            </a:xfrm>
          </p:grpSpPr>
          <p:sp>
            <p:nvSpPr>
              <p:cNvPr id="52" name="Vrije vorm 51">
                <a:extLst>
                  <a:ext uri="{FF2B5EF4-FFF2-40B4-BE49-F238E27FC236}">
                    <a16:creationId xmlns:a16="http://schemas.microsoft.com/office/drawing/2014/main" id="{3203DAA6-2E66-9859-C5C2-D86B1A73850C}"/>
                  </a:ext>
                </a:extLst>
              </p:cNvPr>
              <p:cNvSpPr/>
              <p:nvPr/>
            </p:nvSpPr>
            <p:spPr>
              <a:xfrm rot="2928675" flipV="1">
                <a:off x="8223834" y="1677961"/>
                <a:ext cx="348892" cy="174839"/>
              </a:xfrm>
              <a:custGeom>
                <a:avLst/>
                <a:gdLst>
                  <a:gd name="connsiteX0" fmla="*/ 70677 w 284141"/>
                  <a:gd name="connsiteY0" fmla="*/ 193210 h 214682"/>
                  <a:gd name="connsiteX1" fmla="*/ 70190 w 284141"/>
                  <a:gd name="connsiteY1" fmla="*/ 193344 h 214682"/>
                  <a:gd name="connsiteX2" fmla="*/ 3192 w 284141"/>
                  <a:gd name="connsiteY2" fmla="*/ 207846 h 214682"/>
                  <a:gd name="connsiteX3" fmla="*/ 17535 w 284141"/>
                  <a:gd name="connsiteY3" fmla="*/ 142849 h 214682"/>
                  <a:gd name="connsiteX4" fmla="*/ 37194 w 284141"/>
                  <a:gd name="connsiteY4" fmla="*/ 163047 h 214682"/>
                  <a:gd name="connsiteX5" fmla="*/ 65589 w 284141"/>
                  <a:gd name="connsiteY5" fmla="*/ 155932 h 214682"/>
                  <a:gd name="connsiteX6" fmla="*/ 188621 w 284141"/>
                  <a:gd name="connsiteY6" fmla="*/ 70271 h 214682"/>
                  <a:gd name="connsiteX7" fmla="*/ 222664 w 284141"/>
                  <a:gd name="connsiteY7" fmla="*/ -2453 h 214682"/>
                  <a:gd name="connsiteX8" fmla="*/ 278790 w 284141"/>
                  <a:gd name="connsiteY8" fmla="*/ 63476 h 214682"/>
                  <a:gd name="connsiteX9" fmla="*/ 70677 w 284141"/>
                  <a:gd name="connsiteY9" fmla="*/ 193210 h 214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4141" h="214682">
                    <a:moveTo>
                      <a:pt x="70677" y="193210"/>
                    </a:moveTo>
                    <a:lnTo>
                      <a:pt x="70190" y="193344"/>
                    </a:lnTo>
                    <a:cubicBezTo>
                      <a:pt x="70190" y="193344"/>
                      <a:pt x="18343" y="219302"/>
                      <a:pt x="3192" y="207846"/>
                    </a:cubicBezTo>
                    <a:cubicBezTo>
                      <a:pt x="-11969" y="196390"/>
                      <a:pt x="-6808" y="153114"/>
                      <a:pt x="17535" y="142849"/>
                    </a:cubicBezTo>
                    <a:cubicBezTo>
                      <a:pt x="41878" y="132585"/>
                      <a:pt x="37194" y="163047"/>
                      <a:pt x="37194" y="163047"/>
                    </a:cubicBezTo>
                    <a:cubicBezTo>
                      <a:pt x="37194" y="163047"/>
                      <a:pt x="56303" y="148111"/>
                      <a:pt x="65589" y="155932"/>
                    </a:cubicBezTo>
                    <a:cubicBezTo>
                      <a:pt x="131063" y="104349"/>
                      <a:pt x="188621" y="70271"/>
                      <a:pt x="188621" y="70271"/>
                    </a:cubicBezTo>
                    <a:cubicBezTo>
                      <a:pt x="188621" y="70271"/>
                      <a:pt x="195574" y="-16115"/>
                      <a:pt x="222664" y="-2453"/>
                    </a:cubicBezTo>
                    <a:cubicBezTo>
                      <a:pt x="231690" y="2105"/>
                      <a:pt x="275734" y="35779"/>
                      <a:pt x="278790" y="63476"/>
                    </a:cubicBezTo>
                    <a:cubicBezTo>
                      <a:pt x="277319" y="133610"/>
                      <a:pt x="80792" y="190341"/>
                      <a:pt x="70677" y="193210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4" name="Vrije vorm 53">
                <a:extLst>
                  <a:ext uri="{FF2B5EF4-FFF2-40B4-BE49-F238E27FC236}">
                    <a16:creationId xmlns:a16="http://schemas.microsoft.com/office/drawing/2014/main" id="{96A7574F-DF6B-EB22-B53E-F552531C0803}"/>
                  </a:ext>
                </a:extLst>
              </p:cNvPr>
              <p:cNvSpPr/>
              <p:nvPr/>
            </p:nvSpPr>
            <p:spPr>
              <a:xfrm flipV="1">
                <a:off x="8260940" y="1865821"/>
                <a:ext cx="208814" cy="167923"/>
              </a:xfrm>
              <a:custGeom>
                <a:avLst/>
                <a:gdLst>
                  <a:gd name="connsiteX0" fmla="*/ 130404 w 208814"/>
                  <a:gd name="connsiteY0" fmla="*/ 164140 h 167923"/>
                  <a:gd name="connsiteX1" fmla="*/ 7124 w 208814"/>
                  <a:gd name="connsiteY1" fmla="*/ 75962 h 167923"/>
                  <a:gd name="connsiteX2" fmla="*/ 30109 w 208814"/>
                  <a:gd name="connsiteY2" fmla="*/ -3784 h 167923"/>
                  <a:gd name="connsiteX3" fmla="*/ 203444 w 208814"/>
                  <a:gd name="connsiteY3" fmla="*/ 124997 h 167923"/>
                  <a:gd name="connsiteX4" fmla="*/ 130404 w 208814"/>
                  <a:gd name="connsiteY4" fmla="*/ 164140 h 167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8814" h="167923">
                    <a:moveTo>
                      <a:pt x="130404" y="164140"/>
                    </a:moveTo>
                    <a:cubicBezTo>
                      <a:pt x="130404" y="164140"/>
                      <a:pt x="12398" y="85958"/>
                      <a:pt x="7124" y="75962"/>
                    </a:cubicBezTo>
                    <a:cubicBezTo>
                      <a:pt x="-30941" y="3767"/>
                      <a:pt x="30109" y="-3784"/>
                      <a:pt x="30109" y="-3784"/>
                    </a:cubicBezTo>
                    <a:lnTo>
                      <a:pt x="203444" y="124997"/>
                    </a:lnTo>
                    <a:lnTo>
                      <a:pt x="130404" y="164140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5" name="Vrije vorm 54">
                <a:extLst>
                  <a:ext uri="{FF2B5EF4-FFF2-40B4-BE49-F238E27FC236}">
                    <a16:creationId xmlns:a16="http://schemas.microsoft.com/office/drawing/2014/main" id="{80D20954-0163-DE1D-3C1F-CCC551C03C5A}"/>
                  </a:ext>
                </a:extLst>
              </p:cNvPr>
              <p:cNvSpPr/>
              <p:nvPr/>
            </p:nvSpPr>
            <p:spPr>
              <a:xfrm flipV="1">
                <a:off x="8384973" y="1860611"/>
                <a:ext cx="96398" cy="71076"/>
              </a:xfrm>
              <a:custGeom>
                <a:avLst/>
                <a:gdLst>
                  <a:gd name="connsiteX0" fmla="*/ -5428 w 96398"/>
                  <a:gd name="connsiteY0" fmla="*/ 55436 h 71076"/>
                  <a:gd name="connsiteX1" fmla="*/ 60057 w 96398"/>
                  <a:gd name="connsiteY1" fmla="*/ -3842 h 71076"/>
                  <a:gd name="connsiteX2" fmla="*/ 90971 w 96398"/>
                  <a:gd name="connsiteY2" fmla="*/ 18603 h 71076"/>
                  <a:gd name="connsiteX3" fmla="*/ 3277 w 96398"/>
                  <a:gd name="connsiteY3" fmla="*/ 67234 h 71076"/>
                  <a:gd name="connsiteX4" fmla="*/ -5428 w 96398"/>
                  <a:gd name="connsiteY4" fmla="*/ 55436 h 71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398" h="71076">
                    <a:moveTo>
                      <a:pt x="-5428" y="55436"/>
                    </a:moveTo>
                    <a:lnTo>
                      <a:pt x="60057" y="-3842"/>
                    </a:lnTo>
                    <a:lnTo>
                      <a:pt x="90971" y="18603"/>
                    </a:lnTo>
                    <a:lnTo>
                      <a:pt x="3277" y="67234"/>
                    </a:lnTo>
                    <a:lnTo>
                      <a:pt x="-5428" y="55436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6" name="Vrije vorm 55">
                <a:extLst>
                  <a:ext uri="{FF2B5EF4-FFF2-40B4-BE49-F238E27FC236}">
                    <a16:creationId xmlns:a16="http://schemas.microsoft.com/office/drawing/2014/main" id="{F6A89FD2-3F7A-FC8A-7E27-7B050F1C7175}"/>
                  </a:ext>
                </a:extLst>
              </p:cNvPr>
              <p:cNvSpPr/>
              <p:nvPr/>
            </p:nvSpPr>
            <p:spPr>
              <a:xfrm flipV="1">
                <a:off x="7917532" y="2167557"/>
                <a:ext cx="158307" cy="158377"/>
              </a:xfrm>
              <a:custGeom>
                <a:avLst/>
                <a:gdLst>
                  <a:gd name="connsiteX0" fmla="*/ -5063 w 158307"/>
                  <a:gd name="connsiteY0" fmla="*/ 129424 h 158377"/>
                  <a:gd name="connsiteX1" fmla="*/ 152478 w 158307"/>
                  <a:gd name="connsiteY1" fmla="*/ -3459 h 158377"/>
                  <a:gd name="connsiteX2" fmla="*/ 153245 w 158307"/>
                  <a:gd name="connsiteY2" fmla="*/ 33416 h 158377"/>
                  <a:gd name="connsiteX3" fmla="*/ 70247 w 158307"/>
                  <a:gd name="connsiteY3" fmla="*/ 127881 h 158377"/>
                  <a:gd name="connsiteX4" fmla="*/ -5063 w 158307"/>
                  <a:gd name="connsiteY4" fmla="*/ 129424 h 158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307" h="158377">
                    <a:moveTo>
                      <a:pt x="-5063" y="129424"/>
                    </a:moveTo>
                    <a:cubicBezTo>
                      <a:pt x="-5063" y="129424"/>
                      <a:pt x="74091" y="18044"/>
                      <a:pt x="152478" y="-3459"/>
                    </a:cubicBezTo>
                    <a:lnTo>
                      <a:pt x="153245" y="33416"/>
                    </a:lnTo>
                    <a:cubicBezTo>
                      <a:pt x="153245" y="33416"/>
                      <a:pt x="110217" y="67980"/>
                      <a:pt x="70247" y="127881"/>
                    </a:cubicBezTo>
                    <a:cubicBezTo>
                      <a:pt x="30297" y="187802"/>
                      <a:pt x="-5063" y="129424"/>
                      <a:pt x="-5063" y="129424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7" name="Vrije vorm 56">
                <a:extLst>
                  <a:ext uri="{FF2B5EF4-FFF2-40B4-BE49-F238E27FC236}">
                    <a16:creationId xmlns:a16="http://schemas.microsoft.com/office/drawing/2014/main" id="{997E7A3C-A82A-F7ED-8245-2F61B2530F98}"/>
                  </a:ext>
                </a:extLst>
              </p:cNvPr>
              <p:cNvSpPr/>
              <p:nvPr/>
            </p:nvSpPr>
            <p:spPr>
              <a:xfrm flipV="1">
                <a:off x="8037465" y="2963510"/>
                <a:ext cx="46292" cy="90725"/>
              </a:xfrm>
              <a:custGeom>
                <a:avLst/>
                <a:gdLst>
                  <a:gd name="connsiteX0" fmla="*/ 41176 w 46292"/>
                  <a:gd name="connsiteY0" fmla="*/ 80788 h 90725"/>
                  <a:gd name="connsiteX1" fmla="*/ 27290 w 46292"/>
                  <a:gd name="connsiteY1" fmla="*/ -2625 h 90725"/>
                  <a:gd name="connsiteX2" fmla="*/ -5116 w 46292"/>
                  <a:gd name="connsiteY2" fmla="*/ -2625 h 90725"/>
                  <a:gd name="connsiteX3" fmla="*/ 5724 w 46292"/>
                  <a:gd name="connsiteY3" fmla="*/ 88101 h 90725"/>
                  <a:gd name="connsiteX4" fmla="*/ 41176 w 46292"/>
                  <a:gd name="connsiteY4" fmla="*/ 8078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92" h="90725">
                    <a:moveTo>
                      <a:pt x="41176" y="80788"/>
                    </a:moveTo>
                    <a:lnTo>
                      <a:pt x="27290" y="-2625"/>
                    </a:lnTo>
                    <a:lnTo>
                      <a:pt x="-5116" y="-2625"/>
                    </a:lnTo>
                    <a:lnTo>
                      <a:pt x="5724" y="88101"/>
                    </a:lnTo>
                    <a:lnTo>
                      <a:pt x="41176" y="8078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8" name="Vrije vorm 57">
                <a:extLst>
                  <a:ext uri="{FF2B5EF4-FFF2-40B4-BE49-F238E27FC236}">
                    <a16:creationId xmlns:a16="http://schemas.microsoft.com/office/drawing/2014/main" id="{CF847405-0908-7527-D9E9-7C19B7ADBCF1}"/>
                  </a:ext>
                </a:extLst>
              </p:cNvPr>
              <p:cNvSpPr/>
              <p:nvPr/>
            </p:nvSpPr>
            <p:spPr>
              <a:xfrm flipV="1">
                <a:off x="7929675" y="3014699"/>
                <a:ext cx="154082" cy="76915"/>
              </a:xfrm>
              <a:custGeom>
                <a:avLst/>
                <a:gdLst>
                  <a:gd name="connsiteX0" fmla="*/ 92895 w 154082"/>
                  <a:gd name="connsiteY0" fmla="*/ 74339 h 76915"/>
                  <a:gd name="connsiteX1" fmla="*/ 46374 w 154082"/>
                  <a:gd name="connsiteY1" fmla="*/ 41888 h 76915"/>
                  <a:gd name="connsiteX2" fmla="*/ -4954 w 154082"/>
                  <a:gd name="connsiteY2" fmla="*/ 5852 h 76915"/>
                  <a:gd name="connsiteX3" fmla="*/ 104532 w 154082"/>
                  <a:gd name="connsiteY3" fmla="*/ 8152 h 76915"/>
                  <a:gd name="connsiteX4" fmla="*/ 104532 w 154082"/>
                  <a:gd name="connsiteY4" fmla="*/ 1005 h 76915"/>
                  <a:gd name="connsiteX5" fmla="*/ 149011 w 154082"/>
                  <a:gd name="connsiteY5" fmla="*/ 2952 h 76915"/>
                  <a:gd name="connsiteX6" fmla="*/ 149011 w 154082"/>
                  <a:gd name="connsiteY6" fmla="*/ 62003 h 76915"/>
                  <a:gd name="connsiteX7" fmla="*/ 112056 w 154082"/>
                  <a:gd name="connsiteY7" fmla="*/ 59414 h 76915"/>
                  <a:gd name="connsiteX8" fmla="*/ 114792 w 154082"/>
                  <a:gd name="connsiteY8" fmla="*/ 65245 h 76915"/>
                  <a:gd name="connsiteX9" fmla="*/ 92895 w 154082"/>
                  <a:gd name="connsiteY9" fmla="*/ 74339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4082" h="76915">
                    <a:moveTo>
                      <a:pt x="92895" y="74339"/>
                    </a:moveTo>
                    <a:cubicBezTo>
                      <a:pt x="92895" y="74339"/>
                      <a:pt x="74428" y="50319"/>
                      <a:pt x="46374" y="41888"/>
                    </a:cubicBezTo>
                    <a:cubicBezTo>
                      <a:pt x="18331" y="33446"/>
                      <a:pt x="-7006" y="22725"/>
                      <a:pt x="-4954" y="5852"/>
                    </a:cubicBezTo>
                    <a:cubicBezTo>
                      <a:pt x="-4954" y="5852"/>
                      <a:pt x="36799" y="-14563"/>
                      <a:pt x="104532" y="8152"/>
                    </a:cubicBezTo>
                    <a:lnTo>
                      <a:pt x="104532" y="1005"/>
                    </a:lnTo>
                    <a:lnTo>
                      <a:pt x="149011" y="2952"/>
                    </a:lnTo>
                    <a:lnTo>
                      <a:pt x="149011" y="62003"/>
                    </a:lnTo>
                    <a:lnTo>
                      <a:pt x="112056" y="59414"/>
                    </a:lnTo>
                    <a:lnTo>
                      <a:pt x="114792" y="65245"/>
                    </a:lnTo>
                    <a:lnTo>
                      <a:pt x="92895" y="74339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9" name="Vrije vorm 58">
                <a:extLst>
                  <a:ext uri="{FF2B5EF4-FFF2-40B4-BE49-F238E27FC236}">
                    <a16:creationId xmlns:a16="http://schemas.microsoft.com/office/drawing/2014/main" id="{588EC7E9-F906-0273-E2BC-6E9E34BC9BF9}"/>
                  </a:ext>
                </a:extLst>
              </p:cNvPr>
              <p:cNvSpPr/>
              <p:nvPr/>
            </p:nvSpPr>
            <p:spPr>
              <a:xfrm flipV="1">
                <a:off x="7929715" y="3074000"/>
                <a:ext cx="154041" cy="17614"/>
              </a:xfrm>
              <a:custGeom>
                <a:avLst/>
                <a:gdLst>
                  <a:gd name="connsiteX0" fmla="*/ 75019 w 154041"/>
                  <a:gd name="connsiteY0" fmla="*/ 7356 h 17614"/>
                  <a:gd name="connsiteX1" fmla="*/ -4643 w 154041"/>
                  <a:gd name="connsiteY1" fmla="*/ 10277 h 17614"/>
                  <a:gd name="connsiteX2" fmla="*/ -4995 w 154041"/>
                  <a:gd name="connsiteY2" fmla="*/ 5885 h 17614"/>
                  <a:gd name="connsiteX3" fmla="*/ 104492 w 154041"/>
                  <a:gd name="connsiteY3" fmla="*/ 8184 h 17614"/>
                  <a:gd name="connsiteX4" fmla="*/ 104492 w 154041"/>
                  <a:gd name="connsiteY4" fmla="*/ 1037 h 17614"/>
                  <a:gd name="connsiteX5" fmla="*/ 148971 w 154041"/>
                  <a:gd name="connsiteY5" fmla="*/ 2985 h 17614"/>
                  <a:gd name="connsiteX6" fmla="*/ 148971 w 154041"/>
                  <a:gd name="connsiteY6" fmla="*/ 14761 h 17614"/>
                  <a:gd name="connsiteX7" fmla="*/ 75019 w 154041"/>
                  <a:gd name="connsiteY7" fmla="*/ 7356 h 17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041" h="17614">
                    <a:moveTo>
                      <a:pt x="75019" y="7356"/>
                    </a:moveTo>
                    <a:cubicBezTo>
                      <a:pt x="14312" y="-8244"/>
                      <a:pt x="-1099" y="9075"/>
                      <a:pt x="-4643" y="10277"/>
                    </a:cubicBezTo>
                    <a:cubicBezTo>
                      <a:pt x="-5036" y="8816"/>
                      <a:pt x="-5171" y="7356"/>
                      <a:pt x="-4995" y="5885"/>
                    </a:cubicBezTo>
                    <a:cubicBezTo>
                      <a:pt x="-4995" y="5885"/>
                      <a:pt x="36758" y="-14531"/>
                      <a:pt x="104492" y="8184"/>
                    </a:cubicBezTo>
                    <a:lnTo>
                      <a:pt x="104492" y="1037"/>
                    </a:lnTo>
                    <a:lnTo>
                      <a:pt x="148971" y="2985"/>
                    </a:lnTo>
                    <a:lnTo>
                      <a:pt x="148971" y="14761"/>
                    </a:lnTo>
                    <a:cubicBezTo>
                      <a:pt x="133084" y="13809"/>
                      <a:pt x="119767" y="18863"/>
                      <a:pt x="75019" y="7356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0" name="Vrije vorm 59">
                <a:extLst>
                  <a:ext uri="{FF2B5EF4-FFF2-40B4-BE49-F238E27FC236}">
                    <a16:creationId xmlns:a16="http://schemas.microsoft.com/office/drawing/2014/main" id="{60086C4F-D11E-1780-616F-6824B1663B2B}"/>
                  </a:ext>
                </a:extLst>
              </p:cNvPr>
              <p:cNvSpPr/>
              <p:nvPr/>
            </p:nvSpPr>
            <p:spPr>
              <a:xfrm flipV="1">
                <a:off x="8011489" y="3027039"/>
                <a:ext cx="23934" cy="22058"/>
              </a:xfrm>
              <a:custGeom>
                <a:avLst/>
                <a:gdLst>
                  <a:gd name="connsiteX0" fmla="*/ 17233 w 23934"/>
                  <a:gd name="connsiteY0" fmla="*/ -2593 h 22058"/>
                  <a:gd name="connsiteX1" fmla="*/ 15606 w 23934"/>
                  <a:gd name="connsiteY1" fmla="*/ -1733 h 22058"/>
                  <a:gd name="connsiteX2" fmla="*/ -3794 w 23934"/>
                  <a:gd name="connsiteY2" fmla="*/ 15678 h 22058"/>
                  <a:gd name="connsiteX3" fmla="*/ -4965 w 23934"/>
                  <a:gd name="connsiteY3" fmla="*/ 18175 h 22058"/>
                  <a:gd name="connsiteX4" fmla="*/ -2468 w 23934"/>
                  <a:gd name="connsiteY4" fmla="*/ 19356 h 22058"/>
                  <a:gd name="connsiteX5" fmla="*/ 18849 w 23934"/>
                  <a:gd name="connsiteY5" fmla="*/ 442 h 22058"/>
                  <a:gd name="connsiteX6" fmla="*/ 18321 w 23934"/>
                  <a:gd name="connsiteY6" fmla="*/ -2261 h 22058"/>
                  <a:gd name="connsiteX7" fmla="*/ 17233 w 23934"/>
                  <a:gd name="connsiteY7" fmla="*/ -259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4" h="22058">
                    <a:moveTo>
                      <a:pt x="17233" y="-2593"/>
                    </a:moveTo>
                    <a:lnTo>
                      <a:pt x="15606" y="-1733"/>
                    </a:lnTo>
                    <a:cubicBezTo>
                      <a:pt x="6496" y="11856"/>
                      <a:pt x="-3691" y="15647"/>
                      <a:pt x="-3794" y="15678"/>
                    </a:cubicBezTo>
                    <a:cubicBezTo>
                      <a:pt x="-4809" y="16051"/>
                      <a:pt x="-5338" y="17170"/>
                      <a:pt x="-4965" y="18175"/>
                    </a:cubicBezTo>
                    <a:cubicBezTo>
                      <a:pt x="-4592" y="19190"/>
                      <a:pt x="-3483" y="19708"/>
                      <a:pt x="-2468" y="19356"/>
                    </a:cubicBezTo>
                    <a:cubicBezTo>
                      <a:pt x="-2001" y="19180"/>
                      <a:pt x="9025" y="15078"/>
                      <a:pt x="18849" y="442"/>
                    </a:cubicBezTo>
                    <a:lnTo>
                      <a:pt x="18321" y="-2261"/>
                    </a:lnTo>
                    <a:lnTo>
                      <a:pt x="17233" y="-259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1" name="Vrije vorm 60">
                <a:extLst>
                  <a:ext uri="{FF2B5EF4-FFF2-40B4-BE49-F238E27FC236}">
                    <a16:creationId xmlns:a16="http://schemas.microsoft.com/office/drawing/2014/main" id="{23770D8F-DAEA-C3A4-4CE6-E80DD08F19C7}"/>
                  </a:ext>
                </a:extLst>
              </p:cNvPr>
              <p:cNvSpPr/>
              <p:nvPr/>
            </p:nvSpPr>
            <p:spPr>
              <a:xfrm flipV="1">
                <a:off x="8001307" y="3031607"/>
                <a:ext cx="23939" cy="22058"/>
              </a:xfrm>
              <a:custGeom>
                <a:avLst/>
                <a:gdLst>
                  <a:gd name="connsiteX0" fmla="*/ 17246 w 23939"/>
                  <a:gd name="connsiteY0" fmla="*/ -2588 h 22058"/>
                  <a:gd name="connsiteX1" fmla="*/ 15629 w 23939"/>
                  <a:gd name="connsiteY1" fmla="*/ -1728 h 22058"/>
                  <a:gd name="connsiteX2" fmla="*/ -3781 w 23939"/>
                  <a:gd name="connsiteY2" fmla="*/ 15683 h 22058"/>
                  <a:gd name="connsiteX3" fmla="*/ -4962 w 23939"/>
                  <a:gd name="connsiteY3" fmla="*/ 18180 h 22058"/>
                  <a:gd name="connsiteX4" fmla="*/ -2465 w 23939"/>
                  <a:gd name="connsiteY4" fmla="*/ 19361 h 22058"/>
                  <a:gd name="connsiteX5" fmla="*/ 18863 w 23939"/>
                  <a:gd name="connsiteY5" fmla="*/ 447 h 22058"/>
                  <a:gd name="connsiteX6" fmla="*/ 18324 w 23939"/>
                  <a:gd name="connsiteY6" fmla="*/ -2257 h 22058"/>
                  <a:gd name="connsiteX7" fmla="*/ 17246 w 23939"/>
                  <a:gd name="connsiteY7" fmla="*/ -2588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8">
                    <a:moveTo>
                      <a:pt x="17246" y="-2588"/>
                    </a:moveTo>
                    <a:lnTo>
                      <a:pt x="15629" y="-1728"/>
                    </a:lnTo>
                    <a:cubicBezTo>
                      <a:pt x="6510" y="11861"/>
                      <a:pt x="-3677" y="15652"/>
                      <a:pt x="-3781" y="15683"/>
                    </a:cubicBezTo>
                    <a:cubicBezTo>
                      <a:pt x="-4796" y="16046"/>
                      <a:pt x="-5325" y="17165"/>
                      <a:pt x="-4962" y="18180"/>
                    </a:cubicBezTo>
                    <a:cubicBezTo>
                      <a:pt x="-4589" y="19195"/>
                      <a:pt x="-3459" y="19713"/>
                      <a:pt x="-2465" y="19361"/>
                    </a:cubicBezTo>
                    <a:cubicBezTo>
                      <a:pt x="-1998" y="19195"/>
                      <a:pt x="9039" y="15083"/>
                      <a:pt x="18863" y="447"/>
                    </a:cubicBezTo>
                    <a:lnTo>
                      <a:pt x="18324" y="-2257"/>
                    </a:lnTo>
                    <a:lnTo>
                      <a:pt x="17246" y="-258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2" name="Vrije vorm 61">
                <a:extLst>
                  <a:ext uri="{FF2B5EF4-FFF2-40B4-BE49-F238E27FC236}">
                    <a16:creationId xmlns:a16="http://schemas.microsoft.com/office/drawing/2014/main" id="{65D82D7F-F39B-DA06-8B00-371470BACEF9}"/>
                  </a:ext>
                </a:extLst>
              </p:cNvPr>
              <p:cNvSpPr/>
              <p:nvPr/>
            </p:nvSpPr>
            <p:spPr>
              <a:xfrm flipV="1">
                <a:off x="7991138" y="3036119"/>
                <a:ext cx="23931" cy="22063"/>
              </a:xfrm>
              <a:custGeom>
                <a:avLst/>
                <a:gdLst>
                  <a:gd name="connsiteX0" fmla="*/ 17236 w 23931"/>
                  <a:gd name="connsiteY0" fmla="*/ -2583 h 22063"/>
                  <a:gd name="connsiteX1" fmla="*/ 15619 w 23931"/>
                  <a:gd name="connsiteY1" fmla="*/ -1713 h 22063"/>
                  <a:gd name="connsiteX2" fmla="*/ -3791 w 23931"/>
                  <a:gd name="connsiteY2" fmla="*/ 15699 h 22063"/>
                  <a:gd name="connsiteX3" fmla="*/ -4951 w 23931"/>
                  <a:gd name="connsiteY3" fmla="*/ 18195 h 22063"/>
                  <a:gd name="connsiteX4" fmla="*/ -2454 w 23931"/>
                  <a:gd name="connsiteY4" fmla="*/ 19365 h 22063"/>
                  <a:gd name="connsiteX5" fmla="*/ 18864 w 23931"/>
                  <a:gd name="connsiteY5" fmla="*/ 452 h 22063"/>
                  <a:gd name="connsiteX6" fmla="*/ 18325 w 23931"/>
                  <a:gd name="connsiteY6" fmla="*/ -2252 h 22063"/>
                  <a:gd name="connsiteX7" fmla="*/ 17236 w 23931"/>
                  <a:gd name="connsiteY7" fmla="*/ -2583 h 22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1" h="22063">
                    <a:moveTo>
                      <a:pt x="17236" y="-2583"/>
                    </a:moveTo>
                    <a:lnTo>
                      <a:pt x="15619" y="-1713"/>
                    </a:lnTo>
                    <a:cubicBezTo>
                      <a:pt x="6562" y="11783"/>
                      <a:pt x="-3687" y="15657"/>
                      <a:pt x="-3791" y="15699"/>
                    </a:cubicBezTo>
                    <a:cubicBezTo>
                      <a:pt x="-4806" y="16072"/>
                      <a:pt x="-5314" y="17190"/>
                      <a:pt x="-4951" y="18195"/>
                    </a:cubicBezTo>
                    <a:cubicBezTo>
                      <a:pt x="-4578" y="19200"/>
                      <a:pt x="-3469" y="19728"/>
                      <a:pt x="-2454" y="19365"/>
                    </a:cubicBezTo>
                    <a:cubicBezTo>
                      <a:pt x="-1987" y="19200"/>
                      <a:pt x="9039" y="15098"/>
                      <a:pt x="18864" y="452"/>
                    </a:cubicBezTo>
                    <a:lnTo>
                      <a:pt x="18325" y="-2252"/>
                    </a:lnTo>
                    <a:lnTo>
                      <a:pt x="17236" y="-258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3" name="Vrije vorm 62">
                <a:extLst>
                  <a:ext uri="{FF2B5EF4-FFF2-40B4-BE49-F238E27FC236}">
                    <a16:creationId xmlns:a16="http://schemas.microsoft.com/office/drawing/2014/main" id="{99E4F7CE-A08F-02DA-2EF3-8D9B78EF9D41}"/>
                  </a:ext>
                </a:extLst>
              </p:cNvPr>
              <p:cNvSpPr/>
              <p:nvPr/>
            </p:nvSpPr>
            <p:spPr>
              <a:xfrm flipV="1">
                <a:off x="8235049" y="2963510"/>
                <a:ext cx="46292" cy="90725"/>
              </a:xfrm>
              <a:custGeom>
                <a:avLst/>
                <a:gdLst>
                  <a:gd name="connsiteX0" fmla="*/ -5281 w 46292"/>
                  <a:gd name="connsiteY0" fmla="*/ 80788 h 90725"/>
                  <a:gd name="connsiteX1" fmla="*/ 8605 w 46292"/>
                  <a:gd name="connsiteY1" fmla="*/ -2625 h 90725"/>
                  <a:gd name="connsiteX2" fmla="*/ 41011 w 46292"/>
                  <a:gd name="connsiteY2" fmla="*/ -2625 h 90725"/>
                  <a:gd name="connsiteX3" fmla="*/ 30171 w 46292"/>
                  <a:gd name="connsiteY3" fmla="*/ 88101 h 90725"/>
                  <a:gd name="connsiteX4" fmla="*/ -5281 w 46292"/>
                  <a:gd name="connsiteY4" fmla="*/ 8078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92" h="90725">
                    <a:moveTo>
                      <a:pt x="-5281" y="80788"/>
                    </a:moveTo>
                    <a:lnTo>
                      <a:pt x="8605" y="-2625"/>
                    </a:lnTo>
                    <a:lnTo>
                      <a:pt x="41011" y="-2625"/>
                    </a:lnTo>
                    <a:lnTo>
                      <a:pt x="30171" y="88101"/>
                    </a:lnTo>
                    <a:lnTo>
                      <a:pt x="-5281" y="8078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0" name="Vrije vorm 2239">
                <a:extLst>
                  <a:ext uri="{FF2B5EF4-FFF2-40B4-BE49-F238E27FC236}">
                    <a16:creationId xmlns:a16="http://schemas.microsoft.com/office/drawing/2014/main" id="{62A9DEDE-F765-0325-0C36-7D50774AE258}"/>
                  </a:ext>
                </a:extLst>
              </p:cNvPr>
              <p:cNvSpPr/>
              <p:nvPr/>
            </p:nvSpPr>
            <p:spPr>
              <a:xfrm flipV="1">
                <a:off x="8235049" y="3014699"/>
                <a:ext cx="157128" cy="76915"/>
              </a:xfrm>
              <a:custGeom>
                <a:avLst/>
                <a:gdLst>
                  <a:gd name="connsiteX0" fmla="*/ 50778 w 157128"/>
                  <a:gd name="connsiteY0" fmla="*/ 74339 h 76915"/>
                  <a:gd name="connsiteX1" fmla="*/ 97299 w 157128"/>
                  <a:gd name="connsiteY1" fmla="*/ 41888 h 76915"/>
                  <a:gd name="connsiteX2" fmla="*/ 151695 w 157128"/>
                  <a:gd name="connsiteY2" fmla="*/ 5852 h 76915"/>
                  <a:gd name="connsiteX3" fmla="*/ 39151 w 157128"/>
                  <a:gd name="connsiteY3" fmla="*/ 8152 h 76915"/>
                  <a:gd name="connsiteX4" fmla="*/ 39151 w 157128"/>
                  <a:gd name="connsiteY4" fmla="*/ 1005 h 76915"/>
                  <a:gd name="connsiteX5" fmla="*/ -5328 w 157128"/>
                  <a:gd name="connsiteY5" fmla="*/ 2952 h 76915"/>
                  <a:gd name="connsiteX6" fmla="*/ -5328 w 157128"/>
                  <a:gd name="connsiteY6" fmla="*/ 62003 h 76915"/>
                  <a:gd name="connsiteX7" fmla="*/ 31627 w 157128"/>
                  <a:gd name="connsiteY7" fmla="*/ 59414 h 76915"/>
                  <a:gd name="connsiteX8" fmla="*/ 28881 w 157128"/>
                  <a:gd name="connsiteY8" fmla="*/ 65245 h 76915"/>
                  <a:gd name="connsiteX9" fmla="*/ 50778 w 157128"/>
                  <a:gd name="connsiteY9" fmla="*/ 74339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7128" h="76915">
                    <a:moveTo>
                      <a:pt x="50778" y="74339"/>
                    </a:moveTo>
                    <a:cubicBezTo>
                      <a:pt x="50778" y="74339"/>
                      <a:pt x="69246" y="50319"/>
                      <a:pt x="97299" y="41888"/>
                    </a:cubicBezTo>
                    <a:cubicBezTo>
                      <a:pt x="125352" y="33446"/>
                      <a:pt x="153757" y="22725"/>
                      <a:pt x="151695" y="5852"/>
                    </a:cubicBezTo>
                    <a:cubicBezTo>
                      <a:pt x="151695" y="5852"/>
                      <a:pt x="106874" y="-14563"/>
                      <a:pt x="39151" y="8152"/>
                    </a:cubicBezTo>
                    <a:lnTo>
                      <a:pt x="39151" y="1005"/>
                    </a:lnTo>
                    <a:lnTo>
                      <a:pt x="-5328" y="2952"/>
                    </a:lnTo>
                    <a:lnTo>
                      <a:pt x="-5328" y="62003"/>
                    </a:lnTo>
                    <a:lnTo>
                      <a:pt x="31627" y="59414"/>
                    </a:lnTo>
                    <a:lnTo>
                      <a:pt x="28881" y="65245"/>
                    </a:lnTo>
                    <a:lnTo>
                      <a:pt x="50778" y="74339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1" name="Vrije vorm 2240">
                <a:extLst>
                  <a:ext uri="{FF2B5EF4-FFF2-40B4-BE49-F238E27FC236}">
                    <a16:creationId xmlns:a16="http://schemas.microsoft.com/office/drawing/2014/main" id="{9A0769FE-DF5A-E568-A032-AC28B23C3A27}"/>
                  </a:ext>
                </a:extLst>
              </p:cNvPr>
              <p:cNvSpPr/>
              <p:nvPr/>
            </p:nvSpPr>
            <p:spPr>
              <a:xfrm flipV="1">
                <a:off x="8235049" y="3071233"/>
                <a:ext cx="157103" cy="20381"/>
              </a:xfrm>
              <a:custGeom>
                <a:avLst/>
                <a:gdLst>
                  <a:gd name="connsiteX0" fmla="*/ 77847 w 157103"/>
                  <a:gd name="connsiteY0" fmla="*/ 4288 h 20381"/>
                  <a:gd name="connsiteX1" fmla="*/ 151353 w 157103"/>
                  <a:gd name="connsiteY1" fmla="*/ 10275 h 20381"/>
                  <a:gd name="connsiteX2" fmla="*/ 151695 w 157103"/>
                  <a:gd name="connsiteY2" fmla="*/ 5883 h 20381"/>
                  <a:gd name="connsiteX3" fmla="*/ 39151 w 157103"/>
                  <a:gd name="connsiteY3" fmla="*/ 8183 h 20381"/>
                  <a:gd name="connsiteX4" fmla="*/ 39151 w 157103"/>
                  <a:gd name="connsiteY4" fmla="*/ 1036 h 20381"/>
                  <a:gd name="connsiteX5" fmla="*/ -5328 w 157103"/>
                  <a:gd name="connsiteY5" fmla="*/ 2983 h 20381"/>
                  <a:gd name="connsiteX6" fmla="*/ -5328 w 157103"/>
                  <a:gd name="connsiteY6" fmla="*/ 17836 h 20381"/>
                  <a:gd name="connsiteX7" fmla="*/ 77847 w 157103"/>
                  <a:gd name="connsiteY7" fmla="*/ 4288 h 20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03" h="20381">
                    <a:moveTo>
                      <a:pt x="77847" y="4288"/>
                    </a:moveTo>
                    <a:cubicBezTo>
                      <a:pt x="120460" y="-2413"/>
                      <a:pt x="147809" y="9073"/>
                      <a:pt x="151353" y="10275"/>
                    </a:cubicBezTo>
                    <a:cubicBezTo>
                      <a:pt x="151736" y="8814"/>
                      <a:pt x="151881" y="7354"/>
                      <a:pt x="151695" y="5883"/>
                    </a:cubicBezTo>
                    <a:cubicBezTo>
                      <a:pt x="151695" y="5883"/>
                      <a:pt x="106874" y="-14532"/>
                      <a:pt x="39151" y="8183"/>
                    </a:cubicBezTo>
                    <a:lnTo>
                      <a:pt x="39151" y="1036"/>
                    </a:lnTo>
                    <a:lnTo>
                      <a:pt x="-5328" y="2983"/>
                    </a:lnTo>
                    <a:lnTo>
                      <a:pt x="-5328" y="17836"/>
                    </a:lnTo>
                    <a:cubicBezTo>
                      <a:pt x="10549" y="16873"/>
                      <a:pt x="36933" y="10720"/>
                      <a:pt x="77847" y="428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2" name="Vrije vorm 2241">
                <a:extLst>
                  <a:ext uri="{FF2B5EF4-FFF2-40B4-BE49-F238E27FC236}">
                    <a16:creationId xmlns:a16="http://schemas.microsoft.com/office/drawing/2014/main" id="{08F8E792-2003-49D4-C17E-56E71E0CAF17}"/>
                  </a:ext>
                </a:extLst>
              </p:cNvPr>
              <p:cNvSpPr/>
              <p:nvPr/>
            </p:nvSpPr>
            <p:spPr>
              <a:xfrm flipV="1">
                <a:off x="8283372" y="3027039"/>
                <a:ext cx="23939" cy="22058"/>
              </a:xfrm>
              <a:custGeom>
                <a:avLst/>
                <a:gdLst>
                  <a:gd name="connsiteX0" fmla="*/ -3696 w 23939"/>
                  <a:gd name="connsiteY0" fmla="*/ -2593 h 22058"/>
                  <a:gd name="connsiteX1" fmla="*/ -2058 w 23939"/>
                  <a:gd name="connsiteY1" fmla="*/ -1733 h 22058"/>
                  <a:gd name="connsiteX2" fmla="*/ 17341 w 23939"/>
                  <a:gd name="connsiteY2" fmla="*/ 15678 h 22058"/>
                  <a:gd name="connsiteX3" fmla="*/ 18512 w 23939"/>
                  <a:gd name="connsiteY3" fmla="*/ 18175 h 22058"/>
                  <a:gd name="connsiteX4" fmla="*/ 16015 w 23939"/>
                  <a:gd name="connsiteY4" fmla="*/ 19356 h 22058"/>
                  <a:gd name="connsiteX5" fmla="*/ -5312 w 23939"/>
                  <a:gd name="connsiteY5" fmla="*/ 442 h 22058"/>
                  <a:gd name="connsiteX6" fmla="*/ -4773 w 23939"/>
                  <a:gd name="connsiteY6" fmla="*/ -2261 h 22058"/>
                  <a:gd name="connsiteX7" fmla="*/ -3696 w 23939"/>
                  <a:gd name="connsiteY7" fmla="*/ -259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8">
                    <a:moveTo>
                      <a:pt x="-3696" y="-2593"/>
                    </a:moveTo>
                    <a:lnTo>
                      <a:pt x="-2058" y="-1733"/>
                    </a:lnTo>
                    <a:cubicBezTo>
                      <a:pt x="7051" y="11856"/>
                      <a:pt x="17228" y="15647"/>
                      <a:pt x="17341" y="15678"/>
                    </a:cubicBezTo>
                    <a:cubicBezTo>
                      <a:pt x="18347" y="16051"/>
                      <a:pt x="18875" y="17170"/>
                      <a:pt x="18512" y="18175"/>
                    </a:cubicBezTo>
                    <a:cubicBezTo>
                      <a:pt x="18139" y="19190"/>
                      <a:pt x="17031" y="19708"/>
                      <a:pt x="16015" y="19356"/>
                    </a:cubicBezTo>
                    <a:cubicBezTo>
                      <a:pt x="15549" y="19180"/>
                      <a:pt x="4512" y="15078"/>
                      <a:pt x="-5312" y="442"/>
                    </a:cubicBezTo>
                    <a:lnTo>
                      <a:pt x="-4773" y="-2261"/>
                    </a:lnTo>
                    <a:lnTo>
                      <a:pt x="-3696" y="-259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3" name="Vrije vorm 2242">
                <a:extLst>
                  <a:ext uri="{FF2B5EF4-FFF2-40B4-BE49-F238E27FC236}">
                    <a16:creationId xmlns:a16="http://schemas.microsoft.com/office/drawing/2014/main" id="{CE9C7C81-9996-90B2-B255-369AF7FCFD06}"/>
                  </a:ext>
                </a:extLst>
              </p:cNvPr>
              <p:cNvSpPr/>
              <p:nvPr/>
            </p:nvSpPr>
            <p:spPr>
              <a:xfrm flipV="1">
                <a:off x="8293559" y="3031607"/>
                <a:ext cx="23930" cy="22058"/>
              </a:xfrm>
              <a:custGeom>
                <a:avLst/>
                <a:gdLst>
                  <a:gd name="connsiteX0" fmla="*/ -3704 w 23930"/>
                  <a:gd name="connsiteY0" fmla="*/ -2588 h 22058"/>
                  <a:gd name="connsiteX1" fmla="*/ -2088 w 23930"/>
                  <a:gd name="connsiteY1" fmla="*/ -1728 h 22058"/>
                  <a:gd name="connsiteX2" fmla="*/ 17312 w 23930"/>
                  <a:gd name="connsiteY2" fmla="*/ 15683 h 22058"/>
                  <a:gd name="connsiteX3" fmla="*/ 18494 w 23930"/>
                  <a:gd name="connsiteY3" fmla="*/ 18180 h 22058"/>
                  <a:gd name="connsiteX4" fmla="*/ 15986 w 23930"/>
                  <a:gd name="connsiteY4" fmla="*/ 19361 h 22058"/>
                  <a:gd name="connsiteX5" fmla="*/ -5321 w 23930"/>
                  <a:gd name="connsiteY5" fmla="*/ 447 h 22058"/>
                  <a:gd name="connsiteX6" fmla="*/ -4793 w 23930"/>
                  <a:gd name="connsiteY6" fmla="*/ -2257 h 22058"/>
                  <a:gd name="connsiteX7" fmla="*/ -3704 w 23930"/>
                  <a:gd name="connsiteY7" fmla="*/ -2588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58">
                    <a:moveTo>
                      <a:pt x="-3704" y="-2588"/>
                    </a:moveTo>
                    <a:lnTo>
                      <a:pt x="-2088" y="-1728"/>
                    </a:lnTo>
                    <a:cubicBezTo>
                      <a:pt x="7032" y="11861"/>
                      <a:pt x="17208" y="15652"/>
                      <a:pt x="17312" y="15683"/>
                    </a:cubicBezTo>
                    <a:cubicBezTo>
                      <a:pt x="18338" y="16046"/>
                      <a:pt x="18857" y="17165"/>
                      <a:pt x="18494" y="18180"/>
                    </a:cubicBezTo>
                    <a:cubicBezTo>
                      <a:pt x="18120" y="19195"/>
                      <a:pt x="17001" y="19713"/>
                      <a:pt x="15986" y="19361"/>
                    </a:cubicBezTo>
                    <a:cubicBezTo>
                      <a:pt x="15529" y="19195"/>
                      <a:pt x="4493" y="15083"/>
                      <a:pt x="-5321" y="447"/>
                    </a:cubicBezTo>
                    <a:lnTo>
                      <a:pt x="-4793" y="-2257"/>
                    </a:lnTo>
                    <a:lnTo>
                      <a:pt x="-3704" y="-258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4" name="Vrije vorm 2243">
                <a:extLst>
                  <a:ext uri="{FF2B5EF4-FFF2-40B4-BE49-F238E27FC236}">
                    <a16:creationId xmlns:a16="http://schemas.microsoft.com/office/drawing/2014/main" id="{7497EF90-97E9-E75E-8840-17FBD4011F49}"/>
                  </a:ext>
                </a:extLst>
              </p:cNvPr>
              <p:cNvSpPr/>
              <p:nvPr/>
            </p:nvSpPr>
            <p:spPr>
              <a:xfrm flipV="1">
                <a:off x="8303736" y="3036119"/>
                <a:ext cx="23930" cy="22063"/>
              </a:xfrm>
              <a:custGeom>
                <a:avLst/>
                <a:gdLst>
                  <a:gd name="connsiteX0" fmla="*/ -3713 w 23930"/>
                  <a:gd name="connsiteY0" fmla="*/ -2583 h 22063"/>
                  <a:gd name="connsiteX1" fmla="*/ -2086 w 23930"/>
                  <a:gd name="connsiteY1" fmla="*/ -1713 h 22063"/>
                  <a:gd name="connsiteX2" fmla="*/ 17324 w 23930"/>
                  <a:gd name="connsiteY2" fmla="*/ 15699 h 22063"/>
                  <a:gd name="connsiteX3" fmla="*/ 18485 w 23930"/>
                  <a:gd name="connsiteY3" fmla="*/ 18195 h 22063"/>
                  <a:gd name="connsiteX4" fmla="*/ 15987 w 23930"/>
                  <a:gd name="connsiteY4" fmla="*/ 19365 h 22063"/>
                  <a:gd name="connsiteX5" fmla="*/ -5329 w 23930"/>
                  <a:gd name="connsiteY5" fmla="*/ 452 h 22063"/>
                  <a:gd name="connsiteX6" fmla="*/ -4790 w 23930"/>
                  <a:gd name="connsiteY6" fmla="*/ -2252 h 22063"/>
                  <a:gd name="connsiteX7" fmla="*/ -3713 w 23930"/>
                  <a:gd name="connsiteY7" fmla="*/ -2583 h 22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3">
                    <a:moveTo>
                      <a:pt x="-3713" y="-2583"/>
                    </a:moveTo>
                    <a:lnTo>
                      <a:pt x="-2086" y="-1713"/>
                    </a:lnTo>
                    <a:cubicBezTo>
                      <a:pt x="6972" y="11783"/>
                      <a:pt x="17221" y="15657"/>
                      <a:pt x="17324" y="15699"/>
                    </a:cubicBezTo>
                    <a:cubicBezTo>
                      <a:pt x="18330" y="16072"/>
                      <a:pt x="18848" y="17190"/>
                      <a:pt x="18485" y="18195"/>
                    </a:cubicBezTo>
                    <a:cubicBezTo>
                      <a:pt x="18112" y="19200"/>
                      <a:pt x="16993" y="19728"/>
                      <a:pt x="15987" y="19365"/>
                    </a:cubicBezTo>
                    <a:cubicBezTo>
                      <a:pt x="15521" y="19200"/>
                      <a:pt x="4485" y="15098"/>
                      <a:pt x="-5329" y="452"/>
                    </a:cubicBezTo>
                    <a:lnTo>
                      <a:pt x="-4790" y="-2252"/>
                    </a:lnTo>
                    <a:lnTo>
                      <a:pt x="-3713" y="-258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5" name="Vrije vorm 2244">
                <a:extLst>
                  <a:ext uri="{FF2B5EF4-FFF2-40B4-BE49-F238E27FC236}">
                    <a16:creationId xmlns:a16="http://schemas.microsoft.com/office/drawing/2014/main" id="{BBA1F8B3-EE7D-B1D5-B1EA-E926D6895AFA}"/>
                  </a:ext>
                </a:extLst>
              </p:cNvPr>
              <p:cNvSpPr/>
              <p:nvPr/>
            </p:nvSpPr>
            <p:spPr>
              <a:xfrm flipV="1">
                <a:off x="8024096" y="2291369"/>
                <a:ext cx="274603" cy="732770"/>
              </a:xfrm>
              <a:custGeom>
                <a:avLst/>
                <a:gdLst>
                  <a:gd name="connsiteX0" fmla="*/ 62347 w 274603"/>
                  <a:gd name="connsiteY0" fmla="*/ 716689 h 732770"/>
                  <a:gd name="connsiteX1" fmla="*/ 28604 w 274603"/>
                  <a:gd name="connsiteY1" fmla="*/ 313970 h 732770"/>
                  <a:gd name="connsiteX2" fmla="*/ -5200 w 274603"/>
                  <a:gd name="connsiteY2" fmla="*/ 19026 h 732770"/>
                  <a:gd name="connsiteX3" fmla="*/ 72668 w 274603"/>
                  <a:gd name="connsiteY3" fmla="*/ 6732 h 732770"/>
                  <a:gd name="connsiteX4" fmla="*/ 118784 w 274603"/>
                  <a:gd name="connsiteY4" fmla="*/ 295533 h 732770"/>
                  <a:gd name="connsiteX5" fmla="*/ 155667 w 274603"/>
                  <a:gd name="connsiteY5" fmla="*/ 569999 h 732770"/>
                  <a:gd name="connsiteX6" fmla="*/ 176165 w 274603"/>
                  <a:gd name="connsiteY6" fmla="*/ 569999 h 732770"/>
                  <a:gd name="connsiteX7" fmla="*/ 193576 w 274603"/>
                  <a:gd name="connsiteY7" fmla="*/ 6732 h 732770"/>
                  <a:gd name="connsiteX8" fmla="*/ 269403 w 274603"/>
                  <a:gd name="connsiteY8" fmla="*/ 4681 h 732770"/>
                  <a:gd name="connsiteX9" fmla="*/ 263258 w 274603"/>
                  <a:gd name="connsiteY9" fmla="*/ 729761 h 732770"/>
                  <a:gd name="connsiteX10" fmla="*/ 62347 w 274603"/>
                  <a:gd name="connsiteY10" fmla="*/ 716689 h 732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4603" h="732770">
                    <a:moveTo>
                      <a:pt x="62347" y="716689"/>
                    </a:moveTo>
                    <a:lnTo>
                      <a:pt x="28604" y="313970"/>
                    </a:lnTo>
                    <a:lnTo>
                      <a:pt x="-5200" y="19026"/>
                    </a:lnTo>
                    <a:cubicBezTo>
                      <a:pt x="-5200" y="19026"/>
                      <a:pt x="11194" y="-3502"/>
                      <a:pt x="72668" y="6732"/>
                    </a:cubicBezTo>
                    <a:lnTo>
                      <a:pt x="118784" y="295533"/>
                    </a:lnTo>
                    <a:lnTo>
                      <a:pt x="155667" y="569999"/>
                    </a:lnTo>
                    <a:lnTo>
                      <a:pt x="176165" y="569999"/>
                    </a:lnTo>
                    <a:lnTo>
                      <a:pt x="193576" y="6732"/>
                    </a:lnTo>
                    <a:cubicBezTo>
                      <a:pt x="193576" y="6732"/>
                      <a:pt x="220219" y="-13746"/>
                      <a:pt x="269403" y="4681"/>
                    </a:cubicBezTo>
                    <a:lnTo>
                      <a:pt x="263258" y="729761"/>
                    </a:lnTo>
                    <a:lnTo>
                      <a:pt x="62347" y="716689"/>
                    </a:ln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6" name="Vrije vorm 2245">
                <a:extLst>
                  <a:ext uri="{FF2B5EF4-FFF2-40B4-BE49-F238E27FC236}">
                    <a16:creationId xmlns:a16="http://schemas.microsoft.com/office/drawing/2014/main" id="{FA67B5BD-0C60-8E07-BBE1-058DD43FFE4D}"/>
                  </a:ext>
                </a:extLst>
              </p:cNvPr>
              <p:cNvSpPr/>
              <p:nvPr/>
            </p:nvSpPr>
            <p:spPr>
              <a:xfrm flipV="1">
                <a:off x="8133708" y="1871984"/>
                <a:ext cx="71754" cy="148616"/>
              </a:xfrm>
              <a:custGeom>
                <a:avLst/>
                <a:gdLst>
                  <a:gd name="connsiteX0" fmla="*/ 66547 w 71754"/>
                  <a:gd name="connsiteY0" fmla="*/ 110596 h 148616"/>
                  <a:gd name="connsiteX1" fmla="*/ 63780 w 71754"/>
                  <a:gd name="connsiteY1" fmla="*/ -3788 h 148616"/>
                  <a:gd name="connsiteX2" fmla="*/ -5207 w 71754"/>
                  <a:gd name="connsiteY2" fmla="*/ 27038 h 148616"/>
                  <a:gd name="connsiteX3" fmla="*/ -3031 w 71754"/>
                  <a:gd name="connsiteY3" fmla="*/ 144829 h 148616"/>
                  <a:gd name="connsiteX4" fmla="*/ 66547 w 71754"/>
                  <a:gd name="connsiteY4" fmla="*/ 11059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66547" y="110596"/>
                    </a:moveTo>
                    <a:lnTo>
                      <a:pt x="63780" y="-3788"/>
                    </a:lnTo>
                    <a:lnTo>
                      <a:pt x="-5207" y="27038"/>
                    </a:lnTo>
                    <a:lnTo>
                      <a:pt x="-3031" y="144829"/>
                    </a:lnTo>
                    <a:lnTo>
                      <a:pt x="66547" y="11059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7" name="Vrije vorm 2246">
                <a:extLst>
                  <a:ext uri="{FF2B5EF4-FFF2-40B4-BE49-F238E27FC236}">
                    <a16:creationId xmlns:a16="http://schemas.microsoft.com/office/drawing/2014/main" id="{77C29C3E-8FB7-4A52-240B-13A7E5B2FB41}"/>
                  </a:ext>
                </a:extLst>
              </p:cNvPr>
              <p:cNvSpPr/>
              <p:nvPr/>
            </p:nvSpPr>
            <p:spPr>
              <a:xfrm flipV="1">
                <a:off x="7998447" y="1948032"/>
                <a:ext cx="319175" cy="371257"/>
              </a:xfrm>
              <a:custGeom>
                <a:avLst/>
                <a:gdLst>
                  <a:gd name="connsiteX0" fmla="*/ 312900 w 319175"/>
                  <a:gd name="connsiteY0" fmla="*/ 324699 h 371257"/>
                  <a:gd name="connsiteX1" fmla="*/ 293003 w 319175"/>
                  <a:gd name="connsiteY1" fmla="*/ 16145 h 371257"/>
                  <a:gd name="connsiteX2" fmla="*/ 161504 w 319175"/>
                  <a:gd name="connsiteY2" fmla="*/ -3256 h 371257"/>
                  <a:gd name="connsiteX3" fmla="*/ 87998 w 319175"/>
                  <a:gd name="connsiteY3" fmla="*/ 11266 h 371257"/>
                  <a:gd name="connsiteX4" fmla="*/ -5198 w 319175"/>
                  <a:gd name="connsiteY4" fmla="*/ 356892 h 371257"/>
                  <a:gd name="connsiteX5" fmla="*/ 134291 w 319175"/>
                  <a:gd name="connsiteY5" fmla="*/ 367674 h 371257"/>
                  <a:gd name="connsiteX6" fmla="*/ 174624 w 319175"/>
                  <a:gd name="connsiteY6" fmla="*/ 330323 h 371257"/>
                  <a:gd name="connsiteX7" fmla="*/ 207195 w 319175"/>
                  <a:gd name="connsiteY7" fmla="*/ 365095 h 371257"/>
                  <a:gd name="connsiteX8" fmla="*/ 313978 w 319175"/>
                  <a:gd name="connsiteY8" fmla="*/ 352614 h 371257"/>
                  <a:gd name="connsiteX9" fmla="*/ 312900 w 319175"/>
                  <a:gd name="connsiteY9" fmla="*/ 324699 h 371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9175" h="371257">
                    <a:moveTo>
                      <a:pt x="312900" y="324699"/>
                    </a:moveTo>
                    <a:cubicBezTo>
                      <a:pt x="312900" y="324699"/>
                      <a:pt x="306257" y="120025"/>
                      <a:pt x="293003" y="16145"/>
                    </a:cubicBezTo>
                    <a:cubicBezTo>
                      <a:pt x="293003" y="16145"/>
                      <a:pt x="242296" y="-6550"/>
                      <a:pt x="161504" y="-3256"/>
                    </a:cubicBezTo>
                    <a:cubicBezTo>
                      <a:pt x="104445" y="-925"/>
                      <a:pt x="87998" y="11266"/>
                      <a:pt x="87998" y="11266"/>
                    </a:cubicBezTo>
                    <a:lnTo>
                      <a:pt x="-5198" y="356892"/>
                    </a:lnTo>
                    <a:cubicBezTo>
                      <a:pt x="-5198" y="356892"/>
                      <a:pt x="47323" y="367778"/>
                      <a:pt x="134291" y="367674"/>
                    </a:cubicBezTo>
                    <a:lnTo>
                      <a:pt x="174624" y="330323"/>
                    </a:lnTo>
                    <a:cubicBezTo>
                      <a:pt x="174624" y="330323"/>
                      <a:pt x="185568" y="359326"/>
                      <a:pt x="207195" y="365095"/>
                    </a:cubicBezTo>
                    <a:cubicBezTo>
                      <a:pt x="239975" y="362837"/>
                      <a:pt x="275758" y="358912"/>
                      <a:pt x="313978" y="352614"/>
                    </a:cubicBezTo>
                    <a:lnTo>
                      <a:pt x="312900" y="324699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8" name="Vrije vorm 2247">
                <a:extLst>
                  <a:ext uri="{FF2B5EF4-FFF2-40B4-BE49-F238E27FC236}">
                    <a16:creationId xmlns:a16="http://schemas.microsoft.com/office/drawing/2014/main" id="{A9D2CA98-7DBC-D495-F9E3-EC1177EA77EB}"/>
                  </a:ext>
                </a:extLst>
              </p:cNvPr>
              <p:cNvSpPr/>
              <p:nvPr/>
            </p:nvSpPr>
            <p:spPr>
              <a:xfrm flipV="1">
                <a:off x="7917677" y="1958816"/>
                <a:ext cx="151447" cy="235778"/>
              </a:xfrm>
              <a:custGeom>
                <a:avLst/>
                <a:gdLst>
                  <a:gd name="connsiteX0" fmla="*/ 70104 w 151447"/>
                  <a:gd name="connsiteY0" fmla="*/ -3645 h 235778"/>
                  <a:gd name="connsiteX1" fmla="*/ 146387 w 151447"/>
                  <a:gd name="connsiteY1" fmla="*/ 208767 h 235778"/>
                  <a:gd name="connsiteX2" fmla="*/ 75711 w 151447"/>
                  <a:gd name="connsiteY2" fmla="*/ 232134 h 235778"/>
                  <a:gd name="connsiteX3" fmla="*/ -5060 w 151447"/>
                  <a:gd name="connsiteY3" fmla="*/ 2881 h 235778"/>
                  <a:gd name="connsiteX4" fmla="*/ 70104 w 151447"/>
                  <a:gd name="connsiteY4" fmla="*/ -3645 h 235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447" h="235778">
                    <a:moveTo>
                      <a:pt x="70104" y="-3645"/>
                    </a:moveTo>
                    <a:lnTo>
                      <a:pt x="146387" y="208767"/>
                    </a:lnTo>
                    <a:lnTo>
                      <a:pt x="75711" y="232134"/>
                    </a:lnTo>
                    <a:lnTo>
                      <a:pt x="-5060" y="2881"/>
                    </a:lnTo>
                    <a:lnTo>
                      <a:pt x="70104" y="-3645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49" name="Vrije vorm 2248">
                <a:extLst>
                  <a:ext uri="{FF2B5EF4-FFF2-40B4-BE49-F238E27FC236}">
                    <a16:creationId xmlns:a16="http://schemas.microsoft.com/office/drawing/2014/main" id="{1811680D-10F0-6EDF-43D5-769C73349333}"/>
                  </a:ext>
                </a:extLst>
              </p:cNvPr>
              <p:cNvSpPr/>
              <p:nvPr/>
            </p:nvSpPr>
            <p:spPr>
              <a:xfrm flipV="1">
                <a:off x="8266584" y="2310235"/>
                <a:ext cx="31171" cy="29350"/>
              </a:xfrm>
              <a:custGeom>
                <a:avLst/>
                <a:gdLst>
                  <a:gd name="connsiteX0" fmla="*/ -5301 w 31171"/>
                  <a:gd name="connsiteY0" fmla="*/ 16918 h 29350"/>
                  <a:gd name="connsiteX1" fmla="*/ 20669 w 31171"/>
                  <a:gd name="connsiteY1" fmla="*/ 25639 h 29350"/>
                  <a:gd name="connsiteX2" fmla="*/ 25654 w 31171"/>
                  <a:gd name="connsiteY2" fmla="*/ 17198 h 29350"/>
                  <a:gd name="connsiteX3" fmla="*/ 20669 w 31171"/>
                  <a:gd name="connsiteY3" fmla="*/ 5224 h 29350"/>
                  <a:gd name="connsiteX4" fmla="*/ -1457 w 31171"/>
                  <a:gd name="connsiteY4" fmla="*/ -3373 h 29350"/>
                  <a:gd name="connsiteX5" fmla="*/ -5301 w 31171"/>
                  <a:gd name="connsiteY5" fmla="*/ 16918 h 2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71" h="29350">
                    <a:moveTo>
                      <a:pt x="-5301" y="16918"/>
                    </a:moveTo>
                    <a:cubicBezTo>
                      <a:pt x="12057" y="20657"/>
                      <a:pt x="20472" y="25577"/>
                      <a:pt x="20669" y="25639"/>
                    </a:cubicBezTo>
                    <a:cubicBezTo>
                      <a:pt x="25747" y="27328"/>
                      <a:pt x="25094" y="22408"/>
                      <a:pt x="25654" y="17198"/>
                    </a:cubicBezTo>
                    <a:cubicBezTo>
                      <a:pt x="26421" y="10320"/>
                      <a:pt x="25239" y="6643"/>
                      <a:pt x="20669" y="5224"/>
                    </a:cubicBezTo>
                    <a:cubicBezTo>
                      <a:pt x="19840" y="4975"/>
                      <a:pt x="15819" y="780"/>
                      <a:pt x="-1457" y="-3373"/>
                    </a:cubicBezTo>
                    <a:cubicBezTo>
                      <a:pt x="-2752" y="3390"/>
                      <a:pt x="-4037" y="10154"/>
                      <a:pt x="-5301" y="1691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0" name="Vrije vorm 2249">
                <a:extLst>
                  <a:ext uri="{FF2B5EF4-FFF2-40B4-BE49-F238E27FC236}">
                    <a16:creationId xmlns:a16="http://schemas.microsoft.com/office/drawing/2014/main" id="{AD995251-63C7-E9A5-6CD0-E5447E8858C1}"/>
                  </a:ext>
                </a:extLst>
              </p:cNvPr>
              <p:cNvSpPr/>
              <p:nvPr/>
            </p:nvSpPr>
            <p:spPr>
              <a:xfrm flipV="1">
                <a:off x="8139635" y="2322008"/>
                <a:ext cx="114326" cy="25997"/>
              </a:xfrm>
              <a:custGeom>
                <a:avLst/>
                <a:gdLst>
                  <a:gd name="connsiteX0" fmla="*/ -2681 w 114326"/>
                  <a:gd name="connsiteY0" fmla="*/ 19818 h 25997"/>
                  <a:gd name="connsiteX1" fmla="*/ 60638 w 114326"/>
                  <a:gd name="connsiteY1" fmla="*/ 18151 h 25997"/>
                  <a:gd name="connsiteX2" fmla="*/ 107397 w 114326"/>
                  <a:gd name="connsiteY2" fmla="*/ 22636 h 25997"/>
                  <a:gd name="connsiteX3" fmla="*/ 109097 w 114326"/>
                  <a:gd name="connsiteY3" fmla="*/ 1619 h 25997"/>
                  <a:gd name="connsiteX4" fmla="*/ 61074 w 114326"/>
                  <a:gd name="connsiteY4" fmla="*/ -3207 h 25997"/>
                  <a:gd name="connsiteX5" fmla="*/ 39207 w 114326"/>
                  <a:gd name="connsiteY5" fmla="*/ -3280 h 25997"/>
                  <a:gd name="connsiteX6" fmla="*/ -5230 w 114326"/>
                  <a:gd name="connsiteY6" fmla="*/ -515 h 25997"/>
                  <a:gd name="connsiteX7" fmla="*/ -2681 w 114326"/>
                  <a:gd name="connsiteY7" fmla="*/ 19818 h 25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26" h="25997">
                    <a:moveTo>
                      <a:pt x="-2681" y="19818"/>
                    </a:moveTo>
                    <a:cubicBezTo>
                      <a:pt x="16626" y="17985"/>
                      <a:pt x="37756" y="17612"/>
                      <a:pt x="60638" y="18151"/>
                    </a:cubicBezTo>
                    <a:cubicBezTo>
                      <a:pt x="78287" y="18565"/>
                      <a:pt x="94112" y="20398"/>
                      <a:pt x="107397" y="22636"/>
                    </a:cubicBezTo>
                    <a:cubicBezTo>
                      <a:pt x="106972" y="15592"/>
                      <a:pt x="107905" y="8590"/>
                      <a:pt x="109097" y="1619"/>
                    </a:cubicBezTo>
                    <a:cubicBezTo>
                      <a:pt x="95563" y="-815"/>
                      <a:pt x="79385" y="-2772"/>
                      <a:pt x="61074" y="-3207"/>
                    </a:cubicBezTo>
                    <a:cubicBezTo>
                      <a:pt x="53612" y="-3394"/>
                      <a:pt x="46327" y="-3404"/>
                      <a:pt x="39207" y="-3280"/>
                    </a:cubicBezTo>
                    <a:cubicBezTo>
                      <a:pt x="23259" y="-2980"/>
                      <a:pt x="8564" y="-2109"/>
                      <a:pt x="-5230" y="-515"/>
                    </a:cubicBezTo>
                    <a:cubicBezTo>
                      <a:pt x="-3717" y="6156"/>
                      <a:pt x="-2805" y="12930"/>
                      <a:pt x="-2681" y="1981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1" name="Vrije vorm 2250">
                <a:extLst>
                  <a:ext uri="{FF2B5EF4-FFF2-40B4-BE49-F238E27FC236}">
                    <a16:creationId xmlns:a16="http://schemas.microsoft.com/office/drawing/2014/main" id="{56692CA0-DAF2-5353-D894-2E8569A32327}"/>
                  </a:ext>
                </a:extLst>
              </p:cNvPr>
              <p:cNvSpPr/>
              <p:nvPr/>
            </p:nvSpPr>
            <p:spPr>
              <a:xfrm flipV="1">
                <a:off x="8084971" y="2314680"/>
                <a:ext cx="44560" cy="28800"/>
              </a:xfrm>
              <a:custGeom>
                <a:avLst/>
                <a:gdLst>
                  <a:gd name="connsiteX0" fmla="*/ -4545 w 44560"/>
                  <a:gd name="connsiteY0" fmla="*/ 17036 h 28800"/>
                  <a:gd name="connsiteX1" fmla="*/ 2129 w 44560"/>
                  <a:gd name="connsiteY1" fmla="*/ 25064 h 28800"/>
                  <a:gd name="connsiteX2" fmla="*/ 39405 w 44560"/>
                  <a:gd name="connsiteY2" fmla="*/ 16695 h 28800"/>
                  <a:gd name="connsiteX3" fmla="*/ 36960 w 44560"/>
                  <a:gd name="connsiteY3" fmla="*/ -3369 h 28800"/>
                  <a:gd name="connsiteX4" fmla="*/ -2151 w 44560"/>
                  <a:gd name="connsiteY4" fmla="*/ 6440 h 28800"/>
                  <a:gd name="connsiteX5" fmla="*/ -4545 w 44560"/>
                  <a:gd name="connsiteY5" fmla="*/ 17036 h 2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560" h="28800">
                    <a:moveTo>
                      <a:pt x="-4545" y="17036"/>
                    </a:moveTo>
                    <a:cubicBezTo>
                      <a:pt x="-3571" y="22195"/>
                      <a:pt x="-2939" y="26783"/>
                      <a:pt x="2129" y="25064"/>
                    </a:cubicBezTo>
                    <a:cubicBezTo>
                      <a:pt x="13508" y="21242"/>
                      <a:pt x="25954" y="18538"/>
                      <a:pt x="39405" y="16695"/>
                    </a:cubicBezTo>
                    <a:cubicBezTo>
                      <a:pt x="38960" y="9972"/>
                      <a:pt x="37965" y="3302"/>
                      <a:pt x="36960" y="-3369"/>
                    </a:cubicBezTo>
                    <a:cubicBezTo>
                      <a:pt x="22990" y="-1152"/>
                      <a:pt x="9995" y="1976"/>
                      <a:pt x="-2151" y="6440"/>
                    </a:cubicBezTo>
                    <a:cubicBezTo>
                      <a:pt x="-5695" y="7745"/>
                      <a:pt x="-5529" y="11816"/>
                      <a:pt x="-4545" y="17036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2" name="Vrije vorm 2251">
                <a:extLst>
                  <a:ext uri="{FF2B5EF4-FFF2-40B4-BE49-F238E27FC236}">
                    <a16:creationId xmlns:a16="http://schemas.microsoft.com/office/drawing/2014/main" id="{DD00E7C3-EF6C-773C-430D-A1A3AAF5DD3F}"/>
                  </a:ext>
                </a:extLst>
              </p:cNvPr>
              <p:cNvSpPr/>
              <p:nvPr/>
            </p:nvSpPr>
            <p:spPr>
              <a:xfrm flipV="1">
                <a:off x="8173388" y="2323148"/>
                <a:ext cx="45369" cy="27676"/>
              </a:xfrm>
              <a:custGeom>
                <a:avLst/>
                <a:gdLst>
                  <a:gd name="connsiteX0" fmla="*/ 2792 w 45369"/>
                  <a:gd name="connsiteY0" fmla="*/ 19427 h 27676"/>
                  <a:gd name="connsiteX1" fmla="*/ 32451 w 45369"/>
                  <a:gd name="connsiteY1" fmla="*/ 19624 h 27676"/>
                  <a:gd name="connsiteX2" fmla="*/ 32130 w 45369"/>
                  <a:gd name="connsiteY2" fmla="*/ 2834 h 27676"/>
                  <a:gd name="connsiteX3" fmla="*/ 2460 w 45369"/>
                  <a:gd name="connsiteY3" fmla="*/ 1332 h 27676"/>
                  <a:gd name="connsiteX4" fmla="*/ -4722 w 45369"/>
                  <a:gd name="connsiteY4" fmla="*/ 24016 h 27676"/>
                  <a:gd name="connsiteX5" fmla="*/ -5229 w 45369"/>
                  <a:gd name="connsiteY5" fmla="*/ -3360 h 27676"/>
                  <a:gd name="connsiteX6" fmla="*/ 39674 w 45369"/>
                  <a:gd name="connsiteY6" fmla="*/ -1092 h 27676"/>
                  <a:gd name="connsiteX7" fmla="*/ 40140 w 45369"/>
                  <a:gd name="connsiteY7" fmla="*/ 24316 h 27676"/>
                  <a:gd name="connsiteX8" fmla="*/ -4722 w 45369"/>
                  <a:gd name="connsiteY8" fmla="*/ 24016 h 2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69" h="27676">
                    <a:moveTo>
                      <a:pt x="2792" y="19427"/>
                    </a:moveTo>
                    <a:lnTo>
                      <a:pt x="32451" y="19624"/>
                    </a:lnTo>
                    <a:lnTo>
                      <a:pt x="32130" y="2834"/>
                    </a:lnTo>
                    <a:lnTo>
                      <a:pt x="2460" y="1332"/>
                    </a:lnTo>
                    <a:close/>
                    <a:moveTo>
                      <a:pt x="-4722" y="24016"/>
                    </a:moveTo>
                    <a:lnTo>
                      <a:pt x="-5229" y="-3360"/>
                    </a:lnTo>
                    <a:lnTo>
                      <a:pt x="39674" y="-1092"/>
                    </a:lnTo>
                    <a:lnTo>
                      <a:pt x="40140" y="24316"/>
                    </a:lnTo>
                    <a:lnTo>
                      <a:pt x="-4722" y="24016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3" name="Vrije vorm 2252">
                <a:extLst>
                  <a:ext uri="{FF2B5EF4-FFF2-40B4-BE49-F238E27FC236}">
                    <a16:creationId xmlns:a16="http://schemas.microsoft.com/office/drawing/2014/main" id="{AF5B301A-6B21-C450-FD98-D392C4FA4DD3}"/>
                  </a:ext>
                </a:extLst>
              </p:cNvPr>
              <p:cNvSpPr/>
              <p:nvPr/>
            </p:nvSpPr>
            <p:spPr>
              <a:xfrm flipV="1">
                <a:off x="8144599" y="1949037"/>
                <a:ext cx="33670" cy="36346"/>
              </a:xfrm>
              <a:custGeom>
                <a:avLst/>
                <a:gdLst>
                  <a:gd name="connsiteX0" fmla="*/ 28470 w 33670"/>
                  <a:gd name="connsiteY0" fmla="*/ -3765 h 36346"/>
                  <a:gd name="connsiteX1" fmla="*/ 18003 w 33670"/>
                  <a:gd name="connsiteY1" fmla="*/ 32582 h 36346"/>
                  <a:gd name="connsiteX2" fmla="*/ -5200 w 33670"/>
                  <a:gd name="connsiteY2" fmla="*/ 21965 h 3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70" h="36346">
                    <a:moveTo>
                      <a:pt x="28470" y="-3765"/>
                    </a:moveTo>
                    <a:lnTo>
                      <a:pt x="18003" y="32582"/>
                    </a:lnTo>
                    <a:lnTo>
                      <a:pt x="-5200" y="21965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4" name="Vrije vorm 2253">
                <a:extLst>
                  <a:ext uri="{FF2B5EF4-FFF2-40B4-BE49-F238E27FC236}">
                    <a16:creationId xmlns:a16="http://schemas.microsoft.com/office/drawing/2014/main" id="{41E93AB3-0769-E37D-FF4A-BDA9FA4B023D}"/>
                  </a:ext>
                </a:extLst>
              </p:cNvPr>
              <p:cNvSpPr/>
              <p:nvPr/>
            </p:nvSpPr>
            <p:spPr>
              <a:xfrm flipV="1">
                <a:off x="8178269" y="1952186"/>
                <a:ext cx="18995" cy="33197"/>
              </a:xfrm>
              <a:custGeom>
                <a:avLst/>
                <a:gdLst>
                  <a:gd name="connsiteX0" fmla="*/ -2238 w 18995"/>
                  <a:gd name="connsiteY0" fmla="*/ 29434 h 33197"/>
                  <a:gd name="connsiteX1" fmla="*/ -5222 w 18995"/>
                  <a:gd name="connsiteY1" fmla="*/ -3763 h 33197"/>
                  <a:gd name="connsiteX2" fmla="*/ 13773 w 18995"/>
                  <a:gd name="connsiteY2" fmla="*/ 19739 h 33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95" h="33197">
                    <a:moveTo>
                      <a:pt x="-2238" y="29434"/>
                    </a:moveTo>
                    <a:lnTo>
                      <a:pt x="-5222" y="-3763"/>
                    </a:lnTo>
                    <a:lnTo>
                      <a:pt x="13773" y="19739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5" name="Vrije vorm 2254">
                <a:extLst>
                  <a:ext uri="{FF2B5EF4-FFF2-40B4-BE49-F238E27FC236}">
                    <a16:creationId xmlns:a16="http://schemas.microsoft.com/office/drawing/2014/main" id="{54F00714-326D-1546-79F1-D5EF37107EFB}"/>
                  </a:ext>
                </a:extLst>
              </p:cNvPr>
              <p:cNvSpPr/>
              <p:nvPr/>
            </p:nvSpPr>
            <p:spPr>
              <a:xfrm flipV="1">
                <a:off x="8181254" y="1927141"/>
                <a:ext cx="52344" cy="61174"/>
              </a:xfrm>
              <a:custGeom>
                <a:avLst/>
                <a:gdLst>
                  <a:gd name="connsiteX0" fmla="*/ 47105 w 52344"/>
                  <a:gd name="connsiteY0" fmla="*/ 34539 h 61174"/>
                  <a:gd name="connsiteX1" fmla="*/ 18690 w 52344"/>
                  <a:gd name="connsiteY1" fmla="*/ -3775 h 61174"/>
                  <a:gd name="connsiteX2" fmla="*/ -5239 w 52344"/>
                  <a:gd name="connsiteY2" fmla="*/ 32354 h 61174"/>
                  <a:gd name="connsiteX3" fmla="*/ 32400 w 52344"/>
                  <a:gd name="connsiteY3" fmla="*/ 57399 h 61174"/>
                  <a:gd name="connsiteX4" fmla="*/ 47105 w 52344"/>
                  <a:gd name="connsiteY4" fmla="*/ 34539 h 6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44" h="61174">
                    <a:moveTo>
                      <a:pt x="47105" y="34539"/>
                    </a:moveTo>
                    <a:lnTo>
                      <a:pt x="18690" y="-3775"/>
                    </a:lnTo>
                    <a:lnTo>
                      <a:pt x="-5239" y="32354"/>
                    </a:lnTo>
                    <a:lnTo>
                      <a:pt x="32400" y="57399"/>
                    </a:lnTo>
                    <a:lnTo>
                      <a:pt x="47105" y="345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4" name="Vrije vorm 2263">
                <a:extLst>
                  <a:ext uri="{FF2B5EF4-FFF2-40B4-BE49-F238E27FC236}">
                    <a16:creationId xmlns:a16="http://schemas.microsoft.com/office/drawing/2014/main" id="{C28D432D-96D2-3A62-76DA-0C26915CD817}"/>
                  </a:ext>
                </a:extLst>
              </p:cNvPr>
              <p:cNvSpPr/>
              <p:nvPr/>
            </p:nvSpPr>
            <p:spPr>
              <a:xfrm flipV="1">
                <a:off x="8111717" y="1922076"/>
                <a:ext cx="56085" cy="64126"/>
              </a:xfrm>
              <a:custGeom>
                <a:avLst/>
                <a:gdLst>
                  <a:gd name="connsiteX0" fmla="*/ -5182 w 56085"/>
                  <a:gd name="connsiteY0" fmla="*/ 37518 h 64126"/>
                  <a:gd name="connsiteX1" fmla="*/ 30902 w 56085"/>
                  <a:gd name="connsiteY1" fmla="*/ -3779 h 64126"/>
                  <a:gd name="connsiteX2" fmla="*/ 50903 w 56085"/>
                  <a:gd name="connsiteY2" fmla="*/ 33386 h 64126"/>
                  <a:gd name="connsiteX3" fmla="*/ 9295 w 56085"/>
                  <a:gd name="connsiteY3" fmla="*/ 60348 h 64126"/>
                  <a:gd name="connsiteX4" fmla="*/ -5182 w 56085"/>
                  <a:gd name="connsiteY4" fmla="*/ 37518 h 64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085" h="64126">
                    <a:moveTo>
                      <a:pt x="-5182" y="37518"/>
                    </a:moveTo>
                    <a:lnTo>
                      <a:pt x="30902" y="-3779"/>
                    </a:lnTo>
                    <a:lnTo>
                      <a:pt x="50903" y="33386"/>
                    </a:lnTo>
                    <a:lnTo>
                      <a:pt x="9295" y="60348"/>
                    </a:lnTo>
                    <a:lnTo>
                      <a:pt x="-5182" y="37518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6" name="Vrije vorm 2265">
                <a:extLst>
                  <a:ext uri="{FF2B5EF4-FFF2-40B4-BE49-F238E27FC236}">
                    <a16:creationId xmlns:a16="http://schemas.microsoft.com/office/drawing/2014/main" id="{BB0CF7F2-2E1F-E059-F3B4-ADD5AF5435CA}"/>
                  </a:ext>
                </a:extLst>
              </p:cNvPr>
              <p:cNvSpPr/>
              <p:nvPr/>
            </p:nvSpPr>
            <p:spPr>
              <a:xfrm flipV="1">
                <a:off x="7905572" y="2155162"/>
                <a:ext cx="101103" cy="51717"/>
              </a:xfrm>
              <a:custGeom>
                <a:avLst/>
                <a:gdLst>
                  <a:gd name="connsiteX0" fmla="*/ 96075 w 101103"/>
                  <a:gd name="connsiteY0" fmla="*/ 33344 h 51717"/>
                  <a:gd name="connsiteX1" fmla="*/ 8992 w 101103"/>
                  <a:gd name="connsiteY1" fmla="*/ 48187 h 51717"/>
                  <a:gd name="connsiteX2" fmla="*/ -5029 w 101103"/>
                  <a:gd name="connsiteY2" fmla="*/ 12649 h 51717"/>
                  <a:gd name="connsiteX3" fmla="*/ 89929 w 101103"/>
                  <a:gd name="connsiteY3" fmla="*/ -3531 h 51717"/>
                  <a:gd name="connsiteX4" fmla="*/ 96075 w 101103"/>
                  <a:gd name="connsiteY4" fmla="*/ 33344 h 5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103" h="51717">
                    <a:moveTo>
                      <a:pt x="96075" y="33344"/>
                    </a:moveTo>
                    <a:lnTo>
                      <a:pt x="8992" y="48187"/>
                    </a:lnTo>
                    <a:lnTo>
                      <a:pt x="-5029" y="12649"/>
                    </a:lnTo>
                    <a:lnTo>
                      <a:pt x="89929" y="-3531"/>
                    </a:lnTo>
                    <a:lnTo>
                      <a:pt x="96075" y="33344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7" name="Vrije vorm 2266">
                <a:extLst>
                  <a:ext uri="{FF2B5EF4-FFF2-40B4-BE49-F238E27FC236}">
                    <a16:creationId xmlns:a16="http://schemas.microsoft.com/office/drawing/2014/main" id="{DFD1828D-7C6F-4540-D6F9-4B4E8189CF80}"/>
                  </a:ext>
                </a:extLst>
              </p:cNvPr>
              <p:cNvSpPr/>
              <p:nvPr/>
            </p:nvSpPr>
            <p:spPr>
              <a:xfrm flipV="1">
                <a:off x="8050493" y="1616152"/>
                <a:ext cx="217458" cy="303572"/>
              </a:xfrm>
              <a:custGeom>
                <a:avLst/>
                <a:gdLst>
                  <a:gd name="connsiteX0" fmla="*/ 92306 w 217458"/>
                  <a:gd name="connsiteY0" fmla="*/ 294432 h 303572"/>
                  <a:gd name="connsiteX1" fmla="*/ 28511 w 217458"/>
                  <a:gd name="connsiteY1" fmla="*/ 234490 h 303572"/>
                  <a:gd name="connsiteX2" fmla="*/ 31858 w 217458"/>
                  <a:gd name="connsiteY2" fmla="*/ 158369 h 303572"/>
                  <a:gd name="connsiteX3" fmla="*/ 5007 w 217458"/>
                  <a:gd name="connsiteY3" fmla="*/ 165682 h 303572"/>
                  <a:gd name="connsiteX4" fmla="*/ 33091 w 217458"/>
                  <a:gd name="connsiteY4" fmla="*/ 91974 h 303572"/>
                  <a:gd name="connsiteX5" fmla="*/ 38988 w 217458"/>
                  <a:gd name="connsiteY5" fmla="*/ 51785 h 303572"/>
                  <a:gd name="connsiteX6" fmla="*/ 127531 w 217458"/>
                  <a:gd name="connsiteY6" fmla="*/ -3402 h 303572"/>
                  <a:gd name="connsiteX7" fmla="*/ 211306 w 217458"/>
                  <a:gd name="connsiteY7" fmla="*/ 60351 h 303572"/>
                  <a:gd name="connsiteX8" fmla="*/ 212260 w 217458"/>
                  <a:gd name="connsiteY8" fmla="*/ 246857 h 303572"/>
                  <a:gd name="connsiteX9" fmla="*/ 92306 w 217458"/>
                  <a:gd name="connsiteY9" fmla="*/ 294432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8" h="303572">
                    <a:moveTo>
                      <a:pt x="92306" y="294432"/>
                    </a:moveTo>
                    <a:cubicBezTo>
                      <a:pt x="26769" y="279495"/>
                      <a:pt x="28511" y="234490"/>
                      <a:pt x="28511" y="234490"/>
                    </a:cubicBezTo>
                    <a:cubicBezTo>
                      <a:pt x="28511" y="234490"/>
                      <a:pt x="30563" y="199739"/>
                      <a:pt x="31858" y="158369"/>
                    </a:cubicBezTo>
                    <a:cubicBezTo>
                      <a:pt x="25795" y="166707"/>
                      <a:pt x="15536" y="170187"/>
                      <a:pt x="5007" y="165682"/>
                    </a:cubicBezTo>
                    <a:cubicBezTo>
                      <a:pt x="-17305" y="156142"/>
                      <a:pt x="-828" y="85894"/>
                      <a:pt x="33091" y="91974"/>
                    </a:cubicBezTo>
                    <a:cubicBezTo>
                      <a:pt x="34552" y="72356"/>
                      <a:pt x="36469" y="57078"/>
                      <a:pt x="38988" y="51785"/>
                    </a:cubicBezTo>
                    <a:cubicBezTo>
                      <a:pt x="48511" y="31805"/>
                      <a:pt x="90399" y="1362"/>
                      <a:pt x="127531" y="-3402"/>
                    </a:cubicBezTo>
                    <a:cubicBezTo>
                      <a:pt x="164662" y="-8156"/>
                      <a:pt x="211306" y="16578"/>
                      <a:pt x="211306" y="60351"/>
                    </a:cubicBezTo>
                    <a:cubicBezTo>
                      <a:pt x="211306" y="104124"/>
                      <a:pt x="212260" y="246857"/>
                      <a:pt x="212260" y="246857"/>
                    </a:cubicBezTo>
                    <a:cubicBezTo>
                      <a:pt x="212260" y="246857"/>
                      <a:pt x="200829" y="319177"/>
                      <a:pt x="92306" y="29443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 dirty="0"/>
              </a:p>
            </p:txBody>
          </p:sp>
          <p:sp>
            <p:nvSpPr>
              <p:cNvPr id="2311" name="Vrije vorm 2310">
                <a:extLst>
                  <a:ext uri="{FF2B5EF4-FFF2-40B4-BE49-F238E27FC236}">
                    <a16:creationId xmlns:a16="http://schemas.microsoft.com/office/drawing/2014/main" id="{2CC8CD74-BB5B-8647-9424-107F3A7CF52A}"/>
                  </a:ext>
                </a:extLst>
              </p:cNvPr>
              <p:cNvSpPr/>
              <p:nvPr/>
            </p:nvSpPr>
            <p:spPr>
              <a:xfrm flipV="1">
                <a:off x="8208457" y="1747864"/>
                <a:ext cx="33835" cy="82781"/>
              </a:xfrm>
              <a:custGeom>
                <a:avLst/>
                <a:gdLst>
                  <a:gd name="connsiteX0" fmla="*/ -5254 w 33835"/>
                  <a:gd name="connsiteY0" fmla="*/ 78822 h 82781"/>
                  <a:gd name="connsiteX1" fmla="*/ 8612 w 33835"/>
                  <a:gd name="connsiteY1" fmla="*/ 43014 h 82781"/>
                  <a:gd name="connsiteX2" fmla="*/ 27256 w 33835"/>
                  <a:gd name="connsiteY2" fmla="*/ 10593 h 82781"/>
                  <a:gd name="connsiteX3" fmla="*/ 28582 w 33835"/>
                  <a:gd name="connsiteY3" fmla="*/ 9174 h 82781"/>
                  <a:gd name="connsiteX4" fmla="*/ 27245 w 33835"/>
                  <a:gd name="connsiteY4" fmla="*/ 8108 h 82781"/>
                  <a:gd name="connsiteX5" fmla="*/ 10923 w 33835"/>
                  <a:gd name="connsiteY5" fmla="*/ -3959 h 82781"/>
                  <a:gd name="connsiteX6" fmla="*/ 25069 w 33835"/>
                  <a:gd name="connsiteY6" fmla="*/ 10604 h 82781"/>
                  <a:gd name="connsiteX7" fmla="*/ 25048 w 33835"/>
                  <a:gd name="connsiteY7" fmla="*/ 8128 h 82781"/>
                  <a:gd name="connsiteX8" fmla="*/ 12716 w 33835"/>
                  <a:gd name="connsiteY8" fmla="*/ 23645 h 82781"/>
                  <a:gd name="connsiteX9" fmla="*/ 4404 w 33835"/>
                  <a:gd name="connsiteY9" fmla="*/ 41326 h 82781"/>
                  <a:gd name="connsiteX10" fmla="*/ -5254 w 33835"/>
                  <a:gd name="connsiteY10" fmla="*/ 78822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5" h="82781">
                    <a:moveTo>
                      <a:pt x="-5254" y="78822"/>
                    </a:moveTo>
                    <a:cubicBezTo>
                      <a:pt x="-746" y="66723"/>
                      <a:pt x="3752" y="54760"/>
                      <a:pt x="8612" y="43014"/>
                    </a:cubicBezTo>
                    <a:cubicBezTo>
                      <a:pt x="13752" y="31486"/>
                      <a:pt x="18882" y="19646"/>
                      <a:pt x="27256" y="10593"/>
                    </a:cubicBezTo>
                    <a:lnTo>
                      <a:pt x="28582" y="9174"/>
                    </a:lnTo>
                    <a:lnTo>
                      <a:pt x="27245" y="8108"/>
                    </a:lnTo>
                    <a:cubicBezTo>
                      <a:pt x="21960" y="3913"/>
                      <a:pt x="16540" y="-137"/>
                      <a:pt x="10923" y="-3959"/>
                    </a:cubicBezTo>
                    <a:cubicBezTo>
                      <a:pt x="15473" y="1095"/>
                      <a:pt x="20198" y="5922"/>
                      <a:pt x="25069" y="10604"/>
                    </a:cubicBezTo>
                    <a:lnTo>
                      <a:pt x="25048" y="8128"/>
                    </a:lnTo>
                    <a:cubicBezTo>
                      <a:pt x="19732" y="12385"/>
                      <a:pt x="16042" y="18020"/>
                      <a:pt x="12716" y="23645"/>
                    </a:cubicBezTo>
                    <a:cubicBezTo>
                      <a:pt x="9317" y="29259"/>
                      <a:pt x="6653" y="35235"/>
                      <a:pt x="4404" y="41326"/>
                    </a:cubicBezTo>
                    <a:cubicBezTo>
                      <a:pt x="-342" y="53403"/>
                      <a:pt x="-3513" y="66019"/>
                      <a:pt x="-5254" y="7882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12" name="Vrije vorm 2311">
                <a:extLst>
                  <a:ext uri="{FF2B5EF4-FFF2-40B4-BE49-F238E27FC236}">
                    <a16:creationId xmlns:a16="http://schemas.microsoft.com/office/drawing/2014/main" id="{EED6B783-8A4B-1732-FAE7-9D215A41E806}"/>
                  </a:ext>
                </a:extLst>
              </p:cNvPr>
              <p:cNvSpPr/>
              <p:nvPr/>
            </p:nvSpPr>
            <p:spPr>
              <a:xfrm flipV="1">
                <a:off x="8149718" y="1736771"/>
                <a:ext cx="18985" cy="34554"/>
              </a:xfrm>
              <a:custGeom>
                <a:avLst/>
                <a:gdLst>
                  <a:gd name="connsiteX0" fmla="*/ 13787 w 18985"/>
                  <a:gd name="connsiteY0" fmla="*/ 13279 h 34554"/>
                  <a:gd name="connsiteX1" fmla="*/ 4294 w 18985"/>
                  <a:gd name="connsiteY1" fmla="*/ -3998 h 34554"/>
                  <a:gd name="connsiteX2" fmla="*/ -5199 w 18985"/>
                  <a:gd name="connsiteY2" fmla="*/ 13279 h 34554"/>
                  <a:gd name="connsiteX3" fmla="*/ 4294 w 18985"/>
                  <a:gd name="connsiteY3" fmla="*/ 30556 h 34554"/>
                  <a:gd name="connsiteX4" fmla="*/ 13787 w 18985"/>
                  <a:gd name="connsiteY4" fmla="*/ 13279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13787" y="13279"/>
                    </a:moveTo>
                    <a:cubicBezTo>
                      <a:pt x="13787" y="3739"/>
                      <a:pt x="9538" y="-3998"/>
                      <a:pt x="4294" y="-3998"/>
                    </a:cubicBezTo>
                    <a:cubicBezTo>
                      <a:pt x="-950" y="-3998"/>
                      <a:pt x="-5199" y="3739"/>
                      <a:pt x="-5199" y="13279"/>
                    </a:cubicBezTo>
                    <a:cubicBezTo>
                      <a:pt x="-5199" y="22819"/>
                      <a:pt x="-950" y="30556"/>
                      <a:pt x="4294" y="30556"/>
                    </a:cubicBezTo>
                    <a:cubicBezTo>
                      <a:pt x="9538" y="30556"/>
                      <a:pt x="13787" y="22819"/>
                      <a:pt x="13787" y="13279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13" name="Vrije vorm 2312">
                <a:extLst>
                  <a:ext uri="{FF2B5EF4-FFF2-40B4-BE49-F238E27FC236}">
                    <a16:creationId xmlns:a16="http://schemas.microsoft.com/office/drawing/2014/main" id="{30CA3177-7EF1-0A33-C418-F4709E3C6059}"/>
                  </a:ext>
                </a:extLst>
              </p:cNvPr>
              <p:cNvSpPr/>
              <p:nvPr/>
            </p:nvSpPr>
            <p:spPr>
              <a:xfrm flipV="1">
                <a:off x="8229691" y="1740583"/>
                <a:ext cx="18985" cy="34554"/>
              </a:xfrm>
              <a:custGeom>
                <a:avLst/>
                <a:gdLst>
                  <a:gd name="connsiteX0" fmla="*/ 13720 w 18985"/>
                  <a:gd name="connsiteY0" fmla="*/ 13284 h 34554"/>
                  <a:gd name="connsiteX1" fmla="*/ 4227 w 18985"/>
                  <a:gd name="connsiteY1" fmla="*/ -3994 h 34554"/>
                  <a:gd name="connsiteX2" fmla="*/ -5265 w 18985"/>
                  <a:gd name="connsiteY2" fmla="*/ 13284 h 34554"/>
                  <a:gd name="connsiteX3" fmla="*/ 4227 w 18985"/>
                  <a:gd name="connsiteY3" fmla="*/ 30560 h 34554"/>
                  <a:gd name="connsiteX4" fmla="*/ 13720 w 18985"/>
                  <a:gd name="connsiteY4" fmla="*/ 13284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13720" y="13284"/>
                    </a:moveTo>
                    <a:cubicBezTo>
                      <a:pt x="13720" y="3744"/>
                      <a:pt x="9461" y="-3994"/>
                      <a:pt x="4227" y="-3994"/>
                    </a:cubicBezTo>
                    <a:cubicBezTo>
                      <a:pt x="-1016" y="-3994"/>
                      <a:pt x="-5265" y="3744"/>
                      <a:pt x="-5265" y="13284"/>
                    </a:cubicBezTo>
                    <a:cubicBezTo>
                      <a:pt x="-5265" y="22833"/>
                      <a:pt x="-1016" y="30560"/>
                      <a:pt x="4227" y="30560"/>
                    </a:cubicBezTo>
                    <a:cubicBezTo>
                      <a:pt x="9461" y="30560"/>
                      <a:pt x="13720" y="22833"/>
                      <a:pt x="13720" y="13284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14" name="Vrije vorm 2313">
                <a:extLst>
                  <a:ext uri="{FF2B5EF4-FFF2-40B4-BE49-F238E27FC236}">
                    <a16:creationId xmlns:a16="http://schemas.microsoft.com/office/drawing/2014/main" id="{A7BD1A7B-7A20-5045-580A-05B08E07937B}"/>
                  </a:ext>
                </a:extLst>
              </p:cNvPr>
              <p:cNvSpPr/>
              <p:nvPr/>
            </p:nvSpPr>
            <p:spPr>
              <a:xfrm rot="11623917" flipV="1">
                <a:off x="8124432" y="1698913"/>
                <a:ext cx="44745" cy="31125"/>
              </a:xfrm>
              <a:custGeom>
                <a:avLst/>
                <a:gdLst>
                  <a:gd name="connsiteX0" fmla="*/ -5188 w 44745"/>
                  <a:gd name="connsiteY0" fmla="*/ -664 h 31125"/>
                  <a:gd name="connsiteX1" fmla="*/ 21062 w 44745"/>
                  <a:gd name="connsiteY1" fmla="*/ 8254 h 31125"/>
                  <a:gd name="connsiteX2" fmla="*/ 30907 w 44745"/>
                  <a:gd name="connsiteY2" fmla="*/ 15515 h 31125"/>
                  <a:gd name="connsiteX3" fmla="*/ 38762 w 44745"/>
                  <a:gd name="connsiteY3" fmla="*/ 27085 h 31125"/>
                  <a:gd name="connsiteX4" fmla="*/ 37291 w 44745"/>
                  <a:gd name="connsiteY4" fmla="*/ 11309 h 31125"/>
                  <a:gd name="connsiteX5" fmla="*/ 25497 w 44745"/>
                  <a:gd name="connsiteY5" fmla="*/ -478 h 31125"/>
                  <a:gd name="connsiteX6" fmla="*/ 9911 w 44745"/>
                  <a:gd name="connsiteY6" fmla="*/ -4041 h 31125"/>
                  <a:gd name="connsiteX7" fmla="*/ -5188 w 44745"/>
                  <a:gd name="connsiteY7" fmla="*/ -664 h 31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745" h="31125">
                    <a:moveTo>
                      <a:pt x="-5188" y="-664"/>
                    </a:moveTo>
                    <a:cubicBezTo>
                      <a:pt x="4709" y="2412"/>
                      <a:pt x="13538" y="4442"/>
                      <a:pt x="21062" y="8254"/>
                    </a:cubicBezTo>
                    <a:cubicBezTo>
                      <a:pt x="24803" y="10118"/>
                      <a:pt x="27953" y="12532"/>
                      <a:pt x="30907" y="15515"/>
                    </a:cubicBezTo>
                    <a:cubicBezTo>
                      <a:pt x="34005" y="18488"/>
                      <a:pt x="35923" y="22538"/>
                      <a:pt x="38762" y="27085"/>
                    </a:cubicBezTo>
                    <a:cubicBezTo>
                      <a:pt x="39985" y="22123"/>
                      <a:pt x="40016" y="16302"/>
                      <a:pt x="37291" y="11309"/>
                    </a:cubicBezTo>
                    <a:cubicBezTo>
                      <a:pt x="34855" y="6203"/>
                      <a:pt x="30409" y="2122"/>
                      <a:pt x="25497" y="-478"/>
                    </a:cubicBezTo>
                    <a:cubicBezTo>
                      <a:pt x="20492" y="-2881"/>
                      <a:pt x="15155" y="-4062"/>
                      <a:pt x="9911" y="-4041"/>
                    </a:cubicBezTo>
                    <a:cubicBezTo>
                      <a:pt x="4688" y="-4041"/>
                      <a:pt x="-504" y="-3150"/>
                      <a:pt x="-5188" y="-664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15" name="Vrije vorm 2314">
                <a:extLst>
                  <a:ext uri="{FF2B5EF4-FFF2-40B4-BE49-F238E27FC236}">
                    <a16:creationId xmlns:a16="http://schemas.microsoft.com/office/drawing/2014/main" id="{0E37A657-05AC-E614-1B0C-E7147A5298D1}"/>
                  </a:ext>
                </a:extLst>
              </p:cNvPr>
              <p:cNvSpPr/>
              <p:nvPr/>
            </p:nvSpPr>
            <p:spPr>
              <a:xfrm rot="10800000" flipV="1">
                <a:off x="8213354" y="1702610"/>
                <a:ext cx="38471" cy="23972"/>
              </a:xfrm>
              <a:custGeom>
                <a:avLst/>
                <a:gdLst>
                  <a:gd name="connsiteX0" fmla="*/ 33202 w 38471"/>
                  <a:gd name="connsiteY0" fmla="*/ 3017 h 23972"/>
                  <a:gd name="connsiteX1" fmla="*/ 21658 w 38471"/>
                  <a:gd name="connsiteY1" fmla="*/ -3260 h 23972"/>
                  <a:gd name="connsiteX2" fmla="*/ 7771 w 38471"/>
                  <a:gd name="connsiteY2" fmla="*/ -2825 h 23972"/>
                  <a:gd name="connsiteX3" fmla="*/ -3110 w 38471"/>
                  <a:gd name="connsiteY3" fmla="*/ 6683 h 23972"/>
                  <a:gd name="connsiteX4" fmla="*/ -4841 w 38471"/>
                  <a:gd name="connsiteY4" fmla="*/ 19931 h 23972"/>
                  <a:gd name="connsiteX5" fmla="*/ 2486 w 38471"/>
                  <a:gd name="connsiteY5" fmla="*/ 10599 h 23972"/>
                  <a:gd name="connsiteX6" fmla="*/ 10662 w 38471"/>
                  <a:gd name="connsiteY6" fmla="*/ 5420 h 23972"/>
                  <a:gd name="connsiteX7" fmla="*/ 33202 w 38471"/>
                  <a:gd name="connsiteY7" fmla="*/ 3017 h 23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71" h="23972">
                    <a:moveTo>
                      <a:pt x="33202" y="3017"/>
                    </a:moveTo>
                    <a:cubicBezTo>
                      <a:pt x="30042" y="-194"/>
                      <a:pt x="26000" y="-2162"/>
                      <a:pt x="21658" y="-3260"/>
                    </a:cubicBezTo>
                    <a:cubicBezTo>
                      <a:pt x="17305" y="-4379"/>
                      <a:pt x="12466" y="-4348"/>
                      <a:pt x="7771" y="-2825"/>
                    </a:cubicBezTo>
                    <a:cubicBezTo>
                      <a:pt x="3087" y="-1261"/>
                      <a:pt x="-1089" y="2364"/>
                      <a:pt x="-3110" y="6683"/>
                    </a:cubicBezTo>
                    <a:cubicBezTo>
                      <a:pt x="-5421" y="10910"/>
                      <a:pt x="-5660" y="15633"/>
                      <a:pt x="-4841" y="19931"/>
                    </a:cubicBezTo>
                    <a:cubicBezTo>
                      <a:pt x="-2095" y="16337"/>
                      <a:pt x="-136" y="12991"/>
                      <a:pt x="2486" y="10599"/>
                    </a:cubicBezTo>
                    <a:cubicBezTo>
                      <a:pt x="4973" y="8154"/>
                      <a:pt x="7533" y="6352"/>
                      <a:pt x="10662" y="5420"/>
                    </a:cubicBezTo>
                    <a:cubicBezTo>
                      <a:pt x="16860" y="3213"/>
                      <a:pt x="24445" y="3358"/>
                      <a:pt x="33202" y="3017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16" name="Vrije vorm 2315">
                <a:extLst>
                  <a:ext uri="{FF2B5EF4-FFF2-40B4-BE49-F238E27FC236}">
                    <a16:creationId xmlns:a16="http://schemas.microsoft.com/office/drawing/2014/main" id="{CB7E7CEB-0F17-8445-2849-25AFE287A349}"/>
                  </a:ext>
                </a:extLst>
              </p:cNvPr>
              <p:cNvSpPr/>
              <p:nvPr/>
            </p:nvSpPr>
            <p:spPr>
              <a:xfrm flipV="1">
                <a:off x="8151480" y="1839326"/>
                <a:ext cx="77112" cy="25711"/>
              </a:xfrm>
              <a:custGeom>
                <a:avLst/>
                <a:gdLst>
                  <a:gd name="connsiteX0" fmla="*/ -5224 w 77112"/>
                  <a:gd name="connsiteY0" fmla="*/ 21821 h 25711"/>
                  <a:gd name="connsiteX1" fmla="*/ 71888 w 77112"/>
                  <a:gd name="connsiteY1" fmla="*/ 17802 h 25711"/>
                  <a:gd name="connsiteX2" fmla="*/ -5224 w 77112"/>
                  <a:gd name="connsiteY2" fmla="*/ 21821 h 25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7112" h="25711">
                    <a:moveTo>
                      <a:pt x="-5224" y="21821"/>
                    </a:moveTo>
                    <a:lnTo>
                      <a:pt x="71888" y="17802"/>
                    </a:lnTo>
                    <a:cubicBezTo>
                      <a:pt x="71888" y="17802"/>
                      <a:pt x="31720" y="-33584"/>
                      <a:pt x="-5224" y="21821"/>
                    </a:cubicBezTo>
                  </a:path>
                </a:pathLst>
              </a:custGeom>
              <a:solidFill>
                <a:srgbClr val="FFFFF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17" name="Vrije vorm 2316">
                <a:extLst>
                  <a:ext uri="{FF2B5EF4-FFF2-40B4-BE49-F238E27FC236}">
                    <a16:creationId xmlns:a16="http://schemas.microsoft.com/office/drawing/2014/main" id="{B985934E-C625-32E1-5E0E-2E10E1D8C5C1}"/>
                  </a:ext>
                </a:extLst>
              </p:cNvPr>
              <p:cNvSpPr/>
              <p:nvPr/>
            </p:nvSpPr>
            <p:spPr>
              <a:xfrm flipV="1">
                <a:off x="8058284" y="1761049"/>
                <a:ext cx="27835" cy="51643"/>
              </a:xfrm>
              <a:custGeom>
                <a:avLst/>
                <a:gdLst>
                  <a:gd name="connsiteX0" fmla="*/ 305 w 27835"/>
                  <a:gd name="connsiteY0" fmla="*/ 46583 h 51643"/>
                  <a:gd name="connsiteX1" fmla="*/ 22710 w 27835"/>
                  <a:gd name="connsiteY1" fmla="*/ 13769 h 51643"/>
                  <a:gd name="connsiteX2" fmla="*/ 16886 w 27835"/>
                  <a:gd name="connsiteY2" fmla="*/ -3726 h 51643"/>
                  <a:gd name="connsiteX3" fmla="*/ 305 w 27835"/>
                  <a:gd name="connsiteY3" fmla="*/ 4658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35" h="51643">
                    <a:moveTo>
                      <a:pt x="305" y="46583"/>
                    </a:moveTo>
                    <a:cubicBezTo>
                      <a:pt x="11942" y="52466"/>
                      <a:pt x="22233" y="33749"/>
                      <a:pt x="22710" y="13769"/>
                    </a:cubicBezTo>
                    <a:cubicBezTo>
                      <a:pt x="13186" y="15188"/>
                      <a:pt x="11580" y="4115"/>
                      <a:pt x="16886" y="-3726"/>
                    </a:cubicBezTo>
                    <a:cubicBezTo>
                      <a:pt x="-2017" y="-7724"/>
                      <a:pt x="-12028" y="40337"/>
                      <a:pt x="305" y="4658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18" name="Vrije vorm 2317">
                <a:extLst>
                  <a:ext uri="{FF2B5EF4-FFF2-40B4-BE49-F238E27FC236}">
                    <a16:creationId xmlns:a16="http://schemas.microsoft.com/office/drawing/2014/main" id="{A43FD626-02B5-66D4-EB34-ED876ABD9242}"/>
                  </a:ext>
                </a:extLst>
              </p:cNvPr>
              <p:cNvSpPr/>
              <p:nvPr/>
            </p:nvSpPr>
            <p:spPr>
              <a:xfrm flipV="1">
                <a:off x="8058937" y="2229210"/>
                <a:ext cx="56066" cy="97947"/>
              </a:xfrm>
              <a:custGeom>
                <a:avLst/>
                <a:gdLst>
                  <a:gd name="connsiteX0" fmla="*/ -5138 w 56066"/>
                  <a:gd name="connsiteY0" fmla="*/ 3952 h 97947"/>
                  <a:gd name="connsiteX1" fmla="*/ 24055 w 56066"/>
                  <a:gd name="connsiteY1" fmla="*/ 44659 h 97947"/>
                  <a:gd name="connsiteX2" fmla="*/ 28677 w 56066"/>
                  <a:gd name="connsiteY2" fmla="*/ 60786 h 97947"/>
                  <a:gd name="connsiteX3" fmla="*/ 24055 w 56066"/>
                  <a:gd name="connsiteY3" fmla="*/ 71538 h 97947"/>
                  <a:gd name="connsiteX4" fmla="*/ 3308 w 56066"/>
                  <a:gd name="connsiteY4" fmla="*/ 70771 h 97947"/>
                  <a:gd name="connsiteX5" fmla="*/ -3604 w 56066"/>
                  <a:gd name="connsiteY5" fmla="*/ 26221 h 97947"/>
                  <a:gd name="connsiteX6" fmla="*/ -5138 w 56066"/>
                  <a:gd name="connsiteY6" fmla="*/ 3952 h 97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066" h="97947">
                    <a:moveTo>
                      <a:pt x="-5138" y="3952"/>
                    </a:moveTo>
                    <a:cubicBezTo>
                      <a:pt x="-5138" y="3952"/>
                      <a:pt x="39434" y="-29080"/>
                      <a:pt x="24055" y="44659"/>
                    </a:cubicBezTo>
                    <a:cubicBezTo>
                      <a:pt x="24055" y="44659"/>
                      <a:pt x="78628" y="60020"/>
                      <a:pt x="28677" y="60786"/>
                    </a:cubicBezTo>
                    <a:cubicBezTo>
                      <a:pt x="28677" y="60786"/>
                      <a:pt x="81695" y="86132"/>
                      <a:pt x="24055" y="71538"/>
                    </a:cubicBezTo>
                    <a:cubicBezTo>
                      <a:pt x="24055" y="71538"/>
                      <a:pt x="64026" y="123763"/>
                      <a:pt x="3308" y="70771"/>
                    </a:cubicBezTo>
                    <a:cubicBezTo>
                      <a:pt x="3308" y="70771"/>
                      <a:pt x="-8734" y="58735"/>
                      <a:pt x="-3604" y="26221"/>
                    </a:cubicBezTo>
                    <a:lnTo>
                      <a:pt x="-5138" y="3952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2324" name="Vrije vorm 2323">
              <a:extLst>
                <a:ext uri="{FF2B5EF4-FFF2-40B4-BE49-F238E27FC236}">
                  <a16:creationId xmlns:a16="http://schemas.microsoft.com/office/drawing/2014/main" id="{AC16EE47-11B6-B9F9-60AE-DFC8ED7BCB09}"/>
                </a:ext>
              </a:extLst>
            </p:cNvPr>
            <p:cNvSpPr/>
            <p:nvPr/>
          </p:nvSpPr>
          <p:spPr>
            <a:xfrm flipV="1">
              <a:off x="5870474" y="2877654"/>
              <a:ext cx="162000" cy="162000"/>
            </a:xfrm>
            <a:custGeom>
              <a:avLst/>
              <a:gdLst>
                <a:gd name="connsiteX0" fmla="*/ 56246 w 117549"/>
                <a:gd name="connsiteY0" fmla="*/ 103954 h 117480"/>
                <a:gd name="connsiteX1" fmla="*/ 7156 w 117549"/>
                <a:gd name="connsiteY1" fmla="*/ 54888 h 117480"/>
                <a:gd name="connsiteX2" fmla="*/ 56246 w 117549"/>
                <a:gd name="connsiteY2" fmla="*/ 5822 h 117480"/>
                <a:gd name="connsiteX3" fmla="*/ 105347 w 117549"/>
                <a:gd name="connsiteY3" fmla="*/ 54888 h 117480"/>
                <a:gd name="connsiteX4" fmla="*/ 56246 w 117549"/>
                <a:gd name="connsiteY4" fmla="*/ 103954 h 117480"/>
                <a:gd name="connsiteX5" fmla="*/ 56246 w 117549"/>
                <a:gd name="connsiteY5" fmla="*/ -3852 h 117480"/>
                <a:gd name="connsiteX6" fmla="*/ -2534 w 117549"/>
                <a:gd name="connsiteY6" fmla="*/ 54888 h 117480"/>
                <a:gd name="connsiteX7" fmla="*/ 56246 w 117549"/>
                <a:gd name="connsiteY7" fmla="*/ 113628 h 117480"/>
                <a:gd name="connsiteX8" fmla="*/ 115015 w 117549"/>
                <a:gd name="connsiteY8" fmla="*/ 54888 h 117480"/>
                <a:gd name="connsiteX9" fmla="*/ 56246 w 11754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49" h="117480">
                  <a:moveTo>
                    <a:pt x="56246" y="103954"/>
                  </a:moveTo>
                  <a:cubicBezTo>
                    <a:pt x="29177" y="103954"/>
                    <a:pt x="7156" y="81943"/>
                    <a:pt x="7156" y="54888"/>
                  </a:cubicBezTo>
                  <a:cubicBezTo>
                    <a:pt x="7156" y="27833"/>
                    <a:pt x="29177" y="5822"/>
                    <a:pt x="56246" y="5822"/>
                  </a:cubicBezTo>
                  <a:cubicBezTo>
                    <a:pt x="83315" y="5822"/>
                    <a:pt x="105347" y="27833"/>
                    <a:pt x="105347" y="54888"/>
                  </a:cubicBezTo>
                  <a:cubicBezTo>
                    <a:pt x="105347" y="81943"/>
                    <a:pt x="83315" y="103954"/>
                    <a:pt x="56246" y="103954"/>
                  </a:cubicBezTo>
                  <a:close/>
                  <a:moveTo>
                    <a:pt x="56246" y="-3852"/>
                  </a:moveTo>
                  <a:cubicBezTo>
                    <a:pt x="23830" y="-3852"/>
                    <a:pt x="-2534" y="22499"/>
                    <a:pt x="-2534" y="54888"/>
                  </a:cubicBezTo>
                  <a:cubicBezTo>
                    <a:pt x="-2534" y="87288"/>
                    <a:pt x="23830" y="113628"/>
                    <a:pt x="56246" y="113628"/>
                  </a:cubicBezTo>
                  <a:cubicBezTo>
                    <a:pt x="88651" y="113628"/>
                    <a:pt x="115015" y="87288"/>
                    <a:pt x="115015" y="54888"/>
                  </a:cubicBezTo>
                  <a:cubicBezTo>
                    <a:pt x="115015" y="22499"/>
                    <a:pt x="88651" y="-3852"/>
                    <a:pt x="56246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327" name="Vrije vorm 2326">
              <a:extLst>
                <a:ext uri="{FF2B5EF4-FFF2-40B4-BE49-F238E27FC236}">
                  <a16:creationId xmlns:a16="http://schemas.microsoft.com/office/drawing/2014/main" id="{C4B50F9B-DEBA-DD42-FAF5-2B0138365CC5}"/>
                </a:ext>
              </a:extLst>
            </p:cNvPr>
            <p:cNvSpPr/>
            <p:nvPr/>
          </p:nvSpPr>
          <p:spPr>
            <a:xfrm flipV="1">
              <a:off x="6126416" y="2883164"/>
              <a:ext cx="162000" cy="162000"/>
            </a:xfrm>
            <a:custGeom>
              <a:avLst/>
              <a:gdLst>
                <a:gd name="connsiteX0" fmla="*/ 56107 w 117539"/>
                <a:gd name="connsiteY0" fmla="*/ 103954 h 117480"/>
                <a:gd name="connsiteX1" fmla="*/ 7017 w 117539"/>
                <a:gd name="connsiteY1" fmla="*/ 54888 h 117480"/>
                <a:gd name="connsiteX2" fmla="*/ 56107 w 117539"/>
                <a:gd name="connsiteY2" fmla="*/ 5822 h 117480"/>
                <a:gd name="connsiteX3" fmla="*/ 105198 w 117539"/>
                <a:gd name="connsiteY3" fmla="*/ 54888 h 117480"/>
                <a:gd name="connsiteX4" fmla="*/ 56107 w 117539"/>
                <a:gd name="connsiteY4" fmla="*/ 103954 h 117480"/>
                <a:gd name="connsiteX5" fmla="*/ 56107 w 117539"/>
                <a:gd name="connsiteY5" fmla="*/ -3852 h 117480"/>
                <a:gd name="connsiteX6" fmla="*/ -2662 w 117539"/>
                <a:gd name="connsiteY6" fmla="*/ 54888 h 117480"/>
                <a:gd name="connsiteX7" fmla="*/ 56107 w 117539"/>
                <a:gd name="connsiteY7" fmla="*/ 113628 h 117480"/>
                <a:gd name="connsiteX8" fmla="*/ 114877 w 117539"/>
                <a:gd name="connsiteY8" fmla="*/ 54888 h 117480"/>
                <a:gd name="connsiteX9" fmla="*/ 56107 w 11753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39" h="117480">
                  <a:moveTo>
                    <a:pt x="56107" y="103954"/>
                  </a:moveTo>
                  <a:cubicBezTo>
                    <a:pt x="29039" y="103954"/>
                    <a:pt x="7017" y="81943"/>
                    <a:pt x="7017" y="54888"/>
                  </a:cubicBezTo>
                  <a:cubicBezTo>
                    <a:pt x="7017" y="27833"/>
                    <a:pt x="29039" y="5822"/>
                    <a:pt x="56107" y="5822"/>
                  </a:cubicBezTo>
                  <a:cubicBezTo>
                    <a:pt x="83176" y="5822"/>
                    <a:pt x="105198" y="27833"/>
                    <a:pt x="105198" y="54888"/>
                  </a:cubicBezTo>
                  <a:cubicBezTo>
                    <a:pt x="105198" y="81943"/>
                    <a:pt x="83176" y="103954"/>
                    <a:pt x="56107" y="103954"/>
                  </a:cubicBezTo>
                  <a:close/>
                  <a:moveTo>
                    <a:pt x="56107" y="-3852"/>
                  </a:moveTo>
                  <a:cubicBezTo>
                    <a:pt x="23702" y="-3852"/>
                    <a:pt x="-2662" y="22499"/>
                    <a:pt x="-2662" y="54888"/>
                  </a:cubicBezTo>
                  <a:cubicBezTo>
                    <a:pt x="-2662" y="87288"/>
                    <a:pt x="23702" y="113628"/>
                    <a:pt x="56107" y="113628"/>
                  </a:cubicBezTo>
                  <a:cubicBezTo>
                    <a:pt x="88513" y="113628"/>
                    <a:pt x="114877" y="87288"/>
                    <a:pt x="114877" y="54888"/>
                  </a:cubicBezTo>
                  <a:cubicBezTo>
                    <a:pt x="114877" y="22499"/>
                    <a:pt x="88513" y="-3852"/>
                    <a:pt x="56107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329" name="Vrije vorm 2328">
              <a:extLst>
                <a:ext uri="{FF2B5EF4-FFF2-40B4-BE49-F238E27FC236}">
                  <a16:creationId xmlns:a16="http://schemas.microsoft.com/office/drawing/2014/main" id="{52D92DAD-AC35-471F-013D-C09E7A691FA0}"/>
                </a:ext>
              </a:extLst>
            </p:cNvPr>
            <p:cNvSpPr/>
            <p:nvPr/>
          </p:nvSpPr>
          <p:spPr>
            <a:xfrm flipV="1">
              <a:off x="5732515" y="2940355"/>
              <a:ext cx="144000" cy="16442"/>
            </a:xfrm>
            <a:custGeom>
              <a:avLst/>
              <a:gdLst>
                <a:gd name="connsiteX0" fmla="*/ 108369 w 111559"/>
                <a:gd name="connsiteY0" fmla="*/ -3873 h 18230"/>
                <a:gd name="connsiteX1" fmla="*/ -2444 w 111559"/>
                <a:gd name="connsiteY1" fmla="*/ 4714 h 18230"/>
                <a:gd name="connsiteX2" fmla="*/ -1698 w 111559"/>
                <a:gd name="connsiteY2" fmla="*/ 14357 h 18230"/>
                <a:gd name="connsiteX3" fmla="*/ 109115 w 111559"/>
                <a:gd name="connsiteY3" fmla="*/ 5770 h 18230"/>
                <a:gd name="connsiteX4" fmla="*/ 108369 w 111559"/>
                <a:gd name="connsiteY4" fmla="*/ -3873 h 18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559" h="18230">
                  <a:moveTo>
                    <a:pt x="108369" y="-3873"/>
                  </a:moveTo>
                  <a:lnTo>
                    <a:pt x="-2444" y="4714"/>
                  </a:lnTo>
                  <a:lnTo>
                    <a:pt x="-1698" y="14357"/>
                  </a:lnTo>
                  <a:lnTo>
                    <a:pt x="109115" y="5770"/>
                  </a:lnTo>
                  <a:lnTo>
                    <a:pt x="108369" y="-3873"/>
                  </a:ln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330" name="Vrije vorm 2329">
              <a:extLst>
                <a:ext uri="{FF2B5EF4-FFF2-40B4-BE49-F238E27FC236}">
                  <a16:creationId xmlns:a16="http://schemas.microsoft.com/office/drawing/2014/main" id="{0572C7CA-DAFC-BC6C-3693-246078D122F7}"/>
                </a:ext>
              </a:extLst>
            </p:cNvPr>
            <p:cNvSpPr/>
            <p:nvPr/>
          </p:nvSpPr>
          <p:spPr>
            <a:xfrm flipV="1">
              <a:off x="6039767" y="2951055"/>
              <a:ext cx="90000" cy="14758"/>
            </a:xfrm>
            <a:custGeom>
              <a:avLst/>
              <a:gdLst>
                <a:gd name="connsiteX0" fmla="*/ 3008 w 52302"/>
                <a:gd name="connsiteY0" fmla="*/ -3866 h 16363"/>
                <a:gd name="connsiteX1" fmla="*/ -2598 w 52302"/>
                <a:gd name="connsiteY1" fmla="*/ 4027 h 16363"/>
                <a:gd name="connsiteX2" fmla="*/ 49705 w 52302"/>
                <a:gd name="connsiteY2" fmla="*/ 3923 h 16363"/>
                <a:gd name="connsiteX3" fmla="*/ 43819 w 52302"/>
                <a:gd name="connsiteY3" fmla="*/ -3752 h 16363"/>
                <a:gd name="connsiteX4" fmla="*/ 3008 w 52302"/>
                <a:gd name="connsiteY4" fmla="*/ -3866 h 1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02" h="16363">
                  <a:moveTo>
                    <a:pt x="3008" y="-3866"/>
                  </a:moveTo>
                  <a:lnTo>
                    <a:pt x="-2598" y="4027"/>
                  </a:lnTo>
                  <a:cubicBezTo>
                    <a:pt x="6760" y="10687"/>
                    <a:pt x="29735" y="19233"/>
                    <a:pt x="49705" y="3923"/>
                  </a:cubicBezTo>
                  <a:lnTo>
                    <a:pt x="43819" y="-3752"/>
                  </a:lnTo>
                  <a:cubicBezTo>
                    <a:pt x="24584" y="10977"/>
                    <a:pt x="3879" y="-3255"/>
                    <a:pt x="3008" y="-3866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331" name="Vrije vorm 2330">
              <a:extLst>
                <a:ext uri="{FF2B5EF4-FFF2-40B4-BE49-F238E27FC236}">
                  <a16:creationId xmlns:a16="http://schemas.microsoft.com/office/drawing/2014/main" id="{F6B19929-7767-DEA1-5712-9E12A3FEFF92}"/>
                </a:ext>
              </a:extLst>
            </p:cNvPr>
            <p:cNvSpPr/>
            <p:nvPr/>
          </p:nvSpPr>
          <p:spPr>
            <a:xfrm flipV="1">
              <a:off x="5633719" y="2512723"/>
              <a:ext cx="743844" cy="493210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pic>
        <p:nvPicPr>
          <p:cNvPr id="2333" name="Afbeelding 2332" descr="Afbeelding met tekst, vectorafbeeldingen&#10;&#10;Automatisch gegenereerde beschrijving">
            <a:extLst>
              <a:ext uri="{FF2B5EF4-FFF2-40B4-BE49-F238E27FC236}">
                <a16:creationId xmlns:a16="http://schemas.microsoft.com/office/drawing/2014/main" id="{CCD6E2F8-11CF-B572-8D09-452D8021920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rcRect l="14358"/>
          <a:stretch/>
        </p:blipFill>
        <p:spPr>
          <a:xfrm>
            <a:off x="3935186" y="336234"/>
            <a:ext cx="2612513" cy="2017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1624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1"/>
          <p:cNvSpPr txBox="1">
            <a:spLocks noGrp="1"/>
          </p:cNvSpPr>
          <p:nvPr>
            <p:ph type="ctrTitle"/>
          </p:nvPr>
        </p:nvSpPr>
        <p:spPr>
          <a:xfrm>
            <a:off x="838200" y="1122363"/>
            <a:ext cx="104394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CA9E1"/>
              </a:buClr>
              <a:buSzPts val="6000"/>
              <a:buFont typeface="Century Gothic"/>
              <a:buNone/>
            </a:pPr>
            <a:r>
              <a:rPr lang="en-GB" dirty="0"/>
              <a:t>Entrepreneurial Matchmaking</a:t>
            </a:r>
          </a:p>
        </p:txBody>
      </p:sp>
      <p:sp>
        <p:nvSpPr>
          <p:cNvPr id="201" name="Google Shape;201;p1"/>
          <p:cNvSpPr txBox="1">
            <a:spLocks noGrp="1"/>
          </p:cNvSpPr>
          <p:nvPr>
            <p:ph type="subTitle" idx="1"/>
          </p:nvPr>
        </p:nvSpPr>
        <p:spPr>
          <a:xfrm>
            <a:off x="838200" y="3602038"/>
            <a:ext cx="10439400" cy="91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</a:pPr>
            <a:r>
              <a:rPr lang="en-GB" dirty="0"/>
              <a:t>Belgian Entrepreneurship Research Day (BERD)</a:t>
            </a:r>
            <a:br>
              <a:rPr lang="en-GB" dirty="0"/>
            </a:br>
            <a:r>
              <a:rPr lang="en-GB" dirty="0"/>
              <a:t>Friday May 16, 2025</a:t>
            </a:r>
          </a:p>
        </p:txBody>
      </p:sp>
      <p:sp>
        <p:nvSpPr>
          <p:cNvPr id="202" name="Google Shape;202;p1"/>
          <p:cNvSpPr txBox="1">
            <a:spLocks noGrp="1"/>
          </p:cNvSpPr>
          <p:nvPr>
            <p:ph type="body" idx="2"/>
          </p:nvPr>
        </p:nvSpPr>
        <p:spPr>
          <a:xfrm>
            <a:off x="838200" y="4672310"/>
            <a:ext cx="10439400" cy="264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25252"/>
              </a:buClr>
              <a:buSzPts val="1800"/>
              <a:buNone/>
            </a:pPr>
            <a:r>
              <a:rPr lang="nl-BE" b="1" dirty="0"/>
              <a:t>Shayan </a:t>
            </a:r>
            <a:r>
              <a:rPr lang="nl-BE" b="1" dirty="0" err="1"/>
              <a:t>Sheshblooki</a:t>
            </a:r>
            <a:endParaRPr b="1" dirty="0"/>
          </a:p>
        </p:txBody>
      </p:sp>
      <p:sp>
        <p:nvSpPr>
          <p:cNvPr id="5" name="Google Shape;202;p1">
            <a:extLst>
              <a:ext uri="{FF2B5EF4-FFF2-40B4-BE49-F238E27FC236}">
                <a16:creationId xmlns:a16="http://schemas.microsoft.com/office/drawing/2014/main" id="{37A7A70D-D091-499B-BABE-1D9D46DCEE22}"/>
              </a:ext>
            </a:extLst>
          </p:cNvPr>
          <p:cNvSpPr txBox="1">
            <a:spLocks/>
          </p:cNvSpPr>
          <p:nvPr/>
        </p:nvSpPr>
        <p:spPr>
          <a:xfrm>
            <a:off x="838200" y="5205709"/>
            <a:ext cx="10439400" cy="103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25252"/>
              </a:buClr>
              <a:buSzPts val="1800"/>
              <a:buFont typeface="Arial"/>
              <a:buNone/>
              <a:defRPr sz="1800" b="0" i="1" u="none" strike="noStrike" cap="none">
                <a:solidFill>
                  <a:srgbClr val="525252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indent="0">
              <a:spcBef>
                <a:spcPts val="0"/>
              </a:spcBef>
              <a:buClr>
                <a:schemeClr val="bg1"/>
              </a:buClr>
            </a:pPr>
            <a:r>
              <a:rPr lang="en-GB" dirty="0">
                <a:solidFill>
                  <a:schemeClr val="bg1"/>
                </a:solidFill>
              </a:rPr>
              <a:t>Commission: </a:t>
            </a:r>
          </a:p>
          <a:p>
            <a:pPr marL="285750" indent="-28575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Prof. </a:t>
            </a:r>
            <a:r>
              <a:rPr lang="en-GB" dirty="0" err="1">
                <a:solidFill>
                  <a:schemeClr val="bg1"/>
                </a:solidFill>
              </a:rPr>
              <a:t>dr.</a:t>
            </a: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dirty="0" err="1">
                <a:solidFill>
                  <a:schemeClr val="bg1"/>
                </a:solidFill>
              </a:rPr>
              <a:t>Jelle</a:t>
            </a: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dirty="0" err="1">
                <a:solidFill>
                  <a:schemeClr val="bg1"/>
                </a:solidFill>
              </a:rPr>
              <a:t>Schepers</a:t>
            </a: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Prof. </a:t>
            </a:r>
            <a:r>
              <a:rPr lang="en-GB" dirty="0" err="1">
                <a:solidFill>
                  <a:schemeClr val="bg1"/>
                </a:solidFill>
              </a:rPr>
              <a:t>dr.</a:t>
            </a:r>
            <a:r>
              <a:rPr lang="en-GB" dirty="0">
                <a:solidFill>
                  <a:schemeClr val="bg1"/>
                </a:solidFill>
              </a:rPr>
              <a:t> Pieter </a:t>
            </a:r>
            <a:r>
              <a:rPr lang="en-GB" dirty="0" err="1">
                <a:solidFill>
                  <a:schemeClr val="bg1"/>
                </a:solidFill>
              </a:rPr>
              <a:t>Vandekerkhof</a:t>
            </a:r>
            <a:r>
              <a:rPr lang="en-GB"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Prof. </a:t>
            </a:r>
            <a:r>
              <a:rPr lang="en-GB" dirty="0" err="1">
                <a:solidFill>
                  <a:schemeClr val="bg1"/>
                </a:solidFill>
              </a:rPr>
              <a:t>dr.</a:t>
            </a:r>
            <a:r>
              <a:rPr lang="en-GB" dirty="0">
                <a:solidFill>
                  <a:schemeClr val="bg1"/>
                </a:solidFill>
              </a:rPr>
              <a:t> Laura </a:t>
            </a:r>
            <a:r>
              <a:rPr lang="en-GB" dirty="0" err="1">
                <a:solidFill>
                  <a:schemeClr val="bg1"/>
                </a:solidFill>
              </a:rPr>
              <a:t>Hoekx</a:t>
            </a:r>
            <a:endParaRPr lang="en-GB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3" name="Groep 2262">
            <a:extLst>
              <a:ext uri="{FF2B5EF4-FFF2-40B4-BE49-F238E27FC236}">
                <a16:creationId xmlns:a16="http://schemas.microsoft.com/office/drawing/2014/main" id="{EEEA2432-7E07-5675-BEC5-0F7BA037260B}"/>
              </a:ext>
            </a:extLst>
          </p:cNvPr>
          <p:cNvGrpSpPr/>
          <p:nvPr/>
        </p:nvGrpSpPr>
        <p:grpSpPr>
          <a:xfrm>
            <a:off x="8903276" y="1761031"/>
            <a:ext cx="1755121" cy="3991906"/>
            <a:chOff x="3746777" y="1060540"/>
            <a:chExt cx="1755121" cy="3991906"/>
          </a:xfrm>
        </p:grpSpPr>
        <p:grpSp>
          <p:nvGrpSpPr>
            <p:cNvPr id="2256" name="Groep 2255">
              <a:extLst>
                <a:ext uri="{FF2B5EF4-FFF2-40B4-BE49-F238E27FC236}">
                  <a16:creationId xmlns:a16="http://schemas.microsoft.com/office/drawing/2014/main" id="{84673D5D-CFB9-43C6-88B5-AA9870BF4544}"/>
                </a:ext>
              </a:extLst>
            </p:cNvPr>
            <p:cNvGrpSpPr/>
            <p:nvPr/>
          </p:nvGrpSpPr>
          <p:grpSpPr>
            <a:xfrm>
              <a:off x="3746777" y="1172166"/>
              <a:ext cx="1755121" cy="3880280"/>
              <a:chOff x="3596071" y="1050503"/>
              <a:chExt cx="550926" cy="1475463"/>
            </a:xfrm>
          </p:grpSpPr>
          <p:sp>
            <p:nvSpPr>
              <p:cNvPr id="2172" name="Vrije vorm 2171">
                <a:extLst>
                  <a:ext uri="{FF2B5EF4-FFF2-40B4-BE49-F238E27FC236}">
                    <a16:creationId xmlns:a16="http://schemas.microsoft.com/office/drawing/2014/main" id="{E6121BB5-03D7-66C7-4002-03EFC1756B40}"/>
                  </a:ext>
                </a:extLst>
              </p:cNvPr>
              <p:cNvSpPr/>
              <p:nvPr/>
            </p:nvSpPr>
            <p:spPr>
              <a:xfrm flipV="1">
                <a:off x="3976741" y="1601908"/>
                <a:ext cx="158297" cy="158377"/>
              </a:xfrm>
              <a:custGeom>
                <a:avLst/>
                <a:gdLst>
                  <a:gd name="connsiteX0" fmla="*/ 156021 w 158297"/>
                  <a:gd name="connsiteY0" fmla="*/ 129444 h 158377"/>
                  <a:gd name="connsiteX1" fmla="*/ -1510 w 158297"/>
                  <a:gd name="connsiteY1" fmla="*/ -3439 h 158377"/>
                  <a:gd name="connsiteX2" fmla="*/ -2277 w 158297"/>
                  <a:gd name="connsiteY2" fmla="*/ 33436 h 158377"/>
                  <a:gd name="connsiteX3" fmla="*/ 80711 w 158297"/>
                  <a:gd name="connsiteY3" fmla="*/ 127901 h 158377"/>
                  <a:gd name="connsiteX4" fmla="*/ 156021 w 158297"/>
                  <a:gd name="connsiteY4" fmla="*/ 129444 h 158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297" h="158377">
                    <a:moveTo>
                      <a:pt x="156021" y="129444"/>
                    </a:moveTo>
                    <a:cubicBezTo>
                      <a:pt x="156021" y="129444"/>
                      <a:pt x="76867" y="18065"/>
                      <a:pt x="-1510" y="-3439"/>
                    </a:cubicBezTo>
                    <a:lnTo>
                      <a:pt x="-2277" y="33436"/>
                    </a:lnTo>
                    <a:cubicBezTo>
                      <a:pt x="-2277" y="33436"/>
                      <a:pt x="40751" y="68001"/>
                      <a:pt x="80711" y="127901"/>
                    </a:cubicBezTo>
                    <a:cubicBezTo>
                      <a:pt x="120672" y="187822"/>
                      <a:pt x="156021" y="129444"/>
                      <a:pt x="156021" y="129444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3" name="Vrije vorm 2172">
                <a:extLst>
                  <a:ext uri="{FF2B5EF4-FFF2-40B4-BE49-F238E27FC236}">
                    <a16:creationId xmlns:a16="http://schemas.microsoft.com/office/drawing/2014/main" id="{2B96E10B-2911-35AD-6890-D3C8DFE5F726}"/>
                  </a:ext>
                </a:extLst>
              </p:cNvPr>
              <p:cNvSpPr/>
              <p:nvPr/>
            </p:nvSpPr>
            <p:spPr>
              <a:xfrm flipV="1">
                <a:off x="3968834" y="2397861"/>
                <a:ext cx="46271" cy="90725"/>
              </a:xfrm>
              <a:custGeom>
                <a:avLst/>
                <a:gdLst>
                  <a:gd name="connsiteX0" fmla="*/ -2223 w 46271"/>
                  <a:gd name="connsiteY0" fmla="*/ 80808 h 90725"/>
                  <a:gd name="connsiteX1" fmla="*/ 11653 w 46271"/>
                  <a:gd name="connsiteY1" fmla="*/ -2605 h 90725"/>
                  <a:gd name="connsiteX2" fmla="*/ 44048 w 46271"/>
                  <a:gd name="connsiteY2" fmla="*/ -2605 h 90725"/>
                  <a:gd name="connsiteX3" fmla="*/ 33219 w 46271"/>
                  <a:gd name="connsiteY3" fmla="*/ 88121 h 90725"/>
                  <a:gd name="connsiteX4" fmla="*/ -2223 w 46271"/>
                  <a:gd name="connsiteY4" fmla="*/ 8080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71" h="90725">
                    <a:moveTo>
                      <a:pt x="-2223" y="80808"/>
                    </a:moveTo>
                    <a:lnTo>
                      <a:pt x="11653" y="-2605"/>
                    </a:lnTo>
                    <a:lnTo>
                      <a:pt x="44048" y="-2605"/>
                    </a:lnTo>
                    <a:lnTo>
                      <a:pt x="33219" y="88121"/>
                    </a:lnTo>
                    <a:lnTo>
                      <a:pt x="-2223" y="8080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4" name="Vrije vorm 2173">
                <a:extLst>
                  <a:ext uri="{FF2B5EF4-FFF2-40B4-BE49-F238E27FC236}">
                    <a16:creationId xmlns:a16="http://schemas.microsoft.com/office/drawing/2014/main" id="{F00A5DF4-4D66-D570-BACF-4E2C0C9B33F1}"/>
                  </a:ext>
                </a:extLst>
              </p:cNvPr>
              <p:cNvSpPr/>
              <p:nvPr/>
            </p:nvSpPr>
            <p:spPr>
              <a:xfrm flipV="1">
                <a:off x="3968834" y="2449050"/>
                <a:ext cx="154062" cy="76915"/>
              </a:xfrm>
              <a:custGeom>
                <a:avLst/>
                <a:gdLst>
                  <a:gd name="connsiteX0" fmla="*/ 53828 w 154062"/>
                  <a:gd name="connsiteY0" fmla="*/ 74360 h 76915"/>
                  <a:gd name="connsiteX1" fmla="*/ 100348 w 154062"/>
                  <a:gd name="connsiteY1" fmla="*/ 41908 h 76915"/>
                  <a:gd name="connsiteX2" fmla="*/ 151677 w 154062"/>
                  <a:gd name="connsiteY2" fmla="*/ 5873 h 76915"/>
                  <a:gd name="connsiteX3" fmla="*/ 42200 w 154062"/>
                  <a:gd name="connsiteY3" fmla="*/ 8172 h 76915"/>
                  <a:gd name="connsiteX4" fmla="*/ 42200 w 154062"/>
                  <a:gd name="connsiteY4" fmla="*/ 1025 h 76915"/>
                  <a:gd name="connsiteX5" fmla="*/ -2268 w 154062"/>
                  <a:gd name="connsiteY5" fmla="*/ 2972 h 76915"/>
                  <a:gd name="connsiteX6" fmla="*/ -2268 w 154062"/>
                  <a:gd name="connsiteY6" fmla="*/ 62023 h 76915"/>
                  <a:gd name="connsiteX7" fmla="*/ 34666 w 154062"/>
                  <a:gd name="connsiteY7" fmla="*/ 59423 h 76915"/>
                  <a:gd name="connsiteX8" fmla="*/ 31941 w 154062"/>
                  <a:gd name="connsiteY8" fmla="*/ 65265 h 76915"/>
                  <a:gd name="connsiteX9" fmla="*/ 53828 w 154062"/>
                  <a:gd name="connsiteY9" fmla="*/ 74360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4062" h="76915">
                    <a:moveTo>
                      <a:pt x="53828" y="74360"/>
                    </a:moveTo>
                    <a:cubicBezTo>
                      <a:pt x="53828" y="74360"/>
                      <a:pt x="72295" y="50339"/>
                      <a:pt x="100348" y="41908"/>
                    </a:cubicBezTo>
                    <a:cubicBezTo>
                      <a:pt x="128401" y="33477"/>
                      <a:pt x="153739" y="22746"/>
                      <a:pt x="151677" y="5873"/>
                    </a:cubicBezTo>
                    <a:cubicBezTo>
                      <a:pt x="151677" y="5873"/>
                      <a:pt x="109934" y="-14543"/>
                      <a:pt x="42200" y="8172"/>
                    </a:cubicBezTo>
                    <a:lnTo>
                      <a:pt x="42200" y="1025"/>
                    </a:lnTo>
                    <a:lnTo>
                      <a:pt x="-2268" y="2972"/>
                    </a:lnTo>
                    <a:lnTo>
                      <a:pt x="-2268" y="62023"/>
                    </a:lnTo>
                    <a:lnTo>
                      <a:pt x="34666" y="59423"/>
                    </a:lnTo>
                    <a:lnTo>
                      <a:pt x="31941" y="65265"/>
                    </a:lnTo>
                    <a:lnTo>
                      <a:pt x="53828" y="74360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5" name="Vrije vorm 2174">
                <a:extLst>
                  <a:ext uri="{FF2B5EF4-FFF2-40B4-BE49-F238E27FC236}">
                    <a16:creationId xmlns:a16="http://schemas.microsoft.com/office/drawing/2014/main" id="{8F344841-6649-9A59-7E1B-C0949663EB37}"/>
                  </a:ext>
                </a:extLst>
              </p:cNvPr>
              <p:cNvSpPr/>
              <p:nvPr/>
            </p:nvSpPr>
            <p:spPr>
              <a:xfrm flipV="1">
                <a:off x="3968834" y="2508352"/>
                <a:ext cx="154025" cy="17614"/>
              </a:xfrm>
              <a:custGeom>
                <a:avLst/>
                <a:gdLst>
                  <a:gd name="connsiteX0" fmla="*/ 71673 w 154025"/>
                  <a:gd name="connsiteY0" fmla="*/ 7376 h 17614"/>
                  <a:gd name="connsiteX1" fmla="*/ 151335 w 154025"/>
                  <a:gd name="connsiteY1" fmla="*/ 10297 h 17614"/>
                  <a:gd name="connsiteX2" fmla="*/ 151677 w 154025"/>
                  <a:gd name="connsiteY2" fmla="*/ 5905 h 17614"/>
                  <a:gd name="connsiteX3" fmla="*/ 42200 w 154025"/>
                  <a:gd name="connsiteY3" fmla="*/ 8204 h 17614"/>
                  <a:gd name="connsiteX4" fmla="*/ 42200 w 154025"/>
                  <a:gd name="connsiteY4" fmla="*/ 1058 h 17614"/>
                  <a:gd name="connsiteX5" fmla="*/ -2268 w 154025"/>
                  <a:gd name="connsiteY5" fmla="*/ 3005 h 17614"/>
                  <a:gd name="connsiteX6" fmla="*/ -2268 w 154025"/>
                  <a:gd name="connsiteY6" fmla="*/ 14782 h 17614"/>
                  <a:gd name="connsiteX7" fmla="*/ 71673 w 154025"/>
                  <a:gd name="connsiteY7" fmla="*/ 7376 h 17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025" h="17614">
                    <a:moveTo>
                      <a:pt x="71673" y="7376"/>
                    </a:moveTo>
                    <a:cubicBezTo>
                      <a:pt x="132370" y="-8223"/>
                      <a:pt x="147780" y="9095"/>
                      <a:pt x="151335" y="10297"/>
                    </a:cubicBezTo>
                    <a:cubicBezTo>
                      <a:pt x="151718" y="8836"/>
                      <a:pt x="151863" y="7366"/>
                      <a:pt x="151677" y="5905"/>
                    </a:cubicBezTo>
                    <a:cubicBezTo>
                      <a:pt x="151677" y="5905"/>
                      <a:pt x="109934" y="-14511"/>
                      <a:pt x="42200" y="8204"/>
                    </a:cubicBezTo>
                    <a:lnTo>
                      <a:pt x="42200" y="1058"/>
                    </a:lnTo>
                    <a:lnTo>
                      <a:pt x="-2268" y="3005"/>
                    </a:lnTo>
                    <a:lnTo>
                      <a:pt x="-2268" y="14782"/>
                    </a:lnTo>
                    <a:cubicBezTo>
                      <a:pt x="13598" y="13829"/>
                      <a:pt x="26914" y="18884"/>
                      <a:pt x="71673" y="7376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6" name="Vrije vorm 2175">
                <a:extLst>
                  <a:ext uri="{FF2B5EF4-FFF2-40B4-BE49-F238E27FC236}">
                    <a16:creationId xmlns:a16="http://schemas.microsoft.com/office/drawing/2014/main" id="{6FB580B9-DED5-3F08-4A37-5D6C3995B742}"/>
                  </a:ext>
                </a:extLst>
              </p:cNvPr>
              <p:cNvSpPr/>
              <p:nvPr/>
            </p:nvSpPr>
            <p:spPr>
              <a:xfrm flipV="1">
                <a:off x="4017158" y="2461390"/>
                <a:ext cx="23928" cy="22058"/>
              </a:xfrm>
              <a:custGeom>
                <a:avLst/>
                <a:gdLst>
                  <a:gd name="connsiteX0" fmla="*/ -638 w 23928"/>
                  <a:gd name="connsiteY0" fmla="*/ -2573 h 22058"/>
                  <a:gd name="connsiteX1" fmla="*/ 979 w 23928"/>
                  <a:gd name="connsiteY1" fmla="*/ -1713 h 22058"/>
                  <a:gd name="connsiteX2" fmla="*/ 20379 w 23928"/>
                  <a:gd name="connsiteY2" fmla="*/ 15699 h 22058"/>
                  <a:gd name="connsiteX3" fmla="*/ 21560 w 23928"/>
                  <a:gd name="connsiteY3" fmla="*/ 18195 h 22058"/>
                  <a:gd name="connsiteX4" fmla="*/ 19063 w 23928"/>
                  <a:gd name="connsiteY4" fmla="*/ 19376 h 22058"/>
                  <a:gd name="connsiteX5" fmla="*/ -2254 w 23928"/>
                  <a:gd name="connsiteY5" fmla="*/ 462 h 22058"/>
                  <a:gd name="connsiteX6" fmla="*/ -1726 w 23928"/>
                  <a:gd name="connsiteY6" fmla="*/ -2241 h 22058"/>
                  <a:gd name="connsiteX7" fmla="*/ -638 w 23928"/>
                  <a:gd name="connsiteY7" fmla="*/ -257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8" h="22058">
                    <a:moveTo>
                      <a:pt x="-638" y="-2573"/>
                    </a:moveTo>
                    <a:lnTo>
                      <a:pt x="979" y="-1713"/>
                    </a:lnTo>
                    <a:cubicBezTo>
                      <a:pt x="10098" y="11877"/>
                      <a:pt x="20275" y="15668"/>
                      <a:pt x="20379" y="15699"/>
                    </a:cubicBezTo>
                    <a:cubicBezTo>
                      <a:pt x="21394" y="16072"/>
                      <a:pt x="21923" y="17190"/>
                      <a:pt x="21560" y="18195"/>
                    </a:cubicBezTo>
                    <a:cubicBezTo>
                      <a:pt x="21187" y="19210"/>
                      <a:pt x="20068" y="19728"/>
                      <a:pt x="19063" y="19376"/>
                    </a:cubicBezTo>
                    <a:cubicBezTo>
                      <a:pt x="18596" y="19200"/>
                      <a:pt x="7560" y="15098"/>
                      <a:pt x="-2254" y="462"/>
                    </a:cubicBezTo>
                    <a:lnTo>
                      <a:pt x="-1726" y="-2241"/>
                    </a:lnTo>
                    <a:lnTo>
                      <a:pt x="-638" y="-257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7" name="Vrije vorm 2176">
                <a:extLst>
                  <a:ext uri="{FF2B5EF4-FFF2-40B4-BE49-F238E27FC236}">
                    <a16:creationId xmlns:a16="http://schemas.microsoft.com/office/drawing/2014/main" id="{9AED3979-3B35-34D9-C159-D64930DD35C9}"/>
                  </a:ext>
                </a:extLst>
              </p:cNvPr>
              <p:cNvSpPr/>
              <p:nvPr/>
            </p:nvSpPr>
            <p:spPr>
              <a:xfrm flipV="1">
                <a:off x="4027334" y="2465958"/>
                <a:ext cx="23930" cy="22069"/>
              </a:xfrm>
              <a:custGeom>
                <a:avLst/>
                <a:gdLst>
                  <a:gd name="connsiteX0" fmla="*/ -646 w 23930"/>
                  <a:gd name="connsiteY0" fmla="*/ -2568 h 22069"/>
                  <a:gd name="connsiteX1" fmla="*/ 971 w 23930"/>
                  <a:gd name="connsiteY1" fmla="*/ -1698 h 22069"/>
                  <a:gd name="connsiteX2" fmla="*/ 20381 w 23930"/>
                  <a:gd name="connsiteY2" fmla="*/ 15714 h 22069"/>
                  <a:gd name="connsiteX3" fmla="*/ 21552 w 23930"/>
                  <a:gd name="connsiteY3" fmla="*/ 18211 h 22069"/>
                  <a:gd name="connsiteX4" fmla="*/ 19054 w 23930"/>
                  <a:gd name="connsiteY4" fmla="*/ 19391 h 22069"/>
                  <a:gd name="connsiteX5" fmla="*/ -2263 w 23930"/>
                  <a:gd name="connsiteY5" fmla="*/ 477 h 22069"/>
                  <a:gd name="connsiteX6" fmla="*/ -1734 w 23930"/>
                  <a:gd name="connsiteY6" fmla="*/ -2236 h 22069"/>
                  <a:gd name="connsiteX7" fmla="*/ -646 w 23930"/>
                  <a:gd name="connsiteY7" fmla="*/ -2568 h 2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9">
                    <a:moveTo>
                      <a:pt x="-646" y="-2568"/>
                    </a:moveTo>
                    <a:lnTo>
                      <a:pt x="971" y="-1698"/>
                    </a:lnTo>
                    <a:cubicBezTo>
                      <a:pt x="10090" y="11892"/>
                      <a:pt x="20277" y="15673"/>
                      <a:pt x="20381" y="15714"/>
                    </a:cubicBezTo>
                    <a:cubicBezTo>
                      <a:pt x="21396" y="16077"/>
                      <a:pt x="21915" y="17195"/>
                      <a:pt x="21552" y="18211"/>
                    </a:cubicBezTo>
                    <a:cubicBezTo>
                      <a:pt x="21189" y="19226"/>
                      <a:pt x="20059" y="19743"/>
                      <a:pt x="19054" y="19391"/>
                    </a:cubicBezTo>
                    <a:cubicBezTo>
                      <a:pt x="18588" y="19226"/>
                      <a:pt x="7561" y="15113"/>
                      <a:pt x="-2263" y="477"/>
                    </a:cubicBezTo>
                    <a:lnTo>
                      <a:pt x="-1734" y="-2236"/>
                    </a:lnTo>
                    <a:lnTo>
                      <a:pt x="-646" y="-256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8" name="Vrije vorm 2177">
                <a:extLst>
                  <a:ext uri="{FF2B5EF4-FFF2-40B4-BE49-F238E27FC236}">
                    <a16:creationId xmlns:a16="http://schemas.microsoft.com/office/drawing/2014/main" id="{849E6182-8A00-5781-6A64-34DAA201F478}"/>
                  </a:ext>
                </a:extLst>
              </p:cNvPr>
              <p:cNvSpPr/>
              <p:nvPr/>
            </p:nvSpPr>
            <p:spPr>
              <a:xfrm flipV="1">
                <a:off x="4037511" y="2470470"/>
                <a:ext cx="23930" cy="22062"/>
              </a:xfrm>
              <a:custGeom>
                <a:avLst/>
                <a:gdLst>
                  <a:gd name="connsiteX0" fmla="*/ -655 w 23930"/>
                  <a:gd name="connsiteY0" fmla="*/ -2563 h 22062"/>
                  <a:gd name="connsiteX1" fmla="*/ 972 w 23930"/>
                  <a:gd name="connsiteY1" fmla="*/ -1703 h 22062"/>
                  <a:gd name="connsiteX2" fmla="*/ 20372 w 23930"/>
                  <a:gd name="connsiteY2" fmla="*/ 15719 h 22062"/>
                  <a:gd name="connsiteX3" fmla="*/ 21543 w 23930"/>
                  <a:gd name="connsiteY3" fmla="*/ 18215 h 22062"/>
                  <a:gd name="connsiteX4" fmla="*/ 19046 w 23930"/>
                  <a:gd name="connsiteY4" fmla="*/ 19386 h 22062"/>
                  <a:gd name="connsiteX5" fmla="*/ -2271 w 23930"/>
                  <a:gd name="connsiteY5" fmla="*/ 472 h 22062"/>
                  <a:gd name="connsiteX6" fmla="*/ -1732 w 23930"/>
                  <a:gd name="connsiteY6" fmla="*/ -2231 h 22062"/>
                  <a:gd name="connsiteX7" fmla="*/ -655 w 23930"/>
                  <a:gd name="connsiteY7" fmla="*/ -2563 h 2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2">
                    <a:moveTo>
                      <a:pt x="-655" y="-2563"/>
                    </a:moveTo>
                    <a:lnTo>
                      <a:pt x="972" y="-1703"/>
                    </a:lnTo>
                    <a:cubicBezTo>
                      <a:pt x="10030" y="11804"/>
                      <a:pt x="20279" y="15678"/>
                      <a:pt x="20372" y="15719"/>
                    </a:cubicBezTo>
                    <a:cubicBezTo>
                      <a:pt x="21388" y="16092"/>
                      <a:pt x="21906" y="17210"/>
                      <a:pt x="21543" y="18215"/>
                    </a:cubicBezTo>
                    <a:cubicBezTo>
                      <a:pt x="21170" y="19220"/>
                      <a:pt x="20051" y="19748"/>
                      <a:pt x="19046" y="19386"/>
                    </a:cubicBezTo>
                    <a:cubicBezTo>
                      <a:pt x="18579" y="19220"/>
                      <a:pt x="7553" y="15108"/>
                      <a:pt x="-2271" y="472"/>
                    </a:cubicBezTo>
                    <a:lnTo>
                      <a:pt x="-1732" y="-2231"/>
                    </a:lnTo>
                    <a:lnTo>
                      <a:pt x="-655" y="-256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9" name="Vrije vorm 2178">
                <a:extLst>
                  <a:ext uri="{FF2B5EF4-FFF2-40B4-BE49-F238E27FC236}">
                    <a16:creationId xmlns:a16="http://schemas.microsoft.com/office/drawing/2014/main" id="{07439461-02AE-A3DD-B2E7-5D95B6725AC5}"/>
                  </a:ext>
                </a:extLst>
              </p:cNvPr>
              <p:cNvSpPr/>
              <p:nvPr/>
            </p:nvSpPr>
            <p:spPr>
              <a:xfrm flipV="1">
                <a:off x="3771239" y="2397861"/>
                <a:ext cx="46281" cy="90725"/>
              </a:xfrm>
              <a:custGeom>
                <a:avLst/>
                <a:gdLst>
                  <a:gd name="connsiteX0" fmla="*/ 44224 w 46281"/>
                  <a:gd name="connsiteY0" fmla="*/ 80808 h 90725"/>
                  <a:gd name="connsiteX1" fmla="*/ 30348 w 46281"/>
                  <a:gd name="connsiteY1" fmla="*/ -2605 h 90725"/>
                  <a:gd name="connsiteX2" fmla="*/ -2058 w 46281"/>
                  <a:gd name="connsiteY2" fmla="*/ -2605 h 90725"/>
                  <a:gd name="connsiteX3" fmla="*/ 8782 w 46281"/>
                  <a:gd name="connsiteY3" fmla="*/ 88121 h 90725"/>
                  <a:gd name="connsiteX4" fmla="*/ 44224 w 46281"/>
                  <a:gd name="connsiteY4" fmla="*/ 8080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81" h="90725">
                    <a:moveTo>
                      <a:pt x="44224" y="80808"/>
                    </a:moveTo>
                    <a:lnTo>
                      <a:pt x="30348" y="-2605"/>
                    </a:lnTo>
                    <a:lnTo>
                      <a:pt x="-2058" y="-2605"/>
                    </a:lnTo>
                    <a:lnTo>
                      <a:pt x="8782" y="88121"/>
                    </a:lnTo>
                    <a:lnTo>
                      <a:pt x="44224" y="8080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0" name="Vrije vorm 2179">
                <a:extLst>
                  <a:ext uri="{FF2B5EF4-FFF2-40B4-BE49-F238E27FC236}">
                    <a16:creationId xmlns:a16="http://schemas.microsoft.com/office/drawing/2014/main" id="{EEC07634-47E1-0806-1C4D-FABB20A4FCB8}"/>
                  </a:ext>
                </a:extLst>
              </p:cNvPr>
              <p:cNvSpPr/>
              <p:nvPr/>
            </p:nvSpPr>
            <p:spPr>
              <a:xfrm flipV="1">
                <a:off x="3660393" y="2449050"/>
                <a:ext cx="157127" cy="76915"/>
              </a:xfrm>
              <a:custGeom>
                <a:avLst/>
                <a:gdLst>
                  <a:gd name="connsiteX0" fmla="*/ 99020 w 157127"/>
                  <a:gd name="connsiteY0" fmla="*/ 74360 h 76915"/>
                  <a:gd name="connsiteX1" fmla="*/ 52500 w 157127"/>
                  <a:gd name="connsiteY1" fmla="*/ 41908 h 76915"/>
                  <a:gd name="connsiteX2" fmla="*/ -1907 w 157127"/>
                  <a:gd name="connsiteY2" fmla="*/ 5873 h 76915"/>
                  <a:gd name="connsiteX3" fmla="*/ 110648 w 157127"/>
                  <a:gd name="connsiteY3" fmla="*/ 8172 h 76915"/>
                  <a:gd name="connsiteX4" fmla="*/ 110648 w 157127"/>
                  <a:gd name="connsiteY4" fmla="*/ 1025 h 76915"/>
                  <a:gd name="connsiteX5" fmla="*/ 155116 w 157127"/>
                  <a:gd name="connsiteY5" fmla="*/ 2972 h 76915"/>
                  <a:gd name="connsiteX6" fmla="*/ 155116 w 157127"/>
                  <a:gd name="connsiteY6" fmla="*/ 62023 h 76915"/>
                  <a:gd name="connsiteX7" fmla="*/ 118171 w 157127"/>
                  <a:gd name="connsiteY7" fmla="*/ 59423 h 76915"/>
                  <a:gd name="connsiteX8" fmla="*/ 120907 w 157127"/>
                  <a:gd name="connsiteY8" fmla="*/ 65265 h 76915"/>
                  <a:gd name="connsiteX9" fmla="*/ 99020 w 157127"/>
                  <a:gd name="connsiteY9" fmla="*/ 74360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7127" h="76915">
                    <a:moveTo>
                      <a:pt x="99020" y="74360"/>
                    </a:moveTo>
                    <a:cubicBezTo>
                      <a:pt x="99020" y="74360"/>
                      <a:pt x="80543" y="50339"/>
                      <a:pt x="52500" y="41908"/>
                    </a:cubicBezTo>
                    <a:cubicBezTo>
                      <a:pt x="24447" y="33477"/>
                      <a:pt x="-3959" y="22746"/>
                      <a:pt x="-1907" y="5873"/>
                    </a:cubicBezTo>
                    <a:cubicBezTo>
                      <a:pt x="-1907" y="5873"/>
                      <a:pt x="42914" y="-14543"/>
                      <a:pt x="110648" y="8172"/>
                    </a:cubicBezTo>
                    <a:lnTo>
                      <a:pt x="110648" y="1025"/>
                    </a:lnTo>
                    <a:lnTo>
                      <a:pt x="155116" y="2972"/>
                    </a:lnTo>
                    <a:lnTo>
                      <a:pt x="155116" y="62023"/>
                    </a:lnTo>
                    <a:lnTo>
                      <a:pt x="118171" y="59423"/>
                    </a:lnTo>
                    <a:lnTo>
                      <a:pt x="120907" y="65265"/>
                    </a:lnTo>
                    <a:lnTo>
                      <a:pt x="99020" y="74360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1" name="Vrije vorm 2180">
                <a:extLst>
                  <a:ext uri="{FF2B5EF4-FFF2-40B4-BE49-F238E27FC236}">
                    <a16:creationId xmlns:a16="http://schemas.microsoft.com/office/drawing/2014/main" id="{F015E664-BD19-F37B-DC9F-7368BE723372}"/>
                  </a:ext>
                </a:extLst>
              </p:cNvPr>
              <p:cNvSpPr/>
              <p:nvPr/>
            </p:nvSpPr>
            <p:spPr>
              <a:xfrm flipV="1">
                <a:off x="3660417" y="2505584"/>
                <a:ext cx="157103" cy="20381"/>
              </a:xfrm>
              <a:custGeom>
                <a:avLst/>
                <a:gdLst>
                  <a:gd name="connsiteX0" fmla="*/ 71928 w 157103"/>
                  <a:gd name="connsiteY0" fmla="*/ 4308 h 20381"/>
                  <a:gd name="connsiteX1" fmla="*/ -1589 w 157103"/>
                  <a:gd name="connsiteY1" fmla="*/ 10295 h 20381"/>
                  <a:gd name="connsiteX2" fmla="*/ -1931 w 157103"/>
                  <a:gd name="connsiteY2" fmla="*/ 5904 h 20381"/>
                  <a:gd name="connsiteX3" fmla="*/ 110624 w 157103"/>
                  <a:gd name="connsiteY3" fmla="*/ 8203 h 20381"/>
                  <a:gd name="connsiteX4" fmla="*/ 110624 w 157103"/>
                  <a:gd name="connsiteY4" fmla="*/ 1056 h 20381"/>
                  <a:gd name="connsiteX5" fmla="*/ 155092 w 157103"/>
                  <a:gd name="connsiteY5" fmla="*/ 3003 h 20381"/>
                  <a:gd name="connsiteX6" fmla="*/ 155092 w 157103"/>
                  <a:gd name="connsiteY6" fmla="*/ 17857 h 20381"/>
                  <a:gd name="connsiteX7" fmla="*/ 71928 w 157103"/>
                  <a:gd name="connsiteY7" fmla="*/ 4308 h 20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03" h="20381">
                    <a:moveTo>
                      <a:pt x="71928" y="4308"/>
                    </a:moveTo>
                    <a:cubicBezTo>
                      <a:pt x="29314" y="-2393"/>
                      <a:pt x="1966" y="9094"/>
                      <a:pt x="-1589" y="10295"/>
                    </a:cubicBezTo>
                    <a:cubicBezTo>
                      <a:pt x="-1972" y="8835"/>
                      <a:pt x="-2117" y="7364"/>
                      <a:pt x="-1931" y="5904"/>
                    </a:cubicBezTo>
                    <a:cubicBezTo>
                      <a:pt x="-1931" y="5904"/>
                      <a:pt x="42890" y="-14512"/>
                      <a:pt x="110624" y="8203"/>
                    </a:cubicBezTo>
                    <a:lnTo>
                      <a:pt x="110624" y="1056"/>
                    </a:lnTo>
                    <a:lnTo>
                      <a:pt x="155092" y="3003"/>
                    </a:lnTo>
                    <a:lnTo>
                      <a:pt x="155092" y="17857"/>
                    </a:lnTo>
                    <a:cubicBezTo>
                      <a:pt x="139216" y="16893"/>
                      <a:pt x="112841" y="10741"/>
                      <a:pt x="71928" y="43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2" name="Vrije vorm 2181">
                <a:extLst>
                  <a:ext uri="{FF2B5EF4-FFF2-40B4-BE49-F238E27FC236}">
                    <a16:creationId xmlns:a16="http://schemas.microsoft.com/office/drawing/2014/main" id="{7E837022-0899-43EC-2719-59AE819551BF}"/>
                  </a:ext>
                </a:extLst>
              </p:cNvPr>
              <p:cNvSpPr/>
              <p:nvPr/>
            </p:nvSpPr>
            <p:spPr>
              <a:xfrm flipV="1">
                <a:off x="3745269" y="2461390"/>
                <a:ext cx="23929" cy="22058"/>
              </a:xfrm>
              <a:custGeom>
                <a:avLst/>
                <a:gdLst>
                  <a:gd name="connsiteX0" fmla="*/ 20285 w 23929"/>
                  <a:gd name="connsiteY0" fmla="*/ -2573 h 22058"/>
                  <a:gd name="connsiteX1" fmla="*/ 18658 w 23929"/>
                  <a:gd name="connsiteY1" fmla="*/ -1713 h 22058"/>
                  <a:gd name="connsiteX2" fmla="*/ -742 w 23929"/>
                  <a:gd name="connsiteY2" fmla="*/ 15699 h 22058"/>
                  <a:gd name="connsiteX3" fmla="*/ -1912 w 23929"/>
                  <a:gd name="connsiteY3" fmla="*/ 18195 h 22058"/>
                  <a:gd name="connsiteX4" fmla="*/ 585 w 23929"/>
                  <a:gd name="connsiteY4" fmla="*/ 19376 h 22058"/>
                  <a:gd name="connsiteX5" fmla="*/ 21902 w 23929"/>
                  <a:gd name="connsiteY5" fmla="*/ 462 h 22058"/>
                  <a:gd name="connsiteX6" fmla="*/ 21374 w 23929"/>
                  <a:gd name="connsiteY6" fmla="*/ -2241 h 22058"/>
                  <a:gd name="connsiteX7" fmla="*/ 20285 w 23929"/>
                  <a:gd name="connsiteY7" fmla="*/ -257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9" h="22058">
                    <a:moveTo>
                      <a:pt x="20285" y="-2573"/>
                    </a:moveTo>
                    <a:lnTo>
                      <a:pt x="18658" y="-1713"/>
                    </a:lnTo>
                    <a:cubicBezTo>
                      <a:pt x="9549" y="11877"/>
                      <a:pt x="-638" y="15668"/>
                      <a:pt x="-742" y="15699"/>
                    </a:cubicBezTo>
                    <a:cubicBezTo>
                      <a:pt x="-1747" y="16072"/>
                      <a:pt x="-2275" y="17190"/>
                      <a:pt x="-1912" y="18195"/>
                    </a:cubicBezTo>
                    <a:cubicBezTo>
                      <a:pt x="-1539" y="19210"/>
                      <a:pt x="-420" y="19728"/>
                      <a:pt x="585" y="19376"/>
                    </a:cubicBezTo>
                    <a:cubicBezTo>
                      <a:pt x="1051" y="19200"/>
                      <a:pt x="12088" y="15098"/>
                      <a:pt x="21902" y="462"/>
                    </a:cubicBezTo>
                    <a:lnTo>
                      <a:pt x="21374" y="-2241"/>
                    </a:lnTo>
                    <a:lnTo>
                      <a:pt x="20285" y="-257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3" name="Vrije vorm 2182">
                <a:extLst>
                  <a:ext uri="{FF2B5EF4-FFF2-40B4-BE49-F238E27FC236}">
                    <a16:creationId xmlns:a16="http://schemas.microsoft.com/office/drawing/2014/main" id="{F9BB557D-5FE9-E8CD-11EA-1EDC82838B80}"/>
                  </a:ext>
                </a:extLst>
              </p:cNvPr>
              <p:cNvSpPr/>
              <p:nvPr/>
            </p:nvSpPr>
            <p:spPr>
              <a:xfrm flipV="1">
                <a:off x="3735087" y="2465958"/>
                <a:ext cx="23934" cy="22069"/>
              </a:xfrm>
              <a:custGeom>
                <a:avLst/>
                <a:gdLst>
                  <a:gd name="connsiteX0" fmla="*/ 20299 w 23934"/>
                  <a:gd name="connsiteY0" fmla="*/ -2568 h 22069"/>
                  <a:gd name="connsiteX1" fmla="*/ 18672 w 23934"/>
                  <a:gd name="connsiteY1" fmla="*/ -1698 h 22069"/>
                  <a:gd name="connsiteX2" fmla="*/ -728 w 23934"/>
                  <a:gd name="connsiteY2" fmla="*/ 15714 h 22069"/>
                  <a:gd name="connsiteX3" fmla="*/ -1899 w 23934"/>
                  <a:gd name="connsiteY3" fmla="*/ 18211 h 22069"/>
                  <a:gd name="connsiteX4" fmla="*/ 599 w 23934"/>
                  <a:gd name="connsiteY4" fmla="*/ 19391 h 22069"/>
                  <a:gd name="connsiteX5" fmla="*/ 21916 w 23934"/>
                  <a:gd name="connsiteY5" fmla="*/ 477 h 22069"/>
                  <a:gd name="connsiteX6" fmla="*/ 21387 w 23934"/>
                  <a:gd name="connsiteY6" fmla="*/ -2236 h 22069"/>
                  <a:gd name="connsiteX7" fmla="*/ 20299 w 23934"/>
                  <a:gd name="connsiteY7" fmla="*/ -2568 h 2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4" h="22069">
                    <a:moveTo>
                      <a:pt x="20299" y="-2568"/>
                    </a:moveTo>
                    <a:lnTo>
                      <a:pt x="18672" y="-1698"/>
                    </a:lnTo>
                    <a:cubicBezTo>
                      <a:pt x="9563" y="11892"/>
                      <a:pt x="-624" y="15673"/>
                      <a:pt x="-728" y="15714"/>
                    </a:cubicBezTo>
                    <a:cubicBezTo>
                      <a:pt x="-1743" y="16077"/>
                      <a:pt x="-2272" y="17195"/>
                      <a:pt x="-1899" y="18211"/>
                    </a:cubicBezTo>
                    <a:cubicBezTo>
                      <a:pt x="-1536" y="19226"/>
                      <a:pt x="-406" y="19743"/>
                      <a:pt x="599" y="19391"/>
                    </a:cubicBezTo>
                    <a:cubicBezTo>
                      <a:pt x="1065" y="19226"/>
                      <a:pt x="12092" y="15113"/>
                      <a:pt x="21916" y="477"/>
                    </a:cubicBezTo>
                    <a:lnTo>
                      <a:pt x="21387" y="-2236"/>
                    </a:lnTo>
                    <a:lnTo>
                      <a:pt x="20299" y="-256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4" name="Vrije vorm 2183">
                <a:extLst>
                  <a:ext uri="{FF2B5EF4-FFF2-40B4-BE49-F238E27FC236}">
                    <a16:creationId xmlns:a16="http://schemas.microsoft.com/office/drawing/2014/main" id="{3A8837B4-9412-DE7B-157B-0F1409EC1B8D}"/>
                  </a:ext>
                </a:extLst>
              </p:cNvPr>
              <p:cNvSpPr/>
              <p:nvPr/>
            </p:nvSpPr>
            <p:spPr>
              <a:xfrm flipV="1">
                <a:off x="3724910" y="2470470"/>
                <a:ext cx="23923" cy="22062"/>
              </a:xfrm>
              <a:custGeom>
                <a:avLst/>
                <a:gdLst>
                  <a:gd name="connsiteX0" fmla="*/ 20297 w 23923"/>
                  <a:gd name="connsiteY0" fmla="*/ -2563 h 22062"/>
                  <a:gd name="connsiteX1" fmla="*/ 18681 w 23923"/>
                  <a:gd name="connsiteY1" fmla="*/ -1703 h 22062"/>
                  <a:gd name="connsiteX2" fmla="*/ -729 w 23923"/>
                  <a:gd name="connsiteY2" fmla="*/ 15719 h 22062"/>
                  <a:gd name="connsiteX3" fmla="*/ -1890 w 23923"/>
                  <a:gd name="connsiteY3" fmla="*/ 18215 h 22062"/>
                  <a:gd name="connsiteX4" fmla="*/ 597 w 23923"/>
                  <a:gd name="connsiteY4" fmla="*/ 19386 h 22062"/>
                  <a:gd name="connsiteX5" fmla="*/ 21914 w 23923"/>
                  <a:gd name="connsiteY5" fmla="*/ 472 h 22062"/>
                  <a:gd name="connsiteX6" fmla="*/ 21385 w 23923"/>
                  <a:gd name="connsiteY6" fmla="*/ -2231 h 22062"/>
                  <a:gd name="connsiteX7" fmla="*/ 20297 w 23923"/>
                  <a:gd name="connsiteY7" fmla="*/ -2563 h 2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3" h="22062">
                    <a:moveTo>
                      <a:pt x="20297" y="-2563"/>
                    </a:moveTo>
                    <a:lnTo>
                      <a:pt x="18681" y="-1703"/>
                    </a:lnTo>
                    <a:cubicBezTo>
                      <a:pt x="9623" y="11804"/>
                      <a:pt x="-626" y="15678"/>
                      <a:pt x="-729" y="15719"/>
                    </a:cubicBezTo>
                    <a:cubicBezTo>
                      <a:pt x="-1735" y="16092"/>
                      <a:pt x="-2263" y="17210"/>
                      <a:pt x="-1890" y="18215"/>
                    </a:cubicBezTo>
                    <a:cubicBezTo>
                      <a:pt x="-1517" y="19220"/>
                      <a:pt x="-398" y="19748"/>
                      <a:pt x="597" y="19386"/>
                    </a:cubicBezTo>
                    <a:cubicBezTo>
                      <a:pt x="1074" y="19220"/>
                      <a:pt x="12100" y="15108"/>
                      <a:pt x="21914" y="472"/>
                    </a:cubicBezTo>
                    <a:lnTo>
                      <a:pt x="21385" y="-2231"/>
                    </a:lnTo>
                    <a:lnTo>
                      <a:pt x="20297" y="-256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5" name="Vrije vorm 2184">
                <a:extLst>
                  <a:ext uri="{FF2B5EF4-FFF2-40B4-BE49-F238E27FC236}">
                    <a16:creationId xmlns:a16="http://schemas.microsoft.com/office/drawing/2014/main" id="{33B03FB8-1F2C-845F-27ED-B5587803D134}"/>
                  </a:ext>
                </a:extLst>
              </p:cNvPr>
              <p:cNvSpPr/>
              <p:nvPr/>
            </p:nvSpPr>
            <p:spPr>
              <a:xfrm flipV="1">
                <a:off x="3753881" y="1725721"/>
                <a:ext cx="274592" cy="732766"/>
              </a:xfrm>
              <a:custGeom>
                <a:avLst/>
                <a:gdLst>
                  <a:gd name="connsiteX0" fmla="*/ 204917 w 274592"/>
                  <a:gd name="connsiteY0" fmla="*/ 716696 h 732766"/>
                  <a:gd name="connsiteX1" fmla="*/ 238649 w 274592"/>
                  <a:gd name="connsiteY1" fmla="*/ 313987 h 732766"/>
                  <a:gd name="connsiteX2" fmla="*/ 272454 w 274592"/>
                  <a:gd name="connsiteY2" fmla="*/ 19043 h 732766"/>
                  <a:gd name="connsiteX3" fmla="*/ 194585 w 274592"/>
                  <a:gd name="connsiteY3" fmla="*/ 6749 h 732766"/>
                  <a:gd name="connsiteX4" fmla="*/ 148479 w 274592"/>
                  <a:gd name="connsiteY4" fmla="*/ 295550 h 732766"/>
                  <a:gd name="connsiteX5" fmla="*/ 111597 w 274592"/>
                  <a:gd name="connsiteY5" fmla="*/ 570016 h 732766"/>
                  <a:gd name="connsiteX6" fmla="*/ 91098 w 274592"/>
                  <a:gd name="connsiteY6" fmla="*/ 570016 h 732766"/>
                  <a:gd name="connsiteX7" fmla="*/ 73678 w 274592"/>
                  <a:gd name="connsiteY7" fmla="*/ 6749 h 732766"/>
                  <a:gd name="connsiteX8" fmla="*/ -2139 w 274592"/>
                  <a:gd name="connsiteY8" fmla="*/ 4708 h 732766"/>
                  <a:gd name="connsiteX9" fmla="*/ 4006 w 274592"/>
                  <a:gd name="connsiteY9" fmla="*/ 729778 h 732766"/>
                  <a:gd name="connsiteX10" fmla="*/ 204917 w 274592"/>
                  <a:gd name="connsiteY10" fmla="*/ 716696 h 732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4592" h="732766">
                    <a:moveTo>
                      <a:pt x="204917" y="716696"/>
                    </a:moveTo>
                    <a:lnTo>
                      <a:pt x="238649" y="313987"/>
                    </a:lnTo>
                    <a:lnTo>
                      <a:pt x="272454" y="19043"/>
                    </a:lnTo>
                    <a:cubicBezTo>
                      <a:pt x="272454" y="19043"/>
                      <a:pt x="256070" y="-3496"/>
                      <a:pt x="194585" y="6749"/>
                    </a:cubicBezTo>
                    <a:lnTo>
                      <a:pt x="148479" y="295550"/>
                    </a:lnTo>
                    <a:lnTo>
                      <a:pt x="111597" y="570016"/>
                    </a:lnTo>
                    <a:lnTo>
                      <a:pt x="91098" y="570016"/>
                    </a:lnTo>
                    <a:lnTo>
                      <a:pt x="73678" y="6749"/>
                    </a:lnTo>
                    <a:cubicBezTo>
                      <a:pt x="73678" y="6749"/>
                      <a:pt x="47034" y="-13729"/>
                      <a:pt x="-2139" y="4708"/>
                    </a:cubicBezTo>
                    <a:lnTo>
                      <a:pt x="4006" y="729778"/>
                    </a:lnTo>
                    <a:lnTo>
                      <a:pt x="204917" y="716696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6" name="Vrije vorm 2185">
                <a:extLst>
                  <a:ext uri="{FF2B5EF4-FFF2-40B4-BE49-F238E27FC236}">
                    <a16:creationId xmlns:a16="http://schemas.microsoft.com/office/drawing/2014/main" id="{BECDB975-821C-692D-01DE-7C7180F05C64}"/>
                  </a:ext>
                </a:extLst>
              </p:cNvPr>
              <p:cNvSpPr/>
              <p:nvPr/>
            </p:nvSpPr>
            <p:spPr>
              <a:xfrm flipV="1">
                <a:off x="3847118" y="1306335"/>
                <a:ext cx="71754" cy="148616"/>
              </a:xfrm>
              <a:custGeom>
                <a:avLst/>
                <a:gdLst>
                  <a:gd name="connsiteX0" fmla="*/ -2132 w 71754"/>
                  <a:gd name="connsiteY0" fmla="*/ 110616 h 148616"/>
                  <a:gd name="connsiteX1" fmla="*/ 624 w 71754"/>
                  <a:gd name="connsiteY1" fmla="*/ -3767 h 148616"/>
                  <a:gd name="connsiteX2" fmla="*/ 69622 w 71754"/>
                  <a:gd name="connsiteY2" fmla="*/ 27058 h 148616"/>
                  <a:gd name="connsiteX3" fmla="*/ 67446 w 71754"/>
                  <a:gd name="connsiteY3" fmla="*/ 144849 h 148616"/>
                  <a:gd name="connsiteX4" fmla="*/ -2132 w 71754"/>
                  <a:gd name="connsiteY4" fmla="*/ 11061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-2132" y="110616"/>
                    </a:moveTo>
                    <a:lnTo>
                      <a:pt x="624" y="-3767"/>
                    </a:lnTo>
                    <a:lnTo>
                      <a:pt x="69622" y="27058"/>
                    </a:lnTo>
                    <a:lnTo>
                      <a:pt x="67446" y="144849"/>
                    </a:lnTo>
                    <a:lnTo>
                      <a:pt x="-2132" y="11061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7" name="Vrije vorm 2186">
                <a:extLst>
                  <a:ext uri="{FF2B5EF4-FFF2-40B4-BE49-F238E27FC236}">
                    <a16:creationId xmlns:a16="http://schemas.microsoft.com/office/drawing/2014/main" id="{F64C87EA-70C9-3D9B-A9D6-5DE729C2A05A}"/>
                  </a:ext>
                </a:extLst>
              </p:cNvPr>
              <p:cNvSpPr/>
              <p:nvPr/>
            </p:nvSpPr>
            <p:spPr>
              <a:xfrm flipV="1">
                <a:off x="3734958" y="1382383"/>
                <a:ext cx="319165" cy="371257"/>
              </a:xfrm>
              <a:custGeom>
                <a:avLst/>
                <a:gdLst>
                  <a:gd name="connsiteX0" fmla="*/ -1074 w 319165"/>
                  <a:gd name="connsiteY0" fmla="*/ 324719 h 371257"/>
                  <a:gd name="connsiteX1" fmla="*/ 18833 w 319165"/>
                  <a:gd name="connsiteY1" fmla="*/ 16165 h 371257"/>
                  <a:gd name="connsiteX2" fmla="*/ 150321 w 319165"/>
                  <a:gd name="connsiteY2" fmla="*/ -3236 h 371257"/>
                  <a:gd name="connsiteX3" fmla="*/ 223838 w 319165"/>
                  <a:gd name="connsiteY3" fmla="*/ 11276 h 371257"/>
                  <a:gd name="connsiteX4" fmla="*/ 317023 w 319165"/>
                  <a:gd name="connsiteY4" fmla="*/ 356912 h 371257"/>
                  <a:gd name="connsiteX5" fmla="*/ 177545 w 319165"/>
                  <a:gd name="connsiteY5" fmla="*/ 367695 h 371257"/>
                  <a:gd name="connsiteX6" fmla="*/ 137212 w 319165"/>
                  <a:gd name="connsiteY6" fmla="*/ 330344 h 371257"/>
                  <a:gd name="connsiteX7" fmla="*/ 104630 w 319165"/>
                  <a:gd name="connsiteY7" fmla="*/ 365115 h 371257"/>
                  <a:gd name="connsiteX8" fmla="*/ -2142 w 319165"/>
                  <a:gd name="connsiteY8" fmla="*/ 352634 h 371257"/>
                  <a:gd name="connsiteX9" fmla="*/ -1074 w 319165"/>
                  <a:gd name="connsiteY9" fmla="*/ 324719 h 371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9165" h="371257">
                    <a:moveTo>
                      <a:pt x="-1074" y="324719"/>
                    </a:moveTo>
                    <a:cubicBezTo>
                      <a:pt x="-1074" y="324719"/>
                      <a:pt x="5579" y="120045"/>
                      <a:pt x="18833" y="16165"/>
                    </a:cubicBezTo>
                    <a:cubicBezTo>
                      <a:pt x="18833" y="16165"/>
                      <a:pt x="69540" y="-6529"/>
                      <a:pt x="150321" y="-3236"/>
                    </a:cubicBezTo>
                    <a:cubicBezTo>
                      <a:pt x="207391" y="-915"/>
                      <a:pt x="223838" y="11276"/>
                      <a:pt x="223838" y="11276"/>
                    </a:cubicBezTo>
                    <a:lnTo>
                      <a:pt x="317023" y="356912"/>
                    </a:lnTo>
                    <a:cubicBezTo>
                      <a:pt x="317023" y="356912"/>
                      <a:pt x="264513" y="367798"/>
                      <a:pt x="177545" y="367695"/>
                    </a:cubicBezTo>
                    <a:lnTo>
                      <a:pt x="137212" y="330344"/>
                    </a:lnTo>
                    <a:cubicBezTo>
                      <a:pt x="137212" y="330344"/>
                      <a:pt x="126268" y="359346"/>
                      <a:pt x="104630" y="365115"/>
                    </a:cubicBezTo>
                    <a:cubicBezTo>
                      <a:pt x="71851" y="362857"/>
                      <a:pt x="36067" y="358921"/>
                      <a:pt x="-2142" y="352634"/>
                    </a:cubicBezTo>
                    <a:lnTo>
                      <a:pt x="-1074" y="324719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8" name="Vrije vorm 2187">
                <a:extLst>
                  <a:ext uri="{FF2B5EF4-FFF2-40B4-BE49-F238E27FC236}">
                    <a16:creationId xmlns:a16="http://schemas.microsoft.com/office/drawing/2014/main" id="{A9E2E2D5-88C4-47F9-C8A8-377153885F56}"/>
                  </a:ext>
                </a:extLst>
              </p:cNvPr>
              <p:cNvSpPr/>
              <p:nvPr/>
            </p:nvSpPr>
            <p:spPr>
              <a:xfrm flipV="1">
                <a:off x="3983456" y="1393167"/>
                <a:ext cx="151447" cy="235778"/>
              </a:xfrm>
              <a:custGeom>
                <a:avLst/>
                <a:gdLst>
                  <a:gd name="connsiteX0" fmla="*/ 73993 w 151447"/>
                  <a:gd name="connsiteY0" fmla="*/ -3625 h 235778"/>
                  <a:gd name="connsiteX1" fmla="*/ -2279 w 151447"/>
                  <a:gd name="connsiteY1" fmla="*/ 208797 h 235778"/>
                  <a:gd name="connsiteX2" fmla="*/ 68387 w 151447"/>
                  <a:gd name="connsiteY2" fmla="*/ 232154 h 235778"/>
                  <a:gd name="connsiteX3" fmla="*/ 149168 w 151447"/>
                  <a:gd name="connsiteY3" fmla="*/ 2901 h 235778"/>
                  <a:gd name="connsiteX4" fmla="*/ 73993 w 151447"/>
                  <a:gd name="connsiteY4" fmla="*/ -3625 h 235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447" h="235778">
                    <a:moveTo>
                      <a:pt x="73993" y="-3625"/>
                    </a:moveTo>
                    <a:lnTo>
                      <a:pt x="-2279" y="208797"/>
                    </a:lnTo>
                    <a:lnTo>
                      <a:pt x="68387" y="232154"/>
                    </a:lnTo>
                    <a:lnTo>
                      <a:pt x="149168" y="2901"/>
                    </a:lnTo>
                    <a:lnTo>
                      <a:pt x="73993" y="-3625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9" name="Vrije vorm 2188">
                <a:extLst>
                  <a:ext uri="{FF2B5EF4-FFF2-40B4-BE49-F238E27FC236}">
                    <a16:creationId xmlns:a16="http://schemas.microsoft.com/office/drawing/2014/main" id="{AF57E26C-C6D5-7452-6B91-D8869835032F}"/>
                  </a:ext>
                </a:extLst>
              </p:cNvPr>
              <p:cNvSpPr/>
              <p:nvPr/>
            </p:nvSpPr>
            <p:spPr>
              <a:xfrm flipV="1">
                <a:off x="3754820" y="1744586"/>
                <a:ext cx="31166" cy="29350"/>
              </a:xfrm>
              <a:custGeom>
                <a:avLst/>
                <a:gdLst>
                  <a:gd name="connsiteX0" fmla="*/ 29129 w 31166"/>
                  <a:gd name="connsiteY0" fmla="*/ 16938 h 29350"/>
                  <a:gd name="connsiteX1" fmla="*/ 3169 w 31166"/>
                  <a:gd name="connsiteY1" fmla="*/ 25660 h 29350"/>
                  <a:gd name="connsiteX2" fmla="*/ -1826 w 31166"/>
                  <a:gd name="connsiteY2" fmla="*/ 17218 h 29350"/>
                  <a:gd name="connsiteX3" fmla="*/ 3169 w 31166"/>
                  <a:gd name="connsiteY3" fmla="*/ 5244 h 29350"/>
                  <a:gd name="connsiteX4" fmla="*/ 25284 w 31166"/>
                  <a:gd name="connsiteY4" fmla="*/ -3353 h 29350"/>
                  <a:gd name="connsiteX5" fmla="*/ 29129 w 31166"/>
                  <a:gd name="connsiteY5" fmla="*/ 16938 h 2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66" h="29350">
                    <a:moveTo>
                      <a:pt x="29129" y="16938"/>
                    </a:moveTo>
                    <a:cubicBezTo>
                      <a:pt x="11781" y="20677"/>
                      <a:pt x="3366" y="25598"/>
                      <a:pt x="3169" y="25660"/>
                    </a:cubicBezTo>
                    <a:cubicBezTo>
                      <a:pt x="-1919" y="27348"/>
                      <a:pt x="-1256" y="22418"/>
                      <a:pt x="-1826" y="17218"/>
                    </a:cubicBezTo>
                    <a:cubicBezTo>
                      <a:pt x="-2583" y="10340"/>
                      <a:pt x="-1401" y="6663"/>
                      <a:pt x="3169" y="5244"/>
                    </a:cubicBezTo>
                    <a:cubicBezTo>
                      <a:pt x="3998" y="4995"/>
                      <a:pt x="8008" y="801"/>
                      <a:pt x="25284" y="-3353"/>
                    </a:cubicBezTo>
                    <a:cubicBezTo>
                      <a:pt x="26579" y="3411"/>
                      <a:pt x="27864" y="10174"/>
                      <a:pt x="29129" y="1693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0" name="Vrije vorm 2189">
                <a:extLst>
                  <a:ext uri="{FF2B5EF4-FFF2-40B4-BE49-F238E27FC236}">
                    <a16:creationId xmlns:a16="http://schemas.microsoft.com/office/drawing/2014/main" id="{951BBB1C-9D83-78BE-E77A-4C367F15EBF2}"/>
                  </a:ext>
                </a:extLst>
              </p:cNvPr>
              <p:cNvSpPr/>
              <p:nvPr/>
            </p:nvSpPr>
            <p:spPr>
              <a:xfrm flipV="1">
                <a:off x="3798619" y="1756359"/>
                <a:ext cx="114316" cy="25998"/>
              </a:xfrm>
              <a:custGeom>
                <a:avLst/>
                <a:gdLst>
                  <a:gd name="connsiteX0" fmla="*/ 109668 w 114316"/>
                  <a:gd name="connsiteY0" fmla="*/ 19839 h 25998"/>
                  <a:gd name="connsiteX1" fmla="*/ 46338 w 114316"/>
                  <a:gd name="connsiteY1" fmla="*/ 18171 h 25998"/>
                  <a:gd name="connsiteX2" fmla="*/ -420 w 114316"/>
                  <a:gd name="connsiteY2" fmla="*/ 22656 h 25998"/>
                  <a:gd name="connsiteX3" fmla="*/ -2109 w 114316"/>
                  <a:gd name="connsiteY3" fmla="*/ 1640 h 25998"/>
                  <a:gd name="connsiteX4" fmla="*/ 45914 w 114316"/>
                  <a:gd name="connsiteY4" fmla="*/ -3187 h 25998"/>
                  <a:gd name="connsiteX5" fmla="*/ 67769 w 114316"/>
                  <a:gd name="connsiteY5" fmla="*/ -3260 h 25998"/>
                  <a:gd name="connsiteX6" fmla="*/ 112207 w 114316"/>
                  <a:gd name="connsiteY6" fmla="*/ -494 h 25998"/>
                  <a:gd name="connsiteX7" fmla="*/ 109668 w 114316"/>
                  <a:gd name="connsiteY7" fmla="*/ 19839 h 25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16" h="25998">
                    <a:moveTo>
                      <a:pt x="109668" y="19839"/>
                    </a:moveTo>
                    <a:cubicBezTo>
                      <a:pt x="90361" y="18005"/>
                      <a:pt x="69231" y="17632"/>
                      <a:pt x="46338" y="18171"/>
                    </a:cubicBezTo>
                    <a:cubicBezTo>
                      <a:pt x="28700" y="18596"/>
                      <a:pt x="12876" y="20419"/>
                      <a:pt x="-420" y="22656"/>
                    </a:cubicBezTo>
                    <a:cubicBezTo>
                      <a:pt x="5" y="15613"/>
                      <a:pt x="-928" y="8611"/>
                      <a:pt x="-2109" y="1640"/>
                    </a:cubicBezTo>
                    <a:cubicBezTo>
                      <a:pt x="11425" y="-794"/>
                      <a:pt x="27591" y="-2752"/>
                      <a:pt x="45914" y="-3187"/>
                    </a:cubicBezTo>
                    <a:cubicBezTo>
                      <a:pt x="53375" y="-3374"/>
                      <a:pt x="60660" y="-3384"/>
                      <a:pt x="67769" y="-3260"/>
                    </a:cubicBezTo>
                    <a:cubicBezTo>
                      <a:pt x="83719" y="-2959"/>
                      <a:pt x="98413" y="-2089"/>
                      <a:pt x="112207" y="-494"/>
                    </a:cubicBezTo>
                    <a:cubicBezTo>
                      <a:pt x="110694" y="6176"/>
                      <a:pt x="109803" y="12951"/>
                      <a:pt x="109668" y="19839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1" name="Vrije vorm 2190">
                <a:extLst>
                  <a:ext uri="{FF2B5EF4-FFF2-40B4-BE49-F238E27FC236}">
                    <a16:creationId xmlns:a16="http://schemas.microsoft.com/office/drawing/2014/main" id="{144FB1C2-F211-1DD3-D889-1B7D4D4C90B6}"/>
                  </a:ext>
                </a:extLst>
              </p:cNvPr>
              <p:cNvSpPr/>
              <p:nvPr/>
            </p:nvSpPr>
            <p:spPr>
              <a:xfrm flipV="1">
                <a:off x="3923049" y="1749031"/>
                <a:ext cx="44557" cy="28800"/>
              </a:xfrm>
              <a:custGeom>
                <a:avLst/>
                <a:gdLst>
                  <a:gd name="connsiteX0" fmla="*/ 41755 w 44557"/>
                  <a:gd name="connsiteY0" fmla="*/ 17057 h 28800"/>
                  <a:gd name="connsiteX1" fmla="*/ 35082 w 44557"/>
                  <a:gd name="connsiteY1" fmla="*/ 25084 h 28800"/>
                  <a:gd name="connsiteX2" fmla="*/ -2184 w 44557"/>
                  <a:gd name="connsiteY2" fmla="*/ 16715 h 28800"/>
                  <a:gd name="connsiteX3" fmla="*/ 261 w 44557"/>
                  <a:gd name="connsiteY3" fmla="*/ -3348 h 28800"/>
                  <a:gd name="connsiteX4" fmla="*/ 39372 w 44557"/>
                  <a:gd name="connsiteY4" fmla="*/ 6461 h 28800"/>
                  <a:gd name="connsiteX5" fmla="*/ 41755 w 44557"/>
                  <a:gd name="connsiteY5" fmla="*/ 17057 h 2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557" h="28800">
                    <a:moveTo>
                      <a:pt x="41755" y="17057"/>
                    </a:moveTo>
                    <a:cubicBezTo>
                      <a:pt x="40781" y="22215"/>
                      <a:pt x="40160" y="26804"/>
                      <a:pt x="35082" y="25084"/>
                    </a:cubicBezTo>
                    <a:cubicBezTo>
                      <a:pt x="23713" y="21262"/>
                      <a:pt x="11267" y="18559"/>
                      <a:pt x="-2184" y="16715"/>
                    </a:cubicBezTo>
                    <a:cubicBezTo>
                      <a:pt x="-1739" y="9993"/>
                      <a:pt x="-744" y="3322"/>
                      <a:pt x="261" y="-3348"/>
                    </a:cubicBezTo>
                    <a:cubicBezTo>
                      <a:pt x="14231" y="-1132"/>
                      <a:pt x="27226" y="1996"/>
                      <a:pt x="39372" y="6461"/>
                    </a:cubicBezTo>
                    <a:cubicBezTo>
                      <a:pt x="42916" y="7766"/>
                      <a:pt x="42750" y="11836"/>
                      <a:pt x="41755" y="17057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2" name="Vrije vorm 2191">
                <a:extLst>
                  <a:ext uri="{FF2B5EF4-FFF2-40B4-BE49-F238E27FC236}">
                    <a16:creationId xmlns:a16="http://schemas.microsoft.com/office/drawing/2014/main" id="{45989386-952D-F1FE-9810-F4C865A1B64E}"/>
                  </a:ext>
                </a:extLst>
              </p:cNvPr>
              <p:cNvSpPr/>
              <p:nvPr/>
            </p:nvSpPr>
            <p:spPr>
              <a:xfrm flipV="1">
                <a:off x="3833822" y="1757499"/>
                <a:ext cx="45370" cy="27676"/>
              </a:xfrm>
              <a:custGeom>
                <a:avLst/>
                <a:gdLst>
                  <a:gd name="connsiteX0" fmla="*/ 35560 w 45370"/>
                  <a:gd name="connsiteY0" fmla="*/ 1352 h 27676"/>
                  <a:gd name="connsiteX1" fmla="*/ 5890 w 45370"/>
                  <a:gd name="connsiteY1" fmla="*/ 2854 h 27676"/>
                  <a:gd name="connsiteX2" fmla="*/ 5580 w 45370"/>
                  <a:gd name="connsiteY2" fmla="*/ 19645 h 27676"/>
                  <a:gd name="connsiteX3" fmla="*/ 35229 w 45370"/>
                  <a:gd name="connsiteY3" fmla="*/ 19448 h 27676"/>
                  <a:gd name="connsiteX4" fmla="*/ -2110 w 45370"/>
                  <a:gd name="connsiteY4" fmla="*/ 24337 h 27676"/>
                  <a:gd name="connsiteX5" fmla="*/ -1644 w 45370"/>
                  <a:gd name="connsiteY5" fmla="*/ -1071 h 27676"/>
                  <a:gd name="connsiteX6" fmla="*/ 43260 w 45370"/>
                  <a:gd name="connsiteY6" fmla="*/ -3340 h 27676"/>
                  <a:gd name="connsiteX7" fmla="*/ 42752 w 45370"/>
                  <a:gd name="connsiteY7" fmla="*/ 24036 h 27676"/>
                  <a:gd name="connsiteX8" fmla="*/ -2110 w 45370"/>
                  <a:gd name="connsiteY8" fmla="*/ 24337 h 2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70" h="27676">
                    <a:moveTo>
                      <a:pt x="35560" y="1352"/>
                    </a:moveTo>
                    <a:lnTo>
                      <a:pt x="5890" y="2854"/>
                    </a:lnTo>
                    <a:lnTo>
                      <a:pt x="5580" y="19645"/>
                    </a:lnTo>
                    <a:lnTo>
                      <a:pt x="35229" y="19448"/>
                    </a:lnTo>
                    <a:close/>
                    <a:moveTo>
                      <a:pt x="-2110" y="24337"/>
                    </a:moveTo>
                    <a:lnTo>
                      <a:pt x="-1644" y="-1071"/>
                    </a:lnTo>
                    <a:lnTo>
                      <a:pt x="43260" y="-3340"/>
                    </a:lnTo>
                    <a:lnTo>
                      <a:pt x="42752" y="24036"/>
                    </a:lnTo>
                    <a:lnTo>
                      <a:pt x="-2110" y="24337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3" name="Vrije vorm 2192">
                <a:extLst>
                  <a:ext uri="{FF2B5EF4-FFF2-40B4-BE49-F238E27FC236}">
                    <a16:creationId xmlns:a16="http://schemas.microsoft.com/office/drawing/2014/main" id="{2CC58B2F-A4CC-F93C-998C-6F20975142D7}"/>
                  </a:ext>
                </a:extLst>
              </p:cNvPr>
              <p:cNvSpPr/>
              <p:nvPr/>
            </p:nvSpPr>
            <p:spPr>
              <a:xfrm flipV="1">
                <a:off x="3874311" y="1383389"/>
                <a:ext cx="33669" cy="36346"/>
              </a:xfrm>
              <a:custGeom>
                <a:avLst/>
                <a:gdLst>
                  <a:gd name="connsiteX0" fmla="*/ -2139 w 33669"/>
                  <a:gd name="connsiteY0" fmla="*/ -3744 h 36346"/>
                  <a:gd name="connsiteX1" fmla="*/ 8328 w 33669"/>
                  <a:gd name="connsiteY1" fmla="*/ 32602 h 36346"/>
                  <a:gd name="connsiteX2" fmla="*/ 31531 w 33669"/>
                  <a:gd name="connsiteY2" fmla="*/ 21985 h 3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69" h="36346">
                    <a:moveTo>
                      <a:pt x="-2139" y="-3744"/>
                    </a:moveTo>
                    <a:lnTo>
                      <a:pt x="8328" y="32602"/>
                    </a:lnTo>
                    <a:lnTo>
                      <a:pt x="31531" y="21985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4" name="Vrije vorm 2193">
                <a:extLst>
                  <a:ext uri="{FF2B5EF4-FFF2-40B4-BE49-F238E27FC236}">
                    <a16:creationId xmlns:a16="http://schemas.microsoft.com/office/drawing/2014/main" id="{BE0074B5-DC9C-13BC-A008-8BFB7977EF05}"/>
                  </a:ext>
                </a:extLst>
              </p:cNvPr>
              <p:cNvSpPr/>
              <p:nvPr/>
            </p:nvSpPr>
            <p:spPr>
              <a:xfrm flipV="1">
                <a:off x="3855316" y="1386537"/>
                <a:ext cx="18995" cy="33197"/>
              </a:xfrm>
              <a:custGeom>
                <a:avLst/>
                <a:gdLst>
                  <a:gd name="connsiteX0" fmla="*/ 13894 w 18995"/>
                  <a:gd name="connsiteY0" fmla="*/ 29455 h 33197"/>
                  <a:gd name="connsiteX1" fmla="*/ 16879 w 18995"/>
                  <a:gd name="connsiteY1" fmla="*/ -3743 h 33197"/>
                  <a:gd name="connsiteX2" fmla="*/ -2117 w 18995"/>
                  <a:gd name="connsiteY2" fmla="*/ 19760 h 33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95" h="33197">
                    <a:moveTo>
                      <a:pt x="13894" y="29455"/>
                    </a:moveTo>
                    <a:lnTo>
                      <a:pt x="16879" y="-3743"/>
                    </a:lnTo>
                    <a:lnTo>
                      <a:pt x="-2117" y="19760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6" name="Vrije vorm 2195">
                <a:extLst>
                  <a:ext uri="{FF2B5EF4-FFF2-40B4-BE49-F238E27FC236}">
                    <a16:creationId xmlns:a16="http://schemas.microsoft.com/office/drawing/2014/main" id="{684A0119-FE8E-5299-890D-738F91A19DDB}"/>
                  </a:ext>
                </a:extLst>
              </p:cNvPr>
              <p:cNvSpPr/>
              <p:nvPr/>
            </p:nvSpPr>
            <p:spPr>
              <a:xfrm flipV="1">
                <a:off x="3818982" y="1361492"/>
                <a:ext cx="52344" cy="61174"/>
              </a:xfrm>
              <a:custGeom>
                <a:avLst/>
                <a:gdLst>
                  <a:gd name="connsiteX0" fmla="*/ -2100 w 52344"/>
                  <a:gd name="connsiteY0" fmla="*/ 34559 h 61174"/>
                  <a:gd name="connsiteX1" fmla="*/ 26305 w 52344"/>
                  <a:gd name="connsiteY1" fmla="*/ -3755 h 61174"/>
                  <a:gd name="connsiteX2" fmla="*/ 50244 w 52344"/>
                  <a:gd name="connsiteY2" fmla="*/ 32374 h 61174"/>
                  <a:gd name="connsiteX3" fmla="*/ 12605 w 52344"/>
                  <a:gd name="connsiteY3" fmla="*/ 57420 h 61174"/>
                  <a:gd name="connsiteX4" fmla="*/ -2100 w 52344"/>
                  <a:gd name="connsiteY4" fmla="*/ 34559 h 6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44" h="61174">
                    <a:moveTo>
                      <a:pt x="-2100" y="34559"/>
                    </a:moveTo>
                    <a:lnTo>
                      <a:pt x="26305" y="-3755"/>
                    </a:lnTo>
                    <a:lnTo>
                      <a:pt x="50244" y="32374"/>
                    </a:lnTo>
                    <a:lnTo>
                      <a:pt x="12605" y="57420"/>
                    </a:lnTo>
                    <a:lnTo>
                      <a:pt x="-2100" y="3455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7" name="Vrije vorm 2196">
                <a:extLst>
                  <a:ext uri="{FF2B5EF4-FFF2-40B4-BE49-F238E27FC236}">
                    <a16:creationId xmlns:a16="http://schemas.microsoft.com/office/drawing/2014/main" id="{5A68B336-E9A5-7E92-666C-E812265DD42B}"/>
                  </a:ext>
                </a:extLst>
              </p:cNvPr>
              <p:cNvSpPr/>
              <p:nvPr/>
            </p:nvSpPr>
            <p:spPr>
              <a:xfrm flipV="1">
                <a:off x="3884778" y="1356437"/>
                <a:ext cx="56085" cy="64115"/>
              </a:xfrm>
              <a:custGeom>
                <a:avLst/>
                <a:gdLst>
                  <a:gd name="connsiteX0" fmla="*/ 53928 w 56085"/>
                  <a:gd name="connsiteY0" fmla="*/ 37539 h 64115"/>
                  <a:gd name="connsiteX1" fmla="*/ 17844 w 56085"/>
                  <a:gd name="connsiteY1" fmla="*/ -3759 h 64115"/>
                  <a:gd name="connsiteX2" fmla="*/ -2157 w 56085"/>
                  <a:gd name="connsiteY2" fmla="*/ 33406 h 64115"/>
                  <a:gd name="connsiteX3" fmla="*/ 39451 w 56085"/>
                  <a:gd name="connsiteY3" fmla="*/ 60357 h 64115"/>
                  <a:gd name="connsiteX4" fmla="*/ 53928 w 56085"/>
                  <a:gd name="connsiteY4" fmla="*/ 37539 h 6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085" h="64115">
                    <a:moveTo>
                      <a:pt x="53928" y="37539"/>
                    </a:moveTo>
                    <a:lnTo>
                      <a:pt x="17844" y="-3759"/>
                    </a:lnTo>
                    <a:lnTo>
                      <a:pt x="-2157" y="33406"/>
                    </a:lnTo>
                    <a:lnTo>
                      <a:pt x="39451" y="60357"/>
                    </a:lnTo>
                    <a:lnTo>
                      <a:pt x="53928" y="375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8" name="Vrije vorm 2197">
                <a:extLst>
                  <a:ext uri="{FF2B5EF4-FFF2-40B4-BE49-F238E27FC236}">
                    <a16:creationId xmlns:a16="http://schemas.microsoft.com/office/drawing/2014/main" id="{EEA4C16C-B79D-65EE-9D16-0E5E8F5F0D33}"/>
                  </a:ext>
                </a:extLst>
              </p:cNvPr>
              <p:cNvSpPr/>
              <p:nvPr/>
            </p:nvSpPr>
            <p:spPr>
              <a:xfrm flipV="1">
                <a:off x="4045895" y="1589513"/>
                <a:ext cx="101102" cy="51717"/>
              </a:xfrm>
              <a:custGeom>
                <a:avLst/>
                <a:gdLst>
                  <a:gd name="connsiteX0" fmla="*/ -2311 w 101102"/>
                  <a:gd name="connsiteY0" fmla="*/ 33354 h 51717"/>
                  <a:gd name="connsiteX1" fmla="*/ 84781 w 101102"/>
                  <a:gd name="connsiteY1" fmla="*/ 48207 h 51717"/>
                  <a:gd name="connsiteX2" fmla="*/ 98792 w 101102"/>
                  <a:gd name="connsiteY2" fmla="*/ 12669 h 51717"/>
                  <a:gd name="connsiteX3" fmla="*/ 3845 w 101102"/>
                  <a:gd name="connsiteY3" fmla="*/ -3510 h 51717"/>
                  <a:gd name="connsiteX4" fmla="*/ -2311 w 101102"/>
                  <a:gd name="connsiteY4" fmla="*/ 33354 h 5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102" h="51717">
                    <a:moveTo>
                      <a:pt x="-2311" y="33354"/>
                    </a:moveTo>
                    <a:lnTo>
                      <a:pt x="84781" y="48207"/>
                    </a:lnTo>
                    <a:lnTo>
                      <a:pt x="98792" y="12669"/>
                    </a:lnTo>
                    <a:lnTo>
                      <a:pt x="3845" y="-3510"/>
                    </a:lnTo>
                    <a:lnTo>
                      <a:pt x="-2311" y="33354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9" name="Vrije vorm 2198">
                <a:extLst>
                  <a:ext uri="{FF2B5EF4-FFF2-40B4-BE49-F238E27FC236}">
                    <a16:creationId xmlns:a16="http://schemas.microsoft.com/office/drawing/2014/main" id="{576313D6-6877-E4D1-1060-1347F14ACE8F}"/>
                  </a:ext>
                </a:extLst>
              </p:cNvPr>
              <p:cNvSpPr/>
              <p:nvPr/>
            </p:nvSpPr>
            <p:spPr>
              <a:xfrm flipV="1">
                <a:off x="3784629" y="1050503"/>
                <a:ext cx="217456" cy="303572"/>
              </a:xfrm>
              <a:custGeom>
                <a:avLst/>
                <a:gdLst>
                  <a:gd name="connsiteX0" fmla="*/ 117813 w 217456"/>
                  <a:gd name="connsiteY0" fmla="*/ 294452 h 303572"/>
                  <a:gd name="connsiteX1" fmla="*/ 181598 w 217456"/>
                  <a:gd name="connsiteY1" fmla="*/ 234500 h 303572"/>
                  <a:gd name="connsiteX2" fmla="*/ 178261 w 217456"/>
                  <a:gd name="connsiteY2" fmla="*/ 158389 h 303572"/>
                  <a:gd name="connsiteX3" fmla="*/ 205112 w 217456"/>
                  <a:gd name="connsiteY3" fmla="*/ 165702 h 303572"/>
                  <a:gd name="connsiteX4" fmla="*/ 177028 w 217456"/>
                  <a:gd name="connsiteY4" fmla="*/ 91995 h 303572"/>
                  <a:gd name="connsiteX5" fmla="*/ 171121 w 217456"/>
                  <a:gd name="connsiteY5" fmla="*/ 51805 h 303572"/>
                  <a:gd name="connsiteX6" fmla="*/ 82589 w 217456"/>
                  <a:gd name="connsiteY6" fmla="*/ -3382 h 303572"/>
                  <a:gd name="connsiteX7" fmla="*/ -1198 w 217456"/>
                  <a:gd name="connsiteY7" fmla="*/ 60372 h 303572"/>
                  <a:gd name="connsiteX8" fmla="*/ -2141 w 217456"/>
                  <a:gd name="connsiteY8" fmla="*/ 246877 h 303572"/>
                  <a:gd name="connsiteX9" fmla="*/ 117813 w 217456"/>
                  <a:gd name="connsiteY9" fmla="*/ 294452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6" h="303572">
                    <a:moveTo>
                      <a:pt x="117813" y="294452"/>
                    </a:moveTo>
                    <a:cubicBezTo>
                      <a:pt x="183350" y="279516"/>
                      <a:pt x="181598" y="234500"/>
                      <a:pt x="181598" y="234500"/>
                    </a:cubicBezTo>
                    <a:cubicBezTo>
                      <a:pt x="181598" y="234500"/>
                      <a:pt x="179557" y="199759"/>
                      <a:pt x="178261" y="158389"/>
                    </a:cubicBezTo>
                    <a:cubicBezTo>
                      <a:pt x="184324" y="166717"/>
                      <a:pt x="194583" y="170208"/>
                      <a:pt x="205112" y="165702"/>
                    </a:cubicBezTo>
                    <a:cubicBezTo>
                      <a:pt x="227424" y="156162"/>
                      <a:pt x="210937" y="85914"/>
                      <a:pt x="177028" y="91995"/>
                    </a:cubicBezTo>
                    <a:cubicBezTo>
                      <a:pt x="175567" y="72376"/>
                      <a:pt x="173639" y="57098"/>
                      <a:pt x="171121" y="51805"/>
                    </a:cubicBezTo>
                    <a:cubicBezTo>
                      <a:pt x="161608" y="31825"/>
                      <a:pt x="119709" y="1372"/>
                      <a:pt x="82589" y="-3382"/>
                    </a:cubicBezTo>
                    <a:cubicBezTo>
                      <a:pt x="45457" y="-8136"/>
                      <a:pt x="-1198" y="16599"/>
                      <a:pt x="-1198" y="60372"/>
                    </a:cubicBezTo>
                    <a:cubicBezTo>
                      <a:pt x="-1198" y="104144"/>
                      <a:pt x="-2141" y="246877"/>
                      <a:pt x="-2141" y="246877"/>
                    </a:cubicBezTo>
                    <a:cubicBezTo>
                      <a:pt x="-2141" y="246877"/>
                      <a:pt x="9279" y="319197"/>
                      <a:pt x="117813" y="29445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0" name="Vrije vorm 2199">
                <a:extLst>
                  <a:ext uri="{FF2B5EF4-FFF2-40B4-BE49-F238E27FC236}">
                    <a16:creationId xmlns:a16="http://schemas.microsoft.com/office/drawing/2014/main" id="{EEB6601C-690E-ED8B-CDB4-77C1394EE0CB}"/>
                  </a:ext>
                </a:extLst>
              </p:cNvPr>
              <p:cNvSpPr/>
              <p:nvPr/>
            </p:nvSpPr>
            <p:spPr>
              <a:xfrm flipV="1">
                <a:off x="3810288" y="1182216"/>
                <a:ext cx="33835" cy="82781"/>
              </a:xfrm>
              <a:custGeom>
                <a:avLst/>
                <a:gdLst>
                  <a:gd name="connsiteX0" fmla="*/ 31750 w 33835"/>
                  <a:gd name="connsiteY0" fmla="*/ 78842 h 82781"/>
                  <a:gd name="connsiteX1" fmla="*/ 22082 w 33835"/>
                  <a:gd name="connsiteY1" fmla="*/ 41346 h 82781"/>
                  <a:gd name="connsiteX2" fmla="*/ 13770 w 33835"/>
                  <a:gd name="connsiteY2" fmla="*/ 23655 h 82781"/>
                  <a:gd name="connsiteX3" fmla="*/ 1448 w 33835"/>
                  <a:gd name="connsiteY3" fmla="*/ 8149 h 82781"/>
                  <a:gd name="connsiteX4" fmla="*/ 1438 w 33835"/>
                  <a:gd name="connsiteY4" fmla="*/ 10624 h 82781"/>
                  <a:gd name="connsiteX5" fmla="*/ 15573 w 33835"/>
                  <a:gd name="connsiteY5" fmla="*/ -3939 h 82781"/>
                  <a:gd name="connsiteX6" fmla="*/ -749 w 33835"/>
                  <a:gd name="connsiteY6" fmla="*/ 8128 h 82781"/>
                  <a:gd name="connsiteX7" fmla="*/ -2085 w 33835"/>
                  <a:gd name="connsiteY7" fmla="*/ 9184 h 82781"/>
                  <a:gd name="connsiteX8" fmla="*/ -769 w 33835"/>
                  <a:gd name="connsiteY8" fmla="*/ 10604 h 82781"/>
                  <a:gd name="connsiteX9" fmla="*/ 17884 w 33835"/>
                  <a:gd name="connsiteY9" fmla="*/ 43035 h 82781"/>
                  <a:gd name="connsiteX10" fmla="*/ 31750 w 33835"/>
                  <a:gd name="connsiteY10" fmla="*/ 78842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5" h="82781">
                    <a:moveTo>
                      <a:pt x="31750" y="78842"/>
                    </a:moveTo>
                    <a:cubicBezTo>
                      <a:pt x="30009" y="66040"/>
                      <a:pt x="26828" y="53424"/>
                      <a:pt x="22082" y="41346"/>
                    </a:cubicBezTo>
                    <a:cubicBezTo>
                      <a:pt x="19833" y="35256"/>
                      <a:pt x="17180" y="29279"/>
                      <a:pt x="13770" y="23655"/>
                    </a:cubicBezTo>
                    <a:cubicBezTo>
                      <a:pt x="10444" y="18041"/>
                      <a:pt x="6765" y="12406"/>
                      <a:pt x="1448" y="8149"/>
                    </a:cubicBezTo>
                    <a:lnTo>
                      <a:pt x="1438" y="10624"/>
                    </a:lnTo>
                    <a:cubicBezTo>
                      <a:pt x="6298" y="5942"/>
                      <a:pt x="11024" y="1116"/>
                      <a:pt x="15573" y="-3939"/>
                    </a:cubicBezTo>
                    <a:cubicBezTo>
                      <a:pt x="9957" y="-117"/>
                      <a:pt x="4536" y="3923"/>
                      <a:pt x="-749" y="8128"/>
                    </a:cubicBezTo>
                    <a:lnTo>
                      <a:pt x="-2085" y="9184"/>
                    </a:lnTo>
                    <a:lnTo>
                      <a:pt x="-769" y="10604"/>
                    </a:lnTo>
                    <a:cubicBezTo>
                      <a:pt x="7615" y="19667"/>
                      <a:pt x="12734" y="31506"/>
                      <a:pt x="17884" y="43035"/>
                    </a:cubicBezTo>
                    <a:cubicBezTo>
                      <a:pt x="22734" y="54780"/>
                      <a:pt x="27232" y="66744"/>
                      <a:pt x="31750" y="7884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1" name="Vrije vorm 2200">
                <a:extLst>
                  <a:ext uri="{FF2B5EF4-FFF2-40B4-BE49-F238E27FC236}">
                    <a16:creationId xmlns:a16="http://schemas.microsoft.com/office/drawing/2014/main" id="{75CB5B7E-4F8C-BE3D-5318-62B88F707E89}"/>
                  </a:ext>
                </a:extLst>
              </p:cNvPr>
              <p:cNvSpPr/>
              <p:nvPr/>
            </p:nvSpPr>
            <p:spPr>
              <a:xfrm flipV="1">
                <a:off x="3883877" y="1171122"/>
                <a:ext cx="18985" cy="34554"/>
              </a:xfrm>
              <a:custGeom>
                <a:avLst/>
                <a:gdLst>
                  <a:gd name="connsiteX0" fmla="*/ -2141 w 18985"/>
                  <a:gd name="connsiteY0" fmla="*/ 13300 h 34554"/>
                  <a:gd name="connsiteX1" fmla="*/ 7352 w 18985"/>
                  <a:gd name="connsiteY1" fmla="*/ -3978 h 34554"/>
                  <a:gd name="connsiteX2" fmla="*/ 16845 w 18985"/>
                  <a:gd name="connsiteY2" fmla="*/ 13300 h 34554"/>
                  <a:gd name="connsiteX3" fmla="*/ 7352 w 18985"/>
                  <a:gd name="connsiteY3" fmla="*/ 30577 h 34554"/>
                  <a:gd name="connsiteX4" fmla="*/ -2141 w 18985"/>
                  <a:gd name="connsiteY4" fmla="*/ 13300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141" y="13300"/>
                    </a:moveTo>
                    <a:cubicBezTo>
                      <a:pt x="-2141" y="3760"/>
                      <a:pt x="2108" y="-3978"/>
                      <a:pt x="7352" y="-3978"/>
                    </a:cubicBezTo>
                    <a:cubicBezTo>
                      <a:pt x="12596" y="-3978"/>
                      <a:pt x="16845" y="3760"/>
                      <a:pt x="16845" y="13300"/>
                    </a:cubicBezTo>
                    <a:cubicBezTo>
                      <a:pt x="16845" y="22839"/>
                      <a:pt x="12596" y="30577"/>
                      <a:pt x="7352" y="30577"/>
                    </a:cubicBezTo>
                    <a:cubicBezTo>
                      <a:pt x="2108" y="30577"/>
                      <a:pt x="-2141" y="22839"/>
                      <a:pt x="-2141" y="13300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2" name="Vrije vorm 2201">
                <a:extLst>
                  <a:ext uri="{FF2B5EF4-FFF2-40B4-BE49-F238E27FC236}">
                    <a16:creationId xmlns:a16="http://schemas.microsoft.com/office/drawing/2014/main" id="{9527E8AD-7F84-B534-7C26-B29D483E5BCD}"/>
                  </a:ext>
                </a:extLst>
              </p:cNvPr>
              <p:cNvSpPr/>
              <p:nvPr/>
            </p:nvSpPr>
            <p:spPr>
              <a:xfrm flipV="1">
                <a:off x="3803904" y="1174934"/>
                <a:ext cx="18985" cy="34554"/>
              </a:xfrm>
              <a:custGeom>
                <a:avLst/>
                <a:gdLst>
                  <a:gd name="connsiteX0" fmla="*/ -2074 w 18985"/>
                  <a:gd name="connsiteY0" fmla="*/ 13304 h 34554"/>
                  <a:gd name="connsiteX1" fmla="*/ 7419 w 18985"/>
                  <a:gd name="connsiteY1" fmla="*/ -3973 h 34554"/>
                  <a:gd name="connsiteX2" fmla="*/ 16911 w 18985"/>
                  <a:gd name="connsiteY2" fmla="*/ 13304 h 34554"/>
                  <a:gd name="connsiteX3" fmla="*/ 7419 w 18985"/>
                  <a:gd name="connsiteY3" fmla="*/ 30581 h 34554"/>
                  <a:gd name="connsiteX4" fmla="*/ -2074 w 18985"/>
                  <a:gd name="connsiteY4" fmla="*/ 13304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074" y="13304"/>
                    </a:moveTo>
                    <a:cubicBezTo>
                      <a:pt x="-2074" y="3764"/>
                      <a:pt x="2175" y="-3973"/>
                      <a:pt x="7419" y="-3973"/>
                    </a:cubicBezTo>
                    <a:cubicBezTo>
                      <a:pt x="12662" y="-3973"/>
                      <a:pt x="16911" y="3764"/>
                      <a:pt x="16911" y="13304"/>
                    </a:cubicBezTo>
                    <a:cubicBezTo>
                      <a:pt x="16911" y="22854"/>
                      <a:pt x="12662" y="30581"/>
                      <a:pt x="7419" y="30581"/>
                    </a:cubicBezTo>
                    <a:cubicBezTo>
                      <a:pt x="2175" y="30581"/>
                      <a:pt x="-2074" y="22854"/>
                      <a:pt x="-2074" y="13304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3" name="Vrije vorm 2202">
                <a:extLst>
                  <a:ext uri="{FF2B5EF4-FFF2-40B4-BE49-F238E27FC236}">
                    <a16:creationId xmlns:a16="http://schemas.microsoft.com/office/drawing/2014/main" id="{6383AF2F-125C-8F6F-31EE-BD98CAA71F41}"/>
                  </a:ext>
                </a:extLst>
              </p:cNvPr>
              <p:cNvSpPr/>
              <p:nvPr/>
            </p:nvSpPr>
            <p:spPr>
              <a:xfrm flipV="1">
                <a:off x="3868404" y="1136664"/>
                <a:ext cx="51411" cy="19864"/>
              </a:xfrm>
              <a:custGeom>
                <a:avLst/>
                <a:gdLst>
                  <a:gd name="connsiteX0" fmla="*/ -2141 w 51411"/>
                  <a:gd name="connsiteY0" fmla="*/ 3589 h 19864"/>
                  <a:gd name="connsiteX1" fmla="*/ 10294 w 51411"/>
                  <a:gd name="connsiteY1" fmla="*/ 12777 h 19864"/>
                  <a:gd name="connsiteX2" fmla="*/ 25994 w 51411"/>
                  <a:gd name="connsiteY2" fmla="*/ 15822 h 19864"/>
                  <a:gd name="connsiteX3" fmla="*/ 41550 w 51411"/>
                  <a:gd name="connsiteY3" fmla="*/ 9815 h 19864"/>
                  <a:gd name="connsiteX4" fmla="*/ 49270 w 51411"/>
                  <a:gd name="connsiteY4" fmla="*/ -4023 h 19864"/>
                  <a:gd name="connsiteX5" fmla="*/ 37404 w 51411"/>
                  <a:gd name="connsiteY5" fmla="*/ 3382 h 19864"/>
                  <a:gd name="connsiteX6" fmla="*/ 25466 w 51411"/>
                  <a:gd name="connsiteY6" fmla="*/ 6044 h 19864"/>
                  <a:gd name="connsiteX7" fmla="*/ -2141 w 51411"/>
                  <a:gd name="connsiteY7" fmla="*/ 3589 h 19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411" h="19864">
                    <a:moveTo>
                      <a:pt x="-2141" y="3589"/>
                    </a:moveTo>
                    <a:cubicBezTo>
                      <a:pt x="1133" y="7753"/>
                      <a:pt x="5517" y="10685"/>
                      <a:pt x="10294" y="12777"/>
                    </a:cubicBezTo>
                    <a:cubicBezTo>
                      <a:pt x="15082" y="14911"/>
                      <a:pt x="20430" y="15998"/>
                      <a:pt x="25994" y="15822"/>
                    </a:cubicBezTo>
                    <a:cubicBezTo>
                      <a:pt x="31539" y="15429"/>
                      <a:pt x="37249" y="13492"/>
                      <a:pt x="41550" y="9815"/>
                    </a:cubicBezTo>
                    <a:cubicBezTo>
                      <a:pt x="46058" y="6335"/>
                      <a:pt x="48389" y="1010"/>
                      <a:pt x="49270" y="-4023"/>
                    </a:cubicBezTo>
                    <a:cubicBezTo>
                      <a:pt x="44835" y="-1010"/>
                      <a:pt x="41446" y="1922"/>
                      <a:pt x="37404" y="3382"/>
                    </a:cubicBezTo>
                    <a:cubicBezTo>
                      <a:pt x="33508" y="4915"/>
                      <a:pt x="29642" y="5848"/>
                      <a:pt x="25466" y="6044"/>
                    </a:cubicBezTo>
                    <a:cubicBezTo>
                      <a:pt x="17041" y="6490"/>
                      <a:pt x="8149" y="4781"/>
                      <a:pt x="-2141" y="3589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4" name="Vrije vorm 2203">
                <a:extLst>
                  <a:ext uri="{FF2B5EF4-FFF2-40B4-BE49-F238E27FC236}">
                    <a16:creationId xmlns:a16="http://schemas.microsoft.com/office/drawing/2014/main" id="{FB08627D-B637-E22C-EA3B-370CFBE65E72}"/>
                  </a:ext>
                </a:extLst>
              </p:cNvPr>
              <p:cNvSpPr/>
              <p:nvPr/>
            </p:nvSpPr>
            <p:spPr>
              <a:xfrm flipV="1">
                <a:off x="3788432" y="1137241"/>
                <a:ext cx="40934" cy="19286"/>
              </a:xfrm>
              <a:custGeom>
                <a:avLst/>
                <a:gdLst>
                  <a:gd name="connsiteX0" fmla="*/ 38864 w 40934"/>
                  <a:gd name="connsiteY0" fmla="*/ 3590 h 19286"/>
                  <a:gd name="connsiteX1" fmla="*/ 16397 w 40934"/>
                  <a:gd name="connsiteY1" fmla="*/ 6490 h 19286"/>
                  <a:gd name="connsiteX2" fmla="*/ 7226 w 40934"/>
                  <a:gd name="connsiteY2" fmla="*/ 3362 h 19286"/>
                  <a:gd name="connsiteX3" fmla="*/ -2070 w 40934"/>
                  <a:gd name="connsiteY3" fmla="*/ -4023 h 19286"/>
                  <a:gd name="connsiteX4" fmla="*/ 2697 w 40934"/>
                  <a:gd name="connsiteY4" fmla="*/ 8458 h 19286"/>
                  <a:gd name="connsiteX5" fmla="*/ 15496 w 40934"/>
                  <a:gd name="connsiteY5" fmla="*/ 15181 h 19286"/>
                  <a:gd name="connsiteX6" fmla="*/ 29102 w 40934"/>
                  <a:gd name="connsiteY6" fmla="*/ 12373 h 19286"/>
                  <a:gd name="connsiteX7" fmla="*/ 38864 w 40934"/>
                  <a:gd name="connsiteY7" fmla="*/ 3590 h 1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34" h="19286">
                    <a:moveTo>
                      <a:pt x="38864" y="3590"/>
                    </a:moveTo>
                    <a:cubicBezTo>
                      <a:pt x="30274" y="5289"/>
                      <a:pt x="22926" y="7194"/>
                      <a:pt x="16397" y="6490"/>
                    </a:cubicBezTo>
                    <a:cubicBezTo>
                      <a:pt x="13133" y="6314"/>
                      <a:pt x="10221" y="5154"/>
                      <a:pt x="7226" y="3362"/>
                    </a:cubicBezTo>
                    <a:cubicBezTo>
                      <a:pt x="4127" y="1632"/>
                      <a:pt x="1443" y="-1164"/>
                      <a:pt x="-2070" y="-4023"/>
                    </a:cubicBezTo>
                    <a:cubicBezTo>
                      <a:pt x="-1863" y="348"/>
                      <a:pt x="-526" y="4895"/>
                      <a:pt x="2697" y="8458"/>
                    </a:cubicBezTo>
                    <a:cubicBezTo>
                      <a:pt x="5671" y="12187"/>
                      <a:pt x="10573" y="14745"/>
                      <a:pt x="15496" y="15181"/>
                    </a:cubicBezTo>
                    <a:cubicBezTo>
                      <a:pt x="20418" y="15584"/>
                      <a:pt x="25133" y="14486"/>
                      <a:pt x="29102" y="12373"/>
                    </a:cubicBezTo>
                    <a:cubicBezTo>
                      <a:pt x="33072" y="10302"/>
                      <a:pt x="36543" y="7443"/>
                      <a:pt x="38864" y="3590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5" name="Vrije vorm 2204">
                <a:extLst>
                  <a:ext uri="{FF2B5EF4-FFF2-40B4-BE49-F238E27FC236}">
                    <a16:creationId xmlns:a16="http://schemas.microsoft.com/office/drawing/2014/main" id="{91E55DE5-72FA-F12D-E9C2-0FCD13D28F62}"/>
                  </a:ext>
                </a:extLst>
              </p:cNvPr>
              <p:cNvSpPr/>
              <p:nvPr/>
            </p:nvSpPr>
            <p:spPr>
              <a:xfrm flipV="1">
                <a:off x="3823977" y="1273677"/>
                <a:ext cx="87682" cy="29229"/>
              </a:xfrm>
              <a:custGeom>
                <a:avLst/>
                <a:gdLst>
                  <a:gd name="connsiteX0" fmla="*/ 85563 w 87682"/>
                  <a:gd name="connsiteY0" fmla="*/ 25361 h 29229"/>
                  <a:gd name="connsiteX1" fmla="*/ -2119 w 87682"/>
                  <a:gd name="connsiteY1" fmla="*/ 20793 h 29229"/>
                  <a:gd name="connsiteX2" fmla="*/ 85563 w 87682"/>
                  <a:gd name="connsiteY2" fmla="*/ 25361 h 29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682" h="29229">
                    <a:moveTo>
                      <a:pt x="85563" y="25361"/>
                    </a:moveTo>
                    <a:lnTo>
                      <a:pt x="-2119" y="20793"/>
                    </a:lnTo>
                    <a:cubicBezTo>
                      <a:pt x="-2119" y="20793"/>
                      <a:pt x="43551" y="-37626"/>
                      <a:pt x="85563" y="25361"/>
                    </a:cubicBezTo>
                  </a:path>
                </a:pathLst>
              </a:custGeom>
              <a:solidFill>
                <a:srgbClr val="B8596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6" name="Vrije vorm 2205">
                <a:extLst>
                  <a:ext uri="{FF2B5EF4-FFF2-40B4-BE49-F238E27FC236}">
                    <a16:creationId xmlns:a16="http://schemas.microsoft.com/office/drawing/2014/main" id="{7031E771-19BA-D139-5254-1F62EB164364}"/>
                  </a:ext>
                </a:extLst>
              </p:cNvPr>
              <p:cNvSpPr/>
              <p:nvPr/>
            </p:nvSpPr>
            <p:spPr>
              <a:xfrm flipV="1">
                <a:off x="3823977" y="1273677"/>
                <a:ext cx="87682" cy="25801"/>
              </a:xfrm>
              <a:custGeom>
                <a:avLst/>
                <a:gdLst>
                  <a:gd name="connsiteX0" fmla="*/ 77252 w 87682"/>
                  <a:gd name="connsiteY0" fmla="*/ 17032 h 25801"/>
                  <a:gd name="connsiteX1" fmla="*/ 25188 w 87682"/>
                  <a:gd name="connsiteY1" fmla="*/ -3870 h 25801"/>
                  <a:gd name="connsiteX2" fmla="*/ -2119 w 87682"/>
                  <a:gd name="connsiteY2" fmla="*/ 17364 h 25801"/>
                  <a:gd name="connsiteX3" fmla="*/ 85563 w 87682"/>
                  <a:gd name="connsiteY3" fmla="*/ 21932 h 25801"/>
                  <a:gd name="connsiteX4" fmla="*/ 82278 w 87682"/>
                  <a:gd name="connsiteY4" fmla="*/ 16732 h 25801"/>
                  <a:gd name="connsiteX5" fmla="*/ 77252 w 87682"/>
                  <a:gd name="connsiteY5" fmla="*/ 17032 h 25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7682" h="25801">
                    <a:moveTo>
                      <a:pt x="77252" y="17032"/>
                    </a:moveTo>
                    <a:cubicBezTo>
                      <a:pt x="56858" y="17032"/>
                      <a:pt x="37686" y="9937"/>
                      <a:pt x="25188" y="-3870"/>
                    </a:cubicBezTo>
                    <a:cubicBezTo>
                      <a:pt x="5124" y="2334"/>
                      <a:pt x="-2119" y="17364"/>
                      <a:pt x="-2119" y="17364"/>
                    </a:cubicBezTo>
                    <a:lnTo>
                      <a:pt x="85563" y="21932"/>
                    </a:lnTo>
                    <a:cubicBezTo>
                      <a:pt x="84486" y="20088"/>
                      <a:pt x="83387" y="18368"/>
                      <a:pt x="82278" y="16732"/>
                    </a:cubicBezTo>
                    <a:cubicBezTo>
                      <a:pt x="80620" y="16918"/>
                      <a:pt x="78952" y="17032"/>
                      <a:pt x="77252" y="17032"/>
                    </a:cubicBezTo>
                  </a:path>
                </a:pathLst>
              </a:custGeom>
              <a:solidFill>
                <a:srgbClr val="642A32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8" name="Vrije vorm 2207">
                <a:extLst>
                  <a:ext uri="{FF2B5EF4-FFF2-40B4-BE49-F238E27FC236}">
                    <a16:creationId xmlns:a16="http://schemas.microsoft.com/office/drawing/2014/main" id="{5F201119-BD85-6A21-E9F6-7DAFBDDB745E}"/>
                  </a:ext>
                </a:extLst>
              </p:cNvPr>
              <p:cNvSpPr/>
              <p:nvPr/>
            </p:nvSpPr>
            <p:spPr>
              <a:xfrm flipV="1">
                <a:off x="3966461" y="1195400"/>
                <a:ext cx="27833" cy="51643"/>
              </a:xfrm>
              <a:custGeom>
                <a:avLst/>
                <a:gdLst>
                  <a:gd name="connsiteX0" fmla="*/ 20192 w 27833"/>
                  <a:gd name="connsiteY0" fmla="*/ 46603 h 51643"/>
                  <a:gd name="connsiteX1" fmla="*/ -2214 w 27833"/>
                  <a:gd name="connsiteY1" fmla="*/ 13789 h 51643"/>
                  <a:gd name="connsiteX2" fmla="*/ 3611 w 27833"/>
                  <a:gd name="connsiteY2" fmla="*/ -3706 h 51643"/>
                  <a:gd name="connsiteX3" fmla="*/ 20192 w 27833"/>
                  <a:gd name="connsiteY3" fmla="*/ 4660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33" h="51643">
                    <a:moveTo>
                      <a:pt x="20192" y="46603"/>
                    </a:moveTo>
                    <a:cubicBezTo>
                      <a:pt x="8554" y="52486"/>
                      <a:pt x="-1737" y="33769"/>
                      <a:pt x="-2214" y="13789"/>
                    </a:cubicBezTo>
                    <a:cubicBezTo>
                      <a:pt x="7310" y="15208"/>
                      <a:pt x="8916" y="4135"/>
                      <a:pt x="3611" y="-3706"/>
                    </a:cubicBezTo>
                    <a:cubicBezTo>
                      <a:pt x="22503" y="-7704"/>
                      <a:pt x="32524" y="40357"/>
                      <a:pt x="20192" y="4660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9" name="Vrije vorm 2208">
                <a:extLst>
                  <a:ext uri="{FF2B5EF4-FFF2-40B4-BE49-F238E27FC236}">
                    <a16:creationId xmlns:a16="http://schemas.microsoft.com/office/drawing/2014/main" id="{4C2F19CA-83D3-5BFF-3A17-C484974AEFB4}"/>
                  </a:ext>
                </a:extLst>
              </p:cNvPr>
              <p:cNvSpPr/>
              <p:nvPr/>
            </p:nvSpPr>
            <p:spPr>
              <a:xfrm flipV="1">
                <a:off x="3937574" y="1663561"/>
                <a:ext cx="56069" cy="97947"/>
              </a:xfrm>
              <a:custGeom>
                <a:avLst/>
                <a:gdLst>
                  <a:gd name="connsiteX0" fmla="*/ 53868 w 56069"/>
                  <a:gd name="connsiteY0" fmla="*/ 3972 h 97947"/>
                  <a:gd name="connsiteX1" fmla="*/ 24665 w 56069"/>
                  <a:gd name="connsiteY1" fmla="*/ 44679 h 97947"/>
                  <a:gd name="connsiteX2" fmla="*/ 20053 w 56069"/>
                  <a:gd name="connsiteY2" fmla="*/ 60806 h 97947"/>
                  <a:gd name="connsiteX3" fmla="*/ 24665 w 56069"/>
                  <a:gd name="connsiteY3" fmla="*/ 71558 h 97947"/>
                  <a:gd name="connsiteX4" fmla="*/ 45412 w 56069"/>
                  <a:gd name="connsiteY4" fmla="*/ 70791 h 97947"/>
                  <a:gd name="connsiteX5" fmla="*/ 52334 w 56069"/>
                  <a:gd name="connsiteY5" fmla="*/ 26242 h 97947"/>
                  <a:gd name="connsiteX6" fmla="*/ 53868 w 56069"/>
                  <a:gd name="connsiteY6" fmla="*/ 3972 h 97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069" h="97947">
                    <a:moveTo>
                      <a:pt x="53868" y="3972"/>
                    </a:moveTo>
                    <a:cubicBezTo>
                      <a:pt x="53868" y="3972"/>
                      <a:pt x="9296" y="-29060"/>
                      <a:pt x="24665" y="44679"/>
                    </a:cubicBezTo>
                    <a:cubicBezTo>
                      <a:pt x="24665" y="44679"/>
                      <a:pt x="-29897" y="60040"/>
                      <a:pt x="20053" y="60806"/>
                    </a:cubicBezTo>
                    <a:cubicBezTo>
                      <a:pt x="20053" y="60806"/>
                      <a:pt x="-32965" y="86152"/>
                      <a:pt x="24665" y="71558"/>
                    </a:cubicBezTo>
                    <a:cubicBezTo>
                      <a:pt x="24665" y="71558"/>
                      <a:pt x="-15296" y="123783"/>
                      <a:pt x="45412" y="70791"/>
                    </a:cubicBezTo>
                    <a:cubicBezTo>
                      <a:pt x="45412" y="70791"/>
                      <a:pt x="57454" y="58755"/>
                      <a:pt x="52334" y="26242"/>
                    </a:cubicBezTo>
                    <a:lnTo>
                      <a:pt x="53868" y="3972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0" name="Vrije vorm 2209">
                <a:extLst>
                  <a:ext uri="{FF2B5EF4-FFF2-40B4-BE49-F238E27FC236}">
                    <a16:creationId xmlns:a16="http://schemas.microsoft.com/office/drawing/2014/main" id="{630B33E8-0C78-130D-7DCC-46F1410372DC}"/>
                  </a:ext>
                </a:extLst>
              </p:cNvPr>
              <p:cNvSpPr/>
              <p:nvPr/>
            </p:nvSpPr>
            <p:spPr>
              <a:xfrm flipV="1">
                <a:off x="3607439" y="1594472"/>
                <a:ext cx="139353" cy="177144"/>
              </a:xfrm>
              <a:custGeom>
                <a:avLst/>
                <a:gdLst>
                  <a:gd name="connsiteX0" fmla="*/ -1960 w 139353"/>
                  <a:gd name="connsiteY0" fmla="*/ 154626 h 177144"/>
                  <a:gd name="connsiteX1" fmla="*/ 130274 w 139353"/>
                  <a:gd name="connsiteY1" fmla="*/ -3436 h 177144"/>
                  <a:gd name="connsiteX2" fmla="*/ 137394 w 139353"/>
                  <a:gd name="connsiteY2" fmla="*/ 32744 h 177144"/>
                  <a:gd name="connsiteX3" fmla="*/ 71961 w 139353"/>
                  <a:gd name="connsiteY3" fmla="*/ 140115 h 177144"/>
                  <a:gd name="connsiteX4" fmla="*/ -1960 w 139353"/>
                  <a:gd name="connsiteY4" fmla="*/ 154626 h 177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353" h="177144">
                    <a:moveTo>
                      <a:pt x="-1960" y="154626"/>
                    </a:moveTo>
                    <a:cubicBezTo>
                      <a:pt x="-1960" y="154626"/>
                      <a:pt x="56778" y="31263"/>
                      <a:pt x="130274" y="-3436"/>
                    </a:cubicBezTo>
                    <a:lnTo>
                      <a:pt x="137394" y="32744"/>
                    </a:lnTo>
                    <a:cubicBezTo>
                      <a:pt x="137394" y="32744"/>
                      <a:pt x="100978" y="74207"/>
                      <a:pt x="71961" y="140115"/>
                    </a:cubicBezTo>
                    <a:cubicBezTo>
                      <a:pt x="42944" y="206023"/>
                      <a:pt x="-1960" y="154626"/>
                      <a:pt x="-1960" y="154626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1" name="Vrije vorm 2210">
                <a:extLst>
                  <a:ext uri="{FF2B5EF4-FFF2-40B4-BE49-F238E27FC236}">
                    <a16:creationId xmlns:a16="http://schemas.microsoft.com/office/drawing/2014/main" id="{A27D118F-CD2A-F07B-3C2B-E92B3CBCE930}"/>
                  </a:ext>
                </a:extLst>
              </p:cNvPr>
              <p:cNvSpPr/>
              <p:nvPr/>
            </p:nvSpPr>
            <p:spPr>
              <a:xfrm flipV="1">
                <a:off x="3608444" y="1397444"/>
                <a:ext cx="191791" cy="230620"/>
              </a:xfrm>
              <a:custGeom>
                <a:avLst/>
                <a:gdLst>
                  <a:gd name="connsiteX0" fmla="*/ 70933 w 191791"/>
                  <a:gd name="connsiteY0" fmla="*/ -3623 h 230620"/>
                  <a:gd name="connsiteX1" fmla="*/ 189809 w 191791"/>
                  <a:gd name="connsiteY1" fmla="*/ 171852 h 230620"/>
                  <a:gd name="connsiteX2" fmla="*/ 124531 w 191791"/>
                  <a:gd name="connsiteY2" fmla="*/ 226998 h 230620"/>
                  <a:gd name="connsiteX3" fmla="*/ -1983 w 191791"/>
                  <a:gd name="connsiteY3" fmla="*/ 15767 h 230620"/>
                  <a:gd name="connsiteX4" fmla="*/ 70933 w 191791"/>
                  <a:gd name="connsiteY4" fmla="*/ -3623 h 230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791" h="230620">
                    <a:moveTo>
                      <a:pt x="70933" y="-3623"/>
                    </a:moveTo>
                    <a:lnTo>
                      <a:pt x="189809" y="171852"/>
                    </a:lnTo>
                    <a:lnTo>
                      <a:pt x="124531" y="226998"/>
                    </a:lnTo>
                    <a:lnTo>
                      <a:pt x="-1983" y="15767"/>
                    </a:lnTo>
                    <a:lnTo>
                      <a:pt x="70933" y="-3623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2" name="Vrije vorm 2211">
                <a:extLst>
                  <a:ext uri="{FF2B5EF4-FFF2-40B4-BE49-F238E27FC236}">
                    <a16:creationId xmlns:a16="http://schemas.microsoft.com/office/drawing/2014/main" id="{AF593494-8DFF-F2AA-66D3-5C881F75E2A5}"/>
                  </a:ext>
                </a:extLst>
              </p:cNvPr>
              <p:cNvSpPr/>
              <p:nvPr/>
            </p:nvSpPr>
            <p:spPr>
              <a:xfrm flipV="1">
                <a:off x="3596071" y="1576596"/>
                <a:ext cx="103155" cy="64892"/>
              </a:xfrm>
              <a:custGeom>
                <a:avLst/>
                <a:gdLst>
                  <a:gd name="connsiteX0" fmla="*/ 101220 w 103155"/>
                  <a:gd name="connsiteY0" fmla="*/ 31731 h 64892"/>
                  <a:gd name="connsiteX1" fmla="*/ 18003 w 103155"/>
                  <a:gd name="connsiteY1" fmla="*/ 61375 h 64892"/>
                  <a:gd name="connsiteX2" fmla="*/ -1935 w 103155"/>
                  <a:gd name="connsiteY2" fmla="*/ 28800 h 64892"/>
                  <a:gd name="connsiteX3" fmla="*/ 88805 w 103155"/>
                  <a:gd name="connsiteY3" fmla="*/ -3517 h 64892"/>
                  <a:gd name="connsiteX4" fmla="*/ 101220 w 103155"/>
                  <a:gd name="connsiteY4" fmla="*/ 31731 h 64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155" h="64892">
                    <a:moveTo>
                      <a:pt x="101220" y="31731"/>
                    </a:moveTo>
                    <a:lnTo>
                      <a:pt x="18003" y="61375"/>
                    </a:lnTo>
                    <a:lnTo>
                      <a:pt x="-1935" y="28800"/>
                    </a:lnTo>
                    <a:lnTo>
                      <a:pt x="88805" y="-3517"/>
                    </a:lnTo>
                    <a:lnTo>
                      <a:pt x="101220" y="31731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3" name="Vrije vorm 2212">
                <a:extLst>
                  <a:ext uri="{FF2B5EF4-FFF2-40B4-BE49-F238E27FC236}">
                    <a16:creationId xmlns:a16="http://schemas.microsoft.com/office/drawing/2014/main" id="{B645E64A-862D-ED65-6C36-D57D417ED1CD}"/>
                  </a:ext>
                </a:extLst>
              </p:cNvPr>
              <p:cNvSpPr/>
              <p:nvPr/>
            </p:nvSpPr>
            <p:spPr>
              <a:xfrm flipV="1">
                <a:off x="3724833" y="1680583"/>
                <a:ext cx="67506" cy="92936"/>
              </a:xfrm>
              <a:custGeom>
                <a:avLst/>
                <a:gdLst>
                  <a:gd name="connsiteX0" fmla="*/ -2028 w 67506"/>
                  <a:gd name="connsiteY0" fmla="*/ 7349 h 92936"/>
                  <a:gd name="connsiteX1" fmla="*/ 33766 w 67506"/>
                  <a:gd name="connsiteY1" fmla="*/ 42401 h 92936"/>
                  <a:gd name="connsiteX2" fmla="*/ 41093 w 67506"/>
                  <a:gd name="connsiteY2" fmla="*/ 57493 h 92936"/>
                  <a:gd name="connsiteX3" fmla="*/ 38409 w 67506"/>
                  <a:gd name="connsiteY3" fmla="*/ 68886 h 92936"/>
                  <a:gd name="connsiteX4" fmla="*/ 17838 w 67506"/>
                  <a:gd name="connsiteY4" fmla="*/ 71704 h 92936"/>
                  <a:gd name="connsiteX5" fmla="*/ 3340 w 67506"/>
                  <a:gd name="connsiteY5" fmla="*/ 29018 h 92936"/>
                  <a:gd name="connsiteX6" fmla="*/ -2028 w 67506"/>
                  <a:gd name="connsiteY6" fmla="*/ 7349 h 92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506" h="92936">
                    <a:moveTo>
                      <a:pt x="-2028" y="7349"/>
                    </a:moveTo>
                    <a:cubicBezTo>
                      <a:pt x="-2028" y="7349"/>
                      <a:pt x="36170" y="-32881"/>
                      <a:pt x="33766" y="42401"/>
                    </a:cubicBezTo>
                    <a:cubicBezTo>
                      <a:pt x="33766" y="42401"/>
                      <a:pt x="90163" y="48129"/>
                      <a:pt x="41093" y="57493"/>
                    </a:cubicBezTo>
                    <a:cubicBezTo>
                      <a:pt x="41093" y="57493"/>
                      <a:pt x="97707" y="73320"/>
                      <a:pt x="38409" y="68886"/>
                    </a:cubicBezTo>
                    <a:cubicBezTo>
                      <a:pt x="38409" y="68886"/>
                      <a:pt x="86795" y="113436"/>
                      <a:pt x="17838" y="71704"/>
                    </a:cubicBezTo>
                    <a:cubicBezTo>
                      <a:pt x="17838" y="71704"/>
                      <a:pt x="3900" y="61936"/>
                      <a:pt x="3340" y="29018"/>
                    </a:cubicBezTo>
                    <a:lnTo>
                      <a:pt x="-2028" y="7349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2257" name="Vrije vorm 2256">
              <a:extLst>
                <a:ext uri="{FF2B5EF4-FFF2-40B4-BE49-F238E27FC236}">
                  <a16:creationId xmlns:a16="http://schemas.microsoft.com/office/drawing/2014/main" id="{1880F8EB-4527-A0E8-DDC6-C973D18512BE}"/>
                </a:ext>
              </a:extLst>
            </p:cNvPr>
            <p:cNvSpPr/>
            <p:nvPr/>
          </p:nvSpPr>
          <p:spPr>
            <a:xfrm flipH="1" flipV="1">
              <a:off x="4292989" y="1060540"/>
              <a:ext cx="714998" cy="528767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dirty="0"/>
            </a:p>
          </p:txBody>
        </p:sp>
        <p:grpSp>
          <p:nvGrpSpPr>
            <p:cNvPr id="2262" name="Groep 2261">
              <a:extLst>
                <a:ext uri="{FF2B5EF4-FFF2-40B4-BE49-F238E27FC236}">
                  <a16:creationId xmlns:a16="http://schemas.microsoft.com/office/drawing/2014/main" id="{DBFC7257-7A59-D3F4-94D8-33C1BF3E202A}"/>
                </a:ext>
              </a:extLst>
            </p:cNvPr>
            <p:cNvGrpSpPr/>
            <p:nvPr/>
          </p:nvGrpSpPr>
          <p:grpSpPr>
            <a:xfrm>
              <a:off x="4327649" y="1446834"/>
              <a:ext cx="599104" cy="194023"/>
              <a:chOff x="4327649" y="1446834"/>
              <a:chExt cx="599104" cy="194023"/>
            </a:xfrm>
          </p:grpSpPr>
          <p:sp>
            <p:nvSpPr>
              <p:cNvPr id="2258" name="Vrije vorm 2257">
                <a:extLst>
                  <a:ext uri="{FF2B5EF4-FFF2-40B4-BE49-F238E27FC236}">
                    <a16:creationId xmlns:a16="http://schemas.microsoft.com/office/drawing/2014/main" id="{E4396E65-836C-E7DB-E6F0-0FB5193DFD78}"/>
                  </a:ext>
                </a:extLst>
              </p:cNvPr>
              <p:cNvSpPr/>
              <p:nvPr/>
            </p:nvSpPr>
            <p:spPr>
              <a:xfrm flipV="1">
                <a:off x="4327649" y="1460857"/>
                <a:ext cx="180000" cy="180000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9" name="Vrije vorm 2258">
                <a:extLst>
                  <a:ext uri="{FF2B5EF4-FFF2-40B4-BE49-F238E27FC236}">
                    <a16:creationId xmlns:a16="http://schemas.microsoft.com/office/drawing/2014/main" id="{821F3876-C4DB-1C18-E816-777C8E5AE327}"/>
                  </a:ext>
                </a:extLst>
              </p:cNvPr>
              <p:cNvSpPr/>
              <p:nvPr/>
            </p:nvSpPr>
            <p:spPr>
              <a:xfrm flipV="1">
                <a:off x="4575074" y="1446834"/>
                <a:ext cx="180000" cy="180000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0" name="Vrije vorm 2259">
                <a:extLst>
                  <a:ext uri="{FF2B5EF4-FFF2-40B4-BE49-F238E27FC236}">
                    <a16:creationId xmlns:a16="http://schemas.microsoft.com/office/drawing/2014/main" id="{EE0FF516-9D34-D080-5231-06F78D90ADD9}"/>
                  </a:ext>
                </a:extLst>
              </p:cNvPr>
              <p:cNvSpPr/>
              <p:nvPr/>
            </p:nvSpPr>
            <p:spPr>
              <a:xfrm flipV="1">
                <a:off x="4746753" y="1519175"/>
                <a:ext cx="180000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1" name="Vrije vorm 2260">
                <a:extLst>
                  <a:ext uri="{FF2B5EF4-FFF2-40B4-BE49-F238E27FC236}">
                    <a16:creationId xmlns:a16="http://schemas.microsoft.com/office/drawing/2014/main" id="{0139FC2F-F275-1637-71FC-039748278B69}"/>
                  </a:ext>
                </a:extLst>
              </p:cNvPr>
              <p:cNvSpPr/>
              <p:nvPr/>
            </p:nvSpPr>
            <p:spPr>
              <a:xfrm flipV="1">
                <a:off x="4508557" y="1523698"/>
                <a:ext cx="72000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</p:grpSp>
      <p:pic>
        <p:nvPicPr>
          <p:cNvPr id="2265" name="Graphic 2264">
            <a:extLst>
              <a:ext uri="{FF2B5EF4-FFF2-40B4-BE49-F238E27FC236}">
                <a16:creationId xmlns:a16="http://schemas.microsoft.com/office/drawing/2014/main" id="{DC7DDFBB-6CA7-A839-3846-778F62CB0A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4396"/>
            <a:ext cx="12192000" cy="6873851"/>
          </a:xfrm>
          <a:prstGeom prst="rect">
            <a:avLst/>
          </a:prstGeom>
        </p:spPr>
      </p:pic>
      <p:grpSp>
        <p:nvGrpSpPr>
          <p:cNvPr id="48" name="Groep 47">
            <a:extLst>
              <a:ext uri="{FF2B5EF4-FFF2-40B4-BE49-F238E27FC236}">
                <a16:creationId xmlns:a16="http://schemas.microsoft.com/office/drawing/2014/main" id="{7C56BB10-FDAD-FAAD-7A60-705934DAC3EB}"/>
              </a:ext>
            </a:extLst>
          </p:cNvPr>
          <p:cNvGrpSpPr/>
          <p:nvPr/>
        </p:nvGrpSpPr>
        <p:grpSpPr>
          <a:xfrm>
            <a:off x="7428137" y="2389533"/>
            <a:ext cx="1675696" cy="4037478"/>
            <a:chOff x="4821418" y="2234528"/>
            <a:chExt cx="1675696" cy="4037478"/>
          </a:xfrm>
        </p:grpSpPr>
        <p:grpSp>
          <p:nvGrpSpPr>
            <p:cNvPr id="3" name="Groep 2">
              <a:extLst>
                <a:ext uri="{FF2B5EF4-FFF2-40B4-BE49-F238E27FC236}">
                  <a16:creationId xmlns:a16="http://schemas.microsoft.com/office/drawing/2014/main" id="{89E1BF6A-6185-253A-ADD2-914A9049219D}"/>
                </a:ext>
              </a:extLst>
            </p:cNvPr>
            <p:cNvGrpSpPr/>
            <p:nvPr/>
          </p:nvGrpSpPr>
          <p:grpSpPr>
            <a:xfrm>
              <a:off x="4821418" y="2305599"/>
              <a:ext cx="1675696" cy="3966407"/>
              <a:chOff x="7529342" y="1932615"/>
              <a:chExt cx="535279" cy="1475462"/>
            </a:xfrm>
          </p:grpSpPr>
          <p:sp>
            <p:nvSpPr>
              <p:cNvPr id="4" name="Vrije vorm 3">
                <a:extLst>
                  <a:ext uri="{FF2B5EF4-FFF2-40B4-BE49-F238E27FC236}">
                    <a16:creationId xmlns:a16="http://schemas.microsoft.com/office/drawing/2014/main" id="{21E798F2-C5B0-D7A3-DCD1-E54B9F84A2B8}"/>
                  </a:ext>
                </a:extLst>
              </p:cNvPr>
              <p:cNvSpPr/>
              <p:nvPr/>
            </p:nvSpPr>
            <p:spPr>
              <a:xfrm flipV="1">
                <a:off x="7637132" y="3279969"/>
                <a:ext cx="46282" cy="90725"/>
              </a:xfrm>
              <a:custGeom>
                <a:avLst/>
                <a:gdLst>
                  <a:gd name="connsiteX0" fmla="*/ 41930 w 46282"/>
                  <a:gd name="connsiteY0" fmla="*/ 80788 h 90725"/>
                  <a:gd name="connsiteX1" fmla="*/ 28044 w 46282"/>
                  <a:gd name="connsiteY1" fmla="*/ -2625 h 90725"/>
                  <a:gd name="connsiteX2" fmla="*/ -4352 w 46282"/>
                  <a:gd name="connsiteY2" fmla="*/ -2625 h 90725"/>
                  <a:gd name="connsiteX3" fmla="*/ 6478 w 46282"/>
                  <a:gd name="connsiteY3" fmla="*/ 88101 h 90725"/>
                  <a:gd name="connsiteX4" fmla="*/ 41930 w 46282"/>
                  <a:gd name="connsiteY4" fmla="*/ 8078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82" h="90725">
                    <a:moveTo>
                      <a:pt x="41930" y="80788"/>
                    </a:moveTo>
                    <a:lnTo>
                      <a:pt x="28044" y="-2625"/>
                    </a:lnTo>
                    <a:lnTo>
                      <a:pt x="-4352" y="-2625"/>
                    </a:lnTo>
                    <a:lnTo>
                      <a:pt x="6478" y="88101"/>
                    </a:lnTo>
                    <a:lnTo>
                      <a:pt x="41930" y="8078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" name="Vrije vorm 4">
                <a:extLst>
                  <a:ext uri="{FF2B5EF4-FFF2-40B4-BE49-F238E27FC236}">
                    <a16:creationId xmlns:a16="http://schemas.microsoft.com/office/drawing/2014/main" id="{68FD5B17-6C1E-4005-760A-542319A35899}"/>
                  </a:ext>
                </a:extLst>
              </p:cNvPr>
              <p:cNvSpPr/>
              <p:nvPr/>
            </p:nvSpPr>
            <p:spPr>
              <a:xfrm flipV="1">
                <a:off x="7529342" y="3331169"/>
                <a:ext cx="154071" cy="76908"/>
              </a:xfrm>
              <a:custGeom>
                <a:avLst/>
                <a:gdLst>
                  <a:gd name="connsiteX0" fmla="*/ 93659 w 154071"/>
                  <a:gd name="connsiteY0" fmla="*/ 74332 h 76908"/>
                  <a:gd name="connsiteX1" fmla="*/ 47139 w 154071"/>
                  <a:gd name="connsiteY1" fmla="*/ 41891 h 76908"/>
                  <a:gd name="connsiteX2" fmla="*/ -4190 w 154071"/>
                  <a:gd name="connsiteY2" fmla="*/ 5855 h 76908"/>
                  <a:gd name="connsiteX3" fmla="*/ 105297 w 154071"/>
                  <a:gd name="connsiteY3" fmla="*/ 8145 h 76908"/>
                  <a:gd name="connsiteX4" fmla="*/ 105297 w 154071"/>
                  <a:gd name="connsiteY4" fmla="*/ 1008 h 76908"/>
                  <a:gd name="connsiteX5" fmla="*/ 149765 w 154071"/>
                  <a:gd name="connsiteY5" fmla="*/ 2955 h 76908"/>
                  <a:gd name="connsiteX6" fmla="*/ 149765 w 154071"/>
                  <a:gd name="connsiteY6" fmla="*/ 62006 h 76908"/>
                  <a:gd name="connsiteX7" fmla="*/ 112821 w 154071"/>
                  <a:gd name="connsiteY7" fmla="*/ 59406 h 76908"/>
                  <a:gd name="connsiteX8" fmla="*/ 115556 w 154071"/>
                  <a:gd name="connsiteY8" fmla="*/ 65248 h 76908"/>
                  <a:gd name="connsiteX9" fmla="*/ 93659 w 154071"/>
                  <a:gd name="connsiteY9" fmla="*/ 74332 h 76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4071" h="76908">
                    <a:moveTo>
                      <a:pt x="93659" y="74332"/>
                    </a:moveTo>
                    <a:cubicBezTo>
                      <a:pt x="93659" y="74332"/>
                      <a:pt x="75192" y="50333"/>
                      <a:pt x="47139" y="41891"/>
                    </a:cubicBezTo>
                    <a:cubicBezTo>
                      <a:pt x="19096" y="33459"/>
                      <a:pt x="-6242" y="22728"/>
                      <a:pt x="-4190" y="5855"/>
                    </a:cubicBezTo>
                    <a:cubicBezTo>
                      <a:pt x="-4190" y="5855"/>
                      <a:pt x="37563" y="-14560"/>
                      <a:pt x="105297" y="8145"/>
                    </a:cubicBezTo>
                    <a:lnTo>
                      <a:pt x="105297" y="1008"/>
                    </a:lnTo>
                    <a:lnTo>
                      <a:pt x="149765" y="2955"/>
                    </a:lnTo>
                    <a:lnTo>
                      <a:pt x="149765" y="62006"/>
                    </a:lnTo>
                    <a:lnTo>
                      <a:pt x="112821" y="59406"/>
                    </a:lnTo>
                    <a:lnTo>
                      <a:pt x="115556" y="65248"/>
                    </a:lnTo>
                    <a:lnTo>
                      <a:pt x="93659" y="74332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" name="Vrije vorm 5">
                <a:extLst>
                  <a:ext uri="{FF2B5EF4-FFF2-40B4-BE49-F238E27FC236}">
                    <a16:creationId xmlns:a16="http://schemas.microsoft.com/office/drawing/2014/main" id="{C7C2956A-15C1-5A2F-FEA1-FB89DC3779C5}"/>
                  </a:ext>
                </a:extLst>
              </p:cNvPr>
              <p:cNvSpPr/>
              <p:nvPr/>
            </p:nvSpPr>
            <p:spPr>
              <a:xfrm flipV="1">
                <a:off x="7529383" y="3390459"/>
                <a:ext cx="154031" cy="17617"/>
              </a:xfrm>
              <a:custGeom>
                <a:avLst/>
                <a:gdLst>
                  <a:gd name="connsiteX0" fmla="*/ 75773 w 154031"/>
                  <a:gd name="connsiteY0" fmla="*/ 7359 h 17617"/>
                  <a:gd name="connsiteX1" fmla="*/ -3878 w 154031"/>
                  <a:gd name="connsiteY1" fmla="*/ 10280 h 17617"/>
                  <a:gd name="connsiteX2" fmla="*/ -4231 w 154031"/>
                  <a:gd name="connsiteY2" fmla="*/ 5888 h 17617"/>
                  <a:gd name="connsiteX3" fmla="*/ 105256 w 154031"/>
                  <a:gd name="connsiteY3" fmla="*/ 8177 h 17617"/>
                  <a:gd name="connsiteX4" fmla="*/ 105256 w 154031"/>
                  <a:gd name="connsiteY4" fmla="*/ 1040 h 17617"/>
                  <a:gd name="connsiteX5" fmla="*/ 149725 w 154031"/>
                  <a:gd name="connsiteY5" fmla="*/ 2988 h 17617"/>
                  <a:gd name="connsiteX6" fmla="*/ 149725 w 154031"/>
                  <a:gd name="connsiteY6" fmla="*/ 14765 h 17617"/>
                  <a:gd name="connsiteX7" fmla="*/ 75773 w 154031"/>
                  <a:gd name="connsiteY7" fmla="*/ 7359 h 1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031" h="17617">
                    <a:moveTo>
                      <a:pt x="75773" y="7359"/>
                    </a:moveTo>
                    <a:cubicBezTo>
                      <a:pt x="15076" y="-8241"/>
                      <a:pt x="-334" y="9078"/>
                      <a:pt x="-3878" y="10280"/>
                    </a:cubicBezTo>
                    <a:cubicBezTo>
                      <a:pt x="-4272" y="8819"/>
                      <a:pt x="-4407" y="7359"/>
                      <a:pt x="-4231" y="5888"/>
                    </a:cubicBezTo>
                    <a:cubicBezTo>
                      <a:pt x="-4231" y="5888"/>
                      <a:pt x="37523" y="-14528"/>
                      <a:pt x="105256" y="8177"/>
                    </a:cubicBezTo>
                    <a:lnTo>
                      <a:pt x="105256" y="1040"/>
                    </a:lnTo>
                    <a:lnTo>
                      <a:pt x="149725" y="2988"/>
                    </a:lnTo>
                    <a:lnTo>
                      <a:pt x="149725" y="14765"/>
                    </a:lnTo>
                    <a:cubicBezTo>
                      <a:pt x="133848" y="13812"/>
                      <a:pt x="120542" y="18867"/>
                      <a:pt x="75773" y="7359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" name="Vrije vorm 6">
                <a:extLst>
                  <a:ext uri="{FF2B5EF4-FFF2-40B4-BE49-F238E27FC236}">
                    <a16:creationId xmlns:a16="http://schemas.microsoft.com/office/drawing/2014/main" id="{C8CB94C5-C15D-114E-E61E-428AE93D8D33}"/>
                  </a:ext>
                </a:extLst>
              </p:cNvPr>
              <p:cNvSpPr/>
              <p:nvPr/>
            </p:nvSpPr>
            <p:spPr>
              <a:xfrm flipV="1">
                <a:off x="7611151" y="3343498"/>
                <a:ext cx="23939" cy="22058"/>
              </a:xfrm>
              <a:custGeom>
                <a:avLst/>
                <a:gdLst>
                  <a:gd name="connsiteX0" fmla="*/ 18002 w 23939"/>
                  <a:gd name="connsiteY0" fmla="*/ -2593 h 22058"/>
                  <a:gd name="connsiteX1" fmla="*/ 16375 w 23939"/>
                  <a:gd name="connsiteY1" fmla="*/ -1733 h 22058"/>
                  <a:gd name="connsiteX2" fmla="*/ -3025 w 23939"/>
                  <a:gd name="connsiteY2" fmla="*/ 15679 h 22058"/>
                  <a:gd name="connsiteX3" fmla="*/ -4206 w 23939"/>
                  <a:gd name="connsiteY3" fmla="*/ 18175 h 22058"/>
                  <a:gd name="connsiteX4" fmla="*/ -1709 w 23939"/>
                  <a:gd name="connsiteY4" fmla="*/ 19356 h 22058"/>
                  <a:gd name="connsiteX5" fmla="*/ 19619 w 23939"/>
                  <a:gd name="connsiteY5" fmla="*/ 442 h 22058"/>
                  <a:gd name="connsiteX6" fmla="*/ 19080 w 23939"/>
                  <a:gd name="connsiteY6" fmla="*/ -2261 h 22058"/>
                  <a:gd name="connsiteX7" fmla="*/ 18002 w 23939"/>
                  <a:gd name="connsiteY7" fmla="*/ -259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8">
                    <a:moveTo>
                      <a:pt x="18002" y="-2593"/>
                    </a:moveTo>
                    <a:lnTo>
                      <a:pt x="16375" y="-1733"/>
                    </a:lnTo>
                    <a:cubicBezTo>
                      <a:pt x="7266" y="11857"/>
                      <a:pt x="-2921" y="15648"/>
                      <a:pt x="-3025" y="15679"/>
                    </a:cubicBezTo>
                    <a:cubicBezTo>
                      <a:pt x="-4040" y="16041"/>
                      <a:pt x="-4569" y="17160"/>
                      <a:pt x="-4206" y="18175"/>
                    </a:cubicBezTo>
                    <a:cubicBezTo>
                      <a:pt x="-3833" y="19190"/>
                      <a:pt x="-2714" y="19708"/>
                      <a:pt x="-1709" y="19356"/>
                    </a:cubicBezTo>
                    <a:cubicBezTo>
                      <a:pt x="-1243" y="19190"/>
                      <a:pt x="9795" y="15078"/>
                      <a:pt x="19619" y="442"/>
                    </a:cubicBezTo>
                    <a:lnTo>
                      <a:pt x="19080" y="-2261"/>
                    </a:lnTo>
                    <a:lnTo>
                      <a:pt x="18002" y="-259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" name="Vrije vorm 7">
                <a:extLst>
                  <a:ext uri="{FF2B5EF4-FFF2-40B4-BE49-F238E27FC236}">
                    <a16:creationId xmlns:a16="http://schemas.microsoft.com/office/drawing/2014/main" id="{D9D36CD6-8BB3-BE1D-F9BD-5800D8388B3F}"/>
                  </a:ext>
                </a:extLst>
              </p:cNvPr>
              <p:cNvSpPr/>
              <p:nvPr/>
            </p:nvSpPr>
            <p:spPr>
              <a:xfrm flipV="1">
                <a:off x="7600983" y="3348071"/>
                <a:ext cx="23931" cy="22053"/>
              </a:xfrm>
              <a:custGeom>
                <a:avLst/>
                <a:gdLst>
                  <a:gd name="connsiteX0" fmla="*/ 17992 w 23931"/>
                  <a:gd name="connsiteY0" fmla="*/ -2588 h 22053"/>
                  <a:gd name="connsiteX1" fmla="*/ 16376 w 23931"/>
                  <a:gd name="connsiteY1" fmla="*/ -1728 h 22053"/>
                  <a:gd name="connsiteX2" fmla="*/ -3024 w 23931"/>
                  <a:gd name="connsiteY2" fmla="*/ 15684 h 22053"/>
                  <a:gd name="connsiteX3" fmla="*/ -4195 w 23931"/>
                  <a:gd name="connsiteY3" fmla="*/ 18180 h 22053"/>
                  <a:gd name="connsiteX4" fmla="*/ -1708 w 23931"/>
                  <a:gd name="connsiteY4" fmla="*/ 19350 h 22053"/>
                  <a:gd name="connsiteX5" fmla="*/ 19619 w 23931"/>
                  <a:gd name="connsiteY5" fmla="*/ 447 h 22053"/>
                  <a:gd name="connsiteX6" fmla="*/ 19080 w 23931"/>
                  <a:gd name="connsiteY6" fmla="*/ -2267 h 22053"/>
                  <a:gd name="connsiteX7" fmla="*/ 17992 w 23931"/>
                  <a:gd name="connsiteY7" fmla="*/ -2588 h 22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1" h="22053">
                    <a:moveTo>
                      <a:pt x="17992" y="-2588"/>
                    </a:moveTo>
                    <a:lnTo>
                      <a:pt x="16376" y="-1728"/>
                    </a:lnTo>
                    <a:cubicBezTo>
                      <a:pt x="7256" y="11862"/>
                      <a:pt x="-2921" y="15642"/>
                      <a:pt x="-3024" y="15684"/>
                    </a:cubicBezTo>
                    <a:cubicBezTo>
                      <a:pt x="-4050" y="16046"/>
                      <a:pt x="-4558" y="17165"/>
                      <a:pt x="-4195" y="18180"/>
                    </a:cubicBezTo>
                    <a:cubicBezTo>
                      <a:pt x="-3833" y="19195"/>
                      <a:pt x="-2713" y="19713"/>
                      <a:pt x="-1708" y="19350"/>
                    </a:cubicBezTo>
                    <a:cubicBezTo>
                      <a:pt x="-1232" y="19185"/>
                      <a:pt x="9795" y="15083"/>
                      <a:pt x="19619" y="447"/>
                    </a:cubicBezTo>
                    <a:lnTo>
                      <a:pt x="19080" y="-2267"/>
                    </a:lnTo>
                    <a:lnTo>
                      <a:pt x="17992" y="-258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" name="Vrije vorm 8">
                <a:extLst>
                  <a:ext uri="{FF2B5EF4-FFF2-40B4-BE49-F238E27FC236}">
                    <a16:creationId xmlns:a16="http://schemas.microsoft.com/office/drawing/2014/main" id="{99383852-62E0-956F-C6F2-2C92897EAA9A}"/>
                  </a:ext>
                </a:extLst>
              </p:cNvPr>
              <p:cNvSpPr/>
              <p:nvPr/>
            </p:nvSpPr>
            <p:spPr>
              <a:xfrm flipV="1">
                <a:off x="7590797" y="3352577"/>
                <a:ext cx="23929" cy="22064"/>
              </a:xfrm>
              <a:custGeom>
                <a:avLst/>
                <a:gdLst>
                  <a:gd name="connsiteX0" fmla="*/ 18010 w 23929"/>
                  <a:gd name="connsiteY0" fmla="*/ -2583 h 22064"/>
                  <a:gd name="connsiteX1" fmla="*/ 16393 w 23929"/>
                  <a:gd name="connsiteY1" fmla="*/ -1713 h 22064"/>
                  <a:gd name="connsiteX2" fmla="*/ -3017 w 23929"/>
                  <a:gd name="connsiteY2" fmla="*/ 15699 h 22064"/>
                  <a:gd name="connsiteX3" fmla="*/ -4188 w 23929"/>
                  <a:gd name="connsiteY3" fmla="*/ 18195 h 22064"/>
                  <a:gd name="connsiteX4" fmla="*/ -1691 w 23929"/>
                  <a:gd name="connsiteY4" fmla="*/ 19366 h 22064"/>
                  <a:gd name="connsiteX5" fmla="*/ 19626 w 23929"/>
                  <a:gd name="connsiteY5" fmla="*/ 462 h 22064"/>
                  <a:gd name="connsiteX6" fmla="*/ 19087 w 23929"/>
                  <a:gd name="connsiteY6" fmla="*/ -2251 h 22064"/>
                  <a:gd name="connsiteX7" fmla="*/ 18010 w 23929"/>
                  <a:gd name="connsiteY7" fmla="*/ -2583 h 22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9" h="22064">
                    <a:moveTo>
                      <a:pt x="18010" y="-2583"/>
                    </a:moveTo>
                    <a:lnTo>
                      <a:pt x="16393" y="-1713"/>
                    </a:lnTo>
                    <a:cubicBezTo>
                      <a:pt x="7336" y="11784"/>
                      <a:pt x="-2914" y="15658"/>
                      <a:pt x="-3017" y="15699"/>
                    </a:cubicBezTo>
                    <a:cubicBezTo>
                      <a:pt x="-4032" y="16062"/>
                      <a:pt x="-4551" y="17180"/>
                      <a:pt x="-4188" y="18195"/>
                    </a:cubicBezTo>
                    <a:cubicBezTo>
                      <a:pt x="-3815" y="19211"/>
                      <a:pt x="-2696" y="19728"/>
                      <a:pt x="-1691" y="19366"/>
                    </a:cubicBezTo>
                    <a:cubicBezTo>
                      <a:pt x="-1224" y="19200"/>
                      <a:pt x="9813" y="15098"/>
                      <a:pt x="19626" y="462"/>
                    </a:cubicBezTo>
                    <a:lnTo>
                      <a:pt x="19087" y="-2251"/>
                    </a:lnTo>
                    <a:lnTo>
                      <a:pt x="18010" y="-258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" name="Vrije vorm 9">
                <a:extLst>
                  <a:ext uri="{FF2B5EF4-FFF2-40B4-BE49-F238E27FC236}">
                    <a16:creationId xmlns:a16="http://schemas.microsoft.com/office/drawing/2014/main" id="{1986A6B0-F5FD-2427-5281-AA68165BC191}"/>
                  </a:ext>
                </a:extLst>
              </p:cNvPr>
              <p:cNvSpPr/>
              <p:nvPr/>
            </p:nvSpPr>
            <p:spPr>
              <a:xfrm flipV="1">
                <a:off x="7834717" y="3279969"/>
                <a:ext cx="46282" cy="90725"/>
              </a:xfrm>
              <a:custGeom>
                <a:avLst/>
                <a:gdLst>
                  <a:gd name="connsiteX0" fmla="*/ -4517 w 46282"/>
                  <a:gd name="connsiteY0" fmla="*/ 80788 h 90725"/>
                  <a:gd name="connsiteX1" fmla="*/ 9359 w 46282"/>
                  <a:gd name="connsiteY1" fmla="*/ -2625 h 90725"/>
                  <a:gd name="connsiteX2" fmla="*/ 41765 w 46282"/>
                  <a:gd name="connsiteY2" fmla="*/ -2625 h 90725"/>
                  <a:gd name="connsiteX3" fmla="*/ 30935 w 46282"/>
                  <a:gd name="connsiteY3" fmla="*/ 88101 h 90725"/>
                  <a:gd name="connsiteX4" fmla="*/ -4517 w 46282"/>
                  <a:gd name="connsiteY4" fmla="*/ 8078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82" h="90725">
                    <a:moveTo>
                      <a:pt x="-4517" y="80788"/>
                    </a:moveTo>
                    <a:lnTo>
                      <a:pt x="9359" y="-2625"/>
                    </a:lnTo>
                    <a:lnTo>
                      <a:pt x="41765" y="-2625"/>
                    </a:lnTo>
                    <a:lnTo>
                      <a:pt x="30935" y="88101"/>
                    </a:lnTo>
                    <a:lnTo>
                      <a:pt x="-4517" y="8078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" name="Vrije vorm 10">
                <a:extLst>
                  <a:ext uri="{FF2B5EF4-FFF2-40B4-BE49-F238E27FC236}">
                    <a16:creationId xmlns:a16="http://schemas.microsoft.com/office/drawing/2014/main" id="{2A31E228-CB77-5ED8-752F-7D18C478A294}"/>
                  </a:ext>
                </a:extLst>
              </p:cNvPr>
              <p:cNvSpPr/>
              <p:nvPr/>
            </p:nvSpPr>
            <p:spPr>
              <a:xfrm flipV="1">
                <a:off x="7834717" y="3331169"/>
                <a:ext cx="157136" cy="76908"/>
              </a:xfrm>
              <a:custGeom>
                <a:avLst/>
                <a:gdLst>
                  <a:gd name="connsiteX0" fmla="*/ 51543 w 157136"/>
                  <a:gd name="connsiteY0" fmla="*/ 74332 h 76908"/>
                  <a:gd name="connsiteX1" fmla="*/ 98063 w 157136"/>
                  <a:gd name="connsiteY1" fmla="*/ 41891 h 76908"/>
                  <a:gd name="connsiteX2" fmla="*/ 152470 w 157136"/>
                  <a:gd name="connsiteY2" fmla="*/ 5855 h 76908"/>
                  <a:gd name="connsiteX3" fmla="*/ 39915 w 157136"/>
                  <a:gd name="connsiteY3" fmla="*/ 8145 h 76908"/>
                  <a:gd name="connsiteX4" fmla="*/ 39915 w 157136"/>
                  <a:gd name="connsiteY4" fmla="*/ 1008 h 76908"/>
                  <a:gd name="connsiteX5" fmla="*/ -4563 w 157136"/>
                  <a:gd name="connsiteY5" fmla="*/ 2955 h 76908"/>
                  <a:gd name="connsiteX6" fmla="*/ -4563 w 157136"/>
                  <a:gd name="connsiteY6" fmla="*/ 62006 h 76908"/>
                  <a:gd name="connsiteX7" fmla="*/ 32381 w 157136"/>
                  <a:gd name="connsiteY7" fmla="*/ 59406 h 76908"/>
                  <a:gd name="connsiteX8" fmla="*/ 29645 w 157136"/>
                  <a:gd name="connsiteY8" fmla="*/ 65248 h 76908"/>
                  <a:gd name="connsiteX9" fmla="*/ 51543 w 157136"/>
                  <a:gd name="connsiteY9" fmla="*/ 74332 h 76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7136" h="76908">
                    <a:moveTo>
                      <a:pt x="51543" y="74332"/>
                    </a:moveTo>
                    <a:cubicBezTo>
                      <a:pt x="51543" y="74332"/>
                      <a:pt x="70010" y="50333"/>
                      <a:pt x="98063" y="41891"/>
                    </a:cubicBezTo>
                    <a:cubicBezTo>
                      <a:pt x="126106" y="33459"/>
                      <a:pt x="154511" y="22728"/>
                      <a:pt x="152470" y="5855"/>
                    </a:cubicBezTo>
                    <a:cubicBezTo>
                      <a:pt x="152470" y="5855"/>
                      <a:pt x="107639" y="-14560"/>
                      <a:pt x="39915" y="8145"/>
                    </a:cubicBezTo>
                    <a:lnTo>
                      <a:pt x="39915" y="1008"/>
                    </a:lnTo>
                    <a:lnTo>
                      <a:pt x="-4563" y="2955"/>
                    </a:lnTo>
                    <a:lnTo>
                      <a:pt x="-4563" y="62006"/>
                    </a:lnTo>
                    <a:lnTo>
                      <a:pt x="32381" y="59406"/>
                    </a:lnTo>
                    <a:lnTo>
                      <a:pt x="29645" y="65248"/>
                    </a:lnTo>
                    <a:lnTo>
                      <a:pt x="51543" y="74332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" name="Vrije vorm 11">
                <a:extLst>
                  <a:ext uri="{FF2B5EF4-FFF2-40B4-BE49-F238E27FC236}">
                    <a16:creationId xmlns:a16="http://schemas.microsoft.com/office/drawing/2014/main" id="{7DC6FFF9-E1E2-326B-C313-D1DF43D9C93F}"/>
                  </a:ext>
                </a:extLst>
              </p:cNvPr>
              <p:cNvSpPr/>
              <p:nvPr/>
            </p:nvSpPr>
            <p:spPr>
              <a:xfrm flipV="1">
                <a:off x="7834717" y="3387692"/>
                <a:ext cx="157107" cy="20384"/>
              </a:xfrm>
              <a:custGeom>
                <a:avLst/>
                <a:gdLst>
                  <a:gd name="connsiteX0" fmla="*/ 78601 w 157107"/>
                  <a:gd name="connsiteY0" fmla="*/ 4291 h 20384"/>
                  <a:gd name="connsiteX1" fmla="*/ 152117 w 157107"/>
                  <a:gd name="connsiteY1" fmla="*/ 10278 h 20384"/>
                  <a:gd name="connsiteX2" fmla="*/ 152470 w 157107"/>
                  <a:gd name="connsiteY2" fmla="*/ 5886 h 20384"/>
                  <a:gd name="connsiteX3" fmla="*/ 39915 w 157107"/>
                  <a:gd name="connsiteY3" fmla="*/ 8175 h 20384"/>
                  <a:gd name="connsiteX4" fmla="*/ 39915 w 157107"/>
                  <a:gd name="connsiteY4" fmla="*/ 1039 h 20384"/>
                  <a:gd name="connsiteX5" fmla="*/ -4563 w 157107"/>
                  <a:gd name="connsiteY5" fmla="*/ 2986 h 20384"/>
                  <a:gd name="connsiteX6" fmla="*/ -4563 w 157107"/>
                  <a:gd name="connsiteY6" fmla="*/ 17839 h 20384"/>
                  <a:gd name="connsiteX7" fmla="*/ 78601 w 157107"/>
                  <a:gd name="connsiteY7" fmla="*/ 4291 h 20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07" h="20384">
                    <a:moveTo>
                      <a:pt x="78601" y="4291"/>
                    </a:moveTo>
                    <a:cubicBezTo>
                      <a:pt x="121215" y="-2410"/>
                      <a:pt x="148573" y="9077"/>
                      <a:pt x="152117" y="10278"/>
                    </a:cubicBezTo>
                    <a:cubicBezTo>
                      <a:pt x="152501" y="8818"/>
                      <a:pt x="152646" y="7357"/>
                      <a:pt x="152470" y="5886"/>
                    </a:cubicBezTo>
                    <a:cubicBezTo>
                      <a:pt x="152470" y="5886"/>
                      <a:pt x="107639" y="-14529"/>
                      <a:pt x="39915" y="8175"/>
                    </a:cubicBezTo>
                    <a:lnTo>
                      <a:pt x="39915" y="1039"/>
                    </a:lnTo>
                    <a:lnTo>
                      <a:pt x="-4563" y="2986"/>
                    </a:lnTo>
                    <a:lnTo>
                      <a:pt x="-4563" y="17839"/>
                    </a:lnTo>
                    <a:cubicBezTo>
                      <a:pt x="11313" y="16876"/>
                      <a:pt x="37697" y="10713"/>
                      <a:pt x="78601" y="4291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" name="Vrije vorm 12">
                <a:extLst>
                  <a:ext uri="{FF2B5EF4-FFF2-40B4-BE49-F238E27FC236}">
                    <a16:creationId xmlns:a16="http://schemas.microsoft.com/office/drawing/2014/main" id="{C631523A-157B-4DE8-5BE1-E45F930E7B7F}"/>
                  </a:ext>
                </a:extLst>
              </p:cNvPr>
              <p:cNvSpPr/>
              <p:nvPr/>
            </p:nvSpPr>
            <p:spPr>
              <a:xfrm flipV="1">
                <a:off x="7883040" y="3343498"/>
                <a:ext cx="23939" cy="22058"/>
              </a:xfrm>
              <a:custGeom>
                <a:avLst/>
                <a:gdLst>
                  <a:gd name="connsiteX0" fmla="*/ -2931 w 23939"/>
                  <a:gd name="connsiteY0" fmla="*/ -2593 h 22058"/>
                  <a:gd name="connsiteX1" fmla="*/ -1305 w 23939"/>
                  <a:gd name="connsiteY1" fmla="*/ -1733 h 22058"/>
                  <a:gd name="connsiteX2" fmla="*/ 18096 w 23939"/>
                  <a:gd name="connsiteY2" fmla="*/ 15679 h 22058"/>
                  <a:gd name="connsiteX3" fmla="*/ 19277 w 23939"/>
                  <a:gd name="connsiteY3" fmla="*/ 18175 h 22058"/>
                  <a:gd name="connsiteX4" fmla="*/ 16769 w 23939"/>
                  <a:gd name="connsiteY4" fmla="*/ 19356 h 22058"/>
                  <a:gd name="connsiteX5" fmla="*/ -4548 w 23939"/>
                  <a:gd name="connsiteY5" fmla="*/ 442 h 22058"/>
                  <a:gd name="connsiteX6" fmla="*/ -4019 w 23939"/>
                  <a:gd name="connsiteY6" fmla="*/ -2261 h 22058"/>
                  <a:gd name="connsiteX7" fmla="*/ -2931 w 23939"/>
                  <a:gd name="connsiteY7" fmla="*/ -259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8">
                    <a:moveTo>
                      <a:pt x="-2931" y="-2593"/>
                    </a:moveTo>
                    <a:lnTo>
                      <a:pt x="-1305" y="-1733"/>
                    </a:lnTo>
                    <a:cubicBezTo>
                      <a:pt x="7805" y="11857"/>
                      <a:pt x="18002" y="15648"/>
                      <a:pt x="18096" y="15679"/>
                    </a:cubicBezTo>
                    <a:cubicBezTo>
                      <a:pt x="19111" y="16041"/>
                      <a:pt x="19639" y="17160"/>
                      <a:pt x="19277" y="18175"/>
                    </a:cubicBezTo>
                    <a:cubicBezTo>
                      <a:pt x="18894" y="19190"/>
                      <a:pt x="17784" y="19708"/>
                      <a:pt x="16769" y="19356"/>
                    </a:cubicBezTo>
                    <a:cubicBezTo>
                      <a:pt x="16303" y="19190"/>
                      <a:pt x="5276" y="15078"/>
                      <a:pt x="-4548" y="442"/>
                    </a:cubicBezTo>
                    <a:lnTo>
                      <a:pt x="-4019" y="-2261"/>
                    </a:lnTo>
                    <a:lnTo>
                      <a:pt x="-2931" y="-259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" name="Vrije vorm 13">
                <a:extLst>
                  <a:ext uri="{FF2B5EF4-FFF2-40B4-BE49-F238E27FC236}">
                    <a16:creationId xmlns:a16="http://schemas.microsoft.com/office/drawing/2014/main" id="{D5D11E00-9399-55D0-7D35-7D1E4DCE396B}"/>
                  </a:ext>
                </a:extLst>
              </p:cNvPr>
              <p:cNvSpPr/>
              <p:nvPr/>
            </p:nvSpPr>
            <p:spPr>
              <a:xfrm flipV="1">
                <a:off x="7893216" y="3348071"/>
                <a:ext cx="23939" cy="22053"/>
              </a:xfrm>
              <a:custGeom>
                <a:avLst/>
                <a:gdLst>
                  <a:gd name="connsiteX0" fmla="*/ -2940 w 23939"/>
                  <a:gd name="connsiteY0" fmla="*/ -2588 h 22053"/>
                  <a:gd name="connsiteX1" fmla="*/ -1313 w 23939"/>
                  <a:gd name="connsiteY1" fmla="*/ -1728 h 22053"/>
                  <a:gd name="connsiteX2" fmla="*/ 18087 w 23939"/>
                  <a:gd name="connsiteY2" fmla="*/ 15684 h 22053"/>
                  <a:gd name="connsiteX3" fmla="*/ 19269 w 23939"/>
                  <a:gd name="connsiteY3" fmla="*/ 18180 h 22053"/>
                  <a:gd name="connsiteX4" fmla="*/ 16771 w 23939"/>
                  <a:gd name="connsiteY4" fmla="*/ 19350 h 22053"/>
                  <a:gd name="connsiteX5" fmla="*/ -4557 w 23939"/>
                  <a:gd name="connsiteY5" fmla="*/ 447 h 22053"/>
                  <a:gd name="connsiteX6" fmla="*/ -4018 w 23939"/>
                  <a:gd name="connsiteY6" fmla="*/ -2267 h 22053"/>
                  <a:gd name="connsiteX7" fmla="*/ -2940 w 23939"/>
                  <a:gd name="connsiteY7" fmla="*/ -2588 h 22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3">
                    <a:moveTo>
                      <a:pt x="-2940" y="-2588"/>
                    </a:moveTo>
                    <a:lnTo>
                      <a:pt x="-1313" y="-1728"/>
                    </a:lnTo>
                    <a:cubicBezTo>
                      <a:pt x="7807" y="11862"/>
                      <a:pt x="17983" y="15642"/>
                      <a:pt x="18087" y="15684"/>
                    </a:cubicBezTo>
                    <a:cubicBezTo>
                      <a:pt x="19103" y="16046"/>
                      <a:pt x="19631" y="17165"/>
                      <a:pt x="19269" y="18180"/>
                    </a:cubicBezTo>
                    <a:cubicBezTo>
                      <a:pt x="18896" y="19195"/>
                      <a:pt x="17766" y="19713"/>
                      <a:pt x="16771" y="19350"/>
                    </a:cubicBezTo>
                    <a:cubicBezTo>
                      <a:pt x="16305" y="19185"/>
                      <a:pt x="5268" y="15083"/>
                      <a:pt x="-4557" y="447"/>
                    </a:cubicBezTo>
                    <a:lnTo>
                      <a:pt x="-4018" y="-2267"/>
                    </a:lnTo>
                    <a:lnTo>
                      <a:pt x="-2940" y="-258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" name="Vrije vorm 14">
                <a:extLst>
                  <a:ext uri="{FF2B5EF4-FFF2-40B4-BE49-F238E27FC236}">
                    <a16:creationId xmlns:a16="http://schemas.microsoft.com/office/drawing/2014/main" id="{A3E92187-DDC9-9630-2AAE-2A9A716A196E}"/>
                  </a:ext>
                </a:extLst>
              </p:cNvPr>
              <p:cNvSpPr/>
              <p:nvPr/>
            </p:nvSpPr>
            <p:spPr>
              <a:xfrm flipV="1">
                <a:off x="7903404" y="3352577"/>
                <a:ext cx="23925" cy="22064"/>
              </a:xfrm>
              <a:custGeom>
                <a:avLst/>
                <a:gdLst>
                  <a:gd name="connsiteX0" fmla="*/ -2948 w 23925"/>
                  <a:gd name="connsiteY0" fmla="*/ -2583 h 22064"/>
                  <a:gd name="connsiteX1" fmla="*/ -1332 w 23925"/>
                  <a:gd name="connsiteY1" fmla="*/ -1713 h 22064"/>
                  <a:gd name="connsiteX2" fmla="*/ 18079 w 23925"/>
                  <a:gd name="connsiteY2" fmla="*/ 15699 h 22064"/>
                  <a:gd name="connsiteX3" fmla="*/ 19239 w 23925"/>
                  <a:gd name="connsiteY3" fmla="*/ 18195 h 22064"/>
                  <a:gd name="connsiteX4" fmla="*/ 16742 w 23925"/>
                  <a:gd name="connsiteY4" fmla="*/ 19366 h 22064"/>
                  <a:gd name="connsiteX5" fmla="*/ -4565 w 23925"/>
                  <a:gd name="connsiteY5" fmla="*/ 462 h 22064"/>
                  <a:gd name="connsiteX6" fmla="*/ -4036 w 23925"/>
                  <a:gd name="connsiteY6" fmla="*/ -2251 h 22064"/>
                  <a:gd name="connsiteX7" fmla="*/ -2948 w 23925"/>
                  <a:gd name="connsiteY7" fmla="*/ -2583 h 22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5" h="22064">
                    <a:moveTo>
                      <a:pt x="-2948" y="-2583"/>
                    </a:moveTo>
                    <a:lnTo>
                      <a:pt x="-1332" y="-1713"/>
                    </a:lnTo>
                    <a:cubicBezTo>
                      <a:pt x="7726" y="11784"/>
                      <a:pt x="17975" y="15658"/>
                      <a:pt x="18079" y="15699"/>
                    </a:cubicBezTo>
                    <a:cubicBezTo>
                      <a:pt x="19094" y="16062"/>
                      <a:pt x="19612" y="17180"/>
                      <a:pt x="19239" y="18195"/>
                    </a:cubicBezTo>
                    <a:cubicBezTo>
                      <a:pt x="18866" y="19211"/>
                      <a:pt x="17757" y="19728"/>
                      <a:pt x="16742" y="19366"/>
                    </a:cubicBezTo>
                    <a:cubicBezTo>
                      <a:pt x="16286" y="19200"/>
                      <a:pt x="5249" y="15098"/>
                      <a:pt x="-4565" y="462"/>
                    </a:cubicBezTo>
                    <a:lnTo>
                      <a:pt x="-4036" y="-2251"/>
                    </a:lnTo>
                    <a:lnTo>
                      <a:pt x="-2948" y="-258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" name="Vrije vorm 15">
                <a:extLst>
                  <a:ext uri="{FF2B5EF4-FFF2-40B4-BE49-F238E27FC236}">
                    <a16:creationId xmlns:a16="http://schemas.microsoft.com/office/drawing/2014/main" id="{A3CC8A4A-B89E-8863-BFEB-856DFA12F275}"/>
                  </a:ext>
                </a:extLst>
              </p:cNvPr>
              <p:cNvSpPr/>
              <p:nvPr/>
            </p:nvSpPr>
            <p:spPr>
              <a:xfrm flipV="1">
                <a:off x="7623753" y="2607828"/>
                <a:ext cx="274603" cy="732770"/>
              </a:xfrm>
              <a:custGeom>
                <a:avLst/>
                <a:gdLst>
                  <a:gd name="connsiteX0" fmla="*/ 63122 w 274603"/>
                  <a:gd name="connsiteY0" fmla="*/ 716690 h 732770"/>
                  <a:gd name="connsiteX1" fmla="*/ 29390 w 274603"/>
                  <a:gd name="connsiteY1" fmla="*/ 313971 h 732770"/>
                  <a:gd name="connsiteX2" fmla="*/ -4436 w 274603"/>
                  <a:gd name="connsiteY2" fmla="*/ 19027 h 732770"/>
                  <a:gd name="connsiteX3" fmla="*/ 73444 w 274603"/>
                  <a:gd name="connsiteY3" fmla="*/ 6732 h 732770"/>
                  <a:gd name="connsiteX4" fmla="*/ 119549 w 274603"/>
                  <a:gd name="connsiteY4" fmla="*/ 295534 h 732770"/>
                  <a:gd name="connsiteX5" fmla="*/ 156442 w 274603"/>
                  <a:gd name="connsiteY5" fmla="*/ 570000 h 732770"/>
                  <a:gd name="connsiteX6" fmla="*/ 176930 w 274603"/>
                  <a:gd name="connsiteY6" fmla="*/ 570000 h 732770"/>
                  <a:gd name="connsiteX7" fmla="*/ 194351 w 274603"/>
                  <a:gd name="connsiteY7" fmla="*/ 6732 h 732770"/>
                  <a:gd name="connsiteX8" fmla="*/ 270168 w 274603"/>
                  <a:gd name="connsiteY8" fmla="*/ 4681 h 732770"/>
                  <a:gd name="connsiteX9" fmla="*/ 264022 w 274603"/>
                  <a:gd name="connsiteY9" fmla="*/ 729761 h 732770"/>
                  <a:gd name="connsiteX10" fmla="*/ 63122 w 274603"/>
                  <a:gd name="connsiteY10" fmla="*/ 716690 h 732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4603" h="732770">
                    <a:moveTo>
                      <a:pt x="63122" y="716690"/>
                    </a:moveTo>
                    <a:lnTo>
                      <a:pt x="29390" y="313971"/>
                    </a:lnTo>
                    <a:lnTo>
                      <a:pt x="-4436" y="19027"/>
                    </a:lnTo>
                    <a:cubicBezTo>
                      <a:pt x="-4436" y="19027"/>
                      <a:pt x="11959" y="-3512"/>
                      <a:pt x="73444" y="6732"/>
                    </a:cubicBezTo>
                    <a:lnTo>
                      <a:pt x="119549" y="295534"/>
                    </a:lnTo>
                    <a:lnTo>
                      <a:pt x="156442" y="570000"/>
                    </a:lnTo>
                    <a:lnTo>
                      <a:pt x="176930" y="570000"/>
                    </a:lnTo>
                    <a:lnTo>
                      <a:pt x="194351" y="6732"/>
                    </a:lnTo>
                    <a:cubicBezTo>
                      <a:pt x="194351" y="6732"/>
                      <a:pt x="220994" y="-13746"/>
                      <a:pt x="270168" y="4681"/>
                    </a:cubicBezTo>
                    <a:lnTo>
                      <a:pt x="264022" y="729761"/>
                    </a:lnTo>
                    <a:lnTo>
                      <a:pt x="63122" y="716690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" name="Vrije vorm 16">
                <a:extLst>
                  <a:ext uri="{FF2B5EF4-FFF2-40B4-BE49-F238E27FC236}">
                    <a16:creationId xmlns:a16="http://schemas.microsoft.com/office/drawing/2014/main" id="{535DE37B-7CE9-F45C-C2B9-57F5E3BF9A90}"/>
                  </a:ext>
                </a:extLst>
              </p:cNvPr>
              <p:cNvSpPr/>
              <p:nvPr/>
            </p:nvSpPr>
            <p:spPr>
              <a:xfrm flipV="1">
                <a:off x="7733365" y="2188443"/>
                <a:ext cx="71754" cy="148616"/>
              </a:xfrm>
              <a:custGeom>
                <a:avLst/>
                <a:gdLst>
                  <a:gd name="connsiteX0" fmla="*/ 67312 w 71754"/>
                  <a:gd name="connsiteY0" fmla="*/ 110596 h 148616"/>
                  <a:gd name="connsiteX1" fmla="*/ 64555 w 71754"/>
                  <a:gd name="connsiteY1" fmla="*/ -3787 h 148616"/>
                  <a:gd name="connsiteX2" fmla="*/ -4443 w 71754"/>
                  <a:gd name="connsiteY2" fmla="*/ 27038 h 148616"/>
                  <a:gd name="connsiteX3" fmla="*/ -2267 w 71754"/>
                  <a:gd name="connsiteY3" fmla="*/ 144829 h 148616"/>
                  <a:gd name="connsiteX4" fmla="*/ 67312 w 71754"/>
                  <a:gd name="connsiteY4" fmla="*/ 11059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67312" y="110596"/>
                    </a:moveTo>
                    <a:lnTo>
                      <a:pt x="64555" y="-3787"/>
                    </a:lnTo>
                    <a:lnTo>
                      <a:pt x="-4443" y="27038"/>
                    </a:lnTo>
                    <a:lnTo>
                      <a:pt x="-2267" y="144829"/>
                    </a:lnTo>
                    <a:lnTo>
                      <a:pt x="67312" y="11059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" name="Vrije vorm 17">
                <a:extLst>
                  <a:ext uri="{FF2B5EF4-FFF2-40B4-BE49-F238E27FC236}">
                    <a16:creationId xmlns:a16="http://schemas.microsoft.com/office/drawing/2014/main" id="{B8B5C21C-6E33-0289-3B54-F35230236B6E}"/>
                  </a:ext>
                </a:extLst>
              </p:cNvPr>
              <p:cNvSpPr/>
              <p:nvPr/>
            </p:nvSpPr>
            <p:spPr>
              <a:xfrm flipV="1">
                <a:off x="7609006" y="2264492"/>
                <a:ext cx="308273" cy="371257"/>
              </a:xfrm>
              <a:custGeom>
                <a:avLst/>
                <a:gdLst>
                  <a:gd name="connsiteX0" fmla="*/ 302769 w 308273"/>
                  <a:gd name="connsiteY0" fmla="*/ 324699 h 371257"/>
                  <a:gd name="connsiteX1" fmla="*/ 282871 w 308273"/>
                  <a:gd name="connsiteY1" fmla="*/ 16145 h 371257"/>
                  <a:gd name="connsiteX2" fmla="*/ 151373 w 308273"/>
                  <a:gd name="connsiteY2" fmla="*/ -3256 h 371257"/>
                  <a:gd name="connsiteX3" fmla="*/ 77867 w 308273"/>
                  <a:gd name="connsiteY3" fmla="*/ 11266 h 371257"/>
                  <a:gd name="connsiteX4" fmla="*/ -4438 w 308273"/>
                  <a:gd name="connsiteY4" fmla="*/ 334011 h 371257"/>
                  <a:gd name="connsiteX5" fmla="*/ 124159 w 308273"/>
                  <a:gd name="connsiteY5" fmla="*/ 367675 h 371257"/>
                  <a:gd name="connsiteX6" fmla="*/ 164482 w 308273"/>
                  <a:gd name="connsiteY6" fmla="*/ 330324 h 371257"/>
                  <a:gd name="connsiteX7" fmla="*/ 197064 w 308273"/>
                  <a:gd name="connsiteY7" fmla="*/ 365096 h 371257"/>
                  <a:gd name="connsiteX8" fmla="*/ 303836 w 308273"/>
                  <a:gd name="connsiteY8" fmla="*/ 352614 h 371257"/>
                  <a:gd name="connsiteX9" fmla="*/ 302769 w 308273"/>
                  <a:gd name="connsiteY9" fmla="*/ 324699 h 371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273" h="371257">
                    <a:moveTo>
                      <a:pt x="302769" y="324699"/>
                    </a:moveTo>
                    <a:cubicBezTo>
                      <a:pt x="302769" y="324699"/>
                      <a:pt x="296115" y="120036"/>
                      <a:pt x="282871" y="16145"/>
                    </a:cubicBezTo>
                    <a:cubicBezTo>
                      <a:pt x="282871" y="16145"/>
                      <a:pt x="232154" y="-6549"/>
                      <a:pt x="151373" y="-3256"/>
                    </a:cubicBezTo>
                    <a:cubicBezTo>
                      <a:pt x="94313" y="-935"/>
                      <a:pt x="77867" y="11266"/>
                      <a:pt x="77867" y="11266"/>
                    </a:cubicBezTo>
                    <a:lnTo>
                      <a:pt x="-4438" y="334011"/>
                    </a:lnTo>
                    <a:cubicBezTo>
                      <a:pt x="-4438" y="334011"/>
                      <a:pt x="37192" y="367778"/>
                      <a:pt x="124159" y="367675"/>
                    </a:cubicBezTo>
                    <a:lnTo>
                      <a:pt x="164482" y="330324"/>
                    </a:lnTo>
                    <a:cubicBezTo>
                      <a:pt x="164482" y="330324"/>
                      <a:pt x="175436" y="359326"/>
                      <a:pt x="197064" y="365096"/>
                    </a:cubicBezTo>
                    <a:cubicBezTo>
                      <a:pt x="229843" y="362838"/>
                      <a:pt x="265627" y="358912"/>
                      <a:pt x="303836" y="352614"/>
                    </a:cubicBezTo>
                    <a:lnTo>
                      <a:pt x="302769" y="324699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" name="Vrije vorm 18">
                <a:extLst>
                  <a:ext uri="{FF2B5EF4-FFF2-40B4-BE49-F238E27FC236}">
                    <a16:creationId xmlns:a16="http://schemas.microsoft.com/office/drawing/2014/main" id="{9018A6E6-5F85-7E66-DF9C-B4A8D828703D}"/>
                  </a:ext>
                </a:extLst>
              </p:cNvPr>
              <p:cNvSpPr/>
              <p:nvPr/>
            </p:nvSpPr>
            <p:spPr>
              <a:xfrm flipV="1">
                <a:off x="7608012" y="2300165"/>
                <a:ext cx="89455" cy="226622"/>
              </a:xfrm>
              <a:custGeom>
                <a:avLst/>
                <a:gdLst>
                  <a:gd name="connsiteX0" fmla="*/ 85110 w 89455"/>
                  <a:gd name="connsiteY0" fmla="*/ 45247 h 226622"/>
                  <a:gd name="connsiteX1" fmla="*/ 81182 w 89455"/>
                  <a:gd name="connsiteY1" fmla="*/ 203890 h 226622"/>
                  <a:gd name="connsiteX2" fmla="*/ -4345 w 89455"/>
                  <a:gd name="connsiteY2" fmla="*/ 223000 h 226622"/>
                  <a:gd name="connsiteX3" fmla="*/ 27636 w 89455"/>
                  <a:gd name="connsiteY3" fmla="*/ -3622 h 226622"/>
                  <a:gd name="connsiteX4" fmla="*/ 85110 w 89455"/>
                  <a:gd name="connsiteY4" fmla="*/ 45247 h 226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455" h="226622">
                    <a:moveTo>
                      <a:pt x="85110" y="45247"/>
                    </a:moveTo>
                    <a:lnTo>
                      <a:pt x="81182" y="203890"/>
                    </a:lnTo>
                    <a:lnTo>
                      <a:pt x="-4345" y="223000"/>
                    </a:lnTo>
                    <a:lnTo>
                      <a:pt x="27636" y="-3622"/>
                    </a:lnTo>
                    <a:lnTo>
                      <a:pt x="85110" y="45247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0" name="Vrije vorm 19">
                <a:extLst>
                  <a:ext uri="{FF2B5EF4-FFF2-40B4-BE49-F238E27FC236}">
                    <a16:creationId xmlns:a16="http://schemas.microsoft.com/office/drawing/2014/main" id="{22C88A3D-04F9-BC9F-E402-D90F49BF041C}"/>
                  </a:ext>
                </a:extLst>
              </p:cNvPr>
              <p:cNvSpPr/>
              <p:nvPr/>
            </p:nvSpPr>
            <p:spPr>
              <a:xfrm flipV="1">
                <a:off x="7866251" y="2626694"/>
                <a:ext cx="31167" cy="29350"/>
              </a:xfrm>
              <a:custGeom>
                <a:avLst/>
                <a:gdLst>
                  <a:gd name="connsiteX0" fmla="*/ -4537 w 31167"/>
                  <a:gd name="connsiteY0" fmla="*/ 16929 h 29350"/>
                  <a:gd name="connsiteX1" fmla="*/ 21423 w 31167"/>
                  <a:gd name="connsiteY1" fmla="*/ 25640 h 29350"/>
                  <a:gd name="connsiteX2" fmla="*/ 26418 w 31167"/>
                  <a:gd name="connsiteY2" fmla="*/ 17188 h 29350"/>
                  <a:gd name="connsiteX3" fmla="*/ 21423 w 31167"/>
                  <a:gd name="connsiteY3" fmla="*/ 5235 h 29350"/>
                  <a:gd name="connsiteX4" fmla="*/ -692 w 31167"/>
                  <a:gd name="connsiteY4" fmla="*/ -3373 h 29350"/>
                  <a:gd name="connsiteX5" fmla="*/ -4537 w 31167"/>
                  <a:gd name="connsiteY5" fmla="*/ 16929 h 2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67" h="29350">
                    <a:moveTo>
                      <a:pt x="-4537" y="16929"/>
                    </a:moveTo>
                    <a:cubicBezTo>
                      <a:pt x="12821" y="20658"/>
                      <a:pt x="21236" y="25578"/>
                      <a:pt x="21423" y="25640"/>
                    </a:cubicBezTo>
                    <a:cubicBezTo>
                      <a:pt x="26511" y="27328"/>
                      <a:pt x="25848" y="22398"/>
                      <a:pt x="26418" y="17188"/>
                    </a:cubicBezTo>
                    <a:cubicBezTo>
                      <a:pt x="27174" y="10310"/>
                      <a:pt x="26003" y="6643"/>
                      <a:pt x="21423" y="5235"/>
                    </a:cubicBezTo>
                    <a:cubicBezTo>
                      <a:pt x="20594" y="4976"/>
                      <a:pt x="16594" y="770"/>
                      <a:pt x="-692" y="-3373"/>
                    </a:cubicBezTo>
                    <a:cubicBezTo>
                      <a:pt x="-1987" y="3391"/>
                      <a:pt x="-3273" y="10155"/>
                      <a:pt x="-4537" y="16929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" name="Vrije vorm 20">
                <a:extLst>
                  <a:ext uri="{FF2B5EF4-FFF2-40B4-BE49-F238E27FC236}">
                    <a16:creationId xmlns:a16="http://schemas.microsoft.com/office/drawing/2014/main" id="{90A3D4B9-32DB-2758-5CAF-69C314EC73DE}"/>
                  </a:ext>
                </a:extLst>
              </p:cNvPr>
              <p:cNvSpPr/>
              <p:nvPr/>
            </p:nvSpPr>
            <p:spPr>
              <a:xfrm flipV="1">
                <a:off x="7739303" y="2638467"/>
                <a:ext cx="114326" cy="25994"/>
              </a:xfrm>
              <a:custGeom>
                <a:avLst/>
                <a:gdLst>
                  <a:gd name="connsiteX0" fmla="*/ -1916 w 114326"/>
                  <a:gd name="connsiteY0" fmla="*/ 19815 h 25994"/>
                  <a:gd name="connsiteX1" fmla="*/ 61393 w 114326"/>
                  <a:gd name="connsiteY1" fmla="*/ 18148 h 25994"/>
                  <a:gd name="connsiteX2" fmla="*/ 108162 w 114326"/>
                  <a:gd name="connsiteY2" fmla="*/ 22633 h 25994"/>
                  <a:gd name="connsiteX3" fmla="*/ 109861 w 114326"/>
                  <a:gd name="connsiteY3" fmla="*/ 1616 h 25994"/>
                  <a:gd name="connsiteX4" fmla="*/ 61828 w 114326"/>
                  <a:gd name="connsiteY4" fmla="*/ -3210 h 25994"/>
                  <a:gd name="connsiteX5" fmla="*/ 39972 w 114326"/>
                  <a:gd name="connsiteY5" fmla="*/ -3283 h 25994"/>
                  <a:gd name="connsiteX6" fmla="*/ -4466 w 114326"/>
                  <a:gd name="connsiteY6" fmla="*/ -517 h 25994"/>
                  <a:gd name="connsiteX7" fmla="*/ -1916 w 114326"/>
                  <a:gd name="connsiteY7" fmla="*/ 19815 h 25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26" h="25994">
                    <a:moveTo>
                      <a:pt x="-1916" y="19815"/>
                    </a:moveTo>
                    <a:cubicBezTo>
                      <a:pt x="17380" y="17982"/>
                      <a:pt x="38511" y="17609"/>
                      <a:pt x="61393" y="18148"/>
                    </a:cubicBezTo>
                    <a:cubicBezTo>
                      <a:pt x="79041" y="18562"/>
                      <a:pt x="94876" y="20406"/>
                      <a:pt x="108162" y="22633"/>
                    </a:cubicBezTo>
                    <a:cubicBezTo>
                      <a:pt x="107736" y="15589"/>
                      <a:pt x="108670" y="8587"/>
                      <a:pt x="109861" y="1616"/>
                    </a:cubicBezTo>
                    <a:cubicBezTo>
                      <a:pt x="96316" y="-818"/>
                      <a:pt x="80150" y="-2786"/>
                      <a:pt x="61828" y="-3210"/>
                    </a:cubicBezTo>
                    <a:cubicBezTo>
                      <a:pt x="54366" y="-3386"/>
                      <a:pt x="47081" y="-3407"/>
                      <a:pt x="39972" y="-3283"/>
                    </a:cubicBezTo>
                    <a:cubicBezTo>
                      <a:pt x="24023" y="-2983"/>
                      <a:pt x="9328" y="-2112"/>
                      <a:pt x="-4466" y="-517"/>
                    </a:cubicBezTo>
                    <a:cubicBezTo>
                      <a:pt x="-2952" y="6153"/>
                      <a:pt x="-2051" y="12927"/>
                      <a:pt x="-1916" y="19815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" name="Vrije vorm 21">
                <a:extLst>
                  <a:ext uri="{FF2B5EF4-FFF2-40B4-BE49-F238E27FC236}">
                    <a16:creationId xmlns:a16="http://schemas.microsoft.com/office/drawing/2014/main" id="{7B566E64-D390-9087-6C9F-37A894BB7A1A}"/>
                  </a:ext>
                </a:extLst>
              </p:cNvPr>
              <p:cNvSpPr/>
              <p:nvPr/>
            </p:nvSpPr>
            <p:spPr>
              <a:xfrm flipV="1">
                <a:off x="7684631" y="2631139"/>
                <a:ext cx="44557" cy="28789"/>
              </a:xfrm>
              <a:custGeom>
                <a:avLst/>
                <a:gdLst>
                  <a:gd name="connsiteX0" fmla="*/ -3773 w 44557"/>
                  <a:gd name="connsiteY0" fmla="*/ 17026 h 28789"/>
                  <a:gd name="connsiteX1" fmla="*/ 2901 w 44557"/>
                  <a:gd name="connsiteY1" fmla="*/ 25054 h 28789"/>
                  <a:gd name="connsiteX2" fmla="*/ 40167 w 44557"/>
                  <a:gd name="connsiteY2" fmla="*/ 16685 h 28789"/>
                  <a:gd name="connsiteX3" fmla="*/ 37732 w 44557"/>
                  <a:gd name="connsiteY3" fmla="*/ -3368 h 28789"/>
                  <a:gd name="connsiteX4" fmla="*/ -1389 w 44557"/>
                  <a:gd name="connsiteY4" fmla="*/ 6430 h 28789"/>
                  <a:gd name="connsiteX5" fmla="*/ -3773 w 44557"/>
                  <a:gd name="connsiteY5" fmla="*/ 17026 h 28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557" h="28789">
                    <a:moveTo>
                      <a:pt x="-3773" y="17026"/>
                    </a:moveTo>
                    <a:cubicBezTo>
                      <a:pt x="-2789" y="22185"/>
                      <a:pt x="-2177" y="26773"/>
                      <a:pt x="2901" y="25054"/>
                    </a:cubicBezTo>
                    <a:cubicBezTo>
                      <a:pt x="14269" y="21242"/>
                      <a:pt x="26716" y="18528"/>
                      <a:pt x="40167" y="16685"/>
                    </a:cubicBezTo>
                    <a:cubicBezTo>
                      <a:pt x="39721" y="9962"/>
                      <a:pt x="38726" y="3292"/>
                      <a:pt x="37732" y="-3368"/>
                    </a:cubicBezTo>
                    <a:cubicBezTo>
                      <a:pt x="23762" y="-1162"/>
                      <a:pt x="10756" y="1966"/>
                      <a:pt x="-1389" y="6430"/>
                    </a:cubicBezTo>
                    <a:cubicBezTo>
                      <a:pt x="-4934" y="7725"/>
                      <a:pt x="-4768" y="11806"/>
                      <a:pt x="-3773" y="17026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" name="Vrije vorm 22">
                <a:extLst>
                  <a:ext uri="{FF2B5EF4-FFF2-40B4-BE49-F238E27FC236}">
                    <a16:creationId xmlns:a16="http://schemas.microsoft.com/office/drawing/2014/main" id="{C95581EB-B76F-601F-627F-5DB026603093}"/>
                  </a:ext>
                </a:extLst>
              </p:cNvPr>
              <p:cNvSpPr/>
              <p:nvPr/>
            </p:nvSpPr>
            <p:spPr>
              <a:xfrm flipV="1">
                <a:off x="7773045" y="2639606"/>
                <a:ext cx="45370" cy="27676"/>
              </a:xfrm>
              <a:custGeom>
                <a:avLst/>
                <a:gdLst>
                  <a:gd name="connsiteX0" fmla="*/ 3566 w 45370"/>
                  <a:gd name="connsiteY0" fmla="*/ 19428 h 27676"/>
                  <a:gd name="connsiteX1" fmla="*/ 33216 w 45370"/>
                  <a:gd name="connsiteY1" fmla="*/ 19625 h 27676"/>
                  <a:gd name="connsiteX2" fmla="*/ 32915 w 45370"/>
                  <a:gd name="connsiteY2" fmla="*/ 2835 h 27676"/>
                  <a:gd name="connsiteX3" fmla="*/ 3235 w 45370"/>
                  <a:gd name="connsiteY3" fmla="*/ 1332 h 27676"/>
                  <a:gd name="connsiteX4" fmla="*/ -3957 w 45370"/>
                  <a:gd name="connsiteY4" fmla="*/ 24017 h 27676"/>
                  <a:gd name="connsiteX5" fmla="*/ -4465 w 45370"/>
                  <a:gd name="connsiteY5" fmla="*/ -3360 h 27676"/>
                  <a:gd name="connsiteX6" fmla="*/ 40439 w 45370"/>
                  <a:gd name="connsiteY6" fmla="*/ -1091 h 27676"/>
                  <a:gd name="connsiteX7" fmla="*/ 40905 w 45370"/>
                  <a:gd name="connsiteY7" fmla="*/ 24317 h 27676"/>
                  <a:gd name="connsiteX8" fmla="*/ -3957 w 45370"/>
                  <a:gd name="connsiteY8" fmla="*/ 24017 h 2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70" h="27676">
                    <a:moveTo>
                      <a:pt x="3566" y="19428"/>
                    </a:moveTo>
                    <a:lnTo>
                      <a:pt x="33216" y="19625"/>
                    </a:lnTo>
                    <a:lnTo>
                      <a:pt x="32915" y="2835"/>
                    </a:lnTo>
                    <a:lnTo>
                      <a:pt x="3235" y="1332"/>
                    </a:lnTo>
                    <a:close/>
                    <a:moveTo>
                      <a:pt x="-3957" y="24017"/>
                    </a:moveTo>
                    <a:lnTo>
                      <a:pt x="-4465" y="-3360"/>
                    </a:lnTo>
                    <a:lnTo>
                      <a:pt x="40439" y="-1091"/>
                    </a:lnTo>
                    <a:lnTo>
                      <a:pt x="40905" y="24317"/>
                    </a:lnTo>
                    <a:lnTo>
                      <a:pt x="-3957" y="24017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4" name="Vrije vorm 23">
                <a:extLst>
                  <a:ext uri="{FF2B5EF4-FFF2-40B4-BE49-F238E27FC236}">
                    <a16:creationId xmlns:a16="http://schemas.microsoft.com/office/drawing/2014/main" id="{FA5B472A-86A4-C9EE-520C-C3B04B9D685B}"/>
                  </a:ext>
                </a:extLst>
              </p:cNvPr>
              <p:cNvSpPr/>
              <p:nvPr/>
            </p:nvSpPr>
            <p:spPr>
              <a:xfrm flipV="1">
                <a:off x="7744256" y="2265486"/>
                <a:ext cx="33669" cy="36356"/>
              </a:xfrm>
              <a:custGeom>
                <a:avLst/>
                <a:gdLst>
                  <a:gd name="connsiteX0" fmla="*/ 29234 w 33669"/>
                  <a:gd name="connsiteY0" fmla="*/ -3764 h 36356"/>
                  <a:gd name="connsiteX1" fmla="*/ 18767 w 33669"/>
                  <a:gd name="connsiteY1" fmla="*/ 32592 h 36356"/>
                  <a:gd name="connsiteX2" fmla="*/ -4436 w 33669"/>
                  <a:gd name="connsiteY2" fmla="*/ 21965 h 36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69" h="36356">
                    <a:moveTo>
                      <a:pt x="29234" y="-3764"/>
                    </a:moveTo>
                    <a:lnTo>
                      <a:pt x="18767" y="32592"/>
                    </a:lnTo>
                    <a:lnTo>
                      <a:pt x="-4436" y="21965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5" name="Vrije vorm 24">
                <a:extLst>
                  <a:ext uri="{FF2B5EF4-FFF2-40B4-BE49-F238E27FC236}">
                    <a16:creationId xmlns:a16="http://schemas.microsoft.com/office/drawing/2014/main" id="{F98A4C0B-589C-80AD-7ADA-B9001F461194}"/>
                  </a:ext>
                </a:extLst>
              </p:cNvPr>
              <p:cNvSpPr/>
              <p:nvPr/>
            </p:nvSpPr>
            <p:spPr>
              <a:xfrm flipV="1">
                <a:off x="7777926" y="2268645"/>
                <a:ext cx="18995" cy="33197"/>
              </a:xfrm>
              <a:custGeom>
                <a:avLst/>
                <a:gdLst>
                  <a:gd name="connsiteX0" fmla="*/ -1473 w 18995"/>
                  <a:gd name="connsiteY0" fmla="*/ 29435 h 33197"/>
                  <a:gd name="connsiteX1" fmla="*/ -4458 w 18995"/>
                  <a:gd name="connsiteY1" fmla="*/ -3763 h 33197"/>
                  <a:gd name="connsiteX2" fmla="*/ 14538 w 18995"/>
                  <a:gd name="connsiteY2" fmla="*/ 19740 h 33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95" h="33197">
                    <a:moveTo>
                      <a:pt x="-1473" y="29435"/>
                    </a:moveTo>
                    <a:lnTo>
                      <a:pt x="-4458" y="-3763"/>
                    </a:lnTo>
                    <a:lnTo>
                      <a:pt x="14538" y="19740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6" name="Vrije vorm 25">
                <a:extLst>
                  <a:ext uri="{FF2B5EF4-FFF2-40B4-BE49-F238E27FC236}">
                    <a16:creationId xmlns:a16="http://schemas.microsoft.com/office/drawing/2014/main" id="{8F9203F9-4FE0-EC14-5605-9D87EDFFFE1C}"/>
                  </a:ext>
                </a:extLst>
              </p:cNvPr>
              <p:cNvSpPr/>
              <p:nvPr/>
            </p:nvSpPr>
            <p:spPr>
              <a:xfrm flipV="1">
                <a:off x="7780911" y="2243600"/>
                <a:ext cx="52354" cy="61174"/>
              </a:xfrm>
              <a:custGeom>
                <a:avLst/>
                <a:gdLst>
                  <a:gd name="connsiteX0" fmla="*/ 47880 w 52354"/>
                  <a:gd name="connsiteY0" fmla="*/ 34539 h 61174"/>
                  <a:gd name="connsiteX1" fmla="*/ 19464 w 52354"/>
                  <a:gd name="connsiteY1" fmla="*/ -3775 h 61174"/>
                  <a:gd name="connsiteX2" fmla="*/ -4475 w 52354"/>
                  <a:gd name="connsiteY2" fmla="*/ 32354 h 61174"/>
                  <a:gd name="connsiteX3" fmla="*/ 33175 w 52354"/>
                  <a:gd name="connsiteY3" fmla="*/ 57399 h 61174"/>
                  <a:gd name="connsiteX4" fmla="*/ 47880 w 52354"/>
                  <a:gd name="connsiteY4" fmla="*/ 34539 h 6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54" h="61174">
                    <a:moveTo>
                      <a:pt x="47880" y="34539"/>
                    </a:moveTo>
                    <a:lnTo>
                      <a:pt x="19464" y="-3775"/>
                    </a:lnTo>
                    <a:lnTo>
                      <a:pt x="-4475" y="32354"/>
                    </a:lnTo>
                    <a:lnTo>
                      <a:pt x="33175" y="57399"/>
                    </a:lnTo>
                    <a:lnTo>
                      <a:pt x="47880" y="345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7" name="Vrije vorm 26">
                <a:extLst>
                  <a:ext uri="{FF2B5EF4-FFF2-40B4-BE49-F238E27FC236}">
                    <a16:creationId xmlns:a16="http://schemas.microsoft.com/office/drawing/2014/main" id="{8877D80F-6F3C-3502-692B-3E6B9E3F6977}"/>
                  </a:ext>
                </a:extLst>
              </p:cNvPr>
              <p:cNvSpPr/>
              <p:nvPr/>
            </p:nvSpPr>
            <p:spPr>
              <a:xfrm flipV="1">
                <a:off x="7711374" y="2238545"/>
                <a:ext cx="56085" cy="64116"/>
              </a:xfrm>
              <a:custGeom>
                <a:avLst/>
                <a:gdLst>
                  <a:gd name="connsiteX0" fmla="*/ -4418 w 56085"/>
                  <a:gd name="connsiteY0" fmla="*/ 37519 h 64116"/>
                  <a:gd name="connsiteX1" fmla="*/ 31677 w 56085"/>
                  <a:gd name="connsiteY1" fmla="*/ -3779 h 64116"/>
                  <a:gd name="connsiteX2" fmla="*/ 51668 w 56085"/>
                  <a:gd name="connsiteY2" fmla="*/ 33396 h 64116"/>
                  <a:gd name="connsiteX3" fmla="*/ 10070 w 56085"/>
                  <a:gd name="connsiteY3" fmla="*/ 60337 h 64116"/>
                  <a:gd name="connsiteX4" fmla="*/ -4418 w 56085"/>
                  <a:gd name="connsiteY4" fmla="*/ 37519 h 64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085" h="64116">
                    <a:moveTo>
                      <a:pt x="-4418" y="37519"/>
                    </a:moveTo>
                    <a:lnTo>
                      <a:pt x="31677" y="-3779"/>
                    </a:lnTo>
                    <a:lnTo>
                      <a:pt x="51668" y="33396"/>
                    </a:lnTo>
                    <a:lnTo>
                      <a:pt x="10070" y="60337"/>
                    </a:lnTo>
                    <a:lnTo>
                      <a:pt x="-4418" y="3751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8" name="Vrije vorm 27">
                <a:extLst>
                  <a:ext uri="{FF2B5EF4-FFF2-40B4-BE49-F238E27FC236}">
                    <a16:creationId xmlns:a16="http://schemas.microsoft.com/office/drawing/2014/main" id="{165420B9-870F-9CDC-4E9D-21B79688AD09}"/>
                  </a:ext>
                </a:extLst>
              </p:cNvPr>
              <p:cNvSpPr/>
              <p:nvPr/>
            </p:nvSpPr>
            <p:spPr>
              <a:xfrm flipV="1">
                <a:off x="7650153" y="1932615"/>
                <a:ext cx="217455" cy="303569"/>
              </a:xfrm>
              <a:custGeom>
                <a:avLst/>
                <a:gdLst>
                  <a:gd name="connsiteX0" fmla="*/ 93068 w 217455"/>
                  <a:gd name="connsiteY0" fmla="*/ 294432 h 303569"/>
                  <a:gd name="connsiteX1" fmla="*/ 29293 w 217455"/>
                  <a:gd name="connsiteY1" fmla="*/ 234490 h 303569"/>
                  <a:gd name="connsiteX2" fmla="*/ 32620 w 217455"/>
                  <a:gd name="connsiteY2" fmla="*/ 158359 h 303569"/>
                  <a:gd name="connsiteX3" fmla="*/ 5769 w 217455"/>
                  <a:gd name="connsiteY3" fmla="*/ 165682 h 303569"/>
                  <a:gd name="connsiteX4" fmla="*/ 33863 w 217455"/>
                  <a:gd name="connsiteY4" fmla="*/ 91975 h 303569"/>
                  <a:gd name="connsiteX5" fmla="*/ 39760 w 217455"/>
                  <a:gd name="connsiteY5" fmla="*/ 51785 h 303569"/>
                  <a:gd name="connsiteX6" fmla="*/ 128303 w 217455"/>
                  <a:gd name="connsiteY6" fmla="*/ -3402 h 303569"/>
                  <a:gd name="connsiteX7" fmla="*/ 212079 w 217455"/>
                  <a:gd name="connsiteY7" fmla="*/ 60352 h 303569"/>
                  <a:gd name="connsiteX8" fmla="*/ 213022 w 217455"/>
                  <a:gd name="connsiteY8" fmla="*/ 246857 h 303569"/>
                  <a:gd name="connsiteX9" fmla="*/ 93068 w 217455"/>
                  <a:gd name="connsiteY9" fmla="*/ 294432 h 303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5" h="303569">
                    <a:moveTo>
                      <a:pt x="93068" y="294432"/>
                    </a:moveTo>
                    <a:cubicBezTo>
                      <a:pt x="27532" y="279496"/>
                      <a:pt x="29293" y="234490"/>
                      <a:pt x="29293" y="234490"/>
                    </a:cubicBezTo>
                    <a:cubicBezTo>
                      <a:pt x="29293" y="234490"/>
                      <a:pt x="31325" y="199749"/>
                      <a:pt x="32620" y="158359"/>
                    </a:cubicBezTo>
                    <a:cubicBezTo>
                      <a:pt x="26557" y="166707"/>
                      <a:pt x="16298" y="170188"/>
                      <a:pt x="5769" y="165682"/>
                    </a:cubicBezTo>
                    <a:cubicBezTo>
                      <a:pt x="-16543" y="156143"/>
                      <a:pt x="-55" y="85895"/>
                      <a:pt x="33863" y="91975"/>
                    </a:cubicBezTo>
                    <a:cubicBezTo>
                      <a:pt x="35325" y="72357"/>
                      <a:pt x="37242" y="57079"/>
                      <a:pt x="39760" y="51785"/>
                    </a:cubicBezTo>
                    <a:cubicBezTo>
                      <a:pt x="49284" y="31805"/>
                      <a:pt x="91172" y="1352"/>
                      <a:pt x="128303" y="-3402"/>
                    </a:cubicBezTo>
                    <a:cubicBezTo>
                      <a:pt x="165434" y="-8156"/>
                      <a:pt x="212079" y="16579"/>
                      <a:pt x="212079" y="60352"/>
                    </a:cubicBezTo>
                    <a:cubicBezTo>
                      <a:pt x="212079" y="104124"/>
                      <a:pt x="213022" y="246857"/>
                      <a:pt x="213022" y="246857"/>
                    </a:cubicBezTo>
                    <a:cubicBezTo>
                      <a:pt x="213022" y="246857"/>
                      <a:pt x="201602" y="319167"/>
                      <a:pt x="93068" y="29443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9" name="Vrije vorm 28">
                <a:extLst>
                  <a:ext uri="{FF2B5EF4-FFF2-40B4-BE49-F238E27FC236}">
                    <a16:creationId xmlns:a16="http://schemas.microsoft.com/office/drawing/2014/main" id="{63E4C6A7-EA1D-0316-66B9-1F0E3B2F56DA}"/>
                  </a:ext>
                </a:extLst>
              </p:cNvPr>
              <p:cNvSpPr/>
              <p:nvPr/>
            </p:nvSpPr>
            <p:spPr>
              <a:xfrm flipV="1">
                <a:off x="7808114" y="2064324"/>
                <a:ext cx="33845" cy="82780"/>
              </a:xfrm>
              <a:custGeom>
                <a:avLst/>
                <a:gdLst>
                  <a:gd name="connsiteX0" fmla="*/ -4490 w 33845"/>
                  <a:gd name="connsiteY0" fmla="*/ 78822 h 82780"/>
                  <a:gd name="connsiteX1" fmla="*/ 9376 w 33845"/>
                  <a:gd name="connsiteY1" fmla="*/ 43014 h 82780"/>
                  <a:gd name="connsiteX2" fmla="*/ 28040 w 33845"/>
                  <a:gd name="connsiteY2" fmla="*/ 10594 h 82780"/>
                  <a:gd name="connsiteX3" fmla="*/ 29356 w 33845"/>
                  <a:gd name="connsiteY3" fmla="*/ 9175 h 82780"/>
                  <a:gd name="connsiteX4" fmla="*/ 28019 w 33845"/>
                  <a:gd name="connsiteY4" fmla="*/ 8118 h 82780"/>
                  <a:gd name="connsiteX5" fmla="*/ 11697 w 33845"/>
                  <a:gd name="connsiteY5" fmla="*/ -3959 h 82780"/>
                  <a:gd name="connsiteX6" fmla="*/ 25833 w 33845"/>
                  <a:gd name="connsiteY6" fmla="*/ 10604 h 82780"/>
                  <a:gd name="connsiteX7" fmla="*/ 25812 w 33845"/>
                  <a:gd name="connsiteY7" fmla="*/ 8129 h 82780"/>
                  <a:gd name="connsiteX8" fmla="*/ 13490 w 33845"/>
                  <a:gd name="connsiteY8" fmla="*/ 23635 h 82780"/>
                  <a:gd name="connsiteX9" fmla="*/ 5179 w 33845"/>
                  <a:gd name="connsiteY9" fmla="*/ 41316 h 82780"/>
                  <a:gd name="connsiteX10" fmla="*/ -4490 w 33845"/>
                  <a:gd name="connsiteY10" fmla="*/ 78822 h 82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45" h="82780">
                    <a:moveTo>
                      <a:pt x="-4490" y="78822"/>
                    </a:moveTo>
                    <a:cubicBezTo>
                      <a:pt x="39" y="66724"/>
                      <a:pt x="4526" y="54771"/>
                      <a:pt x="9376" y="43014"/>
                    </a:cubicBezTo>
                    <a:cubicBezTo>
                      <a:pt x="14526" y="31486"/>
                      <a:pt x="19646" y="19647"/>
                      <a:pt x="28040" y="10594"/>
                    </a:cubicBezTo>
                    <a:lnTo>
                      <a:pt x="29356" y="9175"/>
                    </a:lnTo>
                    <a:lnTo>
                      <a:pt x="28019" y="8118"/>
                    </a:lnTo>
                    <a:cubicBezTo>
                      <a:pt x="22724" y="3913"/>
                      <a:pt x="17315" y="-137"/>
                      <a:pt x="11697" y="-3959"/>
                    </a:cubicBezTo>
                    <a:cubicBezTo>
                      <a:pt x="16237" y="1085"/>
                      <a:pt x="20962" y="5922"/>
                      <a:pt x="25833" y="10604"/>
                    </a:cubicBezTo>
                    <a:lnTo>
                      <a:pt x="25812" y="8129"/>
                    </a:lnTo>
                    <a:cubicBezTo>
                      <a:pt x="20496" y="12386"/>
                      <a:pt x="16817" y="18021"/>
                      <a:pt x="13490" y="23635"/>
                    </a:cubicBezTo>
                    <a:cubicBezTo>
                      <a:pt x="10081" y="29259"/>
                      <a:pt x="7428" y="35235"/>
                      <a:pt x="5179" y="41316"/>
                    </a:cubicBezTo>
                    <a:cubicBezTo>
                      <a:pt x="433" y="53404"/>
                      <a:pt x="-2749" y="66019"/>
                      <a:pt x="-4490" y="7882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0" name="Vrije vorm 29">
                <a:extLst>
                  <a:ext uri="{FF2B5EF4-FFF2-40B4-BE49-F238E27FC236}">
                    <a16:creationId xmlns:a16="http://schemas.microsoft.com/office/drawing/2014/main" id="{3BCE316E-5FDA-510D-62A9-4C401DF8BB05}"/>
                  </a:ext>
                </a:extLst>
              </p:cNvPr>
              <p:cNvSpPr/>
              <p:nvPr/>
            </p:nvSpPr>
            <p:spPr>
              <a:xfrm flipV="1">
                <a:off x="7732432" y="2018771"/>
                <a:ext cx="51401" cy="19864"/>
              </a:xfrm>
              <a:custGeom>
                <a:avLst/>
                <a:gdLst>
                  <a:gd name="connsiteX0" fmla="*/ 46968 w 51401"/>
                  <a:gd name="connsiteY0" fmla="*/ 3570 h 19864"/>
                  <a:gd name="connsiteX1" fmla="*/ 19360 w 51401"/>
                  <a:gd name="connsiteY1" fmla="*/ 6024 h 19864"/>
                  <a:gd name="connsiteX2" fmla="*/ 7422 w 51401"/>
                  <a:gd name="connsiteY2" fmla="*/ 3363 h 19864"/>
                  <a:gd name="connsiteX3" fmla="*/ -4434 w 51401"/>
                  <a:gd name="connsiteY3" fmla="*/ -4043 h 19864"/>
                  <a:gd name="connsiteX4" fmla="*/ 3287 w 51401"/>
                  <a:gd name="connsiteY4" fmla="*/ 9785 h 19864"/>
                  <a:gd name="connsiteX5" fmla="*/ 18832 w 51401"/>
                  <a:gd name="connsiteY5" fmla="*/ 15803 h 19864"/>
                  <a:gd name="connsiteX6" fmla="*/ 34532 w 51401"/>
                  <a:gd name="connsiteY6" fmla="*/ 12757 h 19864"/>
                  <a:gd name="connsiteX7" fmla="*/ 46968 w 51401"/>
                  <a:gd name="connsiteY7" fmla="*/ 3570 h 19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401" h="19864">
                    <a:moveTo>
                      <a:pt x="46968" y="3570"/>
                    </a:moveTo>
                    <a:cubicBezTo>
                      <a:pt x="36677" y="4750"/>
                      <a:pt x="27786" y="6470"/>
                      <a:pt x="19360" y="6024"/>
                    </a:cubicBezTo>
                    <a:cubicBezTo>
                      <a:pt x="15184" y="5838"/>
                      <a:pt x="11329" y="4895"/>
                      <a:pt x="7422" y="3363"/>
                    </a:cubicBezTo>
                    <a:cubicBezTo>
                      <a:pt x="3380" y="1892"/>
                      <a:pt x="-8" y="-1040"/>
                      <a:pt x="-4434" y="-4043"/>
                    </a:cubicBezTo>
                    <a:cubicBezTo>
                      <a:pt x="-3563" y="990"/>
                      <a:pt x="-1231" y="6325"/>
                      <a:pt x="3287" y="9785"/>
                    </a:cubicBezTo>
                    <a:cubicBezTo>
                      <a:pt x="7578" y="13472"/>
                      <a:pt x="13288" y="15409"/>
                      <a:pt x="18832" y="15803"/>
                    </a:cubicBezTo>
                    <a:cubicBezTo>
                      <a:pt x="24397" y="15979"/>
                      <a:pt x="29744" y="14891"/>
                      <a:pt x="34532" y="12757"/>
                    </a:cubicBezTo>
                    <a:cubicBezTo>
                      <a:pt x="39309" y="10655"/>
                      <a:pt x="43693" y="7734"/>
                      <a:pt x="46968" y="3570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1" name="Vrije vorm 30">
                <a:extLst>
                  <a:ext uri="{FF2B5EF4-FFF2-40B4-BE49-F238E27FC236}">
                    <a16:creationId xmlns:a16="http://schemas.microsoft.com/office/drawing/2014/main" id="{2C037031-E758-D663-BFDB-5B8A5F597260}"/>
                  </a:ext>
                </a:extLst>
              </p:cNvPr>
              <p:cNvSpPr/>
              <p:nvPr/>
            </p:nvSpPr>
            <p:spPr>
              <a:xfrm flipV="1">
                <a:off x="7822871" y="2019346"/>
                <a:ext cx="40934" cy="19289"/>
              </a:xfrm>
              <a:custGeom>
                <a:avLst/>
                <a:gdLst>
                  <a:gd name="connsiteX0" fmla="*/ -4505 w 40934"/>
                  <a:gd name="connsiteY0" fmla="*/ 3570 h 19289"/>
                  <a:gd name="connsiteX1" fmla="*/ 5257 w 40934"/>
                  <a:gd name="connsiteY1" fmla="*/ 12354 h 19289"/>
                  <a:gd name="connsiteX2" fmla="*/ 18875 w 40934"/>
                  <a:gd name="connsiteY2" fmla="*/ 15171 h 19289"/>
                  <a:gd name="connsiteX3" fmla="*/ 31663 w 40934"/>
                  <a:gd name="connsiteY3" fmla="*/ 8438 h 19289"/>
                  <a:gd name="connsiteX4" fmla="*/ 36430 w 40934"/>
                  <a:gd name="connsiteY4" fmla="*/ -4043 h 19289"/>
                  <a:gd name="connsiteX5" fmla="*/ 27134 w 40934"/>
                  <a:gd name="connsiteY5" fmla="*/ 3342 h 19289"/>
                  <a:gd name="connsiteX6" fmla="*/ 17973 w 40934"/>
                  <a:gd name="connsiteY6" fmla="*/ 6470 h 19289"/>
                  <a:gd name="connsiteX7" fmla="*/ -4505 w 40934"/>
                  <a:gd name="connsiteY7" fmla="*/ 3570 h 19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34" h="19289">
                    <a:moveTo>
                      <a:pt x="-4505" y="3570"/>
                    </a:moveTo>
                    <a:cubicBezTo>
                      <a:pt x="-2183" y="7434"/>
                      <a:pt x="1299" y="10282"/>
                      <a:pt x="5257" y="12354"/>
                    </a:cubicBezTo>
                    <a:cubicBezTo>
                      <a:pt x="9226" y="14456"/>
                      <a:pt x="13942" y="15554"/>
                      <a:pt x="18875" y="15171"/>
                    </a:cubicBezTo>
                    <a:cubicBezTo>
                      <a:pt x="23797" y="14726"/>
                      <a:pt x="28689" y="12167"/>
                      <a:pt x="31663" y="8438"/>
                    </a:cubicBezTo>
                    <a:cubicBezTo>
                      <a:pt x="34896" y="4875"/>
                      <a:pt x="36223" y="328"/>
                      <a:pt x="36430" y="-4043"/>
                    </a:cubicBezTo>
                    <a:cubicBezTo>
                      <a:pt x="32916" y="-1184"/>
                      <a:pt x="30243" y="1612"/>
                      <a:pt x="27134" y="3342"/>
                    </a:cubicBezTo>
                    <a:cubicBezTo>
                      <a:pt x="24149" y="5134"/>
                      <a:pt x="21238" y="6294"/>
                      <a:pt x="17973" y="6470"/>
                    </a:cubicBezTo>
                    <a:cubicBezTo>
                      <a:pt x="11434" y="7175"/>
                      <a:pt x="4086" y="5269"/>
                      <a:pt x="-4505" y="3570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" name="Vrije vorm 31">
                <a:extLst>
                  <a:ext uri="{FF2B5EF4-FFF2-40B4-BE49-F238E27FC236}">
                    <a16:creationId xmlns:a16="http://schemas.microsoft.com/office/drawing/2014/main" id="{8689AB86-5BE6-2583-5326-AD947925AF7E}"/>
                  </a:ext>
                </a:extLst>
              </p:cNvPr>
              <p:cNvSpPr/>
              <p:nvPr/>
            </p:nvSpPr>
            <p:spPr>
              <a:xfrm flipV="1">
                <a:off x="7746112" y="2148658"/>
                <a:ext cx="82076" cy="25278"/>
              </a:xfrm>
              <a:custGeom>
                <a:avLst/>
                <a:gdLst>
                  <a:gd name="connsiteX0" fmla="*/ -4458 w 82076"/>
                  <a:gd name="connsiteY0" fmla="*/ 21380 h 25278"/>
                  <a:gd name="connsiteX1" fmla="*/ 77618 w 82076"/>
                  <a:gd name="connsiteY1" fmla="*/ 9365 h 25278"/>
                  <a:gd name="connsiteX2" fmla="*/ -4458 w 82076"/>
                  <a:gd name="connsiteY2" fmla="*/ 21380 h 25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2076" h="25278">
                    <a:moveTo>
                      <a:pt x="-4458" y="21380"/>
                    </a:moveTo>
                    <a:lnTo>
                      <a:pt x="77618" y="9365"/>
                    </a:lnTo>
                    <a:cubicBezTo>
                      <a:pt x="77618" y="9365"/>
                      <a:pt x="30280" y="-27344"/>
                      <a:pt x="-4458" y="21380"/>
                    </a:cubicBezTo>
                  </a:path>
                </a:pathLst>
              </a:custGeom>
              <a:solidFill>
                <a:srgbClr val="FFFFF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" name="Vrije vorm 32">
                <a:extLst>
                  <a:ext uri="{FF2B5EF4-FFF2-40B4-BE49-F238E27FC236}">
                    <a16:creationId xmlns:a16="http://schemas.microsoft.com/office/drawing/2014/main" id="{5ECDCE4D-01C1-1C62-1FBD-426304F6ACA0}"/>
                  </a:ext>
                </a:extLst>
              </p:cNvPr>
              <p:cNvSpPr/>
              <p:nvPr/>
            </p:nvSpPr>
            <p:spPr>
              <a:xfrm flipV="1">
                <a:off x="7657944" y="2077508"/>
                <a:ext cx="27844" cy="51643"/>
              </a:xfrm>
              <a:custGeom>
                <a:avLst/>
                <a:gdLst>
                  <a:gd name="connsiteX0" fmla="*/ 1067 w 27844"/>
                  <a:gd name="connsiteY0" fmla="*/ 46583 h 51643"/>
                  <a:gd name="connsiteX1" fmla="*/ 23483 w 27844"/>
                  <a:gd name="connsiteY1" fmla="*/ 13769 h 51643"/>
                  <a:gd name="connsiteX2" fmla="*/ 17648 w 27844"/>
                  <a:gd name="connsiteY2" fmla="*/ -3726 h 51643"/>
                  <a:gd name="connsiteX3" fmla="*/ 1067 w 27844"/>
                  <a:gd name="connsiteY3" fmla="*/ 4658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44" h="51643">
                    <a:moveTo>
                      <a:pt x="1067" y="46583"/>
                    </a:moveTo>
                    <a:cubicBezTo>
                      <a:pt x="12705" y="52466"/>
                      <a:pt x="23006" y="33750"/>
                      <a:pt x="23483" y="13769"/>
                    </a:cubicBezTo>
                    <a:cubicBezTo>
                      <a:pt x="13959" y="15188"/>
                      <a:pt x="12342" y="4105"/>
                      <a:pt x="17648" y="-3726"/>
                    </a:cubicBezTo>
                    <a:cubicBezTo>
                      <a:pt x="-1244" y="-7724"/>
                      <a:pt x="-11265" y="40337"/>
                      <a:pt x="1067" y="4658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" name="Vrije vorm 33">
                <a:extLst>
                  <a:ext uri="{FF2B5EF4-FFF2-40B4-BE49-F238E27FC236}">
                    <a16:creationId xmlns:a16="http://schemas.microsoft.com/office/drawing/2014/main" id="{EC0C5BEA-E5EE-B6F1-CB3E-15AA05D6E787}"/>
                  </a:ext>
                </a:extLst>
              </p:cNvPr>
              <p:cNvSpPr/>
              <p:nvPr/>
            </p:nvSpPr>
            <p:spPr>
              <a:xfrm flipV="1">
                <a:off x="7852013" y="2279552"/>
                <a:ext cx="156483" cy="230620"/>
              </a:xfrm>
              <a:custGeom>
                <a:avLst/>
                <a:gdLst>
                  <a:gd name="connsiteX0" fmla="*/ 114288 w 156483"/>
                  <a:gd name="connsiteY0" fmla="*/ -3643 h 230620"/>
                  <a:gd name="connsiteX1" fmla="*/ -4578 w 156483"/>
                  <a:gd name="connsiteY1" fmla="*/ 171832 h 230620"/>
                  <a:gd name="connsiteX2" fmla="*/ 60690 w 156483"/>
                  <a:gd name="connsiteY2" fmla="*/ 226978 h 230620"/>
                  <a:gd name="connsiteX3" fmla="*/ 151906 w 156483"/>
                  <a:gd name="connsiteY3" fmla="*/ 18295 h 230620"/>
                  <a:gd name="connsiteX4" fmla="*/ 114288 w 156483"/>
                  <a:gd name="connsiteY4" fmla="*/ -3643 h 230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6483" h="230620">
                    <a:moveTo>
                      <a:pt x="114288" y="-3643"/>
                    </a:moveTo>
                    <a:lnTo>
                      <a:pt x="-4578" y="171832"/>
                    </a:lnTo>
                    <a:lnTo>
                      <a:pt x="60690" y="226978"/>
                    </a:lnTo>
                    <a:lnTo>
                      <a:pt x="151906" y="18295"/>
                    </a:lnTo>
                    <a:lnTo>
                      <a:pt x="114288" y="-3643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" name="Vrije vorm 34">
                <a:extLst>
                  <a:ext uri="{FF2B5EF4-FFF2-40B4-BE49-F238E27FC236}">
                    <a16:creationId xmlns:a16="http://schemas.microsoft.com/office/drawing/2014/main" id="{688E53C9-8638-6C4C-3969-D16BECDD77BB}"/>
                  </a:ext>
                </a:extLst>
              </p:cNvPr>
              <p:cNvSpPr/>
              <p:nvPr/>
            </p:nvSpPr>
            <p:spPr>
              <a:xfrm flipV="1">
                <a:off x="7825088" y="2065328"/>
                <a:ext cx="31549" cy="30827"/>
              </a:xfrm>
              <a:custGeom>
                <a:avLst/>
                <a:gdLst>
                  <a:gd name="connsiteX0" fmla="*/ -4056 w 31549"/>
                  <a:gd name="connsiteY0" fmla="*/ 25619 h 30827"/>
                  <a:gd name="connsiteX1" fmla="*/ 2224 w 31549"/>
                  <a:gd name="connsiteY1" fmla="*/ 10320 h 30827"/>
                  <a:gd name="connsiteX2" fmla="*/ 11675 w 31549"/>
                  <a:gd name="connsiteY2" fmla="*/ 3028 h 30827"/>
                  <a:gd name="connsiteX3" fmla="*/ 21116 w 31549"/>
                  <a:gd name="connsiteY3" fmla="*/ 11004 h 30827"/>
                  <a:gd name="connsiteX4" fmla="*/ 25116 w 31549"/>
                  <a:gd name="connsiteY4" fmla="*/ 26841 h 30827"/>
                  <a:gd name="connsiteX5" fmla="*/ 26297 w 31549"/>
                  <a:gd name="connsiteY5" fmla="*/ 9305 h 30827"/>
                  <a:gd name="connsiteX6" fmla="*/ 21790 w 31549"/>
                  <a:gd name="connsiteY6" fmla="*/ 594 h 30827"/>
                  <a:gd name="connsiteX7" fmla="*/ 12276 w 31549"/>
                  <a:gd name="connsiteY7" fmla="*/ -3912 h 30827"/>
                  <a:gd name="connsiteX8" fmla="*/ 2048 w 31549"/>
                  <a:gd name="connsiteY8" fmla="*/ -152 h 30827"/>
                  <a:gd name="connsiteX9" fmla="*/ -2771 w 31549"/>
                  <a:gd name="connsiteY9" fmla="*/ 8197 h 30827"/>
                  <a:gd name="connsiteX10" fmla="*/ -4056 w 31549"/>
                  <a:gd name="connsiteY10" fmla="*/ 25619 h 30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1549" h="30827">
                    <a:moveTo>
                      <a:pt x="-4056" y="25619"/>
                    </a:moveTo>
                    <a:cubicBezTo>
                      <a:pt x="-2201" y="20171"/>
                      <a:pt x="-160" y="14940"/>
                      <a:pt x="2224" y="10320"/>
                    </a:cubicBezTo>
                    <a:cubicBezTo>
                      <a:pt x="4794" y="5773"/>
                      <a:pt x="7986" y="2241"/>
                      <a:pt x="11675" y="3028"/>
                    </a:cubicBezTo>
                    <a:cubicBezTo>
                      <a:pt x="15831" y="3214"/>
                      <a:pt x="19064" y="6343"/>
                      <a:pt x="21116" y="11004"/>
                    </a:cubicBezTo>
                    <a:cubicBezTo>
                      <a:pt x="23106" y="15655"/>
                      <a:pt x="24266" y="21154"/>
                      <a:pt x="25116" y="26841"/>
                    </a:cubicBezTo>
                    <a:cubicBezTo>
                      <a:pt x="26951" y="21362"/>
                      <a:pt x="27749" y="15375"/>
                      <a:pt x="26297" y="9305"/>
                    </a:cubicBezTo>
                    <a:cubicBezTo>
                      <a:pt x="25614" y="6270"/>
                      <a:pt x="24173" y="3214"/>
                      <a:pt x="21790" y="594"/>
                    </a:cubicBezTo>
                    <a:cubicBezTo>
                      <a:pt x="19344" y="-2068"/>
                      <a:pt x="15862" y="-3497"/>
                      <a:pt x="12276" y="-3912"/>
                    </a:cubicBezTo>
                    <a:cubicBezTo>
                      <a:pt x="8639" y="-4357"/>
                      <a:pt x="4379" y="-2772"/>
                      <a:pt x="2048" y="-152"/>
                    </a:cubicBezTo>
                    <a:cubicBezTo>
                      <a:pt x="-356" y="2428"/>
                      <a:pt x="-1828" y="5286"/>
                      <a:pt x="-2771" y="8197"/>
                    </a:cubicBezTo>
                    <a:cubicBezTo>
                      <a:pt x="-4636" y="13987"/>
                      <a:pt x="-4875" y="19891"/>
                      <a:pt x="-4056" y="25619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6" name="Vrije vorm 35">
                <a:extLst>
                  <a:ext uri="{FF2B5EF4-FFF2-40B4-BE49-F238E27FC236}">
                    <a16:creationId xmlns:a16="http://schemas.microsoft.com/office/drawing/2014/main" id="{F49004FA-1FEB-96D5-CF39-7FA56CAF7071}"/>
                  </a:ext>
                </a:extLst>
              </p:cNvPr>
              <p:cNvSpPr/>
              <p:nvPr/>
            </p:nvSpPr>
            <p:spPr>
              <a:xfrm flipV="1">
                <a:off x="7747576" y="2071326"/>
                <a:ext cx="31372" cy="30871"/>
              </a:xfrm>
              <a:custGeom>
                <a:avLst/>
                <a:gdLst>
                  <a:gd name="connsiteX0" fmla="*/ -3291 w 31372"/>
                  <a:gd name="connsiteY0" fmla="*/ 26892 h 30871"/>
                  <a:gd name="connsiteX1" fmla="*/ 1600 w 31372"/>
                  <a:gd name="connsiteY1" fmla="*/ 11096 h 30871"/>
                  <a:gd name="connsiteX2" fmla="*/ 10357 w 31372"/>
                  <a:gd name="connsiteY2" fmla="*/ 2996 h 30871"/>
                  <a:gd name="connsiteX3" fmla="*/ 20482 w 31372"/>
                  <a:gd name="connsiteY3" fmla="*/ 10091 h 30871"/>
                  <a:gd name="connsiteX4" fmla="*/ 25881 w 31372"/>
                  <a:gd name="connsiteY4" fmla="*/ 25504 h 30871"/>
                  <a:gd name="connsiteX5" fmla="*/ 25477 w 31372"/>
                  <a:gd name="connsiteY5" fmla="*/ 7937 h 30871"/>
                  <a:gd name="connsiteX6" fmla="*/ 20212 w 31372"/>
                  <a:gd name="connsiteY6" fmla="*/ -339 h 30871"/>
                  <a:gd name="connsiteX7" fmla="*/ 10336 w 31372"/>
                  <a:gd name="connsiteY7" fmla="*/ -3975 h 30871"/>
                  <a:gd name="connsiteX8" fmla="*/ 481 w 31372"/>
                  <a:gd name="connsiteY8" fmla="*/ 686 h 30871"/>
                  <a:gd name="connsiteX9" fmla="*/ -3571 w 31372"/>
                  <a:gd name="connsiteY9" fmla="*/ 9428 h 30871"/>
                  <a:gd name="connsiteX10" fmla="*/ -3291 w 31372"/>
                  <a:gd name="connsiteY10" fmla="*/ 26892 h 30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1372" h="30871">
                    <a:moveTo>
                      <a:pt x="-3291" y="26892"/>
                    </a:moveTo>
                    <a:cubicBezTo>
                      <a:pt x="-1924" y="21309"/>
                      <a:pt x="-369" y="15912"/>
                      <a:pt x="1600" y="11096"/>
                    </a:cubicBezTo>
                    <a:cubicBezTo>
                      <a:pt x="3745" y="6341"/>
                      <a:pt x="6616" y="2530"/>
                      <a:pt x="10357" y="2996"/>
                    </a:cubicBezTo>
                    <a:cubicBezTo>
                      <a:pt x="14523" y="2799"/>
                      <a:pt x="18015" y="5637"/>
                      <a:pt x="20482" y="10091"/>
                    </a:cubicBezTo>
                    <a:cubicBezTo>
                      <a:pt x="22876" y="14545"/>
                      <a:pt x="24523" y="19921"/>
                      <a:pt x="25881" y="25504"/>
                    </a:cubicBezTo>
                    <a:cubicBezTo>
                      <a:pt x="27218" y="19879"/>
                      <a:pt x="27487" y="13851"/>
                      <a:pt x="25477" y="7937"/>
                    </a:cubicBezTo>
                    <a:cubicBezTo>
                      <a:pt x="24534" y="4964"/>
                      <a:pt x="22813" y="2053"/>
                      <a:pt x="20212" y="-339"/>
                    </a:cubicBezTo>
                    <a:cubicBezTo>
                      <a:pt x="17539" y="-2773"/>
                      <a:pt x="13943" y="-3882"/>
                      <a:pt x="10336" y="-3975"/>
                    </a:cubicBezTo>
                    <a:cubicBezTo>
                      <a:pt x="6668" y="-4089"/>
                      <a:pt x="2574" y="-2131"/>
                      <a:pt x="481" y="686"/>
                    </a:cubicBezTo>
                    <a:cubicBezTo>
                      <a:pt x="-1675" y="3472"/>
                      <a:pt x="-2887" y="6455"/>
                      <a:pt x="-3571" y="9428"/>
                    </a:cubicBezTo>
                    <a:cubicBezTo>
                      <a:pt x="-4908" y="15363"/>
                      <a:pt x="-4607" y="21267"/>
                      <a:pt x="-3291" y="26892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7" name="Vrije vorm 36">
                <a:extLst>
                  <a:ext uri="{FF2B5EF4-FFF2-40B4-BE49-F238E27FC236}">
                    <a16:creationId xmlns:a16="http://schemas.microsoft.com/office/drawing/2014/main" id="{23B9EE84-E9D4-314D-CBA1-25A2692B8529}"/>
                  </a:ext>
                </a:extLst>
              </p:cNvPr>
              <p:cNvSpPr/>
              <p:nvPr/>
            </p:nvSpPr>
            <p:spPr>
              <a:xfrm flipV="1">
                <a:off x="7641722" y="2476052"/>
                <a:ext cx="283258" cy="60281"/>
              </a:xfrm>
              <a:custGeom>
                <a:avLst/>
                <a:gdLst>
                  <a:gd name="connsiteX0" fmla="*/ -2733 w 283258"/>
                  <a:gd name="connsiteY0" fmla="*/ 2421 h 60281"/>
                  <a:gd name="connsiteX1" fmla="*/ 202551 w 283258"/>
                  <a:gd name="connsiteY1" fmla="*/ 21055 h 60281"/>
                  <a:gd name="connsiteX2" fmla="*/ 278804 w 283258"/>
                  <a:gd name="connsiteY2" fmla="*/ 54636 h 60281"/>
                  <a:gd name="connsiteX3" fmla="*/ 51291 w 283258"/>
                  <a:gd name="connsiteY3" fmla="*/ 54895 h 60281"/>
                  <a:gd name="connsiteX4" fmla="*/ -2733 w 283258"/>
                  <a:gd name="connsiteY4" fmla="*/ 2421 h 60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3258" h="60281">
                    <a:moveTo>
                      <a:pt x="-2733" y="2421"/>
                    </a:moveTo>
                    <a:cubicBezTo>
                      <a:pt x="-2733" y="2421"/>
                      <a:pt x="132154" y="-19569"/>
                      <a:pt x="202551" y="21055"/>
                    </a:cubicBezTo>
                    <a:lnTo>
                      <a:pt x="278804" y="54636"/>
                    </a:lnTo>
                    <a:cubicBezTo>
                      <a:pt x="278804" y="54636"/>
                      <a:pt x="122009" y="41202"/>
                      <a:pt x="51291" y="54895"/>
                    </a:cubicBezTo>
                    <a:cubicBezTo>
                      <a:pt x="-19449" y="68588"/>
                      <a:pt x="-2733" y="2421"/>
                      <a:pt x="-2733" y="2421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8" name="Vrije vorm 37">
                <a:extLst>
                  <a:ext uri="{FF2B5EF4-FFF2-40B4-BE49-F238E27FC236}">
                    <a16:creationId xmlns:a16="http://schemas.microsoft.com/office/drawing/2014/main" id="{2D62F539-7EF4-D8F7-E262-AF4245820DF1}"/>
                  </a:ext>
                </a:extLst>
              </p:cNvPr>
              <p:cNvSpPr/>
              <p:nvPr/>
            </p:nvSpPr>
            <p:spPr>
              <a:xfrm flipV="1">
                <a:off x="7617919" y="2450801"/>
                <a:ext cx="93693" cy="86437"/>
              </a:xfrm>
              <a:custGeom>
                <a:avLst/>
                <a:gdLst>
                  <a:gd name="connsiteX0" fmla="*/ 67420 w 93693"/>
                  <a:gd name="connsiteY0" fmla="*/ 82903 h 86437"/>
                  <a:gd name="connsiteX1" fmla="*/ -4356 w 93693"/>
                  <a:gd name="connsiteY1" fmla="*/ 31403 h 86437"/>
                  <a:gd name="connsiteX2" fmla="*/ 11086 w 93693"/>
                  <a:gd name="connsiteY2" fmla="*/ -3534 h 86437"/>
                  <a:gd name="connsiteX3" fmla="*/ 89338 w 93693"/>
                  <a:gd name="connsiteY3" fmla="*/ 52616 h 86437"/>
                  <a:gd name="connsiteX4" fmla="*/ 67420 w 93693"/>
                  <a:gd name="connsiteY4" fmla="*/ 82903 h 86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693" h="86437">
                    <a:moveTo>
                      <a:pt x="67420" y="82903"/>
                    </a:moveTo>
                    <a:lnTo>
                      <a:pt x="-4356" y="31403"/>
                    </a:lnTo>
                    <a:lnTo>
                      <a:pt x="11086" y="-3534"/>
                    </a:lnTo>
                    <a:lnTo>
                      <a:pt x="89338" y="52616"/>
                    </a:lnTo>
                    <a:lnTo>
                      <a:pt x="67420" y="82903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9" name="Vrije vorm 38">
                <a:extLst>
                  <a:ext uri="{FF2B5EF4-FFF2-40B4-BE49-F238E27FC236}">
                    <a16:creationId xmlns:a16="http://schemas.microsoft.com/office/drawing/2014/main" id="{D760031F-F1C0-E198-15D3-C84AACE2044F}"/>
                  </a:ext>
                </a:extLst>
              </p:cNvPr>
              <p:cNvSpPr/>
              <p:nvPr/>
            </p:nvSpPr>
            <p:spPr>
              <a:xfrm flipV="1">
                <a:off x="7845484" y="2290656"/>
                <a:ext cx="211305" cy="302173"/>
              </a:xfrm>
              <a:custGeom>
                <a:avLst/>
                <a:gdLst>
                  <a:gd name="connsiteX0" fmla="*/ 9488 w 211305"/>
                  <a:gd name="connsiteY0" fmla="*/ 292098 h 302173"/>
                  <a:gd name="connsiteX1" fmla="*/ 206710 w 211305"/>
                  <a:gd name="connsiteY1" fmla="*/ 298582 h 302173"/>
                  <a:gd name="connsiteX2" fmla="*/ 174522 w 211305"/>
                  <a:gd name="connsiteY2" fmla="*/ 20543 h 302173"/>
                  <a:gd name="connsiteX3" fmla="*/ -4595 w 211305"/>
                  <a:gd name="connsiteY3" fmla="*/ -3591 h 302173"/>
                  <a:gd name="connsiteX4" fmla="*/ 9488 w 211305"/>
                  <a:gd name="connsiteY4" fmla="*/ 292098 h 302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305" h="302173">
                    <a:moveTo>
                      <a:pt x="9488" y="292098"/>
                    </a:moveTo>
                    <a:lnTo>
                      <a:pt x="206710" y="298582"/>
                    </a:lnTo>
                    <a:lnTo>
                      <a:pt x="174522" y="20543"/>
                    </a:lnTo>
                    <a:lnTo>
                      <a:pt x="-4595" y="-3591"/>
                    </a:lnTo>
                    <a:lnTo>
                      <a:pt x="9488" y="292098"/>
                    </a:lnTo>
                  </a:path>
                </a:pathLst>
              </a:custGeom>
              <a:solidFill>
                <a:srgbClr val="D9CFC2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0" name="Vrije vorm 39">
                <a:extLst>
                  <a:ext uri="{FF2B5EF4-FFF2-40B4-BE49-F238E27FC236}">
                    <a16:creationId xmlns:a16="http://schemas.microsoft.com/office/drawing/2014/main" id="{0A6CAF24-9B64-E1C0-343E-9E4B286AD127}"/>
                  </a:ext>
                </a:extLst>
              </p:cNvPr>
              <p:cNvSpPr/>
              <p:nvPr/>
            </p:nvSpPr>
            <p:spPr>
              <a:xfrm flipV="1">
                <a:off x="8012441" y="2343990"/>
                <a:ext cx="52180" cy="94120"/>
              </a:xfrm>
              <a:custGeom>
                <a:avLst/>
                <a:gdLst>
                  <a:gd name="connsiteX0" fmla="*/ 44717 w 52180"/>
                  <a:gd name="connsiteY0" fmla="*/ 25426 h 94120"/>
                  <a:gd name="connsiteX1" fmla="*/ 15969 w 52180"/>
                  <a:gd name="connsiteY1" fmla="*/ 38073 h 94120"/>
                  <a:gd name="connsiteX2" fmla="*/ 16695 w 52180"/>
                  <a:gd name="connsiteY2" fmla="*/ 54843 h 94120"/>
                  <a:gd name="connsiteX3" fmla="*/ 24467 w 52180"/>
                  <a:gd name="connsiteY3" fmla="*/ 63585 h 94120"/>
                  <a:gd name="connsiteX4" fmla="*/ 43909 w 52180"/>
                  <a:gd name="connsiteY4" fmla="*/ 56314 h 94120"/>
                  <a:gd name="connsiteX5" fmla="*/ 44717 w 52180"/>
                  <a:gd name="connsiteY5" fmla="*/ 25426 h 94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180" h="94120">
                    <a:moveTo>
                      <a:pt x="44717" y="25426"/>
                    </a:moveTo>
                    <a:cubicBezTo>
                      <a:pt x="44717" y="25426"/>
                      <a:pt x="12269" y="-47743"/>
                      <a:pt x="15969" y="38073"/>
                    </a:cubicBezTo>
                    <a:cubicBezTo>
                      <a:pt x="15969" y="38073"/>
                      <a:pt x="-30945" y="69872"/>
                      <a:pt x="16695" y="54843"/>
                    </a:cubicBezTo>
                    <a:cubicBezTo>
                      <a:pt x="16695" y="54843"/>
                      <a:pt x="-25608" y="95622"/>
                      <a:pt x="24467" y="63585"/>
                    </a:cubicBezTo>
                    <a:cubicBezTo>
                      <a:pt x="24467" y="63585"/>
                      <a:pt x="2341" y="128674"/>
                      <a:pt x="43909" y="56314"/>
                    </a:cubicBezTo>
                    <a:cubicBezTo>
                      <a:pt x="51515" y="45800"/>
                      <a:pt x="44717" y="25426"/>
                      <a:pt x="44717" y="25426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1" name="Vrije vorm 40">
                <a:extLst>
                  <a:ext uri="{FF2B5EF4-FFF2-40B4-BE49-F238E27FC236}">
                    <a16:creationId xmlns:a16="http://schemas.microsoft.com/office/drawing/2014/main" id="{D7B745FA-D228-0DCC-465D-441B1008132D}"/>
                  </a:ext>
                </a:extLst>
              </p:cNvPr>
              <p:cNvSpPr/>
              <p:nvPr/>
            </p:nvSpPr>
            <p:spPr>
              <a:xfrm flipV="1">
                <a:off x="8012625" y="2396204"/>
                <a:ext cx="26556" cy="13390"/>
              </a:xfrm>
              <a:custGeom>
                <a:avLst/>
                <a:gdLst>
                  <a:gd name="connsiteX0" fmla="*/ 20397 w 26556"/>
                  <a:gd name="connsiteY0" fmla="*/ 9757 h 13390"/>
                  <a:gd name="connsiteX1" fmla="*/ 21899 w 26556"/>
                  <a:gd name="connsiteY1" fmla="*/ -3077 h 13390"/>
                  <a:gd name="connsiteX2" fmla="*/ 20397 w 26556"/>
                  <a:gd name="connsiteY2" fmla="*/ 9757 h 13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556" h="13390">
                    <a:moveTo>
                      <a:pt x="20397" y="9757"/>
                    </a:moveTo>
                    <a:cubicBezTo>
                      <a:pt x="20397" y="9757"/>
                      <a:pt x="-36964" y="-6847"/>
                      <a:pt x="21899" y="-3077"/>
                    </a:cubicBezTo>
                    <a:lnTo>
                      <a:pt x="20397" y="9757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2" name="Vrije vorm 41">
                <a:extLst>
                  <a:ext uri="{FF2B5EF4-FFF2-40B4-BE49-F238E27FC236}">
                    <a16:creationId xmlns:a16="http://schemas.microsoft.com/office/drawing/2014/main" id="{3D31BF06-34EF-854D-BF5A-6A1EBD15D00C}"/>
                  </a:ext>
                </a:extLst>
              </p:cNvPr>
              <p:cNvSpPr/>
              <p:nvPr/>
            </p:nvSpPr>
            <p:spPr>
              <a:xfrm flipV="1">
                <a:off x="8014279" y="2409038"/>
                <a:ext cx="28674" cy="61847"/>
              </a:xfrm>
              <a:custGeom>
                <a:avLst/>
                <a:gdLst>
                  <a:gd name="connsiteX0" fmla="*/ 2884 w 28674"/>
                  <a:gd name="connsiteY0" fmla="*/ 55240 h 61847"/>
                  <a:gd name="connsiteX1" fmla="*/ -4660 w 28674"/>
                  <a:gd name="connsiteY1" fmla="*/ 56752 h 61847"/>
                  <a:gd name="connsiteX2" fmla="*/ 24015 w 28674"/>
                  <a:gd name="connsiteY2" fmla="*/ 58254 h 61847"/>
                  <a:gd name="connsiteX3" fmla="*/ 18740 w 28674"/>
                  <a:gd name="connsiteY3" fmla="*/ 9230 h 61847"/>
                  <a:gd name="connsiteX4" fmla="*/ -2390 w 28674"/>
                  <a:gd name="connsiteY4" fmla="*/ -3593 h 61847"/>
                  <a:gd name="connsiteX5" fmla="*/ 2884 w 28674"/>
                  <a:gd name="connsiteY5" fmla="*/ 55240 h 61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674" h="61847">
                    <a:moveTo>
                      <a:pt x="2884" y="55240"/>
                    </a:moveTo>
                    <a:lnTo>
                      <a:pt x="-4660" y="56752"/>
                    </a:lnTo>
                    <a:lnTo>
                      <a:pt x="24015" y="58254"/>
                    </a:lnTo>
                    <a:lnTo>
                      <a:pt x="18740" y="9230"/>
                    </a:lnTo>
                    <a:lnTo>
                      <a:pt x="-2390" y="-3593"/>
                    </a:lnTo>
                    <a:lnTo>
                      <a:pt x="2884" y="55240"/>
                    </a:lnTo>
                  </a:path>
                </a:pathLst>
              </a:custGeom>
              <a:solidFill>
                <a:srgbClr val="D9CFC2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43" name="Vrije vorm 42">
              <a:extLst>
                <a:ext uri="{FF2B5EF4-FFF2-40B4-BE49-F238E27FC236}">
                  <a16:creationId xmlns:a16="http://schemas.microsoft.com/office/drawing/2014/main" id="{8A70F808-CD5B-97CB-224D-9608E4922431}"/>
                </a:ext>
              </a:extLst>
            </p:cNvPr>
            <p:cNvSpPr/>
            <p:nvPr/>
          </p:nvSpPr>
          <p:spPr>
            <a:xfrm flipV="1">
              <a:off x="5173225" y="2234528"/>
              <a:ext cx="743844" cy="493210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4" name="Vrije vorm 43">
              <a:extLst>
                <a:ext uri="{FF2B5EF4-FFF2-40B4-BE49-F238E27FC236}">
                  <a16:creationId xmlns:a16="http://schemas.microsoft.com/office/drawing/2014/main" id="{6B670256-D28F-548E-6C97-1DEC61188653}"/>
                </a:ext>
              </a:extLst>
            </p:cNvPr>
            <p:cNvSpPr/>
            <p:nvPr/>
          </p:nvSpPr>
          <p:spPr>
            <a:xfrm flipV="1">
              <a:off x="5457856" y="2633753"/>
              <a:ext cx="162000" cy="162000"/>
            </a:xfrm>
            <a:custGeom>
              <a:avLst/>
              <a:gdLst>
                <a:gd name="connsiteX0" fmla="*/ 56246 w 117549"/>
                <a:gd name="connsiteY0" fmla="*/ 103954 h 117480"/>
                <a:gd name="connsiteX1" fmla="*/ 7156 w 117549"/>
                <a:gd name="connsiteY1" fmla="*/ 54888 h 117480"/>
                <a:gd name="connsiteX2" fmla="*/ 56246 w 117549"/>
                <a:gd name="connsiteY2" fmla="*/ 5822 h 117480"/>
                <a:gd name="connsiteX3" fmla="*/ 105347 w 117549"/>
                <a:gd name="connsiteY3" fmla="*/ 54888 h 117480"/>
                <a:gd name="connsiteX4" fmla="*/ 56246 w 117549"/>
                <a:gd name="connsiteY4" fmla="*/ 103954 h 117480"/>
                <a:gd name="connsiteX5" fmla="*/ 56246 w 117549"/>
                <a:gd name="connsiteY5" fmla="*/ -3852 h 117480"/>
                <a:gd name="connsiteX6" fmla="*/ -2534 w 117549"/>
                <a:gd name="connsiteY6" fmla="*/ 54888 h 117480"/>
                <a:gd name="connsiteX7" fmla="*/ 56246 w 117549"/>
                <a:gd name="connsiteY7" fmla="*/ 113628 h 117480"/>
                <a:gd name="connsiteX8" fmla="*/ 115015 w 117549"/>
                <a:gd name="connsiteY8" fmla="*/ 54888 h 117480"/>
                <a:gd name="connsiteX9" fmla="*/ 56246 w 11754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49" h="117480">
                  <a:moveTo>
                    <a:pt x="56246" y="103954"/>
                  </a:moveTo>
                  <a:cubicBezTo>
                    <a:pt x="29177" y="103954"/>
                    <a:pt x="7156" y="81943"/>
                    <a:pt x="7156" y="54888"/>
                  </a:cubicBezTo>
                  <a:cubicBezTo>
                    <a:pt x="7156" y="27833"/>
                    <a:pt x="29177" y="5822"/>
                    <a:pt x="56246" y="5822"/>
                  </a:cubicBezTo>
                  <a:cubicBezTo>
                    <a:pt x="83315" y="5822"/>
                    <a:pt x="105347" y="27833"/>
                    <a:pt x="105347" y="54888"/>
                  </a:cubicBezTo>
                  <a:cubicBezTo>
                    <a:pt x="105347" y="81943"/>
                    <a:pt x="83315" y="103954"/>
                    <a:pt x="56246" y="103954"/>
                  </a:cubicBezTo>
                  <a:close/>
                  <a:moveTo>
                    <a:pt x="56246" y="-3852"/>
                  </a:moveTo>
                  <a:cubicBezTo>
                    <a:pt x="23830" y="-3852"/>
                    <a:pt x="-2534" y="22499"/>
                    <a:pt x="-2534" y="54888"/>
                  </a:cubicBezTo>
                  <a:cubicBezTo>
                    <a:pt x="-2534" y="87288"/>
                    <a:pt x="23830" y="113628"/>
                    <a:pt x="56246" y="113628"/>
                  </a:cubicBezTo>
                  <a:cubicBezTo>
                    <a:pt x="88651" y="113628"/>
                    <a:pt x="115015" y="87288"/>
                    <a:pt x="115015" y="54888"/>
                  </a:cubicBezTo>
                  <a:cubicBezTo>
                    <a:pt x="115015" y="22499"/>
                    <a:pt x="88651" y="-3852"/>
                    <a:pt x="56246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5" name="Vrije vorm 44">
              <a:extLst>
                <a:ext uri="{FF2B5EF4-FFF2-40B4-BE49-F238E27FC236}">
                  <a16:creationId xmlns:a16="http://schemas.microsoft.com/office/drawing/2014/main" id="{C7D272E3-BF5D-DFD9-359D-4EAEA82A4978}"/>
                </a:ext>
              </a:extLst>
            </p:cNvPr>
            <p:cNvSpPr/>
            <p:nvPr/>
          </p:nvSpPr>
          <p:spPr>
            <a:xfrm flipV="1">
              <a:off x="5713798" y="2639263"/>
              <a:ext cx="162000" cy="162000"/>
            </a:xfrm>
            <a:custGeom>
              <a:avLst/>
              <a:gdLst>
                <a:gd name="connsiteX0" fmla="*/ 56107 w 117539"/>
                <a:gd name="connsiteY0" fmla="*/ 103954 h 117480"/>
                <a:gd name="connsiteX1" fmla="*/ 7017 w 117539"/>
                <a:gd name="connsiteY1" fmla="*/ 54888 h 117480"/>
                <a:gd name="connsiteX2" fmla="*/ 56107 w 117539"/>
                <a:gd name="connsiteY2" fmla="*/ 5822 h 117480"/>
                <a:gd name="connsiteX3" fmla="*/ 105198 w 117539"/>
                <a:gd name="connsiteY3" fmla="*/ 54888 h 117480"/>
                <a:gd name="connsiteX4" fmla="*/ 56107 w 117539"/>
                <a:gd name="connsiteY4" fmla="*/ 103954 h 117480"/>
                <a:gd name="connsiteX5" fmla="*/ 56107 w 117539"/>
                <a:gd name="connsiteY5" fmla="*/ -3852 h 117480"/>
                <a:gd name="connsiteX6" fmla="*/ -2662 w 117539"/>
                <a:gd name="connsiteY6" fmla="*/ 54888 h 117480"/>
                <a:gd name="connsiteX7" fmla="*/ 56107 w 117539"/>
                <a:gd name="connsiteY7" fmla="*/ 113628 h 117480"/>
                <a:gd name="connsiteX8" fmla="*/ 114877 w 117539"/>
                <a:gd name="connsiteY8" fmla="*/ 54888 h 117480"/>
                <a:gd name="connsiteX9" fmla="*/ 56107 w 11753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39" h="117480">
                  <a:moveTo>
                    <a:pt x="56107" y="103954"/>
                  </a:moveTo>
                  <a:cubicBezTo>
                    <a:pt x="29039" y="103954"/>
                    <a:pt x="7017" y="81943"/>
                    <a:pt x="7017" y="54888"/>
                  </a:cubicBezTo>
                  <a:cubicBezTo>
                    <a:pt x="7017" y="27833"/>
                    <a:pt x="29039" y="5822"/>
                    <a:pt x="56107" y="5822"/>
                  </a:cubicBezTo>
                  <a:cubicBezTo>
                    <a:pt x="83176" y="5822"/>
                    <a:pt x="105198" y="27833"/>
                    <a:pt x="105198" y="54888"/>
                  </a:cubicBezTo>
                  <a:cubicBezTo>
                    <a:pt x="105198" y="81943"/>
                    <a:pt x="83176" y="103954"/>
                    <a:pt x="56107" y="103954"/>
                  </a:cubicBezTo>
                  <a:close/>
                  <a:moveTo>
                    <a:pt x="56107" y="-3852"/>
                  </a:moveTo>
                  <a:cubicBezTo>
                    <a:pt x="23702" y="-3852"/>
                    <a:pt x="-2662" y="22499"/>
                    <a:pt x="-2662" y="54888"/>
                  </a:cubicBezTo>
                  <a:cubicBezTo>
                    <a:pt x="-2662" y="87288"/>
                    <a:pt x="23702" y="113628"/>
                    <a:pt x="56107" y="113628"/>
                  </a:cubicBezTo>
                  <a:cubicBezTo>
                    <a:pt x="88513" y="113628"/>
                    <a:pt x="114877" y="87288"/>
                    <a:pt x="114877" y="54888"/>
                  </a:cubicBezTo>
                  <a:cubicBezTo>
                    <a:pt x="114877" y="22499"/>
                    <a:pt x="88513" y="-3852"/>
                    <a:pt x="56107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6" name="Vrije vorm 45">
              <a:extLst>
                <a:ext uri="{FF2B5EF4-FFF2-40B4-BE49-F238E27FC236}">
                  <a16:creationId xmlns:a16="http://schemas.microsoft.com/office/drawing/2014/main" id="{A92621BE-B22C-5A7C-798C-095D84F9DFE2}"/>
                </a:ext>
              </a:extLst>
            </p:cNvPr>
            <p:cNvSpPr/>
            <p:nvPr/>
          </p:nvSpPr>
          <p:spPr>
            <a:xfrm flipV="1">
              <a:off x="5319897" y="2696454"/>
              <a:ext cx="144000" cy="16442"/>
            </a:xfrm>
            <a:custGeom>
              <a:avLst/>
              <a:gdLst>
                <a:gd name="connsiteX0" fmla="*/ 108369 w 111559"/>
                <a:gd name="connsiteY0" fmla="*/ -3873 h 18230"/>
                <a:gd name="connsiteX1" fmla="*/ -2444 w 111559"/>
                <a:gd name="connsiteY1" fmla="*/ 4714 h 18230"/>
                <a:gd name="connsiteX2" fmla="*/ -1698 w 111559"/>
                <a:gd name="connsiteY2" fmla="*/ 14357 h 18230"/>
                <a:gd name="connsiteX3" fmla="*/ 109115 w 111559"/>
                <a:gd name="connsiteY3" fmla="*/ 5770 h 18230"/>
                <a:gd name="connsiteX4" fmla="*/ 108369 w 111559"/>
                <a:gd name="connsiteY4" fmla="*/ -3873 h 18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559" h="18230">
                  <a:moveTo>
                    <a:pt x="108369" y="-3873"/>
                  </a:moveTo>
                  <a:lnTo>
                    <a:pt x="-2444" y="4714"/>
                  </a:lnTo>
                  <a:lnTo>
                    <a:pt x="-1698" y="14357"/>
                  </a:lnTo>
                  <a:lnTo>
                    <a:pt x="109115" y="5770"/>
                  </a:lnTo>
                  <a:lnTo>
                    <a:pt x="108369" y="-3873"/>
                  </a:ln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7" name="Vrije vorm 46">
              <a:extLst>
                <a:ext uri="{FF2B5EF4-FFF2-40B4-BE49-F238E27FC236}">
                  <a16:creationId xmlns:a16="http://schemas.microsoft.com/office/drawing/2014/main" id="{9B5126C3-B251-B0C0-1EEC-53B45F66B1FF}"/>
                </a:ext>
              </a:extLst>
            </p:cNvPr>
            <p:cNvSpPr/>
            <p:nvPr/>
          </p:nvSpPr>
          <p:spPr>
            <a:xfrm flipV="1">
              <a:off x="5627149" y="2707154"/>
              <a:ext cx="90000" cy="14758"/>
            </a:xfrm>
            <a:custGeom>
              <a:avLst/>
              <a:gdLst>
                <a:gd name="connsiteX0" fmla="*/ 3008 w 52302"/>
                <a:gd name="connsiteY0" fmla="*/ -3866 h 16363"/>
                <a:gd name="connsiteX1" fmla="*/ -2598 w 52302"/>
                <a:gd name="connsiteY1" fmla="*/ 4027 h 16363"/>
                <a:gd name="connsiteX2" fmla="*/ 49705 w 52302"/>
                <a:gd name="connsiteY2" fmla="*/ 3923 h 16363"/>
                <a:gd name="connsiteX3" fmla="*/ 43819 w 52302"/>
                <a:gd name="connsiteY3" fmla="*/ -3752 h 16363"/>
                <a:gd name="connsiteX4" fmla="*/ 3008 w 52302"/>
                <a:gd name="connsiteY4" fmla="*/ -3866 h 1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02" h="16363">
                  <a:moveTo>
                    <a:pt x="3008" y="-3866"/>
                  </a:moveTo>
                  <a:lnTo>
                    <a:pt x="-2598" y="4027"/>
                  </a:lnTo>
                  <a:cubicBezTo>
                    <a:pt x="6760" y="10687"/>
                    <a:pt x="29735" y="19233"/>
                    <a:pt x="49705" y="3923"/>
                  </a:cubicBezTo>
                  <a:lnTo>
                    <a:pt x="43819" y="-3752"/>
                  </a:lnTo>
                  <a:cubicBezTo>
                    <a:pt x="24584" y="10977"/>
                    <a:pt x="3879" y="-3255"/>
                    <a:pt x="3008" y="-3866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sp>
        <p:nvSpPr>
          <p:cNvPr id="2" name="Gedachtewolkje: wolk 1">
            <a:extLst>
              <a:ext uri="{FF2B5EF4-FFF2-40B4-BE49-F238E27FC236}">
                <a16:creationId xmlns:a16="http://schemas.microsoft.com/office/drawing/2014/main" id="{B2B09AAD-5A36-4F65-BAC9-15A7EE040943}"/>
              </a:ext>
            </a:extLst>
          </p:cNvPr>
          <p:cNvSpPr/>
          <p:nvPr/>
        </p:nvSpPr>
        <p:spPr>
          <a:xfrm flipH="1">
            <a:off x="1054100" y="-182220"/>
            <a:ext cx="7619390" cy="2381989"/>
          </a:xfrm>
          <a:prstGeom prst="cloudCallout">
            <a:avLst>
              <a:gd name="adj1" fmla="val -38668"/>
              <a:gd name="adj2" fmla="val 62500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What discursive processes and considerations are the lead entrepreneur and potential co-founders engaged in when deciding whether they intend to collaborate?</a:t>
            </a:r>
          </a:p>
        </p:txBody>
      </p:sp>
    </p:spTree>
    <p:extLst>
      <p:ext uri="{BB962C8B-B14F-4D97-AF65-F5344CB8AC3E}">
        <p14:creationId xmlns:p14="http://schemas.microsoft.com/office/powerpoint/2010/main" val="9193667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: Shape 4">
            <a:extLst>
              <a:ext uri="{FF2B5EF4-FFF2-40B4-BE49-F238E27FC236}">
                <a16:creationId xmlns:a16="http://schemas.microsoft.com/office/drawing/2014/main" id="{829B984C-5D4E-4199-87F2-EF1519F4C266}"/>
              </a:ext>
            </a:extLst>
          </p:cNvPr>
          <p:cNvSpPr/>
          <p:nvPr/>
        </p:nvSpPr>
        <p:spPr>
          <a:xfrm>
            <a:off x="1717633" y="2394948"/>
            <a:ext cx="3156203" cy="2220995"/>
          </a:xfrm>
          <a:custGeom>
            <a:avLst/>
            <a:gdLst/>
            <a:ahLst/>
            <a:cxnLst/>
            <a:rect l="l" t="t" r="r" b="b"/>
            <a:pathLst>
              <a:path w="3156203" h="2220995">
                <a:moveTo>
                  <a:pt x="706208" y="345686"/>
                </a:moveTo>
                <a:cubicBezTo>
                  <a:pt x="655765" y="345686"/>
                  <a:pt x="610761" y="361759"/>
                  <a:pt x="571198" y="393904"/>
                </a:cubicBezTo>
                <a:cubicBezTo>
                  <a:pt x="531635" y="426049"/>
                  <a:pt x="500973" y="483664"/>
                  <a:pt x="479213" y="566747"/>
                </a:cubicBezTo>
                <a:cubicBezTo>
                  <a:pt x="450529" y="674558"/>
                  <a:pt x="436188" y="856055"/>
                  <a:pt x="436188" y="1111239"/>
                </a:cubicBezTo>
                <a:cubicBezTo>
                  <a:pt x="436188" y="1366424"/>
                  <a:pt x="449046" y="1541739"/>
                  <a:pt x="474762" y="1637186"/>
                </a:cubicBezTo>
                <a:cubicBezTo>
                  <a:pt x="500478" y="1732633"/>
                  <a:pt x="532871" y="1796182"/>
                  <a:pt x="571940" y="1827833"/>
                </a:cubicBezTo>
                <a:cubicBezTo>
                  <a:pt x="611009" y="1859484"/>
                  <a:pt x="655765" y="1875309"/>
                  <a:pt x="706208" y="1875309"/>
                </a:cubicBezTo>
                <a:cubicBezTo>
                  <a:pt x="756652" y="1875309"/>
                  <a:pt x="801655" y="1859236"/>
                  <a:pt x="841219" y="1827091"/>
                </a:cubicBezTo>
                <a:cubicBezTo>
                  <a:pt x="880782" y="1794946"/>
                  <a:pt x="911444" y="1737331"/>
                  <a:pt x="933204" y="1654248"/>
                </a:cubicBezTo>
                <a:cubicBezTo>
                  <a:pt x="961887" y="1547427"/>
                  <a:pt x="976229" y="1366424"/>
                  <a:pt x="976229" y="1111239"/>
                </a:cubicBezTo>
                <a:cubicBezTo>
                  <a:pt x="976229" y="856055"/>
                  <a:pt x="963371" y="680739"/>
                  <a:pt x="937655" y="585292"/>
                </a:cubicBezTo>
                <a:cubicBezTo>
                  <a:pt x="911939" y="489846"/>
                  <a:pt x="879546" y="426049"/>
                  <a:pt x="840477" y="393904"/>
                </a:cubicBezTo>
                <a:cubicBezTo>
                  <a:pt x="801408" y="361759"/>
                  <a:pt x="756652" y="345686"/>
                  <a:pt x="706208" y="345686"/>
                </a:cubicBezTo>
                <a:close/>
                <a:moveTo>
                  <a:pt x="1957430" y="38575"/>
                </a:moveTo>
                <a:lnTo>
                  <a:pt x="3059767" y="38575"/>
                </a:lnTo>
                <a:lnTo>
                  <a:pt x="3059767" y="428769"/>
                </a:lnTo>
                <a:lnTo>
                  <a:pt x="2273443" y="428769"/>
                </a:lnTo>
                <a:lnTo>
                  <a:pt x="2208163" y="798193"/>
                </a:lnTo>
                <a:cubicBezTo>
                  <a:pt x="2301137" y="751706"/>
                  <a:pt x="2396090" y="728463"/>
                  <a:pt x="2493020" y="728463"/>
                </a:cubicBezTo>
                <a:cubicBezTo>
                  <a:pt x="2677980" y="728463"/>
                  <a:pt x="2834750" y="795721"/>
                  <a:pt x="2963331" y="930237"/>
                </a:cubicBezTo>
                <a:cubicBezTo>
                  <a:pt x="3091912" y="1064752"/>
                  <a:pt x="3156203" y="1239326"/>
                  <a:pt x="3156203" y="1453958"/>
                </a:cubicBezTo>
                <a:cubicBezTo>
                  <a:pt x="3156203" y="1632983"/>
                  <a:pt x="3104276" y="1792720"/>
                  <a:pt x="3000422" y="1933170"/>
                </a:cubicBezTo>
                <a:cubicBezTo>
                  <a:pt x="2858983" y="2125054"/>
                  <a:pt x="2662649" y="2220995"/>
                  <a:pt x="2411421" y="2220995"/>
                </a:cubicBezTo>
                <a:cubicBezTo>
                  <a:pt x="2210636" y="2220995"/>
                  <a:pt x="2046942" y="2167090"/>
                  <a:pt x="1920339" y="2059279"/>
                </a:cubicBezTo>
                <a:cubicBezTo>
                  <a:pt x="1793736" y="1951469"/>
                  <a:pt x="1718071" y="1806567"/>
                  <a:pt x="1693344" y="1624575"/>
                </a:cubicBezTo>
                <a:lnTo>
                  <a:pt x="2108760" y="1581550"/>
                </a:lnTo>
                <a:cubicBezTo>
                  <a:pt x="2120629" y="1675514"/>
                  <a:pt x="2155742" y="1749942"/>
                  <a:pt x="2214098" y="1804836"/>
                </a:cubicBezTo>
                <a:cubicBezTo>
                  <a:pt x="2272454" y="1859731"/>
                  <a:pt x="2339712" y="1887178"/>
                  <a:pt x="2415872" y="1887178"/>
                </a:cubicBezTo>
                <a:cubicBezTo>
                  <a:pt x="2502911" y="1887178"/>
                  <a:pt x="2576598" y="1851818"/>
                  <a:pt x="2636932" y="1781098"/>
                </a:cubicBezTo>
                <a:cubicBezTo>
                  <a:pt x="2697267" y="1710379"/>
                  <a:pt x="2727434" y="1603805"/>
                  <a:pt x="2727434" y="1461376"/>
                </a:cubicBezTo>
                <a:cubicBezTo>
                  <a:pt x="2727434" y="1327849"/>
                  <a:pt x="2697514" y="1227704"/>
                  <a:pt x="2637674" y="1160941"/>
                </a:cubicBezTo>
                <a:cubicBezTo>
                  <a:pt x="2577835" y="1094178"/>
                  <a:pt x="2499944" y="1060796"/>
                  <a:pt x="2404002" y="1060796"/>
                </a:cubicBezTo>
                <a:cubicBezTo>
                  <a:pt x="2284323" y="1060796"/>
                  <a:pt x="2177007" y="1113712"/>
                  <a:pt x="2082055" y="1219544"/>
                </a:cubicBezTo>
                <a:lnTo>
                  <a:pt x="1743787" y="1170585"/>
                </a:lnTo>
                <a:close/>
                <a:moveTo>
                  <a:pt x="706208" y="0"/>
                </a:moveTo>
                <a:cubicBezTo>
                  <a:pt x="916884" y="0"/>
                  <a:pt x="1081567" y="75171"/>
                  <a:pt x="1200257" y="225512"/>
                </a:cubicBezTo>
                <a:cubicBezTo>
                  <a:pt x="1341697" y="403548"/>
                  <a:pt x="1412417" y="698790"/>
                  <a:pt x="1412417" y="1111239"/>
                </a:cubicBezTo>
                <a:cubicBezTo>
                  <a:pt x="1412417" y="1522700"/>
                  <a:pt x="1341202" y="1818436"/>
                  <a:pt x="1198774" y="1998450"/>
                </a:cubicBezTo>
                <a:cubicBezTo>
                  <a:pt x="1081072" y="2146813"/>
                  <a:pt x="916884" y="2220995"/>
                  <a:pt x="706208" y="2220995"/>
                </a:cubicBezTo>
                <a:cubicBezTo>
                  <a:pt x="494544" y="2220995"/>
                  <a:pt x="323926" y="2139642"/>
                  <a:pt x="194356" y="1976938"/>
                </a:cubicBezTo>
                <a:cubicBezTo>
                  <a:pt x="64786" y="1814233"/>
                  <a:pt x="0" y="1524183"/>
                  <a:pt x="0" y="1106789"/>
                </a:cubicBezTo>
                <a:cubicBezTo>
                  <a:pt x="0" y="697307"/>
                  <a:pt x="71215" y="402559"/>
                  <a:pt x="213643" y="222545"/>
                </a:cubicBezTo>
                <a:cubicBezTo>
                  <a:pt x="331345" y="74182"/>
                  <a:pt x="495533" y="0"/>
                  <a:pt x="706208" y="0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629624"/>
            <a:ext cx="6691086" cy="359875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3642023" cy="553998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METHODOLOGY</a:t>
            </a:r>
          </a:p>
        </p:txBody>
      </p:sp>
      <p:sp>
        <p:nvSpPr>
          <p:cNvPr id="11" name="TextBox 8">
            <a:extLst>
              <a:ext uri="{FF2B5EF4-FFF2-40B4-BE49-F238E27FC236}">
                <a16:creationId xmlns:a16="http://schemas.microsoft.com/office/drawing/2014/main" id="{3C19623A-355F-4972-BC67-22CFBEA0CE16}"/>
              </a:ext>
            </a:extLst>
          </p:cNvPr>
          <p:cNvSpPr txBox="1"/>
          <p:nvPr/>
        </p:nvSpPr>
        <p:spPr>
          <a:xfrm>
            <a:off x="5847372" y="3616178"/>
            <a:ext cx="4110100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400" dirty="0">
                <a:solidFill>
                  <a:schemeClr val="bg2">
                    <a:lumMod val="90000"/>
                  </a:schemeClr>
                </a:solidFill>
              </a:rPr>
              <a:t>Qualitative </a:t>
            </a:r>
            <a:r>
              <a:rPr lang="de-DE" altLang="de-DE" sz="2400" dirty="0" err="1">
                <a:solidFill>
                  <a:schemeClr val="bg2">
                    <a:lumMod val="90000"/>
                  </a:schemeClr>
                </a:solidFill>
              </a:rPr>
              <a:t>research</a:t>
            </a:r>
            <a:r>
              <a:rPr lang="de-DE" altLang="de-DE" sz="2400" dirty="0">
                <a:solidFill>
                  <a:schemeClr val="bg2">
                    <a:lumMod val="90000"/>
                  </a:schemeClr>
                </a:solidFill>
              </a:rPr>
              <a:t> </a:t>
            </a:r>
            <a:r>
              <a:rPr lang="de-DE" altLang="de-DE" sz="2400" dirty="0" err="1">
                <a:solidFill>
                  <a:schemeClr val="bg2">
                    <a:lumMod val="90000"/>
                  </a:schemeClr>
                </a:solidFill>
              </a:rPr>
              <a:t>approach</a:t>
            </a:r>
            <a:endParaRPr lang="de-DE" altLang="de-DE" sz="2400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62446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8" grpId="0"/>
      <p:bldP spid="11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ep 47">
            <a:extLst>
              <a:ext uri="{FF2B5EF4-FFF2-40B4-BE49-F238E27FC236}">
                <a16:creationId xmlns:a16="http://schemas.microsoft.com/office/drawing/2014/main" id="{D2B1643F-7FA4-C438-E73B-D6B12460AC76}"/>
              </a:ext>
            </a:extLst>
          </p:cNvPr>
          <p:cNvGrpSpPr/>
          <p:nvPr/>
        </p:nvGrpSpPr>
        <p:grpSpPr>
          <a:xfrm>
            <a:off x="-1" y="103192"/>
            <a:ext cx="12212783" cy="6754808"/>
            <a:chOff x="-1" y="103192"/>
            <a:chExt cx="12212783" cy="6754808"/>
          </a:xfrm>
        </p:grpSpPr>
        <p:sp>
          <p:nvSpPr>
            <p:cNvPr id="29" name="Vrije vorm 28">
              <a:extLst>
                <a:ext uri="{FF2B5EF4-FFF2-40B4-BE49-F238E27FC236}">
                  <a16:creationId xmlns:a16="http://schemas.microsoft.com/office/drawing/2014/main" id="{2FA992F2-A916-EEB8-D87B-39183465F8D2}"/>
                </a:ext>
              </a:extLst>
            </p:cNvPr>
            <p:cNvSpPr/>
            <p:nvPr/>
          </p:nvSpPr>
          <p:spPr>
            <a:xfrm>
              <a:off x="3478701" y="2200686"/>
              <a:ext cx="7653445" cy="3135723"/>
            </a:xfrm>
            <a:custGeom>
              <a:avLst/>
              <a:gdLst>
                <a:gd name="connsiteX0" fmla="*/ 524826 w 4870768"/>
                <a:gd name="connsiteY0" fmla="*/ 444576 h 1243733"/>
                <a:gd name="connsiteX1" fmla="*/ 470080 w 4870768"/>
                <a:gd name="connsiteY1" fmla="*/ 444576 h 1243733"/>
                <a:gd name="connsiteX2" fmla="*/ 470080 w 4870768"/>
                <a:gd name="connsiteY2" fmla="*/ 465428 h 1243733"/>
                <a:gd name="connsiteX3" fmla="*/ 458744 w 4870768"/>
                <a:gd name="connsiteY3" fmla="*/ 465428 h 1243733"/>
                <a:gd name="connsiteX4" fmla="*/ 458744 w 4870768"/>
                <a:gd name="connsiteY4" fmla="*/ 540076 h 1243733"/>
                <a:gd name="connsiteX5" fmla="*/ 441755 w 4870768"/>
                <a:gd name="connsiteY5" fmla="*/ 540076 h 1243733"/>
                <a:gd name="connsiteX6" fmla="*/ 441755 w 4870768"/>
                <a:gd name="connsiteY6" fmla="*/ 560934 h 1243733"/>
                <a:gd name="connsiteX7" fmla="*/ 378527 w 4870768"/>
                <a:gd name="connsiteY7" fmla="*/ 560934 h 1243733"/>
                <a:gd name="connsiteX8" fmla="*/ 378527 w 4870768"/>
                <a:gd name="connsiteY8" fmla="*/ 513722 h 1243733"/>
                <a:gd name="connsiteX9" fmla="*/ 123653 w 4870768"/>
                <a:gd name="connsiteY9" fmla="*/ 513722 h 1243733"/>
                <a:gd name="connsiteX10" fmla="*/ 123653 w 4870768"/>
                <a:gd name="connsiteY10" fmla="*/ 571899 h 1243733"/>
                <a:gd name="connsiteX11" fmla="*/ 102262 w 4870768"/>
                <a:gd name="connsiteY11" fmla="*/ 571899 h 1243733"/>
                <a:gd name="connsiteX12" fmla="*/ 102262 w 4870768"/>
                <a:gd name="connsiteY12" fmla="*/ 560928 h 1243733"/>
                <a:gd name="connsiteX13" fmla="*/ 75503 w 4870768"/>
                <a:gd name="connsiteY13" fmla="*/ 560928 h 1243733"/>
                <a:gd name="connsiteX14" fmla="*/ 75503 w 4870768"/>
                <a:gd name="connsiteY14" fmla="*/ 457739 h 1243733"/>
                <a:gd name="connsiteX15" fmla="*/ 29263 w 4870768"/>
                <a:gd name="connsiteY15" fmla="*/ 457739 h 1243733"/>
                <a:gd name="connsiteX16" fmla="*/ 29263 w 4870768"/>
                <a:gd name="connsiteY16" fmla="*/ 485186 h 1243733"/>
                <a:gd name="connsiteX17" fmla="*/ 16050 w 4870768"/>
                <a:gd name="connsiteY17" fmla="*/ 485186 h 1243733"/>
                <a:gd name="connsiteX18" fmla="*/ 16050 w 4870768"/>
                <a:gd name="connsiteY18" fmla="*/ 560928 h 1243733"/>
                <a:gd name="connsiteX19" fmla="*/ 0 w 4870768"/>
                <a:gd name="connsiteY19" fmla="*/ 560928 h 1243733"/>
                <a:gd name="connsiteX20" fmla="*/ 0 w 4870768"/>
                <a:gd name="connsiteY20" fmla="*/ 1243711 h 1243733"/>
                <a:gd name="connsiteX21" fmla="*/ 539932 w 4870768"/>
                <a:gd name="connsiteY21" fmla="*/ 1243711 h 1243733"/>
                <a:gd name="connsiteX22" fmla="*/ 539932 w 4870768"/>
                <a:gd name="connsiteY22" fmla="*/ 465417 h 1243733"/>
                <a:gd name="connsiteX23" fmla="*/ 524831 w 4870768"/>
                <a:gd name="connsiteY23" fmla="*/ 465417 h 1243733"/>
                <a:gd name="connsiteX24" fmla="*/ 524831 w 4870768"/>
                <a:gd name="connsiteY24" fmla="*/ 444576 h 1243733"/>
                <a:gd name="connsiteX25" fmla="*/ 524826 w 4870768"/>
                <a:gd name="connsiteY25" fmla="*/ 444576 h 1243733"/>
                <a:gd name="connsiteX26" fmla="*/ 2096488 w 4870768"/>
                <a:gd name="connsiteY26" fmla="*/ 743152 h 1243733"/>
                <a:gd name="connsiteX27" fmla="*/ 2096488 w 4870768"/>
                <a:gd name="connsiteY27" fmla="*/ 743152 h 1243733"/>
                <a:gd name="connsiteX28" fmla="*/ 2037968 w 4870768"/>
                <a:gd name="connsiteY28" fmla="*/ 743152 h 1243733"/>
                <a:gd name="connsiteX29" fmla="*/ 2037968 w 4870768"/>
                <a:gd name="connsiteY29" fmla="*/ 774980 h 1243733"/>
                <a:gd name="connsiteX30" fmla="*/ 2013424 w 4870768"/>
                <a:gd name="connsiteY30" fmla="*/ 774980 h 1243733"/>
                <a:gd name="connsiteX31" fmla="*/ 2013424 w 4870768"/>
                <a:gd name="connsiteY31" fmla="*/ 1243723 h 1243733"/>
                <a:gd name="connsiteX32" fmla="*/ 2121033 w 4870768"/>
                <a:gd name="connsiteY32" fmla="*/ 1243723 h 1243733"/>
                <a:gd name="connsiteX33" fmla="*/ 2121033 w 4870768"/>
                <a:gd name="connsiteY33" fmla="*/ 774980 h 1243733"/>
                <a:gd name="connsiteX34" fmla="*/ 2096488 w 4870768"/>
                <a:gd name="connsiteY34" fmla="*/ 774980 h 1243733"/>
                <a:gd name="connsiteX35" fmla="*/ 2096488 w 4870768"/>
                <a:gd name="connsiteY35" fmla="*/ 743152 h 1243733"/>
                <a:gd name="connsiteX36" fmla="*/ 2096488 w 4870768"/>
                <a:gd name="connsiteY36" fmla="*/ 743152 h 1243733"/>
                <a:gd name="connsiteX37" fmla="*/ 2724210 w 4870768"/>
                <a:gd name="connsiteY37" fmla="*/ 568612 h 1243733"/>
                <a:gd name="connsiteX38" fmla="*/ 2724210 w 4870768"/>
                <a:gd name="connsiteY38" fmla="*/ 568612 h 1243733"/>
                <a:gd name="connsiteX39" fmla="*/ 2684565 w 4870768"/>
                <a:gd name="connsiteY39" fmla="*/ 568612 h 1243733"/>
                <a:gd name="connsiteX40" fmla="*/ 2684565 w 4870768"/>
                <a:gd name="connsiteY40" fmla="*/ 589470 h 1243733"/>
                <a:gd name="connsiteX41" fmla="*/ 2670397 w 4870768"/>
                <a:gd name="connsiteY41" fmla="*/ 589470 h 1243733"/>
                <a:gd name="connsiteX42" fmla="*/ 2670397 w 4870768"/>
                <a:gd name="connsiteY42" fmla="*/ 79040 h 1243733"/>
                <a:gd name="connsiteX43" fmla="*/ 2591107 w 4870768"/>
                <a:gd name="connsiteY43" fmla="*/ 79040 h 1243733"/>
                <a:gd name="connsiteX44" fmla="*/ 2591107 w 4870768"/>
                <a:gd name="connsiteY44" fmla="*/ 0 h 1243733"/>
                <a:gd name="connsiteX45" fmla="*/ 2525036 w 4870768"/>
                <a:gd name="connsiteY45" fmla="*/ 0 h 1243733"/>
                <a:gd name="connsiteX46" fmla="*/ 2525036 w 4870768"/>
                <a:gd name="connsiteY46" fmla="*/ 455562 h 1243733"/>
                <a:gd name="connsiteX47" fmla="*/ 2511818 w 4870768"/>
                <a:gd name="connsiteY47" fmla="*/ 455562 h 1243733"/>
                <a:gd name="connsiteX48" fmla="*/ 2511818 w 4870768"/>
                <a:gd name="connsiteY48" fmla="*/ 475321 h 1243733"/>
                <a:gd name="connsiteX49" fmla="*/ 2498604 w 4870768"/>
                <a:gd name="connsiteY49" fmla="*/ 475321 h 1243733"/>
                <a:gd name="connsiteX50" fmla="*/ 2498604 w 4870768"/>
                <a:gd name="connsiteY50" fmla="*/ 490683 h 1243733"/>
                <a:gd name="connsiteX51" fmla="*/ 2484436 w 4870768"/>
                <a:gd name="connsiteY51" fmla="*/ 490683 h 1243733"/>
                <a:gd name="connsiteX52" fmla="*/ 2484436 w 4870768"/>
                <a:gd name="connsiteY52" fmla="*/ 475321 h 1243733"/>
                <a:gd name="connsiteX53" fmla="*/ 2399490 w 4870768"/>
                <a:gd name="connsiteY53" fmla="*/ 475321 h 1243733"/>
                <a:gd name="connsiteX54" fmla="*/ 2399490 w 4870768"/>
                <a:gd name="connsiteY54" fmla="*/ 653148 h 1243733"/>
                <a:gd name="connsiteX55" fmla="*/ 2237135 w 4870768"/>
                <a:gd name="connsiteY55" fmla="*/ 653148 h 1243733"/>
                <a:gd name="connsiteX56" fmla="*/ 2237135 w 4870768"/>
                <a:gd name="connsiteY56" fmla="*/ 816712 h 1243733"/>
                <a:gd name="connsiteX57" fmla="*/ 2161616 w 4870768"/>
                <a:gd name="connsiteY57" fmla="*/ 816712 h 1243733"/>
                <a:gd name="connsiteX58" fmla="*/ 2161616 w 4870768"/>
                <a:gd name="connsiteY58" fmla="*/ 1243734 h 1243733"/>
                <a:gd name="connsiteX59" fmla="*/ 2862980 w 4870768"/>
                <a:gd name="connsiteY59" fmla="*/ 1243734 h 1243733"/>
                <a:gd name="connsiteX60" fmla="*/ 2862980 w 4870768"/>
                <a:gd name="connsiteY60" fmla="*/ 589470 h 1243733"/>
                <a:gd name="connsiteX61" fmla="*/ 2724210 w 4870768"/>
                <a:gd name="connsiteY61" fmla="*/ 589470 h 1243733"/>
                <a:gd name="connsiteX62" fmla="*/ 2724210 w 4870768"/>
                <a:gd name="connsiteY62" fmla="*/ 568612 h 1243733"/>
                <a:gd name="connsiteX63" fmla="*/ 2724210 w 4870768"/>
                <a:gd name="connsiteY63" fmla="*/ 568612 h 1243733"/>
                <a:gd name="connsiteX64" fmla="*/ 1229016 w 4870768"/>
                <a:gd name="connsiteY64" fmla="*/ 635577 h 1243733"/>
                <a:gd name="connsiteX65" fmla="*/ 1229016 w 4870768"/>
                <a:gd name="connsiteY65" fmla="*/ 635577 h 1243733"/>
                <a:gd name="connsiteX66" fmla="*/ 1195029 w 4870768"/>
                <a:gd name="connsiteY66" fmla="*/ 635577 h 1243733"/>
                <a:gd name="connsiteX67" fmla="*/ 1195029 w 4870768"/>
                <a:gd name="connsiteY67" fmla="*/ 716809 h 1243733"/>
                <a:gd name="connsiteX68" fmla="*/ 1176153 w 4870768"/>
                <a:gd name="connsiteY68" fmla="*/ 716809 h 1243733"/>
                <a:gd name="connsiteX69" fmla="*/ 1176153 w 4870768"/>
                <a:gd name="connsiteY69" fmla="*/ 1243723 h 1243733"/>
                <a:gd name="connsiteX70" fmla="*/ 1454610 w 4870768"/>
                <a:gd name="connsiteY70" fmla="*/ 1243723 h 1243733"/>
                <a:gd name="connsiteX71" fmla="*/ 1454610 w 4870768"/>
                <a:gd name="connsiteY71" fmla="*/ 716809 h 1243733"/>
                <a:gd name="connsiteX72" fmla="*/ 1256042 w 4870768"/>
                <a:gd name="connsiteY72" fmla="*/ 716809 h 1243733"/>
                <a:gd name="connsiteX73" fmla="*/ 1229016 w 4870768"/>
                <a:gd name="connsiteY73" fmla="*/ 635577 h 1243733"/>
                <a:gd name="connsiteX74" fmla="*/ 1229016 w 4870768"/>
                <a:gd name="connsiteY74" fmla="*/ 635577 h 1243733"/>
                <a:gd name="connsiteX75" fmla="*/ 959980 w 4870768"/>
                <a:gd name="connsiteY75" fmla="*/ 485198 h 1243733"/>
                <a:gd name="connsiteX76" fmla="*/ 959980 w 4870768"/>
                <a:gd name="connsiteY76" fmla="*/ 485198 h 1243733"/>
                <a:gd name="connsiteX77" fmla="*/ 898623 w 4870768"/>
                <a:gd name="connsiteY77" fmla="*/ 485198 h 1243733"/>
                <a:gd name="connsiteX78" fmla="*/ 898623 w 4870768"/>
                <a:gd name="connsiteY78" fmla="*/ 529101 h 1243733"/>
                <a:gd name="connsiteX79" fmla="*/ 835383 w 4870768"/>
                <a:gd name="connsiteY79" fmla="*/ 529101 h 1243733"/>
                <a:gd name="connsiteX80" fmla="*/ 835383 w 4870768"/>
                <a:gd name="connsiteY80" fmla="*/ 1243723 h 1243733"/>
                <a:gd name="connsiteX81" fmla="*/ 1149710 w 4870768"/>
                <a:gd name="connsiteY81" fmla="*/ 1243723 h 1243733"/>
                <a:gd name="connsiteX82" fmla="*/ 1149710 w 4870768"/>
                <a:gd name="connsiteY82" fmla="*/ 440184 h 1243733"/>
                <a:gd name="connsiteX83" fmla="*/ 959980 w 4870768"/>
                <a:gd name="connsiteY83" fmla="*/ 440184 h 1243733"/>
                <a:gd name="connsiteX84" fmla="*/ 959980 w 4870768"/>
                <a:gd name="connsiteY84" fmla="*/ 485198 h 1243733"/>
                <a:gd name="connsiteX85" fmla="*/ 959980 w 4870768"/>
                <a:gd name="connsiteY85" fmla="*/ 485198 h 1243733"/>
                <a:gd name="connsiteX86" fmla="*/ 1937909 w 4870768"/>
                <a:gd name="connsiteY86" fmla="*/ 182218 h 1243733"/>
                <a:gd name="connsiteX87" fmla="*/ 1937909 w 4870768"/>
                <a:gd name="connsiteY87" fmla="*/ 182218 h 1243733"/>
                <a:gd name="connsiteX88" fmla="*/ 1885051 w 4870768"/>
                <a:gd name="connsiteY88" fmla="*/ 182218 h 1243733"/>
                <a:gd name="connsiteX89" fmla="*/ 1885051 w 4870768"/>
                <a:gd name="connsiteY89" fmla="*/ 203071 h 1243733"/>
                <a:gd name="connsiteX90" fmla="*/ 1869951 w 4870768"/>
                <a:gd name="connsiteY90" fmla="*/ 203071 h 1243733"/>
                <a:gd name="connsiteX91" fmla="*/ 1869951 w 4870768"/>
                <a:gd name="connsiteY91" fmla="*/ 188803 h 1243733"/>
                <a:gd name="connsiteX92" fmla="*/ 1854850 w 4870768"/>
                <a:gd name="connsiteY92" fmla="*/ 188803 h 1243733"/>
                <a:gd name="connsiteX93" fmla="*/ 1854850 w 4870768"/>
                <a:gd name="connsiteY93" fmla="*/ 203071 h 1243733"/>
                <a:gd name="connsiteX94" fmla="*/ 1847294 w 4870768"/>
                <a:gd name="connsiteY94" fmla="*/ 203071 h 1243733"/>
                <a:gd name="connsiteX95" fmla="*/ 1847294 w 4870768"/>
                <a:gd name="connsiteY95" fmla="*/ 188803 h 1243733"/>
                <a:gd name="connsiteX96" fmla="*/ 1831255 w 4870768"/>
                <a:gd name="connsiteY96" fmla="*/ 188803 h 1243733"/>
                <a:gd name="connsiteX97" fmla="*/ 1831255 w 4870768"/>
                <a:gd name="connsiteY97" fmla="*/ 203071 h 1243733"/>
                <a:gd name="connsiteX98" fmla="*/ 1822750 w 4870768"/>
                <a:gd name="connsiteY98" fmla="*/ 203071 h 1243733"/>
                <a:gd name="connsiteX99" fmla="*/ 1822750 w 4870768"/>
                <a:gd name="connsiteY99" fmla="*/ 756321 h 1243733"/>
                <a:gd name="connsiteX100" fmla="*/ 1745359 w 4870768"/>
                <a:gd name="connsiteY100" fmla="*/ 756321 h 1243733"/>
                <a:gd name="connsiteX101" fmla="*/ 1745359 w 4870768"/>
                <a:gd name="connsiteY101" fmla="*/ 703641 h 1243733"/>
                <a:gd name="connsiteX102" fmla="*/ 1672665 w 4870768"/>
                <a:gd name="connsiteY102" fmla="*/ 703641 h 1243733"/>
                <a:gd name="connsiteX103" fmla="*/ 1672665 w 4870768"/>
                <a:gd name="connsiteY103" fmla="*/ 756321 h 1243733"/>
                <a:gd name="connsiteX104" fmla="*/ 1626414 w 4870768"/>
                <a:gd name="connsiteY104" fmla="*/ 756321 h 1243733"/>
                <a:gd name="connsiteX105" fmla="*/ 1626414 w 4870768"/>
                <a:gd name="connsiteY105" fmla="*/ 1243723 h 1243733"/>
                <a:gd name="connsiteX106" fmla="*/ 1963408 w 4870768"/>
                <a:gd name="connsiteY106" fmla="*/ 1243723 h 1243733"/>
                <a:gd name="connsiteX107" fmla="*/ 1963408 w 4870768"/>
                <a:gd name="connsiteY107" fmla="*/ 203071 h 1243733"/>
                <a:gd name="connsiteX108" fmla="*/ 1937915 w 4870768"/>
                <a:gd name="connsiteY108" fmla="*/ 203071 h 1243733"/>
                <a:gd name="connsiteX109" fmla="*/ 1937915 w 4870768"/>
                <a:gd name="connsiteY109" fmla="*/ 182218 h 1243733"/>
                <a:gd name="connsiteX110" fmla="*/ 1937909 w 4870768"/>
                <a:gd name="connsiteY110" fmla="*/ 182218 h 1243733"/>
                <a:gd name="connsiteX111" fmla="*/ 4846231 w 4870768"/>
                <a:gd name="connsiteY111" fmla="*/ 870492 h 1243733"/>
                <a:gd name="connsiteX112" fmla="*/ 4846231 w 4870768"/>
                <a:gd name="connsiteY112" fmla="*/ 870492 h 1243733"/>
                <a:gd name="connsiteX113" fmla="*/ 4846231 w 4870768"/>
                <a:gd name="connsiteY113" fmla="*/ 840718 h 1243733"/>
                <a:gd name="connsiteX114" fmla="*/ 4791491 w 4870768"/>
                <a:gd name="connsiteY114" fmla="*/ 840718 h 1243733"/>
                <a:gd name="connsiteX115" fmla="*/ 4791491 w 4870768"/>
                <a:gd name="connsiteY115" fmla="*/ 870492 h 1243733"/>
                <a:gd name="connsiteX116" fmla="*/ 4779165 w 4870768"/>
                <a:gd name="connsiteY116" fmla="*/ 870492 h 1243733"/>
                <a:gd name="connsiteX117" fmla="*/ 4779165 w 4870768"/>
                <a:gd name="connsiteY117" fmla="*/ 837554 h 1243733"/>
                <a:gd name="connsiteX118" fmla="*/ 4748964 w 4870768"/>
                <a:gd name="connsiteY118" fmla="*/ 837554 h 1243733"/>
                <a:gd name="connsiteX119" fmla="*/ 4748964 w 4870768"/>
                <a:gd name="connsiteY119" fmla="*/ 817801 h 1243733"/>
                <a:gd name="connsiteX120" fmla="*/ 4700831 w 4870768"/>
                <a:gd name="connsiteY120" fmla="*/ 817801 h 1243733"/>
                <a:gd name="connsiteX121" fmla="*/ 4700831 w 4870768"/>
                <a:gd name="connsiteY121" fmla="*/ 837554 h 1243733"/>
                <a:gd name="connsiteX122" fmla="*/ 4644204 w 4870768"/>
                <a:gd name="connsiteY122" fmla="*/ 837554 h 1243733"/>
                <a:gd name="connsiteX123" fmla="*/ 4644204 w 4870768"/>
                <a:gd name="connsiteY123" fmla="*/ 728335 h 1243733"/>
                <a:gd name="connsiteX124" fmla="*/ 4583801 w 4870768"/>
                <a:gd name="connsiteY124" fmla="*/ 728335 h 1243733"/>
                <a:gd name="connsiteX125" fmla="*/ 4583801 w 4870768"/>
                <a:gd name="connsiteY125" fmla="*/ 1243723 h 1243733"/>
                <a:gd name="connsiteX126" fmla="*/ 4870769 w 4870768"/>
                <a:gd name="connsiteY126" fmla="*/ 1243723 h 1243733"/>
                <a:gd name="connsiteX127" fmla="*/ 4870769 w 4870768"/>
                <a:gd name="connsiteY127" fmla="*/ 870486 h 1243733"/>
                <a:gd name="connsiteX128" fmla="*/ 4846231 w 4870768"/>
                <a:gd name="connsiteY128" fmla="*/ 870486 h 1243733"/>
                <a:gd name="connsiteX129" fmla="*/ 4846231 w 4870768"/>
                <a:gd name="connsiteY129" fmla="*/ 870492 h 1243733"/>
                <a:gd name="connsiteX130" fmla="*/ 3148999 w 4870768"/>
                <a:gd name="connsiteY130" fmla="*/ 577395 h 1243733"/>
                <a:gd name="connsiteX131" fmla="*/ 3148999 w 4870768"/>
                <a:gd name="connsiteY131" fmla="*/ 577395 h 1243733"/>
                <a:gd name="connsiteX132" fmla="*/ 3115972 w 4870768"/>
                <a:gd name="connsiteY132" fmla="*/ 577395 h 1243733"/>
                <a:gd name="connsiteX133" fmla="*/ 3115972 w 4870768"/>
                <a:gd name="connsiteY133" fmla="*/ 568606 h 1243733"/>
                <a:gd name="connsiteX134" fmla="*/ 3098962 w 4870768"/>
                <a:gd name="connsiteY134" fmla="*/ 568606 h 1243733"/>
                <a:gd name="connsiteX135" fmla="*/ 3098962 w 4870768"/>
                <a:gd name="connsiteY135" fmla="*/ 482977 h 1243733"/>
                <a:gd name="connsiteX136" fmla="*/ 2999858 w 4870768"/>
                <a:gd name="connsiteY136" fmla="*/ 482977 h 1243733"/>
                <a:gd name="connsiteX137" fmla="*/ 2999858 w 4870768"/>
                <a:gd name="connsiteY137" fmla="*/ 1243717 h 1243733"/>
                <a:gd name="connsiteX138" fmla="*/ 3399137 w 4870768"/>
                <a:gd name="connsiteY138" fmla="*/ 1243717 h 1243733"/>
                <a:gd name="connsiteX139" fmla="*/ 3399137 w 4870768"/>
                <a:gd name="connsiteY139" fmla="*/ 616918 h 1243733"/>
                <a:gd name="connsiteX140" fmla="*/ 3148999 w 4870768"/>
                <a:gd name="connsiteY140" fmla="*/ 616918 h 1243733"/>
                <a:gd name="connsiteX141" fmla="*/ 3148999 w 4870768"/>
                <a:gd name="connsiteY141" fmla="*/ 577395 h 1243733"/>
                <a:gd name="connsiteX142" fmla="*/ 3148999 w 4870768"/>
                <a:gd name="connsiteY142" fmla="*/ 577395 h 1243733"/>
                <a:gd name="connsiteX143" fmla="*/ 4479929 w 4870768"/>
                <a:gd name="connsiteY143" fmla="*/ 1243723 h 1243733"/>
                <a:gd name="connsiteX144" fmla="*/ 4479929 w 4870768"/>
                <a:gd name="connsiteY144" fmla="*/ 1243723 h 1243733"/>
                <a:gd name="connsiteX145" fmla="*/ 4556431 w 4870768"/>
                <a:gd name="connsiteY145" fmla="*/ 1243723 h 1243733"/>
                <a:gd name="connsiteX146" fmla="*/ 4556431 w 4870768"/>
                <a:gd name="connsiteY146" fmla="*/ 777734 h 1243733"/>
                <a:gd name="connsiteX147" fmla="*/ 4479929 w 4870768"/>
                <a:gd name="connsiteY147" fmla="*/ 777734 h 1243733"/>
                <a:gd name="connsiteX148" fmla="*/ 4479929 w 4870768"/>
                <a:gd name="connsiteY148" fmla="*/ 1243723 h 1243733"/>
                <a:gd name="connsiteX149" fmla="*/ 4479929 w 4870768"/>
                <a:gd name="connsiteY149" fmla="*/ 1243723 h 1243733"/>
                <a:gd name="connsiteX150" fmla="*/ 4367617 w 4870768"/>
                <a:gd name="connsiteY150" fmla="*/ 448961 h 1243733"/>
                <a:gd name="connsiteX151" fmla="*/ 4367617 w 4870768"/>
                <a:gd name="connsiteY151" fmla="*/ 448961 h 1243733"/>
                <a:gd name="connsiteX152" fmla="*/ 4281732 w 4870768"/>
                <a:gd name="connsiteY152" fmla="*/ 448961 h 1243733"/>
                <a:gd name="connsiteX153" fmla="*/ 4281732 w 4870768"/>
                <a:gd name="connsiteY153" fmla="*/ 473111 h 1243733"/>
                <a:gd name="connsiteX154" fmla="*/ 4275126 w 4870768"/>
                <a:gd name="connsiteY154" fmla="*/ 473111 h 1243733"/>
                <a:gd name="connsiteX155" fmla="*/ 4275126 w 4870768"/>
                <a:gd name="connsiteY155" fmla="*/ 502752 h 1243733"/>
                <a:gd name="connsiteX156" fmla="*/ 4209060 w 4870768"/>
                <a:gd name="connsiteY156" fmla="*/ 502752 h 1243733"/>
                <a:gd name="connsiteX157" fmla="*/ 4209060 w 4870768"/>
                <a:gd name="connsiteY157" fmla="*/ 529106 h 1243733"/>
                <a:gd name="connsiteX158" fmla="*/ 4192072 w 4870768"/>
                <a:gd name="connsiteY158" fmla="*/ 529106 h 1243733"/>
                <a:gd name="connsiteX159" fmla="*/ 4192072 w 4870768"/>
                <a:gd name="connsiteY159" fmla="*/ 549964 h 1243733"/>
                <a:gd name="connsiteX160" fmla="*/ 4162759 w 4870768"/>
                <a:gd name="connsiteY160" fmla="*/ 549964 h 1243733"/>
                <a:gd name="connsiteX161" fmla="*/ 4162759 w 4870768"/>
                <a:gd name="connsiteY161" fmla="*/ 1243728 h 1243733"/>
                <a:gd name="connsiteX162" fmla="*/ 4427076 w 4870768"/>
                <a:gd name="connsiteY162" fmla="*/ 1243728 h 1243733"/>
                <a:gd name="connsiteX163" fmla="*/ 4427076 w 4870768"/>
                <a:gd name="connsiteY163" fmla="*/ 473111 h 1243733"/>
                <a:gd name="connsiteX164" fmla="*/ 4367617 w 4870768"/>
                <a:gd name="connsiteY164" fmla="*/ 473111 h 1243733"/>
                <a:gd name="connsiteX165" fmla="*/ 4367617 w 4870768"/>
                <a:gd name="connsiteY165" fmla="*/ 448961 h 1243733"/>
                <a:gd name="connsiteX166" fmla="*/ 4367617 w 4870768"/>
                <a:gd name="connsiteY166" fmla="*/ 448961 h 1243733"/>
                <a:gd name="connsiteX167" fmla="*/ 3664387 w 4870768"/>
                <a:gd name="connsiteY167" fmla="*/ 672907 h 1243733"/>
                <a:gd name="connsiteX168" fmla="*/ 3664387 w 4870768"/>
                <a:gd name="connsiteY168" fmla="*/ 672907 h 1243733"/>
                <a:gd name="connsiteX169" fmla="*/ 3581322 w 4870768"/>
                <a:gd name="connsiteY169" fmla="*/ 672907 h 1243733"/>
                <a:gd name="connsiteX170" fmla="*/ 3581322 w 4870768"/>
                <a:gd name="connsiteY170" fmla="*/ 502746 h 1243733"/>
                <a:gd name="connsiteX171" fmla="*/ 3560542 w 4870768"/>
                <a:gd name="connsiteY171" fmla="*/ 502746 h 1243733"/>
                <a:gd name="connsiteX172" fmla="*/ 3560542 w 4870768"/>
                <a:gd name="connsiteY172" fmla="*/ 482977 h 1243733"/>
                <a:gd name="connsiteX173" fmla="*/ 3512425 w 4870768"/>
                <a:gd name="connsiteY173" fmla="*/ 482977 h 1243733"/>
                <a:gd name="connsiteX174" fmla="*/ 3512425 w 4870768"/>
                <a:gd name="connsiteY174" fmla="*/ 502746 h 1243733"/>
                <a:gd name="connsiteX175" fmla="*/ 3501083 w 4870768"/>
                <a:gd name="connsiteY175" fmla="*/ 502746 h 1243733"/>
                <a:gd name="connsiteX176" fmla="*/ 3501083 w 4870768"/>
                <a:gd name="connsiteY176" fmla="*/ 582341 h 1243733"/>
                <a:gd name="connsiteX177" fmla="*/ 3484095 w 4870768"/>
                <a:gd name="connsiteY177" fmla="*/ 582341 h 1243733"/>
                <a:gd name="connsiteX178" fmla="*/ 3484095 w 4870768"/>
                <a:gd name="connsiteY178" fmla="*/ 728329 h 1243733"/>
                <a:gd name="connsiteX179" fmla="*/ 3444445 w 4870768"/>
                <a:gd name="connsiteY179" fmla="*/ 728329 h 1243733"/>
                <a:gd name="connsiteX180" fmla="*/ 3444445 w 4870768"/>
                <a:gd name="connsiteY180" fmla="*/ 1243717 h 1243733"/>
                <a:gd name="connsiteX181" fmla="*/ 3728587 w 4870768"/>
                <a:gd name="connsiteY181" fmla="*/ 1243717 h 1243733"/>
                <a:gd name="connsiteX182" fmla="*/ 3728587 w 4870768"/>
                <a:gd name="connsiteY182" fmla="*/ 728329 h 1243733"/>
                <a:gd name="connsiteX183" fmla="*/ 3664387 w 4870768"/>
                <a:gd name="connsiteY183" fmla="*/ 728329 h 1243733"/>
                <a:gd name="connsiteX184" fmla="*/ 3664387 w 4870768"/>
                <a:gd name="connsiteY184" fmla="*/ 672907 h 124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4870768" h="1243733">
                  <a:moveTo>
                    <a:pt x="524826" y="444576"/>
                  </a:moveTo>
                  <a:lnTo>
                    <a:pt x="470080" y="444576"/>
                  </a:lnTo>
                  <a:lnTo>
                    <a:pt x="470080" y="465428"/>
                  </a:lnTo>
                  <a:lnTo>
                    <a:pt x="458744" y="465428"/>
                  </a:lnTo>
                  <a:lnTo>
                    <a:pt x="458744" y="540076"/>
                  </a:lnTo>
                  <a:lnTo>
                    <a:pt x="441755" y="540076"/>
                  </a:lnTo>
                  <a:lnTo>
                    <a:pt x="441755" y="560934"/>
                  </a:lnTo>
                  <a:lnTo>
                    <a:pt x="378527" y="560934"/>
                  </a:lnTo>
                  <a:lnTo>
                    <a:pt x="378527" y="513722"/>
                  </a:lnTo>
                  <a:lnTo>
                    <a:pt x="123653" y="513722"/>
                  </a:lnTo>
                  <a:lnTo>
                    <a:pt x="123653" y="571899"/>
                  </a:lnTo>
                  <a:lnTo>
                    <a:pt x="102262" y="571899"/>
                  </a:lnTo>
                  <a:lnTo>
                    <a:pt x="102262" y="560928"/>
                  </a:lnTo>
                  <a:lnTo>
                    <a:pt x="75503" y="560928"/>
                  </a:lnTo>
                  <a:lnTo>
                    <a:pt x="75503" y="457739"/>
                  </a:lnTo>
                  <a:lnTo>
                    <a:pt x="29263" y="457739"/>
                  </a:lnTo>
                  <a:lnTo>
                    <a:pt x="29263" y="485186"/>
                  </a:lnTo>
                  <a:lnTo>
                    <a:pt x="16050" y="485186"/>
                  </a:lnTo>
                  <a:lnTo>
                    <a:pt x="16050" y="560928"/>
                  </a:lnTo>
                  <a:lnTo>
                    <a:pt x="0" y="560928"/>
                  </a:lnTo>
                  <a:lnTo>
                    <a:pt x="0" y="1243711"/>
                  </a:lnTo>
                  <a:lnTo>
                    <a:pt x="539932" y="1243711"/>
                  </a:lnTo>
                  <a:lnTo>
                    <a:pt x="539932" y="465417"/>
                  </a:lnTo>
                  <a:lnTo>
                    <a:pt x="524831" y="465417"/>
                  </a:lnTo>
                  <a:lnTo>
                    <a:pt x="524831" y="444576"/>
                  </a:lnTo>
                  <a:lnTo>
                    <a:pt x="524826" y="444576"/>
                  </a:lnTo>
                  <a:close/>
                  <a:moveTo>
                    <a:pt x="2096488" y="743152"/>
                  </a:moveTo>
                  <a:lnTo>
                    <a:pt x="2096488" y="743152"/>
                  </a:lnTo>
                  <a:lnTo>
                    <a:pt x="2037968" y="743152"/>
                  </a:lnTo>
                  <a:lnTo>
                    <a:pt x="2037968" y="774980"/>
                  </a:lnTo>
                  <a:lnTo>
                    <a:pt x="2013424" y="774980"/>
                  </a:lnTo>
                  <a:lnTo>
                    <a:pt x="2013424" y="1243723"/>
                  </a:lnTo>
                  <a:lnTo>
                    <a:pt x="2121033" y="1243723"/>
                  </a:lnTo>
                  <a:lnTo>
                    <a:pt x="2121033" y="774980"/>
                  </a:lnTo>
                  <a:lnTo>
                    <a:pt x="2096488" y="774980"/>
                  </a:lnTo>
                  <a:lnTo>
                    <a:pt x="2096488" y="743152"/>
                  </a:lnTo>
                  <a:lnTo>
                    <a:pt x="2096488" y="743152"/>
                  </a:lnTo>
                  <a:close/>
                  <a:moveTo>
                    <a:pt x="2724210" y="568612"/>
                  </a:moveTo>
                  <a:lnTo>
                    <a:pt x="2724210" y="568612"/>
                  </a:lnTo>
                  <a:lnTo>
                    <a:pt x="2684565" y="568612"/>
                  </a:lnTo>
                  <a:lnTo>
                    <a:pt x="2684565" y="589470"/>
                  </a:lnTo>
                  <a:lnTo>
                    <a:pt x="2670397" y="589470"/>
                  </a:lnTo>
                  <a:lnTo>
                    <a:pt x="2670397" y="79040"/>
                  </a:lnTo>
                  <a:lnTo>
                    <a:pt x="2591107" y="79040"/>
                  </a:lnTo>
                  <a:lnTo>
                    <a:pt x="2591107" y="0"/>
                  </a:lnTo>
                  <a:lnTo>
                    <a:pt x="2525036" y="0"/>
                  </a:lnTo>
                  <a:lnTo>
                    <a:pt x="2525036" y="455562"/>
                  </a:lnTo>
                  <a:lnTo>
                    <a:pt x="2511818" y="455562"/>
                  </a:lnTo>
                  <a:lnTo>
                    <a:pt x="2511818" y="475321"/>
                  </a:lnTo>
                  <a:lnTo>
                    <a:pt x="2498604" y="475321"/>
                  </a:lnTo>
                  <a:lnTo>
                    <a:pt x="2498604" y="490683"/>
                  </a:lnTo>
                  <a:lnTo>
                    <a:pt x="2484436" y="490683"/>
                  </a:lnTo>
                  <a:lnTo>
                    <a:pt x="2484436" y="475321"/>
                  </a:lnTo>
                  <a:lnTo>
                    <a:pt x="2399490" y="475321"/>
                  </a:lnTo>
                  <a:lnTo>
                    <a:pt x="2399490" y="653148"/>
                  </a:lnTo>
                  <a:lnTo>
                    <a:pt x="2237135" y="653148"/>
                  </a:lnTo>
                  <a:lnTo>
                    <a:pt x="2237135" y="816712"/>
                  </a:lnTo>
                  <a:lnTo>
                    <a:pt x="2161616" y="816712"/>
                  </a:lnTo>
                  <a:lnTo>
                    <a:pt x="2161616" y="1243734"/>
                  </a:lnTo>
                  <a:lnTo>
                    <a:pt x="2862980" y="1243734"/>
                  </a:lnTo>
                  <a:lnTo>
                    <a:pt x="2862980" y="589470"/>
                  </a:lnTo>
                  <a:lnTo>
                    <a:pt x="2724210" y="589470"/>
                  </a:lnTo>
                  <a:lnTo>
                    <a:pt x="2724210" y="568612"/>
                  </a:lnTo>
                  <a:lnTo>
                    <a:pt x="2724210" y="568612"/>
                  </a:lnTo>
                  <a:close/>
                  <a:moveTo>
                    <a:pt x="1229016" y="635577"/>
                  </a:moveTo>
                  <a:lnTo>
                    <a:pt x="1229016" y="635577"/>
                  </a:lnTo>
                  <a:lnTo>
                    <a:pt x="1195029" y="635577"/>
                  </a:lnTo>
                  <a:lnTo>
                    <a:pt x="1195029" y="716809"/>
                  </a:lnTo>
                  <a:lnTo>
                    <a:pt x="1176153" y="716809"/>
                  </a:lnTo>
                  <a:lnTo>
                    <a:pt x="1176153" y="1243723"/>
                  </a:lnTo>
                  <a:lnTo>
                    <a:pt x="1454610" y="1243723"/>
                  </a:lnTo>
                  <a:lnTo>
                    <a:pt x="1454610" y="716809"/>
                  </a:lnTo>
                  <a:lnTo>
                    <a:pt x="1256042" y="716809"/>
                  </a:lnTo>
                  <a:lnTo>
                    <a:pt x="1229016" y="635577"/>
                  </a:lnTo>
                  <a:lnTo>
                    <a:pt x="1229016" y="635577"/>
                  </a:lnTo>
                  <a:close/>
                  <a:moveTo>
                    <a:pt x="959980" y="485198"/>
                  </a:moveTo>
                  <a:lnTo>
                    <a:pt x="959980" y="485198"/>
                  </a:lnTo>
                  <a:lnTo>
                    <a:pt x="898623" y="485198"/>
                  </a:lnTo>
                  <a:lnTo>
                    <a:pt x="898623" y="529101"/>
                  </a:lnTo>
                  <a:lnTo>
                    <a:pt x="835383" y="529101"/>
                  </a:lnTo>
                  <a:lnTo>
                    <a:pt x="835383" y="1243723"/>
                  </a:lnTo>
                  <a:lnTo>
                    <a:pt x="1149710" y="1243723"/>
                  </a:lnTo>
                  <a:lnTo>
                    <a:pt x="1149710" y="440184"/>
                  </a:lnTo>
                  <a:lnTo>
                    <a:pt x="959980" y="440184"/>
                  </a:lnTo>
                  <a:lnTo>
                    <a:pt x="959980" y="485198"/>
                  </a:lnTo>
                  <a:lnTo>
                    <a:pt x="959980" y="485198"/>
                  </a:lnTo>
                  <a:close/>
                  <a:moveTo>
                    <a:pt x="1937909" y="182218"/>
                  </a:moveTo>
                  <a:lnTo>
                    <a:pt x="1937909" y="182218"/>
                  </a:lnTo>
                  <a:lnTo>
                    <a:pt x="1885051" y="182218"/>
                  </a:lnTo>
                  <a:lnTo>
                    <a:pt x="1885051" y="203071"/>
                  </a:lnTo>
                  <a:lnTo>
                    <a:pt x="1869951" y="203071"/>
                  </a:lnTo>
                  <a:lnTo>
                    <a:pt x="1869951" y="188803"/>
                  </a:lnTo>
                  <a:lnTo>
                    <a:pt x="1854850" y="188803"/>
                  </a:lnTo>
                  <a:lnTo>
                    <a:pt x="1854850" y="203071"/>
                  </a:lnTo>
                  <a:lnTo>
                    <a:pt x="1847294" y="203071"/>
                  </a:lnTo>
                  <a:lnTo>
                    <a:pt x="1847294" y="188803"/>
                  </a:lnTo>
                  <a:lnTo>
                    <a:pt x="1831255" y="188803"/>
                  </a:lnTo>
                  <a:lnTo>
                    <a:pt x="1831255" y="203071"/>
                  </a:lnTo>
                  <a:lnTo>
                    <a:pt x="1822750" y="203071"/>
                  </a:lnTo>
                  <a:lnTo>
                    <a:pt x="1822750" y="756321"/>
                  </a:lnTo>
                  <a:lnTo>
                    <a:pt x="1745359" y="756321"/>
                  </a:lnTo>
                  <a:lnTo>
                    <a:pt x="1745359" y="703641"/>
                  </a:lnTo>
                  <a:lnTo>
                    <a:pt x="1672665" y="703641"/>
                  </a:lnTo>
                  <a:lnTo>
                    <a:pt x="1672665" y="756321"/>
                  </a:lnTo>
                  <a:lnTo>
                    <a:pt x="1626414" y="756321"/>
                  </a:lnTo>
                  <a:lnTo>
                    <a:pt x="1626414" y="1243723"/>
                  </a:lnTo>
                  <a:lnTo>
                    <a:pt x="1963408" y="1243723"/>
                  </a:lnTo>
                  <a:lnTo>
                    <a:pt x="1963408" y="203071"/>
                  </a:lnTo>
                  <a:lnTo>
                    <a:pt x="1937915" y="203071"/>
                  </a:lnTo>
                  <a:lnTo>
                    <a:pt x="1937915" y="182218"/>
                  </a:lnTo>
                  <a:lnTo>
                    <a:pt x="1937909" y="182218"/>
                  </a:lnTo>
                  <a:close/>
                  <a:moveTo>
                    <a:pt x="4846231" y="870492"/>
                  </a:moveTo>
                  <a:lnTo>
                    <a:pt x="4846231" y="870492"/>
                  </a:lnTo>
                  <a:lnTo>
                    <a:pt x="4846231" y="840718"/>
                  </a:lnTo>
                  <a:lnTo>
                    <a:pt x="4791491" y="840718"/>
                  </a:lnTo>
                  <a:lnTo>
                    <a:pt x="4791491" y="870492"/>
                  </a:lnTo>
                  <a:lnTo>
                    <a:pt x="4779165" y="870492"/>
                  </a:lnTo>
                  <a:lnTo>
                    <a:pt x="4779165" y="837554"/>
                  </a:lnTo>
                  <a:lnTo>
                    <a:pt x="4748964" y="837554"/>
                  </a:lnTo>
                  <a:lnTo>
                    <a:pt x="4748964" y="817801"/>
                  </a:lnTo>
                  <a:lnTo>
                    <a:pt x="4700831" y="817801"/>
                  </a:lnTo>
                  <a:lnTo>
                    <a:pt x="4700831" y="837554"/>
                  </a:lnTo>
                  <a:lnTo>
                    <a:pt x="4644204" y="837554"/>
                  </a:lnTo>
                  <a:lnTo>
                    <a:pt x="4644204" y="728335"/>
                  </a:lnTo>
                  <a:lnTo>
                    <a:pt x="4583801" y="728335"/>
                  </a:lnTo>
                  <a:lnTo>
                    <a:pt x="4583801" y="1243723"/>
                  </a:lnTo>
                  <a:lnTo>
                    <a:pt x="4870769" y="1243723"/>
                  </a:lnTo>
                  <a:lnTo>
                    <a:pt x="4870769" y="870486"/>
                  </a:lnTo>
                  <a:lnTo>
                    <a:pt x="4846231" y="870486"/>
                  </a:lnTo>
                  <a:lnTo>
                    <a:pt x="4846231" y="870492"/>
                  </a:lnTo>
                  <a:close/>
                  <a:moveTo>
                    <a:pt x="3148999" y="577395"/>
                  </a:moveTo>
                  <a:lnTo>
                    <a:pt x="3148999" y="577395"/>
                  </a:lnTo>
                  <a:lnTo>
                    <a:pt x="3115972" y="577395"/>
                  </a:lnTo>
                  <a:lnTo>
                    <a:pt x="3115972" y="568606"/>
                  </a:lnTo>
                  <a:lnTo>
                    <a:pt x="3098962" y="568606"/>
                  </a:lnTo>
                  <a:lnTo>
                    <a:pt x="3098962" y="482977"/>
                  </a:lnTo>
                  <a:lnTo>
                    <a:pt x="2999858" y="482977"/>
                  </a:lnTo>
                  <a:lnTo>
                    <a:pt x="2999858" y="1243717"/>
                  </a:lnTo>
                  <a:lnTo>
                    <a:pt x="3399137" y="1243717"/>
                  </a:lnTo>
                  <a:lnTo>
                    <a:pt x="3399137" y="616918"/>
                  </a:lnTo>
                  <a:lnTo>
                    <a:pt x="3148999" y="616918"/>
                  </a:lnTo>
                  <a:lnTo>
                    <a:pt x="3148999" y="577395"/>
                  </a:lnTo>
                  <a:lnTo>
                    <a:pt x="3148999" y="577395"/>
                  </a:lnTo>
                  <a:close/>
                  <a:moveTo>
                    <a:pt x="4479929" y="1243723"/>
                  </a:moveTo>
                  <a:lnTo>
                    <a:pt x="4479929" y="1243723"/>
                  </a:lnTo>
                  <a:lnTo>
                    <a:pt x="4556431" y="1243723"/>
                  </a:lnTo>
                  <a:lnTo>
                    <a:pt x="4556431" y="777734"/>
                  </a:lnTo>
                  <a:lnTo>
                    <a:pt x="4479929" y="777734"/>
                  </a:lnTo>
                  <a:lnTo>
                    <a:pt x="4479929" y="1243723"/>
                  </a:lnTo>
                  <a:lnTo>
                    <a:pt x="4479929" y="1243723"/>
                  </a:lnTo>
                  <a:close/>
                  <a:moveTo>
                    <a:pt x="4367617" y="448961"/>
                  </a:moveTo>
                  <a:lnTo>
                    <a:pt x="4367617" y="448961"/>
                  </a:lnTo>
                  <a:lnTo>
                    <a:pt x="4281732" y="448961"/>
                  </a:lnTo>
                  <a:lnTo>
                    <a:pt x="4281732" y="473111"/>
                  </a:lnTo>
                  <a:lnTo>
                    <a:pt x="4275126" y="473111"/>
                  </a:lnTo>
                  <a:lnTo>
                    <a:pt x="4275126" y="502752"/>
                  </a:lnTo>
                  <a:lnTo>
                    <a:pt x="4209060" y="502752"/>
                  </a:lnTo>
                  <a:lnTo>
                    <a:pt x="4209060" y="529106"/>
                  </a:lnTo>
                  <a:lnTo>
                    <a:pt x="4192072" y="529106"/>
                  </a:lnTo>
                  <a:lnTo>
                    <a:pt x="4192072" y="549964"/>
                  </a:lnTo>
                  <a:lnTo>
                    <a:pt x="4162759" y="549964"/>
                  </a:lnTo>
                  <a:lnTo>
                    <a:pt x="4162759" y="1243728"/>
                  </a:lnTo>
                  <a:lnTo>
                    <a:pt x="4427076" y="1243728"/>
                  </a:lnTo>
                  <a:lnTo>
                    <a:pt x="4427076" y="473111"/>
                  </a:lnTo>
                  <a:lnTo>
                    <a:pt x="4367617" y="473111"/>
                  </a:lnTo>
                  <a:lnTo>
                    <a:pt x="4367617" y="448961"/>
                  </a:lnTo>
                  <a:lnTo>
                    <a:pt x="4367617" y="448961"/>
                  </a:lnTo>
                  <a:close/>
                  <a:moveTo>
                    <a:pt x="3664387" y="672907"/>
                  </a:moveTo>
                  <a:lnTo>
                    <a:pt x="3664387" y="672907"/>
                  </a:lnTo>
                  <a:lnTo>
                    <a:pt x="3581322" y="672907"/>
                  </a:lnTo>
                  <a:lnTo>
                    <a:pt x="3581322" y="502746"/>
                  </a:lnTo>
                  <a:lnTo>
                    <a:pt x="3560542" y="502746"/>
                  </a:lnTo>
                  <a:lnTo>
                    <a:pt x="3560542" y="482977"/>
                  </a:lnTo>
                  <a:lnTo>
                    <a:pt x="3512425" y="482977"/>
                  </a:lnTo>
                  <a:lnTo>
                    <a:pt x="3512425" y="502746"/>
                  </a:lnTo>
                  <a:lnTo>
                    <a:pt x="3501083" y="502746"/>
                  </a:lnTo>
                  <a:lnTo>
                    <a:pt x="3501083" y="582341"/>
                  </a:lnTo>
                  <a:lnTo>
                    <a:pt x="3484095" y="582341"/>
                  </a:lnTo>
                  <a:lnTo>
                    <a:pt x="3484095" y="728329"/>
                  </a:lnTo>
                  <a:lnTo>
                    <a:pt x="3444445" y="728329"/>
                  </a:lnTo>
                  <a:lnTo>
                    <a:pt x="3444445" y="1243717"/>
                  </a:lnTo>
                  <a:lnTo>
                    <a:pt x="3728587" y="1243717"/>
                  </a:lnTo>
                  <a:lnTo>
                    <a:pt x="3728587" y="728329"/>
                  </a:lnTo>
                  <a:lnTo>
                    <a:pt x="3664387" y="728329"/>
                  </a:lnTo>
                  <a:lnTo>
                    <a:pt x="3664387" y="672907"/>
                  </a:lnTo>
                  <a:close/>
                </a:path>
              </a:pathLst>
            </a:custGeom>
            <a:solidFill>
              <a:srgbClr val="E0F5F8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395" name="Groep 394">
              <a:extLst>
                <a:ext uri="{FF2B5EF4-FFF2-40B4-BE49-F238E27FC236}">
                  <a16:creationId xmlns:a16="http://schemas.microsoft.com/office/drawing/2014/main" id="{1CFE77B5-6BC0-6504-D18F-736DD0D57C79}"/>
                </a:ext>
              </a:extLst>
            </p:cNvPr>
            <p:cNvGrpSpPr/>
            <p:nvPr/>
          </p:nvGrpSpPr>
          <p:grpSpPr>
            <a:xfrm>
              <a:off x="122255" y="103192"/>
              <a:ext cx="6226724" cy="5452845"/>
              <a:chOff x="3382225" y="3598167"/>
              <a:chExt cx="2664248" cy="2372222"/>
            </a:xfrm>
          </p:grpSpPr>
          <p:sp>
            <p:nvSpPr>
              <p:cNvPr id="77" name="Vrije vorm 76">
                <a:extLst>
                  <a:ext uri="{FF2B5EF4-FFF2-40B4-BE49-F238E27FC236}">
                    <a16:creationId xmlns:a16="http://schemas.microsoft.com/office/drawing/2014/main" id="{BF3F4F25-12EC-D1A5-B3DD-72F7335C7127}"/>
                  </a:ext>
                </a:extLst>
              </p:cNvPr>
              <p:cNvSpPr/>
              <p:nvPr/>
            </p:nvSpPr>
            <p:spPr>
              <a:xfrm flipV="1">
                <a:off x="3459506" y="5518644"/>
                <a:ext cx="2512900" cy="373474"/>
              </a:xfrm>
              <a:custGeom>
                <a:avLst/>
                <a:gdLst>
                  <a:gd name="connsiteX0" fmla="*/ -1226 w 2512900"/>
                  <a:gd name="connsiteY0" fmla="*/ -133 h 373474"/>
                  <a:gd name="connsiteX1" fmla="*/ 2511675 w 2512900"/>
                  <a:gd name="connsiteY1" fmla="*/ -133 h 373474"/>
                  <a:gd name="connsiteX2" fmla="*/ 2260608 w 2512900"/>
                  <a:gd name="connsiteY2" fmla="*/ 217409 h 373474"/>
                  <a:gd name="connsiteX3" fmla="*/ 2176614 w 2512900"/>
                  <a:gd name="connsiteY3" fmla="*/ 284661 h 373474"/>
                  <a:gd name="connsiteX4" fmla="*/ 2146746 w 2512900"/>
                  <a:gd name="connsiteY4" fmla="*/ 171028 h 373474"/>
                  <a:gd name="connsiteX5" fmla="*/ 1987149 w 2512900"/>
                  <a:gd name="connsiteY5" fmla="*/ 332008 h 373474"/>
                  <a:gd name="connsiteX6" fmla="*/ 1728745 w 2512900"/>
                  <a:gd name="connsiteY6" fmla="*/ 115355 h 373474"/>
                  <a:gd name="connsiteX7" fmla="*/ 1679151 w 2512900"/>
                  <a:gd name="connsiteY7" fmla="*/ 131321 h 373474"/>
                  <a:gd name="connsiteX8" fmla="*/ 1631017 w 2512900"/>
                  <a:gd name="connsiteY8" fmla="*/ 116381 h 373474"/>
                  <a:gd name="connsiteX9" fmla="*/ 1506848 w 2512900"/>
                  <a:gd name="connsiteY9" fmla="*/ 217653 h 373474"/>
                  <a:gd name="connsiteX10" fmla="*/ 1378376 w 2512900"/>
                  <a:gd name="connsiteY10" fmla="*/ 94232 h 373474"/>
                  <a:gd name="connsiteX11" fmla="*/ 1302874 w 2512900"/>
                  <a:gd name="connsiteY11" fmla="*/ 124722 h 373474"/>
                  <a:gd name="connsiteX12" fmla="*/ 1210947 w 2512900"/>
                  <a:gd name="connsiteY12" fmla="*/ 67590 h 373474"/>
                  <a:gd name="connsiteX13" fmla="*/ 1156504 w 2512900"/>
                  <a:gd name="connsiteY13" fmla="*/ 75534 h 373474"/>
                  <a:gd name="connsiteX14" fmla="*/ 1133732 w 2512900"/>
                  <a:gd name="connsiteY14" fmla="*/ 74264 h 373474"/>
                  <a:gd name="connsiteX15" fmla="*/ 1138085 w 2512900"/>
                  <a:gd name="connsiteY15" fmla="*/ 101353 h 373474"/>
                  <a:gd name="connsiteX16" fmla="*/ 1066087 w 2512900"/>
                  <a:gd name="connsiteY16" fmla="*/ 180280 h 373474"/>
                  <a:gd name="connsiteX17" fmla="*/ 998189 w 2512900"/>
                  <a:gd name="connsiteY17" fmla="*/ 127716 h 373474"/>
                  <a:gd name="connsiteX18" fmla="*/ 969133 w 2512900"/>
                  <a:gd name="connsiteY18" fmla="*/ 149766 h 373474"/>
                  <a:gd name="connsiteX19" fmla="*/ 934327 w 2512900"/>
                  <a:gd name="connsiteY19" fmla="*/ 112523 h 373474"/>
                  <a:gd name="connsiteX20" fmla="*/ 903317 w 2512900"/>
                  <a:gd name="connsiteY20" fmla="*/ 120675 h 373474"/>
                  <a:gd name="connsiteX21" fmla="*/ 834987 w 2512900"/>
                  <a:gd name="connsiteY21" fmla="*/ 45793 h 373474"/>
                  <a:gd name="connsiteX22" fmla="*/ 835013 w 2512900"/>
                  <a:gd name="connsiteY22" fmla="*/ 45247 h 373474"/>
                  <a:gd name="connsiteX23" fmla="*/ 686883 w 2512900"/>
                  <a:gd name="connsiteY23" fmla="*/ 101353 h 373474"/>
                  <a:gd name="connsiteX24" fmla="*/ 599377 w 2512900"/>
                  <a:gd name="connsiteY24" fmla="*/ 84320 h 373474"/>
                  <a:gd name="connsiteX25" fmla="*/ 565664 w 2512900"/>
                  <a:gd name="connsiteY25" fmla="*/ 179368 h 373474"/>
                  <a:gd name="connsiteX26" fmla="*/ 474092 w 2512900"/>
                  <a:gd name="connsiteY26" fmla="*/ 164161 h 373474"/>
                  <a:gd name="connsiteX27" fmla="*/ 252251 w 2512900"/>
                  <a:gd name="connsiteY27" fmla="*/ 321016 h 373474"/>
                  <a:gd name="connsiteX28" fmla="*/ -1226 w 2512900"/>
                  <a:gd name="connsiteY28" fmla="*/ -133 h 373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512900" h="373474">
                    <a:moveTo>
                      <a:pt x="-1226" y="-133"/>
                    </a:moveTo>
                    <a:lnTo>
                      <a:pt x="2511675" y="-133"/>
                    </a:lnTo>
                    <a:cubicBezTo>
                      <a:pt x="2511675" y="513235"/>
                      <a:pt x="2266206" y="405527"/>
                      <a:pt x="2260608" y="217409"/>
                    </a:cubicBezTo>
                    <a:cubicBezTo>
                      <a:pt x="2250504" y="273618"/>
                      <a:pt x="2204578" y="290080"/>
                      <a:pt x="2176614" y="284661"/>
                    </a:cubicBezTo>
                    <a:cubicBezTo>
                      <a:pt x="2157929" y="281017"/>
                      <a:pt x="2143014" y="238597"/>
                      <a:pt x="2146746" y="171028"/>
                    </a:cubicBezTo>
                    <a:cubicBezTo>
                      <a:pt x="2122489" y="233187"/>
                      <a:pt x="2056494" y="322792"/>
                      <a:pt x="1987149" y="332008"/>
                    </a:cubicBezTo>
                    <a:cubicBezTo>
                      <a:pt x="1803295" y="356444"/>
                      <a:pt x="1736107" y="215253"/>
                      <a:pt x="1728745" y="115355"/>
                    </a:cubicBezTo>
                    <a:cubicBezTo>
                      <a:pt x="1714452" y="125445"/>
                      <a:pt x="1697417" y="131321"/>
                      <a:pt x="1679151" y="131321"/>
                    </a:cubicBezTo>
                    <a:cubicBezTo>
                      <a:pt x="1661507" y="131321"/>
                      <a:pt x="1644993" y="125851"/>
                      <a:pt x="1631017" y="116381"/>
                    </a:cubicBezTo>
                    <a:cubicBezTo>
                      <a:pt x="1615010" y="174966"/>
                      <a:pt x="1565480" y="217653"/>
                      <a:pt x="1506848" y="217653"/>
                    </a:cubicBezTo>
                    <a:cubicBezTo>
                      <a:pt x="1441019" y="217653"/>
                      <a:pt x="1386741" y="163869"/>
                      <a:pt x="1378376" y="94232"/>
                    </a:cubicBezTo>
                    <a:cubicBezTo>
                      <a:pt x="1360859" y="112767"/>
                      <a:pt x="1333580" y="124722"/>
                      <a:pt x="1302874" y="124722"/>
                    </a:cubicBezTo>
                    <a:cubicBezTo>
                      <a:pt x="1259246" y="124722"/>
                      <a:pt x="1222422" y="100578"/>
                      <a:pt x="1210947" y="67590"/>
                    </a:cubicBezTo>
                    <a:cubicBezTo>
                      <a:pt x="1195511" y="72603"/>
                      <a:pt x="1176737" y="75534"/>
                      <a:pt x="1156504" y="75534"/>
                    </a:cubicBezTo>
                    <a:cubicBezTo>
                      <a:pt x="1148685" y="75534"/>
                      <a:pt x="1141043" y="75092"/>
                      <a:pt x="1133732" y="74264"/>
                    </a:cubicBezTo>
                    <a:cubicBezTo>
                      <a:pt x="1136537" y="82718"/>
                      <a:pt x="1138085" y="91807"/>
                      <a:pt x="1138085" y="101353"/>
                    </a:cubicBezTo>
                    <a:cubicBezTo>
                      <a:pt x="1138085" y="144957"/>
                      <a:pt x="1105831" y="180280"/>
                      <a:pt x="1066087" y="180280"/>
                    </a:cubicBezTo>
                    <a:cubicBezTo>
                      <a:pt x="1034734" y="180280"/>
                      <a:pt x="1008103" y="158334"/>
                      <a:pt x="998189" y="127716"/>
                    </a:cubicBezTo>
                    <a:cubicBezTo>
                      <a:pt x="991258" y="141174"/>
                      <a:pt x="980824" y="149766"/>
                      <a:pt x="969133" y="149766"/>
                    </a:cubicBezTo>
                    <a:cubicBezTo>
                      <a:pt x="953533" y="149766"/>
                      <a:pt x="940116" y="134395"/>
                      <a:pt x="934327" y="112523"/>
                    </a:cubicBezTo>
                    <a:cubicBezTo>
                      <a:pt x="925010" y="117740"/>
                      <a:pt x="914475" y="120675"/>
                      <a:pt x="903317" y="120675"/>
                    </a:cubicBezTo>
                    <a:cubicBezTo>
                      <a:pt x="865591" y="120675"/>
                      <a:pt x="834987" y="87151"/>
                      <a:pt x="834987" y="45793"/>
                    </a:cubicBezTo>
                    <a:lnTo>
                      <a:pt x="835013" y="45247"/>
                    </a:lnTo>
                    <a:cubicBezTo>
                      <a:pt x="799597" y="79506"/>
                      <a:pt x="746386" y="101353"/>
                      <a:pt x="686883" y="101353"/>
                    </a:cubicBezTo>
                    <a:cubicBezTo>
                      <a:pt x="655377" y="101353"/>
                      <a:pt x="625672" y="95184"/>
                      <a:pt x="599377" y="84320"/>
                    </a:cubicBezTo>
                    <a:cubicBezTo>
                      <a:pt x="604757" y="124761"/>
                      <a:pt x="592882" y="162118"/>
                      <a:pt x="565664" y="179368"/>
                    </a:cubicBezTo>
                    <a:cubicBezTo>
                      <a:pt x="538536" y="196529"/>
                      <a:pt x="503267" y="189246"/>
                      <a:pt x="474092" y="164161"/>
                    </a:cubicBezTo>
                    <a:cubicBezTo>
                      <a:pt x="435837" y="256660"/>
                      <a:pt x="350910" y="321016"/>
                      <a:pt x="252251" y="321016"/>
                    </a:cubicBezTo>
                    <a:cubicBezTo>
                      <a:pt x="181866" y="321016"/>
                      <a:pt x="-1226" y="246074"/>
                      <a:pt x="-1226" y="-133"/>
                    </a:cubicBezTo>
                  </a:path>
                </a:pathLst>
              </a:custGeom>
              <a:solidFill>
                <a:srgbClr val="2A863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8" name="Vrije vorm 77">
                <a:extLst>
                  <a:ext uri="{FF2B5EF4-FFF2-40B4-BE49-F238E27FC236}">
                    <a16:creationId xmlns:a16="http://schemas.microsoft.com/office/drawing/2014/main" id="{4F0CED15-DD44-06B6-08DA-EDF431947C95}"/>
                  </a:ext>
                </a:extLst>
              </p:cNvPr>
              <p:cNvSpPr/>
              <p:nvPr/>
            </p:nvSpPr>
            <p:spPr>
              <a:xfrm flipV="1">
                <a:off x="3742138" y="3988076"/>
                <a:ext cx="834287" cy="1904043"/>
              </a:xfrm>
              <a:custGeom>
                <a:avLst/>
                <a:gdLst>
                  <a:gd name="connsiteX0" fmla="*/ -845 w 834287"/>
                  <a:gd name="connsiteY0" fmla="*/ -816 h 1904043"/>
                  <a:gd name="connsiteX1" fmla="*/ 833442 w 834287"/>
                  <a:gd name="connsiteY1" fmla="*/ -816 h 1904043"/>
                  <a:gd name="connsiteX2" fmla="*/ 833442 w 834287"/>
                  <a:gd name="connsiteY2" fmla="*/ 1903227 h 1904043"/>
                  <a:gd name="connsiteX3" fmla="*/ -845 w 834287"/>
                  <a:gd name="connsiteY3" fmla="*/ 1903227 h 190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4287" h="1904043">
                    <a:moveTo>
                      <a:pt x="-845" y="-816"/>
                    </a:moveTo>
                    <a:lnTo>
                      <a:pt x="833442" y="-816"/>
                    </a:lnTo>
                    <a:lnTo>
                      <a:pt x="833442" y="1903227"/>
                    </a:lnTo>
                    <a:lnTo>
                      <a:pt x="-845" y="1903227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 dirty="0"/>
              </a:p>
            </p:txBody>
          </p:sp>
          <p:sp>
            <p:nvSpPr>
              <p:cNvPr id="79" name="Vrije vorm 78">
                <a:extLst>
                  <a:ext uri="{FF2B5EF4-FFF2-40B4-BE49-F238E27FC236}">
                    <a16:creationId xmlns:a16="http://schemas.microsoft.com/office/drawing/2014/main" id="{096588C6-1A84-CC67-3484-79C054BFEA0D}"/>
                  </a:ext>
                </a:extLst>
              </p:cNvPr>
              <p:cNvSpPr/>
              <p:nvPr/>
            </p:nvSpPr>
            <p:spPr>
              <a:xfrm flipV="1">
                <a:off x="4576425" y="3988076"/>
                <a:ext cx="1110133" cy="1904043"/>
              </a:xfrm>
              <a:custGeom>
                <a:avLst/>
                <a:gdLst>
                  <a:gd name="connsiteX0" fmla="*/ -1509 w 1110133"/>
                  <a:gd name="connsiteY0" fmla="*/ -816 h 1904043"/>
                  <a:gd name="connsiteX1" fmla="*/ 1108624 w 1110133"/>
                  <a:gd name="connsiteY1" fmla="*/ -816 h 1904043"/>
                  <a:gd name="connsiteX2" fmla="*/ 1108624 w 1110133"/>
                  <a:gd name="connsiteY2" fmla="*/ 1903227 h 1904043"/>
                  <a:gd name="connsiteX3" fmla="*/ -1509 w 1110133"/>
                  <a:gd name="connsiteY3" fmla="*/ 1903227 h 190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0133" h="1904043">
                    <a:moveTo>
                      <a:pt x="-1509" y="-816"/>
                    </a:moveTo>
                    <a:lnTo>
                      <a:pt x="1108624" y="-816"/>
                    </a:lnTo>
                    <a:lnTo>
                      <a:pt x="1108624" y="1903227"/>
                    </a:lnTo>
                    <a:lnTo>
                      <a:pt x="-1509" y="1903227"/>
                    </a:lnTo>
                    <a:close/>
                  </a:path>
                </a:pathLst>
              </a:custGeom>
              <a:solidFill>
                <a:schemeClr val="bg2">
                  <a:lumMod val="50000"/>
                </a:schemeClr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0" name="Vrije vorm 79">
                <a:extLst>
                  <a:ext uri="{FF2B5EF4-FFF2-40B4-BE49-F238E27FC236}">
                    <a16:creationId xmlns:a16="http://schemas.microsoft.com/office/drawing/2014/main" id="{C21CB229-1189-4959-C979-E40738F35479}"/>
                  </a:ext>
                </a:extLst>
              </p:cNvPr>
              <p:cNvSpPr/>
              <p:nvPr/>
            </p:nvSpPr>
            <p:spPr>
              <a:xfrm flipV="1">
                <a:off x="3889874" y="4413312"/>
                <a:ext cx="686551" cy="241178"/>
              </a:xfrm>
              <a:custGeom>
                <a:avLst/>
                <a:gdLst>
                  <a:gd name="connsiteX0" fmla="*/ -896 w 686551"/>
                  <a:gd name="connsiteY0" fmla="*/ -1179 h 241178"/>
                  <a:gd name="connsiteX1" fmla="*/ 685655 w 686551"/>
                  <a:gd name="connsiteY1" fmla="*/ -1179 h 241178"/>
                  <a:gd name="connsiteX2" fmla="*/ 685655 w 686551"/>
                  <a:gd name="connsiteY2" fmla="*/ 240000 h 241178"/>
                  <a:gd name="connsiteX3" fmla="*/ -896 w 686551"/>
                  <a:gd name="connsiteY3" fmla="*/ 240000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6551" h="241178">
                    <a:moveTo>
                      <a:pt x="-896" y="-1179"/>
                    </a:moveTo>
                    <a:lnTo>
                      <a:pt x="685655" y="-1179"/>
                    </a:lnTo>
                    <a:lnTo>
                      <a:pt x="685655" y="240000"/>
                    </a:lnTo>
                    <a:lnTo>
                      <a:pt x="-896" y="240000"/>
                    </a:lnTo>
                    <a:close/>
                  </a:path>
                </a:pathLst>
              </a:custGeom>
              <a:solidFill>
                <a:srgbClr val="2A5EA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1" name="Vrije vorm 80">
                <a:extLst>
                  <a:ext uri="{FF2B5EF4-FFF2-40B4-BE49-F238E27FC236}">
                    <a16:creationId xmlns:a16="http://schemas.microsoft.com/office/drawing/2014/main" id="{62891FA8-9280-AD74-A7BC-AFD547CDBD91}"/>
                  </a:ext>
                </a:extLst>
              </p:cNvPr>
              <p:cNvSpPr/>
              <p:nvPr/>
            </p:nvSpPr>
            <p:spPr>
              <a:xfrm flipV="1">
                <a:off x="4057555" y="4413312"/>
                <a:ext cx="12693" cy="241178"/>
              </a:xfrm>
              <a:custGeom>
                <a:avLst/>
                <a:gdLst>
                  <a:gd name="connsiteX0" fmla="*/ -780 w 12693"/>
                  <a:gd name="connsiteY0" fmla="*/ -1179 h 241178"/>
                  <a:gd name="connsiteX1" fmla="*/ 11913 w 12693"/>
                  <a:gd name="connsiteY1" fmla="*/ -1179 h 241178"/>
                  <a:gd name="connsiteX2" fmla="*/ 11913 w 12693"/>
                  <a:gd name="connsiteY2" fmla="*/ 240000 h 241178"/>
                  <a:gd name="connsiteX3" fmla="*/ -780 w 12693"/>
                  <a:gd name="connsiteY3" fmla="*/ 240000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780" y="-1179"/>
                    </a:moveTo>
                    <a:lnTo>
                      <a:pt x="11913" y="-1179"/>
                    </a:lnTo>
                    <a:lnTo>
                      <a:pt x="11913" y="240000"/>
                    </a:lnTo>
                    <a:lnTo>
                      <a:pt x="-780" y="240000"/>
                    </a:lnTo>
                    <a:close/>
                  </a:path>
                </a:pathLst>
              </a:custGeom>
              <a:solidFill>
                <a:srgbClr val="2144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2" name="Vrije vorm 81">
                <a:extLst>
                  <a:ext uri="{FF2B5EF4-FFF2-40B4-BE49-F238E27FC236}">
                    <a16:creationId xmlns:a16="http://schemas.microsoft.com/office/drawing/2014/main" id="{43A2E6CC-13AC-C507-DB41-2223D87E354E}"/>
                  </a:ext>
                </a:extLst>
              </p:cNvPr>
              <p:cNvSpPr/>
              <p:nvPr/>
            </p:nvSpPr>
            <p:spPr>
              <a:xfrm flipV="1">
                <a:off x="4226805" y="4413312"/>
                <a:ext cx="12693" cy="241178"/>
              </a:xfrm>
              <a:custGeom>
                <a:avLst/>
                <a:gdLst>
                  <a:gd name="connsiteX0" fmla="*/ -896 w 12693"/>
                  <a:gd name="connsiteY0" fmla="*/ -1179 h 241178"/>
                  <a:gd name="connsiteX1" fmla="*/ 11798 w 12693"/>
                  <a:gd name="connsiteY1" fmla="*/ -1179 h 241178"/>
                  <a:gd name="connsiteX2" fmla="*/ 11798 w 12693"/>
                  <a:gd name="connsiteY2" fmla="*/ 240000 h 241178"/>
                  <a:gd name="connsiteX3" fmla="*/ -896 w 12693"/>
                  <a:gd name="connsiteY3" fmla="*/ 240000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896" y="-1179"/>
                    </a:moveTo>
                    <a:lnTo>
                      <a:pt x="11798" y="-1179"/>
                    </a:lnTo>
                    <a:lnTo>
                      <a:pt x="11798" y="240000"/>
                    </a:lnTo>
                    <a:lnTo>
                      <a:pt x="-896" y="240000"/>
                    </a:lnTo>
                    <a:close/>
                  </a:path>
                </a:pathLst>
              </a:custGeom>
              <a:solidFill>
                <a:srgbClr val="2144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3" name="Vrije vorm 82">
                <a:extLst>
                  <a:ext uri="{FF2B5EF4-FFF2-40B4-BE49-F238E27FC236}">
                    <a16:creationId xmlns:a16="http://schemas.microsoft.com/office/drawing/2014/main" id="{2F6F1C6F-BD3A-11F3-FB8D-7ACB94FF1E31}"/>
                  </a:ext>
                </a:extLst>
              </p:cNvPr>
              <p:cNvSpPr/>
              <p:nvPr/>
            </p:nvSpPr>
            <p:spPr>
              <a:xfrm flipV="1">
                <a:off x="4396049" y="4413312"/>
                <a:ext cx="12693" cy="241178"/>
              </a:xfrm>
              <a:custGeom>
                <a:avLst/>
                <a:gdLst>
                  <a:gd name="connsiteX0" fmla="*/ -1011 w 12693"/>
                  <a:gd name="connsiteY0" fmla="*/ -1179 h 241178"/>
                  <a:gd name="connsiteX1" fmla="*/ 11682 w 12693"/>
                  <a:gd name="connsiteY1" fmla="*/ -1179 h 241178"/>
                  <a:gd name="connsiteX2" fmla="*/ 11682 w 12693"/>
                  <a:gd name="connsiteY2" fmla="*/ 240000 h 241178"/>
                  <a:gd name="connsiteX3" fmla="*/ -1011 w 12693"/>
                  <a:gd name="connsiteY3" fmla="*/ 240000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1011" y="-1179"/>
                    </a:moveTo>
                    <a:lnTo>
                      <a:pt x="11682" y="-1179"/>
                    </a:lnTo>
                    <a:lnTo>
                      <a:pt x="11682" y="240000"/>
                    </a:lnTo>
                    <a:lnTo>
                      <a:pt x="-1011" y="240000"/>
                    </a:lnTo>
                    <a:close/>
                  </a:path>
                </a:pathLst>
              </a:custGeom>
              <a:solidFill>
                <a:srgbClr val="2144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4" name="Vrije vorm 83">
                <a:extLst>
                  <a:ext uri="{FF2B5EF4-FFF2-40B4-BE49-F238E27FC236}">
                    <a16:creationId xmlns:a16="http://schemas.microsoft.com/office/drawing/2014/main" id="{058FEB85-60AE-B028-AA62-9C35167E0D4E}"/>
                  </a:ext>
                </a:extLst>
              </p:cNvPr>
              <p:cNvSpPr/>
              <p:nvPr/>
            </p:nvSpPr>
            <p:spPr>
              <a:xfrm flipV="1">
                <a:off x="3966036" y="4413312"/>
                <a:ext cx="260768" cy="241178"/>
              </a:xfrm>
              <a:custGeom>
                <a:avLst/>
                <a:gdLst>
                  <a:gd name="connsiteX0" fmla="*/ 192439 w 260768"/>
                  <a:gd name="connsiteY0" fmla="*/ -1179 h 241178"/>
                  <a:gd name="connsiteX1" fmla="*/ 103410 w 260768"/>
                  <a:gd name="connsiteY1" fmla="*/ -1179 h 241178"/>
                  <a:gd name="connsiteX2" fmla="*/ 103410 w 260768"/>
                  <a:gd name="connsiteY2" fmla="*/ 185659 h 241178"/>
                  <a:gd name="connsiteX3" fmla="*/ 133726 w 260768"/>
                  <a:gd name="connsiteY3" fmla="*/ 240000 h 241178"/>
                  <a:gd name="connsiteX4" fmla="*/ 259966 w 260768"/>
                  <a:gd name="connsiteY4" fmla="*/ 240000 h 241178"/>
                  <a:gd name="connsiteX5" fmla="*/ 259966 w 260768"/>
                  <a:gd name="connsiteY5" fmla="*/ 119880 h 241178"/>
                  <a:gd name="connsiteX6" fmla="*/ 192439 w 260768"/>
                  <a:gd name="connsiteY6" fmla="*/ -1179 h 241178"/>
                  <a:gd name="connsiteX7" fmla="*/ 90716 w 260768"/>
                  <a:gd name="connsiteY7" fmla="*/ -1179 h 241178"/>
                  <a:gd name="connsiteX8" fmla="*/ -803 w 260768"/>
                  <a:gd name="connsiteY8" fmla="*/ -1179 h 241178"/>
                  <a:gd name="connsiteX9" fmla="*/ 90716 w 260768"/>
                  <a:gd name="connsiteY9" fmla="*/ 162899 h 241178"/>
                  <a:gd name="connsiteX10" fmla="*/ 90716 w 260768"/>
                  <a:gd name="connsiteY10" fmla="*/ -1179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0768" h="241178">
                    <a:moveTo>
                      <a:pt x="192439" y="-1179"/>
                    </a:moveTo>
                    <a:lnTo>
                      <a:pt x="103410" y="-1179"/>
                    </a:lnTo>
                    <a:lnTo>
                      <a:pt x="103410" y="185659"/>
                    </a:lnTo>
                    <a:lnTo>
                      <a:pt x="133726" y="240000"/>
                    </a:lnTo>
                    <a:lnTo>
                      <a:pt x="259966" y="240000"/>
                    </a:lnTo>
                    <a:lnTo>
                      <a:pt x="259966" y="119880"/>
                    </a:lnTo>
                    <a:lnTo>
                      <a:pt x="192439" y="-1179"/>
                    </a:lnTo>
                    <a:moveTo>
                      <a:pt x="90716" y="-1179"/>
                    </a:moveTo>
                    <a:lnTo>
                      <a:pt x="-803" y="-1179"/>
                    </a:lnTo>
                    <a:lnTo>
                      <a:pt x="90716" y="162899"/>
                    </a:lnTo>
                    <a:lnTo>
                      <a:pt x="90716" y="-1179"/>
                    </a:lnTo>
                  </a:path>
                </a:pathLst>
              </a:custGeom>
              <a:solidFill>
                <a:srgbClr val="346EA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5" name="Vrije vorm 84">
                <a:extLst>
                  <a:ext uri="{FF2B5EF4-FFF2-40B4-BE49-F238E27FC236}">
                    <a16:creationId xmlns:a16="http://schemas.microsoft.com/office/drawing/2014/main" id="{7E97FAEF-7EB8-FF52-9CD1-487A73730577}"/>
                  </a:ext>
                </a:extLst>
              </p:cNvPr>
              <p:cNvSpPr/>
              <p:nvPr/>
            </p:nvSpPr>
            <p:spPr>
              <a:xfrm flipV="1">
                <a:off x="4057555" y="4467653"/>
                <a:ext cx="12693" cy="186837"/>
              </a:xfrm>
              <a:custGeom>
                <a:avLst/>
                <a:gdLst>
                  <a:gd name="connsiteX0" fmla="*/ 11913 w 12693"/>
                  <a:gd name="connsiteY0" fmla="*/ -1155 h 186837"/>
                  <a:gd name="connsiteX1" fmla="*/ -780 w 12693"/>
                  <a:gd name="connsiteY1" fmla="*/ -1155 h 186837"/>
                  <a:gd name="connsiteX2" fmla="*/ -780 w 12693"/>
                  <a:gd name="connsiteY2" fmla="*/ 162923 h 186837"/>
                  <a:gd name="connsiteX3" fmla="*/ 11913 w 12693"/>
                  <a:gd name="connsiteY3" fmla="*/ 185683 h 186837"/>
                  <a:gd name="connsiteX4" fmla="*/ 11913 w 12693"/>
                  <a:gd name="connsiteY4" fmla="*/ -1155 h 186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86837">
                    <a:moveTo>
                      <a:pt x="11913" y="-1155"/>
                    </a:moveTo>
                    <a:lnTo>
                      <a:pt x="-780" y="-1155"/>
                    </a:lnTo>
                    <a:lnTo>
                      <a:pt x="-780" y="162923"/>
                    </a:lnTo>
                    <a:lnTo>
                      <a:pt x="11913" y="185683"/>
                    </a:lnTo>
                    <a:lnTo>
                      <a:pt x="11913" y="-1155"/>
                    </a:lnTo>
                  </a:path>
                </a:pathLst>
              </a:custGeom>
              <a:solidFill>
                <a:srgbClr val="2A548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6" name="Vrije vorm 85">
                <a:extLst>
                  <a:ext uri="{FF2B5EF4-FFF2-40B4-BE49-F238E27FC236}">
                    <a16:creationId xmlns:a16="http://schemas.microsoft.com/office/drawing/2014/main" id="{D08F511A-7F41-9CE8-0E9F-DE1B499AC988}"/>
                  </a:ext>
                </a:extLst>
              </p:cNvPr>
              <p:cNvSpPr/>
              <p:nvPr/>
            </p:nvSpPr>
            <p:spPr>
              <a:xfrm flipV="1">
                <a:off x="4239499" y="4413312"/>
                <a:ext cx="54303" cy="97360"/>
              </a:xfrm>
              <a:custGeom>
                <a:avLst/>
                <a:gdLst>
                  <a:gd name="connsiteX0" fmla="*/ -919 w 54303"/>
                  <a:gd name="connsiteY0" fmla="*/ -1243 h 97360"/>
                  <a:gd name="connsiteX1" fmla="*/ -919 w 54303"/>
                  <a:gd name="connsiteY1" fmla="*/ 96117 h 97360"/>
                  <a:gd name="connsiteX2" fmla="*/ 53385 w 54303"/>
                  <a:gd name="connsiteY2" fmla="*/ 96117 h 97360"/>
                  <a:gd name="connsiteX3" fmla="*/ -919 w 54303"/>
                  <a:gd name="connsiteY3" fmla="*/ -1243 h 97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303" h="97360">
                    <a:moveTo>
                      <a:pt x="-919" y="-1243"/>
                    </a:moveTo>
                    <a:lnTo>
                      <a:pt x="-919" y="96117"/>
                    </a:lnTo>
                    <a:lnTo>
                      <a:pt x="53385" y="96117"/>
                    </a:lnTo>
                    <a:lnTo>
                      <a:pt x="-919" y="-1243"/>
                    </a:lnTo>
                  </a:path>
                </a:pathLst>
              </a:custGeom>
              <a:solidFill>
                <a:srgbClr val="346EA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7" name="Vrije vorm 86">
                <a:extLst>
                  <a:ext uri="{FF2B5EF4-FFF2-40B4-BE49-F238E27FC236}">
                    <a16:creationId xmlns:a16="http://schemas.microsoft.com/office/drawing/2014/main" id="{5DC08D1C-0C57-358F-2255-693F4265B513}"/>
                  </a:ext>
                </a:extLst>
              </p:cNvPr>
              <p:cNvSpPr/>
              <p:nvPr/>
            </p:nvSpPr>
            <p:spPr>
              <a:xfrm flipV="1">
                <a:off x="4226805" y="4413312"/>
                <a:ext cx="12693" cy="120119"/>
              </a:xfrm>
              <a:custGeom>
                <a:avLst/>
                <a:gdLst>
                  <a:gd name="connsiteX0" fmla="*/ -896 w 12693"/>
                  <a:gd name="connsiteY0" fmla="*/ -1233 h 120119"/>
                  <a:gd name="connsiteX1" fmla="*/ -896 w 12693"/>
                  <a:gd name="connsiteY1" fmla="*/ 118887 h 120119"/>
                  <a:gd name="connsiteX2" fmla="*/ 11798 w 12693"/>
                  <a:gd name="connsiteY2" fmla="*/ 118887 h 120119"/>
                  <a:gd name="connsiteX3" fmla="*/ 11798 w 12693"/>
                  <a:gd name="connsiteY3" fmla="*/ 21527 h 120119"/>
                  <a:gd name="connsiteX4" fmla="*/ -896 w 12693"/>
                  <a:gd name="connsiteY4" fmla="*/ -1233 h 120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20119">
                    <a:moveTo>
                      <a:pt x="-896" y="-1233"/>
                    </a:moveTo>
                    <a:lnTo>
                      <a:pt x="-896" y="118887"/>
                    </a:lnTo>
                    <a:lnTo>
                      <a:pt x="11798" y="118887"/>
                    </a:lnTo>
                    <a:lnTo>
                      <a:pt x="11798" y="21527"/>
                    </a:lnTo>
                    <a:lnTo>
                      <a:pt x="-896" y="-1233"/>
                    </a:lnTo>
                  </a:path>
                </a:pathLst>
              </a:custGeom>
              <a:solidFill>
                <a:srgbClr val="2A548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8" name="Vrije vorm 87">
                <a:extLst>
                  <a:ext uri="{FF2B5EF4-FFF2-40B4-BE49-F238E27FC236}">
                    <a16:creationId xmlns:a16="http://schemas.microsoft.com/office/drawing/2014/main" id="{7CCD23EB-8B36-AC97-326E-94D961934856}"/>
                  </a:ext>
                </a:extLst>
              </p:cNvPr>
              <p:cNvSpPr/>
              <p:nvPr/>
            </p:nvSpPr>
            <p:spPr>
              <a:xfrm flipV="1">
                <a:off x="4299425" y="4413312"/>
                <a:ext cx="198870" cy="241178"/>
              </a:xfrm>
              <a:custGeom>
                <a:avLst/>
                <a:gdLst>
                  <a:gd name="connsiteX0" fmla="*/ 63335 w 198870"/>
                  <a:gd name="connsiteY0" fmla="*/ -1179 h 241178"/>
                  <a:gd name="connsiteX1" fmla="*/ -1009 w 198870"/>
                  <a:gd name="connsiteY1" fmla="*/ -1179 h 241178"/>
                  <a:gd name="connsiteX2" fmla="*/ 95615 w 198870"/>
                  <a:gd name="connsiteY2" fmla="*/ 172039 h 241178"/>
                  <a:gd name="connsiteX3" fmla="*/ 95615 w 198870"/>
                  <a:gd name="connsiteY3" fmla="*/ 56692 h 241178"/>
                  <a:gd name="connsiteX4" fmla="*/ 63335 w 198870"/>
                  <a:gd name="connsiteY4" fmla="*/ -1179 h 241178"/>
                  <a:gd name="connsiteX5" fmla="*/ 108308 w 198870"/>
                  <a:gd name="connsiteY5" fmla="*/ 79451 h 241178"/>
                  <a:gd name="connsiteX6" fmla="*/ 108308 w 198870"/>
                  <a:gd name="connsiteY6" fmla="*/ 194798 h 241178"/>
                  <a:gd name="connsiteX7" fmla="*/ 133518 w 198870"/>
                  <a:gd name="connsiteY7" fmla="*/ 240000 h 241178"/>
                  <a:gd name="connsiteX8" fmla="*/ 197862 w 198870"/>
                  <a:gd name="connsiteY8" fmla="*/ 240000 h 241178"/>
                  <a:gd name="connsiteX9" fmla="*/ 108308 w 198870"/>
                  <a:gd name="connsiteY9" fmla="*/ 79451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8870" h="241178">
                    <a:moveTo>
                      <a:pt x="63335" y="-1179"/>
                    </a:moveTo>
                    <a:lnTo>
                      <a:pt x="-1009" y="-1179"/>
                    </a:lnTo>
                    <a:lnTo>
                      <a:pt x="95615" y="172039"/>
                    </a:lnTo>
                    <a:lnTo>
                      <a:pt x="95615" y="56692"/>
                    </a:lnTo>
                    <a:lnTo>
                      <a:pt x="63335" y="-1179"/>
                    </a:lnTo>
                    <a:moveTo>
                      <a:pt x="108308" y="79451"/>
                    </a:moveTo>
                    <a:lnTo>
                      <a:pt x="108308" y="194798"/>
                    </a:lnTo>
                    <a:lnTo>
                      <a:pt x="133518" y="240000"/>
                    </a:lnTo>
                    <a:lnTo>
                      <a:pt x="197862" y="240000"/>
                    </a:lnTo>
                    <a:lnTo>
                      <a:pt x="108308" y="79451"/>
                    </a:lnTo>
                  </a:path>
                </a:pathLst>
              </a:custGeom>
              <a:solidFill>
                <a:srgbClr val="346EA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9" name="Vrije vorm 88">
                <a:extLst>
                  <a:ext uri="{FF2B5EF4-FFF2-40B4-BE49-F238E27FC236}">
                    <a16:creationId xmlns:a16="http://schemas.microsoft.com/office/drawing/2014/main" id="{AFF96AA0-D8CE-AFE1-6D76-AA9B5EC01800}"/>
                  </a:ext>
                </a:extLst>
              </p:cNvPr>
              <p:cNvSpPr/>
              <p:nvPr/>
            </p:nvSpPr>
            <p:spPr>
              <a:xfrm flipV="1">
                <a:off x="4396049" y="4458514"/>
                <a:ext cx="12693" cy="138106"/>
              </a:xfrm>
              <a:custGeom>
                <a:avLst/>
                <a:gdLst>
                  <a:gd name="connsiteX0" fmla="*/ -1011 w 12693"/>
                  <a:gd name="connsiteY0" fmla="*/ -1184 h 138106"/>
                  <a:gd name="connsiteX1" fmla="*/ -1011 w 12693"/>
                  <a:gd name="connsiteY1" fmla="*/ 114163 h 138106"/>
                  <a:gd name="connsiteX2" fmla="*/ 11682 w 12693"/>
                  <a:gd name="connsiteY2" fmla="*/ 136922 h 138106"/>
                  <a:gd name="connsiteX3" fmla="*/ 11682 w 12693"/>
                  <a:gd name="connsiteY3" fmla="*/ 21575 h 138106"/>
                  <a:gd name="connsiteX4" fmla="*/ -1011 w 12693"/>
                  <a:gd name="connsiteY4" fmla="*/ -1184 h 138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38106">
                    <a:moveTo>
                      <a:pt x="-1011" y="-1184"/>
                    </a:moveTo>
                    <a:lnTo>
                      <a:pt x="-1011" y="114163"/>
                    </a:lnTo>
                    <a:lnTo>
                      <a:pt x="11682" y="136922"/>
                    </a:lnTo>
                    <a:lnTo>
                      <a:pt x="11682" y="21575"/>
                    </a:lnTo>
                    <a:lnTo>
                      <a:pt x="-1011" y="-1184"/>
                    </a:lnTo>
                  </a:path>
                </a:pathLst>
              </a:custGeom>
              <a:solidFill>
                <a:srgbClr val="2A548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0" name="Vrije vorm 89">
                <a:extLst>
                  <a:ext uri="{FF2B5EF4-FFF2-40B4-BE49-F238E27FC236}">
                    <a16:creationId xmlns:a16="http://schemas.microsoft.com/office/drawing/2014/main" id="{B782CF1D-0F85-0E2F-4265-11F2AB9DB120}"/>
                  </a:ext>
                </a:extLst>
              </p:cNvPr>
              <p:cNvSpPr/>
              <p:nvPr/>
            </p:nvSpPr>
            <p:spPr>
              <a:xfrm flipV="1">
                <a:off x="4576425" y="4413312"/>
                <a:ext cx="932600" cy="323687"/>
              </a:xfrm>
              <a:custGeom>
                <a:avLst/>
                <a:gdLst>
                  <a:gd name="connsiteX0" fmla="*/ 931152 w 932600"/>
                  <a:gd name="connsiteY0" fmla="*/ -1142 h 323687"/>
                  <a:gd name="connsiteX1" fmla="*/ 600407 w 932600"/>
                  <a:gd name="connsiteY1" fmla="*/ -1142 h 323687"/>
                  <a:gd name="connsiteX2" fmla="*/ 464852 w 932600"/>
                  <a:gd name="connsiteY2" fmla="*/ 81367 h 323687"/>
                  <a:gd name="connsiteX3" fmla="*/ -1449 w 932600"/>
                  <a:gd name="connsiteY3" fmla="*/ 81367 h 323687"/>
                  <a:gd name="connsiteX4" fmla="*/ -1449 w 932600"/>
                  <a:gd name="connsiteY4" fmla="*/ 322545 h 323687"/>
                  <a:gd name="connsiteX5" fmla="*/ 931152 w 932600"/>
                  <a:gd name="connsiteY5" fmla="*/ 322545 h 323687"/>
                  <a:gd name="connsiteX6" fmla="*/ 931152 w 932600"/>
                  <a:gd name="connsiteY6" fmla="*/ -1142 h 32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32600" h="323687">
                    <a:moveTo>
                      <a:pt x="931152" y="-1142"/>
                    </a:moveTo>
                    <a:lnTo>
                      <a:pt x="600407" y="-1142"/>
                    </a:lnTo>
                    <a:lnTo>
                      <a:pt x="464852" y="81367"/>
                    </a:lnTo>
                    <a:lnTo>
                      <a:pt x="-1449" y="81367"/>
                    </a:lnTo>
                    <a:lnTo>
                      <a:pt x="-1449" y="322545"/>
                    </a:lnTo>
                    <a:lnTo>
                      <a:pt x="931152" y="322545"/>
                    </a:lnTo>
                    <a:lnTo>
                      <a:pt x="931152" y="-1142"/>
                    </a:lnTo>
                  </a:path>
                </a:pathLst>
              </a:custGeom>
              <a:solidFill>
                <a:srgbClr val="1D446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1" name="Vrije vorm 90">
                <a:extLst>
                  <a:ext uri="{FF2B5EF4-FFF2-40B4-BE49-F238E27FC236}">
                    <a16:creationId xmlns:a16="http://schemas.microsoft.com/office/drawing/2014/main" id="{0171761E-FD4B-C852-1D08-A011053AD27B}"/>
                  </a:ext>
                </a:extLst>
              </p:cNvPr>
              <p:cNvSpPr/>
              <p:nvPr/>
            </p:nvSpPr>
            <p:spPr>
              <a:xfrm flipV="1">
                <a:off x="4687457" y="4413312"/>
                <a:ext cx="12693" cy="241178"/>
              </a:xfrm>
              <a:custGeom>
                <a:avLst/>
                <a:gdLst>
                  <a:gd name="connsiteX0" fmla="*/ 11483 w 12693"/>
                  <a:gd name="connsiteY0" fmla="*/ -1179 h 241178"/>
                  <a:gd name="connsiteX1" fmla="*/ -1210 w 12693"/>
                  <a:gd name="connsiteY1" fmla="*/ -1179 h 241178"/>
                  <a:gd name="connsiteX2" fmla="*/ -1210 w 12693"/>
                  <a:gd name="connsiteY2" fmla="*/ 240000 h 241178"/>
                  <a:gd name="connsiteX3" fmla="*/ 11483 w 12693"/>
                  <a:gd name="connsiteY3" fmla="*/ 240000 h 241178"/>
                  <a:gd name="connsiteX4" fmla="*/ 11483 w 12693"/>
                  <a:gd name="connsiteY4" fmla="*/ -1179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241178">
                    <a:moveTo>
                      <a:pt x="11483" y="-1179"/>
                    </a:moveTo>
                    <a:lnTo>
                      <a:pt x="-1210" y="-1179"/>
                    </a:lnTo>
                    <a:lnTo>
                      <a:pt x="-1210" y="240000"/>
                    </a:lnTo>
                    <a:lnTo>
                      <a:pt x="11483" y="240000"/>
                    </a:lnTo>
                    <a:lnTo>
                      <a:pt x="11483" y="-1179"/>
                    </a:lnTo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2" name="Vrije vorm 91">
                <a:extLst>
                  <a:ext uri="{FF2B5EF4-FFF2-40B4-BE49-F238E27FC236}">
                    <a16:creationId xmlns:a16="http://schemas.microsoft.com/office/drawing/2014/main" id="{34A0F4C8-E448-5C69-B987-ACE3940194B7}"/>
                  </a:ext>
                </a:extLst>
              </p:cNvPr>
              <p:cNvSpPr/>
              <p:nvPr/>
            </p:nvSpPr>
            <p:spPr>
              <a:xfrm flipV="1">
                <a:off x="4856713" y="4413312"/>
                <a:ext cx="12693" cy="241178"/>
              </a:xfrm>
              <a:custGeom>
                <a:avLst/>
                <a:gdLst>
                  <a:gd name="connsiteX0" fmla="*/ -1326 w 12693"/>
                  <a:gd name="connsiteY0" fmla="*/ -1179 h 241178"/>
                  <a:gd name="connsiteX1" fmla="*/ 11368 w 12693"/>
                  <a:gd name="connsiteY1" fmla="*/ -1179 h 241178"/>
                  <a:gd name="connsiteX2" fmla="*/ 11368 w 12693"/>
                  <a:gd name="connsiteY2" fmla="*/ 240000 h 241178"/>
                  <a:gd name="connsiteX3" fmla="*/ -1326 w 12693"/>
                  <a:gd name="connsiteY3" fmla="*/ 240000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1326" y="-1179"/>
                    </a:moveTo>
                    <a:lnTo>
                      <a:pt x="11368" y="-1179"/>
                    </a:lnTo>
                    <a:lnTo>
                      <a:pt x="11368" y="240000"/>
                    </a:lnTo>
                    <a:lnTo>
                      <a:pt x="-1326" y="240000"/>
                    </a:lnTo>
                    <a:close/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3" name="Vrije vorm 92">
                <a:extLst>
                  <a:ext uri="{FF2B5EF4-FFF2-40B4-BE49-F238E27FC236}">
                    <a16:creationId xmlns:a16="http://schemas.microsoft.com/office/drawing/2014/main" id="{F5762945-1AA4-87ED-1338-D60FE7641E0D}"/>
                  </a:ext>
                </a:extLst>
              </p:cNvPr>
              <p:cNvSpPr/>
              <p:nvPr/>
            </p:nvSpPr>
            <p:spPr>
              <a:xfrm flipV="1">
                <a:off x="5025957" y="4413312"/>
                <a:ext cx="12693" cy="241178"/>
              </a:xfrm>
              <a:custGeom>
                <a:avLst/>
                <a:gdLst>
                  <a:gd name="connsiteX0" fmla="*/ -1442 w 12693"/>
                  <a:gd name="connsiteY0" fmla="*/ -1179 h 241178"/>
                  <a:gd name="connsiteX1" fmla="*/ 11252 w 12693"/>
                  <a:gd name="connsiteY1" fmla="*/ -1179 h 241178"/>
                  <a:gd name="connsiteX2" fmla="*/ 11252 w 12693"/>
                  <a:gd name="connsiteY2" fmla="*/ 240000 h 241178"/>
                  <a:gd name="connsiteX3" fmla="*/ -1442 w 12693"/>
                  <a:gd name="connsiteY3" fmla="*/ 240000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1442" y="-1179"/>
                    </a:moveTo>
                    <a:lnTo>
                      <a:pt x="11252" y="-1179"/>
                    </a:lnTo>
                    <a:lnTo>
                      <a:pt x="11252" y="240000"/>
                    </a:lnTo>
                    <a:lnTo>
                      <a:pt x="-1442" y="240000"/>
                    </a:lnTo>
                    <a:close/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4" name="Vrije vorm 93">
                <a:extLst>
                  <a:ext uri="{FF2B5EF4-FFF2-40B4-BE49-F238E27FC236}">
                    <a16:creationId xmlns:a16="http://schemas.microsoft.com/office/drawing/2014/main" id="{FEAC1930-DFED-B5DB-6C12-3A67C9999D0D}"/>
                  </a:ext>
                </a:extLst>
              </p:cNvPr>
              <p:cNvSpPr/>
              <p:nvPr/>
            </p:nvSpPr>
            <p:spPr>
              <a:xfrm flipV="1">
                <a:off x="5195201" y="4413312"/>
                <a:ext cx="12693" cy="323687"/>
              </a:xfrm>
              <a:custGeom>
                <a:avLst/>
                <a:gdLst>
                  <a:gd name="connsiteX0" fmla="*/ -1557 w 12693"/>
                  <a:gd name="connsiteY0" fmla="*/ -1142 h 323687"/>
                  <a:gd name="connsiteX1" fmla="*/ 11137 w 12693"/>
                  <a:gd name="connsiteY1" fmla="*/ -1142 h 323687"/>
                  <a:gd name="connsiteX2" fmla="*/ 11137 w 12693"/>
                  <a:gd name="connsiteY2" fmla="*/ 322545 h 323687"/>
                  <a:gd name="connsiteX3" fmla="*/ -1557 w 12693"/>
                  <a:gd name="connsiteY3" fmla="*/ 322545 h 32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323687">
                    <a:moveTo>
                      <a:pt x="-1557" y="-1142"/>
                    </a:moveTo>
                    <a:lnTo>
                      <a:pt x="11137" y="-1142"/>
                    </a:lnTo>
                    <a:lnTo>
                      <a:pt x="11137" y="322545"/>
                    </a:lnTo>
                    <a:lnTo>
                      <a:pt x="-1557" y="322545"/>
                    </a:lnTo>
                    <a:close/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5" name="Vrije vorm 94">
                <a:extLst>
                  <a:ext uri="{FF2B5EF4-FFF2-40B4-BE49-F238E27FC236}">
                    <a16:creationId xmlns:a16="http://schemas.microsoft.com/office/drawing/2014/main" id="{DD98815E-E364-D060-1CDC-4FF5229EB334}"/>
                  </a:ext>
                </a:extLst>
              </p:cNvPr>
              <p:cNvSpPr/>
              <p:nvPr/>
            </p:nvSpPr>
            <p:spPr>
              <a:xfrm flipV="1">
                <a:off x="5364458" y="4413312"/>
                <a:ext cx="12693" cy="323687"/>
              </a:xfrm>
              <a:custGeom>
                <a:avLst/>
                <a:gdLst>
                  <a:gd name="connsiteX0" fmla="*/ -1673 w 12693"/>
                  <a:gd name="connsiteY0" fmla="*/ -1142 h 323687"/>
                  <a:gd name="connsiteX1" fmla="*/ 11021 w 12693"/>
                  <a:gd name="connsiteY1" fmla="*/ -1142 h 323687"/>
                  <a:gd name="connsiteX2" fmla="*/ 11021 w 12693"/>
                  <a:gd name="connsiteY2" fmla="*/ 322545 h 323687"/>
                  <a:gd name="connsiteX3" fmla="*/ -1673 w 12693"/>
                  <a:gd name="connsiteY3" fmla="*/ 322545 h 32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323687">
                    <a:moveTo>
                      <a:pt x="-1673" y="-1142"/>
                    </a:moveTo>
                    <a:lnTo>
                      <a:pt x="11021" y="-1142"/>
                    </a:lnTo>
                    <a:lnTo>
                      <a:pt x="11021" y="322545"/>
                    </a:lnTo>
                    <a:lnTo>
                      <a:pt x="-1673" y="322545"/>
                    </a:lnTo>
                    <a:close/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6" name="Vrije vorm 95">
                <a:extLst>
                  <a:ext uri="{FF2B5EF4-FFF2-40B4-BE49-F238E27FC236}">
                    <a16:creationId xmlns:a16="http://schemas.microsoft.com/office/drawing/2014/main" id="{5262EF8C-5F9A-971B-0884-88039F85E1A8}"/>
                  </a:ext>
                </a:extLst>
              </p:cNvPr>
              <p:cNvSpPr/>
              <p:nvPr/>
            </p:nvSpPr>
            <p:spPr>
              <a:xfrm flipV="1">
                <a:off x="4776591" y="4413312"/>
                <a:ext cx="249366" cy="241178"/>
              </a:xfrm>
              <a:custGeom>
                <a:avLst/>
                <a:gdLst>
                  <a:gd name="connsiteX0" fmla="*/ 191896 w 249366"/>
                  <a:gd name="connsiteY0" fmla="*/ -1179 h 241178"/>
                  <a:gd name="connsiteX1" fmla="*/ 91464 w 249366"/>
                  <a:gd name="connsiteY1" fmla="*/ -1179 h 241178"/>
                  <a:gd name="connsiteX2" fmla="*/ 91464 w 249366"/>
                  <a:gd name="connsiteY2" fmla="*/ 165209 h 241178"/>
                  <a:gd name="connsiteX3" fmla="*/ 133175 w 249366"/>
                  <a:gd name="connsiteY3" fmla="*/ 240000 h 241178"/>
                  <a:gd name="connsiteX4" fmla="*/ 248014 w 249366"/>
                  <a:gd name="connsiteY4" fmla="*/ 240000 h 241178"/>
                  <a:gd name="connsiteX5" fmla="*/ 248014 w 249366"/>
                  <a:gd name="connsiteY5" fmla="*/ 99431 h 241178"/>
                  <a:gd name="connsiteX6" fmla="*/ 191896 w 249366"/>
                  <a:gd name="connsiteY6" fmla="*/ -1179 h 241178"/>
                  <a:gd name="connsiteX7" fmla="*/ 78770 w 249366"/>
                  <a:gd name="connsiteY7" fmla="*/ -1179 h 241178"/>
                  <a:gd name="connsiteX8" fmla="*/ -1352 w 249366"/>
                  <a:gd name="connsiteY8" fmla="*/ -1179 h 241178"/>
                  <a:gd name="connsiteX9" fmla="*/ 78770 w 249366"/>
                  <a:gd name="connsiteY9" fmla="*/ 142450 h 241178"/>
                  <a:gd name="connsiteX10" fmla="*/ 78770 w 249366"/>
                  <a:gd name="connsiteY10" fmla="*/ -1179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9366" h="241178">
                    <a:moveTo>
                      <a:pt x="191896" y="-1179"/>
                    </a:moveTo>
                    <a:lnTo>
                      <a:pt x="91464" y="-1179"/>
                    </a:lnTo>
                    <a:lnTo>
                      <a:pt x="91464" y="165209"/>
                    </a:lnTo>
                    <a:lnTo>
                      <a:pt x="133175" y="240000"/>
                    </a:lnTo>
                    <a:lnTo>
                      <a:pt x="248014" y="240000"/>
                    </a:lnTo>
                    <a:lnTo>
                      <a:pt x="248014" y="99431"/>
                    </a:lnTo>
                    <a:lnTo>
                      <a:pt x="191896" y="-1179"/>
                    </a:lnTo>
                    <a:moveTo>
                      <a:pt x="78770" y="-1179"/>
                    </a:moveTo>
                    <a:lnTo>
                      <a:pt x="-1352" y="-1179"/>
                    </a:lnTo>
                    <a:lnTo>
                      <a:pt x="78770" y="142450"/>
                    </a:lnTo>
                    <a:lnTo>
                      <a:pt x="78770" y="-1179"/>
                    </a:lnTo>
                  </a:path>
                </a:pathLst>
              </a:custGeom>
              <a:solidFill>
                <a:srgbClr val="2956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7" name="Vrije vorm 96">
                <a:extLst>
                  <a:ext uri="{FF2B5EF4-FFF2-40B4-BE49-F238E27FC236}">
                    <a16:creationId xmlns:a16="http://schemas.microsoft.com/office/drawing/2014/main" id="{4343D46B-9411-6F6F-D0A1-F4C48E22C466}"/>
                  </a:ext>
                </a:extLst>
              </p:cNvPr>
              <p:cNvSpPr/>
              <p:nvPr/>
            </p:nvSpPr>
            <p:spPr>
              <a:xfrm flipV="1">
                <a:off x="4856713" y="4488103"/>
                <a:ext cx="12693" cy="166388"/>
              </a:xfrm>
              <a:custGeom>
                <a:avLst/>
                <a:gdLst>
                  <a:gd name="connsiteX0" fmla="*/ 11368 w 12693"/>
                  <a:gd name="connsiteY0" fmla="*/ -1145 h 166388"/>
                  <a:gd name="connsiteX1" fmla="*/ -1326 w 12693"/>
                  <a:gd name="connsiteY1" fmla="*/ -1145 h 166388"/>
                  <a:gd name="connsiteX2" fmla="*/ -1326 w 12693"/>
                  <a:gd name="connsiteY2" fmla="*/ 142483 h 166388"/>
                  <a:gd name="connsiteX3" fmla="*/ 11368 w 12693"/>
                  <a:gd name="connsiteY3" fmla="*/ 165243 h 166388"/>
                  <a:gd name="connsiteX4" fmla="*/ 11368 w 12693"/>
                  <a:gd name="connsiteY4" fmla="*/ -1145 h 166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66388">
                    <a:moveTo>
                      <a:pt x="11368" y="-1145"/>
                    </a:moveTo>
                    <a:lnTo>
                      <a:pt x="-1326" y="-1145"/>
                    </a:lnTo>
                    <a:lnTo>
                      <a:pt x="-1326" y="142483"/>
                    </a:lnTo>
                    <a:lnTo>
                      <a:pt x="11368" y="165243"/>
                    </a:lnTo>
                    <a:lnTo>
                      <a:pt x="11368" y="-1145"/>
                    </a:lnTo>
                  </a:path>
                </a:pathLst>
              </a:custGeom>
              <a:solidFill>
                <a:srgbClr val="30639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8" name="Vrije vorm 97">
                <a:extLst>
                  <a:ext uri="{FF2B5EF4-FFF2-40B4-BE49-F238E27FC236}">
                    <a16:creationId xmlns:a16="http://schemas.microsoft.com/office/drawing/2014/main" id="{7D400B79-B135-918A-A399-16BCF471F688}"/>
                  </a:ext>
                </a:extLst>
              </p:cNvPr>
              <p:cNvSpPr/>
              <p:nvPr/>
            </p:nvSpPr>
            <p:spPr>
              <a:xfrm flipV="1">
                <a:off x="5038651" y="4413312"/>
                <a:ext cx="65702" cy="117809"/>
              </a:xfrm>
              <a:custGeom>
                <a:avLst/>
                <a:gdLst>
                  <a:gd name="connsiteX0" fmla="*/ -1468 w 65702"/>
                  <a:gd name="connsiteY0" fmla="*/ -1234 h 117809"/>
                  <a:gd name="connsiteX1" fmla="*/ -1468 w 65702"/>
                  <a:gd name="connsiteY1" fmla="*/ 116576 h 117809"/>
                  <a:gd name="connsiteX2" fmla="*/ 64234 w 65702"/>
                  <a:gd name="connsiteY2" fmla="*/ 116576 h 117809"/>
                  <a:gd name="connsiteX3" fmla="*/ -1468 w 65702"/>
                  <a:gd name="connsiteY3" fmla="*/ -1234 h 117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02" h="117809">
                    <a:moveTo>
                      <a:pt x="-1468" y="-1234"/>
                    </a:moveTo>
                    <a:lnTo>
                      <a:pt x="-1468" y="116576"/>
                    </a:lnTo>
                    <a:lnTo>
                      <a:pt x="64234" y="116576"/>
                    </a:lnTo>
                    <a:lnTo>
                      <a:pt x="-1468" y="-1234"/>
                    </a:lnTo>
                  </a:path>
                </a:pathLst>
              </a:custGeom>
              <a:solidFill>
                <a:srgbClr val="2956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9" name="Vrije vorm 98">
                <a:extLst>
                  <a:ext uri="{FF2B5EF4-FFF2-40B4-BE49-F238E27FC236}">
                    <a16:creationId xmlns:a16="http://schemas.microsoft.com/office/drawing/2014/main" id="{7A85E2C5-05B2-DB86-9B59-93622FFC86DB}"/>
                  </a:ext>
                </a:extLst>
              </p:cNvPr>
              <p:cNvSpPr/>
              <p:nvPr/>
            </p:nvSpPr>
            <p:spPr>
              <a:xfrm flipV="1">
                <a:off x="5025957" y="4413312"/>
                <a:ext cx="12693" cy="140569"/>
              </a:xfrm>
              <a:custGeom>
                <a:avLst/>
                <a:gdLst>
                  <a:gd name="connsiteX0" fmla="*/ -1442 w 12693"/>
                  <a:gd name="connsiteY0" fmla="*/ -1224 h 140569"/>
                  <a:gd name="connsiteX1" fmla="*/ -1442 w 12693"/>
                  <a:gd name="connsiteY1" fmla="*/ 139345 h 140569"/>
                  <a:gd name="connsiteX2" fmla="*/ 11252 w 12693"/>
                  <a:gd name="connsiteY2" fmla="*/ 139345 h 140569"/>
                  <a:gd name="connsiteX3" fmla="*/ 11252 w 12693"/>
                  <a:gd name="connsiteY3" fmla="*/ 21536 h 140569"/>
                  <a:gd name="connsiteX4" fmla="*/ -1442 w 12693"/>
                  <a:gd name="connsiteY4" fmla="*/ -1224 h 140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40569">
                    <a:moveTo>
                      <a:pt x="-1442" y="-1224"/>
                    </a:moveTo>
                    <a:lnTo>
                      <a:pt x="-1442" y="139345"/>
                    </a:lnTo>
                    <a:lnTo>
                      <a:pt x="11252" y="139345"/>
                    </a:lnTo>
                    <a:lnTo>
                      <a:pt x="11252" y="21536"/>
                    </a:lnTo>
                    <a:lnTo>
                      <a:pt x="-1442" y="-1224"/>
                    </a:lnTo>
                  </a:path>
                </a:pathLst>
              </a:custGeom>
              <a:solidFill>
                <a:srgbClr val="30639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0" name="Vrije vorm 99">
                <a:extLst>
                  <a:ext uri="{FF2B5EF4-FFF2-40B4-BE49-F238E27FC236}">
                    <a16:creationId xmlns:a16="http://schemas.microsoft.com/office/drawing/2014/main" id="{21731A4B-4515-AB5F-8C59-53136CBEF31B}"/>
                  </a:ext>
                </a:extLst>
              </p:cNvPr>
              <p:cNvSpPr/>
              <p:nvPr/>
            </p:nvSpPr>
            <p:spPr>
              <a:xfrm flipV="1">
                <a:off x="5299124" y="4413312"/>
                <a:ext cx="209901" cy="323687"/>
              </a:xfrm>
              <a:custGeom>
                <a:avLst/>
                <a:gdLst>
                  <a:gd name="connsiteX0" fmla="*/ 208206 w 209901"/>
                  <a:gd name="connsiteY0" fmla="*/ -1142 h 323687"/>
                  <a:gd name="connsiteX1" fmla="*/ 76332 w 209901"/>
                  <a:gd name="connsiteY1" fmla="*/ -1142 h 323687"/>
                  <a:gd name="connsiteX2" fmla="*/ 76332 w 209901"/>
                  <a:gd name="connsiteY2" fmla="*/ 138742 h 323687"/>
                  <a:gd name="connsiteX3" fmla="*/ 178846 w 209901"/>
                  <a:gd name="connsiteY3" fmla="*/ 322545 h 323687"/>
                  <a:gd name="connsiteX4" fmla="*/ 208206 w 209901"/>
                  <a:gd name="connsiteY4" fmla="*/ 322545 h 323687"/>
                  <a:gd name="connsiteX5" fmla="*/ 208206 w 209901"/>
                  <a:gd name="connsiteY5" fmla="*/ -1142 h 323687"/>
                  <a:gd name="connsiteX6" fmla="*/ 63639 w 209901"/>
                  <a:gd name="connsiteY6" fmla="*/ -1142 h 323687"/>
                  <a:gd name="connsiteX7" fmla="*/ -1695 w 209901"/>
                  <a:gd name="connsiteY7" fmla="*/ -1142 h 323687"/>
                  <a:gd name="connsiteX8" fmla="*/ 63639 w 209901"/>
                  <a:gd name="connsiteY8" fmla="*/ 115982 h 323687"/>
                  <a:gd name="connsiteX9" fmla="*/ 63639 w 209901"/>
                  <a:gd name="connsiteY9" fmla="*/ -1142 h 32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9901" h="323687">
                    <a:moveTo>
                      <a:pt x="208206" y="-1142"/>
                    </a:moveTo>
                    <a:lnTo>
                      <a:pt x="76332" y="-1142"/>
                    </a:lnTo>
                    <a:lnTo>
                      <a:pt x="76332" y="138742"/>
                    </a:lnTo>
                    <a:lnTo>
                      <a:pt x="178846" y="322545"/>
                    </a:lnTo>
                    <a:lnTo>
                      <a:pt x="208206" y="322545"/>
                    </a:lnTo>
                    <a:lnTo>
                      <a:pt x="208206" y="-1142"/>
                    </a:lnTo>
                    <a:moveTo>
                      <a:pt x="63639" y="-1142"/>
                    </a:moveTo>
                    <a:lnTo>
                      <a:pt x="-1695" y="-1142"/>
                    </a:lnTo>
                    <a:lnTo>
                      <a:pt x="63639" y="115982"/>
                    </a:lnTo>
                    <a:lnTo>
                      <a:pt x="63639" y="-1142"/>
                    </a:lnTo>
                  </a:path>
                </a:pathLst>
              </a:custGeom>
              <a:solidFill>
                <a:srgbClr val="2956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" name="Vrije vorm 100">
                <a:extLst>
                  <a:ext uri="{FF2B5EF4-FFF2-40B4-BE49-F238E27FC236}">
                    <a16:creationId xmlns:a16="http://schemas.microsoft.com/office/drawing/2014/main" id="{72D66C5C-0DC6-899D-F881-DE69DF79AA76}"/>
                  </a:ext>
                </a:extLst>
              </p:cNvPr>
              <p:cNvSpPr/>
              <p:nvPr/>
            </p:nvSpPr>
            <p:spPr>
              <a:xfrm flipV="1">
                <a:off x="5364458" y="4597116"/>
                <a:ext cx="12693" cy="139883"/>
              </a:xfrm>
              <a:custGeom>
                <a:avLst/>
                <a:gdLst>
                  <a:gd name="connsiteX0" fmla="*/ 11021 w 12693"/>
                  <a:gd name="connsiteY0" fmla="*/ -1060 h 139883"/>
                  <a:gd name="connsiteX1" fmla="*/ -1673 w 12693"/>
                  <a:gd name="connsiteY1" fmla="*/ -1060 h 139883"/>
                  <a:gd name="connsiteX2" fmla="*/ -1673 w 12693"/>
                  <a:gd name="connsiteY2" fmla="*/ 116064 h 139883"/>
                  <a:gd name="connsiteX3" fmla="*/ 11021 w 12693"/>
                  <a:gd name="connsiteY3" fmla="*/ 138824 h 139883"/>
                  <a:gd name="connsiteX4" fmla="*/ 11021 w 12693"/>
                  <a:gd name="connsiteY4" fmla="*/ -1060 h 139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39883">
                    <a:moveTo>
                      <a:pt x="11021" y="-1060"/>
                    </a:moveTo>
                    <a:lnTo>
                      <a:pt x="-1673" y="-1060"/>
                    </a:lnTo>
                    <a:lnTo>
                      <a:pt x="-1673" y="116064"/>
                    </a:lnTo>
                    <a:lnTo>
                      <a:pt x="11021" y="138824"/>
                    </a:lnTo>
                    <a:lnTo>
                      <a:pt x="11021" y="-1060"/>
                    </a:lnTo>
                  </a:path>
                </a:pathLst>
              </a:custGeom>
              <a:solidFill>
                <a:srgbClr val="30639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2" name="Vrije vorm 101">
                <a:extLst>
                  <a:ext uri="{FF2B5EF4-FFF2-40B4-BE49-F238E27FC236}">
                    <a16:creationId xmlns:a16="http://schemas.microsoft.com/office/drawing/2014/main" id="{F2DE7A78-E68E-DB2B-052C-A705F57D9062}"/>
                  </a:ext>
                </a:extLst>
              </p:cNvPr>
              <p:cNvSpPr/>
              <p:nvPr/>
            </p:nvSpPr>
            <p:spPr>
              <a:xfrm flipV="1">
                <a:off x="5092942" y="4685057"/>
                <a:ext cx="48032" cy="29233"/>
              </a:xfrm>
              <a:custGeom>
                <a:avLst/>
                <a:gdLst>
                  <a:gd name="connsiteX0" fmla="*/ 46533 w 48032"/>
                  <a:gd name="connsiteY0" fmla="*/ -1031 h 29233"/>
                  <a:gd name="connsiteX1" fmla="*/ -1499 w 48032"/>
                  <a:gd name="connsiteY1" fmla="*/ 28203 h 29233"/>
                  <a:gd name="connsiteX2" fmla="*/ 46533 w 48032"/>
                  <a:gd name="connsiteY2" fmla="*/ -1031 h 29233"/>
                  <a:gd name="connsiteX3" fmla="*/ 46533 w 48032"/>
                  <a:gd name="connsiteY3" fmla="*/ -1031 h 29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032" h="29233">
                    <a:moveTo>
                      <a:pt x="46533" y="-1031"/>
                    </a:moveTo>
                    <a:lnTo>
                      <a:pt x="-1499" y="28203"/>
                    </a:lnTo>
                    <a:lnTo>
                      <a:pt x="46533" y="-1031"/>
                    </a:lnTo>
                    <a:lnTo>
                      <a:pt x="46533" y="-1031"/>
                    </a:lnTo>
                  </a:path>
                </a:pathLst>
              </a:custGeom>
              <a:solidFill>
                <a:srgbClr val="DFE3E7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3" name="Vrije vorm 102">
                <a:extLst>
                  <a:ext uri="{FF2B5EF4-FFF2-40B4-BE49-F238E27FC236}">
                    <a16:creationId xmlns:a16="http://schemas.microsoft.com/office/drawing/2014/main" id="{58F60836-DF5A-E343-A740-CFB4876A0E02}"/>
                  </a:ext>
                </a:extLst>
              </p:cNvPr>
              <p:cNvSpPr/>
              <p:nvPr/>
            </p:nvSpPr>
            <p:spPr>
              <a:xfrm flipV="1">
                <a:off x="5092942" y="4413312"/>
                <a:ext cx="215905" cy="300978"/>
              </a:xfrm>
              <a:custGeom>
                <a:avLst/>
                <a:gdLst>
                  <a:gd name="connsiteX0" fmla="*/ 46476 w 215905"/>
                  <a:gd name="connsiteY0" fmla="*/ -1152 h 300978"/>
                  <a:gd name="connsiteX1" fmla="*/ -1557 w 215905"/>
                  <a:gd name="connsiteY1" fmla="*/ 28081 h 300978"/>
                  <a:gd name="connsiteX2" fmla="*/ 100703 w 215905"/>
                  <a:gd name="connsiteY2" fmla="*/ 211415 h 300978"/>
                  <a:gd name="connsiteX3" fmla="*/ 100703 w 215905"/>
                  <a:gd name="connsiteY3" fmla="*/ 96081 h 300978"/>
                  <a:gd name="connsiteX4" fmla="*/ 46476 w 215905"/>
                  <a:gd name="connsiteY4" fmla="*/ -1152 h 300978"/>
                  <a:gd name="connsiteX5" fmla="*/ 113397 w 215905"/>
                  <a:gd name="connsiteY5" fmla="*/ 118841 h 300978"/>
                  <a:gd name="connsiteX6" fmla="*/ 113397 w 215905"/>
                  <a:gd name="connsiteY6" fmla="*/ 234175 h 300978"/>
                  <a:gd name="connsiteX7" fmla="*/ 150018 w 215905"/>
                  <a:gd name="connsiteY7" fmla="*/ 299826 h 300978"/>
                  <a:gd name="connsiteX8" fmla="*/ 214349 w 215905"/>
                  <a:gd name="connsiteY8" fmla="*/ 299826 h 300978"/>
                  <a:gd name="connsiteX9" fmla="*/ 113397 w 215905"/>
                  <a:gd name="connsiteY9" fmla="*/ 118841 h 300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5905" h="300978">
                    <a:moveTo>
                      <a:pt x="46476" y="-1152"/>
                    </a:moveTo>
                    <a:lnTo>
                      <a:pt x="-1557" y="28081"/>
                    </a:lnTo>
                    <a:lnTo>
                      <a:pt x="100703" y="211415"/>
                    </a:lnTo>
                    <a:lnTo>
                      <a:pt x="100703" y="96081"/>
                    </a:lnTo>
                    <a:lnTo>
                      <a:pt x="46476" y="-1152"/>
                    </a:lnTo>
                    <a:moveTo>
                      <a:pt x="113397" y="118841"/>
                    </a:moveTo>
                    <a:lnTo>
                      <a:pt x="113397" y="234175"/>
                    </a:lnTo>
                    <a:lnTo>
                      <a:pt x="150018" y="299826"/>
                    </a:lnTo>
                    <a:lnTo>
                      <a:pt x="214349" y="299826"/>
                    </a:lnTo>
                    <a:lnTo>
                      <a:pt x="113397" y="118841"/>
                    </a:lnTo>
                  </a:path>
                </a:pathLst>
              </a:custGeom>
              <a:solidFill>
                <a:srgbClr val="2956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4" name="Vrije vorm 103">
                <a:extLst>
                  <a:ext uri="{FF2B5EF4-FFF2-40B4-BE49-F238E27FC236}">
                    <a16:creationId xmlns:a16="http://schemas.microsoft.com/office/drawing/2014/main" id="{64330723-C732-27F7-E34A-A29C2D8C19FD}"/>
                  </a:ext>
                </a:extLst>
              </p:cNvPr>
              <p:cNvSpPr/>
              <p:nvPr/>
            </p:nvSpPr>
            <p:spPr>
              <a:xfrm flipV="1">
                <a:off x="5195201" y="4478964"/>
                <a:ext cx="12693" cy="138093"/>
              </a:xfrm>
              <a:custGeom>
                <a:avLst/>
                <a:gdLst>
                  <a:gd name="connsiteX0" fmla="*/ -1557 w 12693"/>
                  <a:gd name="connsiteY0" fmla="*/ -1166 h 138093"/>
                  <a:gd name="connsiteX1" fmla="*/ -1557 w 12693"/>
                  <a:gd name="connsiteY1" fmla="*/ 114168 h 138093"/>
                  <a:gd name="connsiteX2" fmla="*/ 11137 w 12693"/>
                  <a:gd name="connsiteY2" fmla="*/ 136928 h 138093"/>
                  <a:gd name="connsiteX3" fmla="*/ 11137 w 12693"/>
                  <a:gd name="connsiteY3" fmla="*/ 21593 h 138093"/>
                  <a:gd name="connsiteX4" fmla="*/ -1557 w 12693"/>
                  <a:gd name="connsiteY4" fmla="*/ -1166 h 138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38093">
                    <a:moveTo>
                      <a:pt x="-1557" y="-1166"/>
                    </a:moveTo>
                    <a:lnTo>
                      <a:pt x="-1557" y="114168"/>
                    </a:lnTo>
                    <a:lnTo>
                      <a:pt x="11137" y="136928"/>
                    </a:lnTo>
                    <a:lnTo>
                      <a:pt x="11137" y="21593"/>
                    </a:lnTo>
                    <a:lnTo>
                      <a:pt x="-1557" y="-1166"/>
                    </a:lnTo>
                  </a:path>
                </a:pathLst>
              </a:custGeom>
              <a:solidFill>
                <a:srgbClr val="30639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5" name="Vrije vorm 104">
                <a:extLst>
                  <a:ext uri="{FF2B5EF4-FFF2-40B4-BE49-F238E27FC236}">
                    <a16:creationId xmlns:a16="http://schemas.microsoft.com/office/drawing/2014/main" id="{52039EB0-0078-1AFA-CDBB-BDCA432751BC}"/>
                  </a:ext>
                </a:extLst>
              </p:cNvPr>
              <p:cNvSpPr/>
              <p:nvPr/>
            </p:nvSpPr>
            <p:spPr>
              <a:xfrm flipV="1">
                <a:off x="3742138" y="3911914"/>
                <a:ext cx="834287" cy="76161"/>
              </a:xfrm>
              <a:custGeom>
                <a:avLst/>
                <a:gdLst>
                  <a:gd name="connsiteX0" fmla="*/ 833442 w 834287"/>
                  <a:gd name="connsiteY0" fmla="*/ 74462 h 76161"/>
                  <a:gd name="connsiteX1" fmla="*/ -845 w 834287"/>
                  <a:gd name="connsiteY1" fmla="*/ 74462 h 76161"/>
                  <a:gd name="connsiteX2" fmla="*/ -845 w 834287"/>
                  <a:gd name="connsiteY2" fmla="*/ -1700 h 76161"/>
                  <a:gd name="connsiteX3" fmla="*/ 833442 w 834287"/>
                  <a:gd name="connsiteY3" fmla="*/ -1700 h 76161"/>
                  <a:gd name="connsiteX4" fmla="*/ 833442 w 834287"/>
                  <a:gd name="connsiteY4" fmla="*/ 74462 h 76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4287" h="76161">
                    <a:moveTo>
                      <a:pt x="833442" y="74462"/>
                    </a:moveTo>
                    <a:lnTo>
                      <a:pt x="-845" y="74462"/>
                    </a:lnTo>
                    <a:lnTo>
                      <a:pt x="-845" y="-1700"/>
                    </a:lnTo>
                    <a:lnTo>
                      <a:pt x="833442" y="-1700"/>
                    </a:lnTo>
                    <a:lnTo>
                      <a:pt x="833442" y="74462"/>
                    </a:lnTo>
                  </a:path>
                </a:pathLst>
              </a:custGeom>
              <a:solidFill>
                <a:srgbClr val="E2E7E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6" name="Vrije vorm 105">
                <a:extLst>
                  <a:ext uri="{FF2B5EF4-FFF2-40B4-BE49-F238E27FC236}">
                    <a16:creationId xmlns:a16="http://schemas.microsoft.com/office/drawing/2014/main" id="{9C5DB021-C75B-4A0E-798D-37B5F91E3494}"/>
                  </a:ext>
                </a:extLst>
              </p:cNvPr>
              <p:cNvSpPr/>
              <p:nvPr/>
            </p:nvSpPr>
            <p:spPr>
              <a:xfrm flipV="1">
                <a:off x="4576425" y="3911914"/>
                <a:ext cx="1110133" cy="76161"/>
              </a:xfrm>
              <a:custGeom>
                <a:avLst/>
                <a:gdLst>
                  <a:gd name="connsiteX0" fmla="*/ 1108624 w 1110133"/>
                  <a:gd name="connsiteY0" fmla="*/ 74462 h 76161"/>
                  <a:gd name="connsiteX1" fmla="*/ -1509 w 1110133"/>
                  <a:gd name="connsiteY1" fmla="*/ 74462 h 76161"/>
                  <a:gd name="connsiteX2" fmla="*/ -1509 w 1110133"/>
                  <a:gd name="connsiteY2" fmla="*/ -1700 h 76161"/>
                  <a:gd name="connsiteX3" fmla="*/ 1108624 w 1110133"/>
                  <a:gd name="connsiteY3" fmla="*/ -1700 h 76161"/>
                  <a:gd name="connsiteX4" fmla="*/ 1108624 w 1110133"/>
                  <a:gd name="connsiteY4" fmla="*/ 74462 h 76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0133" h="76161">
                    <a:moveTo>
                      <a:pt x="1108624" y="74462"/>
                    </a:moveTo>
                    <a:lnTo>
                      <a:pt x="-1509" y="74462"/>
                    </a:lnTo>
                    <a:lnTo>
                      <a:pt x="-1509" y="-1700"/>
                    </a:lnTo>
                    <a:lnTo>
                      <a:pt x="1108624" y="-1700"/>
                    </a:lnTo>
                    <a:lnTo>
                      <a:pt x="1108624" y="74462"/>
                    </a:lnTo>
                  </a:path>
                </a:pathLst>
              </a:custGeom>
              <a:solidFill>
                <a:srgbClr val="B8BFC9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7" name="Vrije vorm 106">
                <a:extLst>
                  <a:ext uri="{FF2B5EF4-FFF2-40B4-BE49-F238E27FC236}">
                    <a16:creationId xmlns:a16="http://schemas.microsoft.com/office/drawing/2014/main" id="{71ED2284-07DD-B76E-CB70-D9D26AD68E93}"/>
                  </a:ext>
                </a:extLst>
              </p:cNvPr>
              <p:cNvSpPr/>
              <p:nvPr/>
            </p:nvSpPr>
            <p:spPr>
              <a:xfrm flipV="1">
                <a:off x="3742138" y="4337150"/>
                <a:ext cx="834287" cy="76161"/>
              </a:xfrm>
              <a:custGeom>
                <a:avLst/>
                <a:gdLst>
                  <a:gd name="connsiteX0" fmla="*/ 833442 w 834287"/>
                  <a:gd name="connsiteY0" fmla="*/ 74841 h 76161"/>
                  <a:gd name="connsiteX1" fmla="*/ -845 w 834287"/>
                  <a:gd name="connsiteY1" fmla="*/ 74841 h 76161"/>
                  <a:gd name="connsiteX2" fmla="*/ -845 w 834287"/>
                  <a:gd name="connsiteY2" fmla="*/ -1320 h 76161"/>
                  <a:gd name="connsiteX3" fmla="*/ 833442 w 834287"/>
                  <a:gd name="connsiteY3" fmla="*/ -1320 h 76161"/>
                  <a:gd name="connsiteX4" fmla="*/ 833442 w 834287"/>
                  <a:gd name="connsiteY4" fmla="*/ 74841 h 76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4287" h="76161">
                    <a:moveTo>
                      <a:pt x="833442" y="74841"/>
                    </a:moveTo>
                    <a:lnTo>
                      <a:pt x="-845" y="74841"/>
                    </a:lnTo>
                    <a:lnTo>
                      <a:pt x="-845" y="-1320"/>
                    </a:lnTo>
                    <a:lnTo>
                      <a:pt x="833442" y="-1320"/>
                    </a:lnTo>
                    <a:lnTo>
                      <a:pt x="833442" y="74841"/>
                    </a:lnTo>
                  </a:path>
                </a:pathLst>
              </a:custGeom>
              <a:solidFill>
                <a:srgbClr val="E2E7E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8" name="Vrije vorm 107">
                <a:extLst>
                  <a:ext uri="{FF2B5EF4-FFF2-40B4-BE49-F238E27FC236}">
                    <a16:creationId xmlns:a16="http://schemas.microsoft.com/office/drawing/2014/main" id="{16C7023B-AD73-FB33-E937-B47B5900AB74}"/>
                  </a:ext>
                </a:extLst>
              </p:cNvPr>
              <p:cNvSpPr/>
              <p:nvPr/>
            </p:nvSpPr>
            <p:spPr>
              <a:xfrm flipV="1">
                <a:off x="4576425" y="4337150"/>
                <a:ext cx="1110133" cy="76161"/>
              </a:xfrm>
              <a:custGeom>
                <a:avLst/>
                <a:gdLst>
                  <a:gd name="connsiteX0" fmla="*/ 1108624 w 1110133"/>
                  <a:gd name="connsiteY0" fmla="*/ 74841 h 76161"/>
                  <a:gd name="connsiteX1" fmla="*/ -1509 w 1110133"/>
                  <a:gd name="connsiteY1" fmla="*/ 74841 h 76161"/>
                  <a:gd name="connsiteX2" fmla="*/ -1509 w 1110133"/>
                  <a:gd name="connsiteY2" fmla="*/ -1320 h 76161"/>
                  <a:gd name="connsiteX3" fmla="*/ 1108624 w 1110133"/>
                  <a:gd name="connsiteY3" fmla="*/ -1320 h 76161"/>
                  <a:gd name="connsiteX4" fmla="*/ 1108624 w 1110133"/>
                  <a:gd name="connsiteY4" fmla="*/ 74841 h 76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0133" h="76161">
                    <a:moveTo>
                      <a:pt x="1108624" y="74841"/>
                    </a:moveTo>
                    <a:lnTo>
                      <a:pt x="-1509" y="74841"/>
                    </a:lnTo>
                    <a:lnTo>
                      <a:pt x="-1509" y="-1320"/>
                    </a:lnTo>
                    <a:lnTo>
                      <a:pt x="1108624" y="-1320"/>
                    </a:lnTo>
                    <a:lnTo>
                      <a:pt x="1108624" y="74841"/>
                    </a:lnTo>
                  </a:path>
                </a:pathLst>
              </a:custGeom>
              <a:solidFill>
                <a:srgbClr val="FCF2D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9" name="Vrije vorm 108">
                <a:extLst>
                  <a:ext uri="{FF2B5EF4-FFF2-40B4-BE49-F238E27FC236}">
                    <a16:creationId xmlns:a16="http://schemas.microsoft.com/office/drawing/2014/main" id="{0E70E9F4-326D-536E-67A7-E01C3E4EB25C}"/>
                  </a:ext>
                </a:extLst>
              </p:cNvPr>
              <p:cNvSpPr/>
              <p:nvPr/>
            </p:nvSpPr>
            <p:spPr>
              <a:xfrm flipV="1">
                <a:off x="3742138" y="5835061"/>
                <a:ext cx="834287" cy="57057"/>
              </a:xfrm>
              <a:custGeom>
                <a:avLst/>
                <a:gdLst>
                  <a:gd name="connsiteX0" fmla="*/ 833442 w 834287"/>
                  <a:gd name="connsiteY0" fmla="*/ 57066 h 57057"/>
                  <a:gd name="connsiteX1" fmla="*/ -845 w 834287"/>
                  <a:gd name="connsiteY1" fmla="*/ 57066 h 57057"/>
                  <a:gd name="connsiteX2" fmla="*/ -845 w 834287"/>
                  <a:gd name="connsiteY2" fmla="*/ 8 h 57057"/>
                  <a:gd name="connsiteX3" fmla="*/ 833442 w 834287"/>
                  <a:gd name="connsiteY3" fmla="*/ 8 h 57057"/>
                  <a:gd name="connsiteX4" fmla="*/ 833442 w 834287"/>
                  <a:gd name="connsiteY4" fmla="*/ 57066 h 5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4287" h="57057">
                    <a:moveTo>
                      <a:pt x="833442" y="57066"/>
                    </a:moveTo>
                    <a:lnTo>
                      <a:pt x="-845" y="57066"/>
                    </a:lnTo>
                    <a:lnTo>
                      <a:pt x="-845" y="8"/>
                    </a:lnTo>
                    <a:lnTo>
                      <a:pt x="833442" y="8"/>
                    </a:lnTo>
                    <a:lnTo>
                      <a:pt x="833442" y="57066"/>
                    </a:lnTo>
                  </a:path>
                </a:pathLst>
              </a:custGeom>
              <a:solidFill>
                <a:srgbClr val="E2E7E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0" name="Vrije vorm 109">
                <a:extLst>
                  <a:ext uri="{FF2B5EF4-FFF2-40B4-BE49-F238E27FC236}">
                    <a16:creationId xmlns:a16="http://schemas.microsoft.com/office/drawing/2014/main" id="{C287150B-5929-6505-D234-A9E3D769A19C}"/>
                  </a:ext>
                </a:extLst>
              </p:cNvPr>
              <p:cNvSpPr/>
              <p:nvPr/>
            </p:nvSpPr>
            <p:spPr>
              <a:xfrm flipV="1">
                <a:off x="4576425" y="5835061"/>
                <a:ext cx="1110133" cy="57057"/>
              </a:xfrm>
              <a:custGeom>
                <a:avLst/>
                <a:gdLst>
                  <a:gd name="connsiteX0" fmla="*/ 1108624 w 1110133"/>
                  <a:gd name="connsiteY0" fmla="*/ 57066 h 57057"/>
                  <a:gd name="connsiteX1" fmla="*/ -1509 w 1110133"/>
                  <a:gd name="connsiteY1" fmla="*/ 57066 h 57057"/>
                  <a:gd name="connsiteX2" fmla="*/ -1509 w 1110133"/>
                  <a:gd name="connsiteY2" fmla="*/ 8 h 57057"/>
                  <a:gd name="connsiteX3" fmla="*/ 1108624 w 1110133"/>
                  <a:gd name="connsiteY3" fmla="*/ 8 h 57057"/>
                  <a:gd name="connsiteX4" fmla="*/ 1108624 w 1110133"/>
                  <a:gd name="connsiteY4" fmla="*/ 57066 h 5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0133" h="57057">
                    <a:moveTo>
                      <a:pt x="1108624" y="57066"/>
                    </a:moveTo>
                    <a:lnTo>
                      <a:pt x="-1509" y="57066"/>
                    </a:lnTo>
                    <a:lnTo>
                      <a:pt x="-1509" y="8"/>
                    </a:lnTo>
                    <a:lnTo>
                      <a:pt x="1108624" y="8"/>
                    </a:lnTo>
                    <a:lnTo>
                      <a:pt x="1108624" y="57066"/>
                    </a:lnTo>
                  </a:path>
                </a:pathLst>
              </a:custGeom>
              <a:solidFill>
                <a:srgbClr val="B8BFC9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1" name="Vrije vorm 110">
                <a:extLst>
                  <a:ext uri="{FF2B5EF4-FFF2-40B4-BE49-F238E27FC236}">
                    <a16:creationId xmlns:a16="http://schemas.microsoft.com/office/drawing/2014/main" id="{15E2CE35-ABD6-E666-F051-5C24C5F790D5}"/>
                  </a:ext>
                </a:extLst>
              </p:cNvPr>
              <p:cNvSpPr/>
              <p:nvPr/>
            </p:nvSpPr>
            <p:spPr>
              <a:xfrm flipV="1">
                <a:off x="3889874" y="5047993"/>
                <a:ext cx="686551" cy="241178"/>
              </a:xfrm>
              <a:custGeom>
                <a:avLst/>
                <a:gdLst>
                  <a:gd name="connsiteX0" fmla="*/ -896 w 686551"/>
                  <a:gd name="connsiteY0" fmla="*/ -612 h 241178"/>
                  <a:gd name="connsiteX1" fmla="*/ 685655 w 686551"/>
                  <a:gd name="connsiteY1" fmla="*/ -612 h 241178"/>
                  <a:gd name="connsiteX2" fmla="*/ 685655 w 686551"/>
                  <a:gd name="connsiteY2" fmla="*/ 240567 h 241178"/>
                  <a:gd name="connsiteX3" fmla="*/ -896 w 686551"/>
                  <a:gd name="connsiteY3" fmla="*/ 240567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6551" h="241178">
                    <a:moveTo>
                      <a:pt x="-896" y="-612"/>
                    </a:moveTo>
                    <a:lnTo>
                      <a:pt x="685655" y="-612"/>
                    </a:lnTo>
                    <a:lnTo>
                      <a:pt x="685655" y="240567"/>
                    </a:lnTo>
                    <a:lnTo>
                      <a:pt x="-896" y="240567"/>
                    </a:lnTo>
                    <a:close/>
                  </a:path>
                </a:pathLst>
              </a:custGeom>
              <a:solidFill>
                <a:srgbClr val="2A5EA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2" name="Vrije vorm 111">
                <a:extLst>
                  <a:ext uri="{FF2B5EF4-FFF2-40B4-BE49-F238E27FC236}">
                    <a16:creationId xmlns:a16="http://schemas.microsoft.com/office/drawing/2014/main" id="{C981A4CD-457E-0868-71D6-32295D3DC36D}"/>
                  </a:ext>
                </a:extLst>
              </p:cNvPr>
              <p:cNvSpPr/>
              <p:nvPr/>
            </p:nvSpPr>
            <p:spPr>
              <a:xfrm flipV="1">
                <a:off x="4057555" y="5047993"/>
                <a:ext cx="12693" cy="241178"/>
              </a:xfrm>
              <a:custGeom>
                <a:avLst/>
                <a:gdLst>
                  <a:gd name="connsiteX0" fmla="*/ -780 w 12693"/>
                  <a:gd name="connsiteY0" fmla="*/ -612 h 241178"/>
                  <a:gd name="connsiteX1" fmla="*/ 11913 w 12693"/>
                  <a:gd name="connsiteY1" fmla="*/ -612 h 241178"/>
                  <a:gd name="connsiteX2" fmla="*/ 11913 w 12693"/>
                  <a:gd name="connsiteY2" fmla="*/ 240567 h 241178"/>
                  <a:gd name="connsiteX3" fmla="*/ -780 w 12693"/>
                  <a:gd name="connsiteY3" fmla="*/ 240567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780" y="-612"/>
                    </a:moveTo>
                    <a:lnTo>
                      <a:pt x="11913" y="-612"/>
                    </a:lnTo>
                    <a:lnTo>
                      <a:pt x="11913" y="240567"/>
                    </a:lnTo>
                    <a:lnTo>
                      <a:pt x="-780" y="240567"/>
                    </a:lnTo>
                    <a:close/>
                  </a:path>
                </a:pathLst>
              </a:custGeom>
              <a:solidFill>
                <a:srgbClr val="2144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3" name="Vrije vorm 112">
                <a:extLst>
                  <a:ext uri="{FF2B5EF4-FFF2-40B4-BE49-F238E27FC236}">
                    <a16:creationId xmlns:a16="http://schemas.microsoft.com/office/drawing/2014/main" id="{7760C7B2-9C8B-9CB1-DF72-0D13DC855ED9}"/>
                  </a:ext>
                </a:extLst>
              </p:cNvPr>
              <p:cNvSpPr/>
              <p:nvPr/>
            </p:nvSpPr>
            <p:spPr>
              <a:xfrm flipV="1">
                <a:off x="4226805" y="5047993"/>
                <a:ext cx="12693" cy="241178"/>
              </a:xfrm>
              <a:custGeom>
                <a:avLst/>
                <a:gdLst>
                  <a:gd name="connsiteX0" fmla="*/ -896 w 12693"/>
                  <a:gd name="connsiteY0" fmla="*/ -612 h 241178"/>
                  <a:gd name="connsiteX1" fmla="*/ 11798 w 12693"/>
                  <a:gd name="connsiteY1" fmla="*/ -612 h 241178"/>
                  <a:gd name="connsiteX2" fmla="*/ 11798 w 12693"/>
                  <a:gd name="connsiteY2" fmla="*/ 240567 h 241178"/>
                  <a:gd name="connsiteX3" fmla="*/ -896 w 12693"/>
                  <a:gd name="connsiteY3" fmla="*/ 240567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896" y="-612"/>
                    </a:moveTo>
                    <a:lnTo>
                      <a:pt x="11798" y="-612"/>
                    </a:lnTo>
                    <a:lnTo>
                      <a:pt x="11798" y="240567"/>
                    </a:lnTo>
                    <a:lnTo>
                      <a:pt x="-896" y="240567"/>
                    </a:lnTo>
                    <a:close/>
                  </a:path>
                </a:pathLst>
              </a:custGeom>
              <a:solidFill>
                <a:srgbClr val="2144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4" name="Vrije vorm 113">
                <a:extLst>
                  <a:ext uri="{FF2B5EF4-FFF2-40B4-BE49-F238E27FC236}">
                    <a16:creationId xmlns:a16="http://schemas.microsoft.com/office/drawing/2014/main" id="{8287B3C0-7E8D-4943-9180-3E101930E35E}"/>
                  </a:ext>
                </a:extLst>
              </p:cNvPr>
              <p:cNvSpPr/>
              <p:nvPr/>
            </p:nvSpPr>
            <p:spPr>
              <a:xfrm flipV="1">
                <a:off x="4396049" y="5047993"/>
                <a:ext cx="12693" cy="241178"/>
              </a:xfrm>
              <a:custGeom>
                <a:avLst/>
                <a:gdLst>
                  <a:gd name="connsiteX0" fmla="*/ -1011 w 12693"/>
                  <a:gd name="connsiteY0" fmla="*/ -612 h 241178"/>
                  <a:gd name="connsiteX1" fmla="*/ 11682 w 12693"/>
                  <a:gd name="connsiteY1" fmla="*/ -612 h 241178"/>
                  <a:gd name="connsiteX2" fmla="*/ 11682 w 12693"/>
                  <a:gd name="connsiteY2" fmla="*/ 240567 h 241178"/>
                  <a:gd name="connsiteX3" fmla="*/ -1011 w 12693"/>
                  <a:gd name="connsiteY3" fmla="*/ 240567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1011" y="-612"/>
                    </a:moveTo>
                    <a:lnTo>
                      <a:pt x="11682" y="-612"/>
                    </a:lnTo>
                    <a:lnTo>
                      <a:pt x="11682" y="240567"/>
                    </a:lnTo>
                    <a:lnTo>
                      <a:pt x="-1011" y="240567"/>
                    </a:lnTo>
                    <a:close/>
                  </a:path>
                </a:pathLst>
              </a:custGeom>
              <a:solidFill>
                <a:srgbClr val="2144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5" name="Vrije vorm 114">
                <a:extLst>
                  <a:ext uri="{FF2B5EF4-FFF2-40B4-BE49-F238E27FC236}">
                    <a16:creationId xmlns:a16="http://schemas.microsoft.com/office/drawing/2014/main" id="{587150D4-18D7-85C6-682D-9A0835FC03FF}"/>
                  </a:ext>
                </a:extLst>
              </p:cNvPr>
              <p:cNvSpPr/>
              <p:nvPr/>
            </p:nvSpPr>
            <p:spPr>
              <a:xfrm flipV="1">
                <a:off x="3966036" y="5047993"/>
                <a:ext cx="260768" cy="241178"/>
              </a:xfrm>
              <a:custGeom>
                <a:avLst/>
                <a:gdLst>
                  <a:gd name="connsiteX0" fmla="*/ 192439 w 260768"/>
                  <a:gd name="connsiteY0" fmla="*/ -612 h 241178"/>
                  <a:gd name="connsiteX1" fmla="*/ 103410 w 260768"/>
                  <a:gd name="connsiteY1" fmla="*/ -612 h 241178"/>
                  <a:gd name="connsiteX2" fmla="*/ 103410 w 260768"/>
                  <a:gd name="connsiteY2" fmla="*/ 186213 h 241178"/>
                  <a:gd name="connsiteX3" fmla="*/ 133726 w 260768"/>
                  <a:gd name="connsiteY3" fmla="*/ 240567 h 241178"/>
                  <a:gd name="connsiteX4" fmla="*/ 259966 w 260768"/>
                  <a:gd name="connsiteY4" fmla="*/ 240567 h 241178"/>
                  <a:gd name="connsiteX5" fmla="*/ 259966 w 260768"/>
                  <a:gd name="connsiteY5" fmla="*/ 120447 h 241178"/>
                  <a:gd name="connsiteX6" fmla="*/ 192439 w 260768"/>
                  <a:gd name="connsiteY6" fmla="*/ -612 h 241178"/>
                  <a:gd name="connsiteX7" fmla="*/ 90716 w 260768"/>
                  <a:gd name="connsiteY7" fmla="*/ -612 h 241178"/>
                  <a:gd name="connsiteX8" fmla="*/ -803 w 260768"/>
                  <a:gd name="connsiteY8" fmla="*/ -612 h 241178"/>
                  <a:gd name="connsiteX9" fmla="*/ 90716 w 260768"/>
                  <a:gd name="connsiteY9" fmla="*/ 163466 h 241178"/>
                  <a:gd name="connsiteX10" fmla="*/ 90716 w 260768"/>
                  <a:gd name="connsiteY10" fmla="*/ -612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0768" h="241178">
                    <a:moveTo>
                      <a:pt x="192439" y="-612"/>
                    </a:moveTo>
                    <a:lnTo>
                      <a:pt x="103410" y="-612"/>
                    </a:lnTo>
                    <a:lnTo>
                      <a:pt x="103410" y="186213"/>
                    </a:lnTo>
                    <a:lnTo>
                      <a:pt x="133726" y="240567"/>
                    </a:lnTo>
                    <a:lnTo>
                      <a:pt x="259966" y="240567"/>
                    </a:lnTo>
                    <a:lnTo>
                      <a:pt x="259966" y="120447"/>
                    </a:lnTo>
                    <a:lnTo>
                      <a:pt x="192439" y="-612"/>
                    </a:lnTo>
                    <a:moveTo>
                      <a:pt x="90716" y="-612"/>
                    </a:moveTo>
                    <a:lnTo>
                      <a:pt x="-803" y="-612"/>
                    </a:lnTo>
                    <a:lnTo>
                      <a:pt x="90716" y="163466"/>
                    </a:lnTo>
                    <a:lnTo>
                      <a:pt x="90716" y="-612"/>
                    </a:lnTo>
                  </a:path>
                </a:pathLst>
              </a:custGeom>
              <a:solidFill>
                <a:srgbClr val="346EA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6" name="Vrije vorm 115">
                <a:extLst>
                  <a:ext uri="{FF2B5EF4-FFF2-40B4-BE49-F238E27FC236}">
                    <a16:creationId xmlns:a16="http://schemas.microsoft.com/office/drawing/2014/main" id="{1BDA9DD0-B14F-3D36-A88E-E1A3B652A96A}"/>
                  </a:ext>
                </a:extLst>
              </p:cNvPr>
              <p:cNvSpPr/>
              <p:nvPr/>
            </p:nvSpPr>
            <p:spPr>
              <a:xfrm flipV="1">
                <a:off x="4057555" y="5102347"/>
                <a:ext cx="12693" cy="186824"/>
              </a:xfrm>
              <a:custGeom>
                <a:avLst/>
                <a:gdLst>
                  <a:gd name="connsiteX0" fmla="*/ 11913 w 12693"/>
                  <a:gd name="connsiteY0" fmla="*/ -588 h 186824"/>
                  <a:gd name="connsiteX1" fmla="*/ -780 w 12693"/>
                  <a:gd name="connsiteY1" fmla="*/ -588 h 186824"/>
                  <a:gd name="connsiteX2" fmla="*/ -780 w 12693"/>
                  <a:gd name="connsiteY2" fmla="*/ 163490 h 186824"/>
                  <a:gd name="connsiteX3" fmla="*/ 11913 w 12693"/>
                  <a:gd name="connsiteY3" fmla="*/ 186237 h 186824"/>
                  <a:gd name="connsiteX4" fmla="*/ 11913 w 12693"/>
                  <a:gd name="connsiteY4" fmla="*/ -588 h 18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86824">
                    <a:moveTo>
                      <a:pt x="11913" y="-588"/>
                    </a:moveTo>
                    <a:lnTo>
                      <a:pt x="-780" y="-588"/>
                    </a:lnTo>
                    <a:lnTo>
                      <a:pt x="-780" y="163490"/>
                    </a:lnTo>
                    <a:lnTo>
                      <a:pt x="11913" y="186237"/>
                    </a:lnTo>
                    <a:lnTo>
                      <a:pt x="11913" y="-588"/>
                    </a:lnTo>
                  </a:path>
                </a:pathLst>
              </a:custGeom>
              <a:solidFill>
                <a:srgbClr val="2A548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7" name="Vrije vorm 116">
                <a:extLst>
                  <a:ext uri="{FF2B5EF4-FFF2-40B4-BE49-F238E27FC236}">
                    <a16:creationId xmlns:a16="http://schemas.microsoft.com/office/drawing/2014/main" id="{C672C125-D9C3-043D-B966-10E2ABAB7F31}"/>
                  </a:ext>
                </a:extLst>
              </p:cNvPr>
              <p:cNvSpPr/>
              <p:nvPr/>
            </p:nvSpPr>
            <p:spPr>
              <a:xfrm flipV="1">
                <a:off x="4239499" y="5047993"/>
                <a:ext cx="54303" cy="97360"/>
              </a:xfrm>
              <a:custGeom>
                <a:avLst/>
                <a:gdLst>
                  <a:gd name="connsiteX0" fmla="*/ -919 w 54303"/>
                  <a:gd name="connsiteY0" fmla="*/ -676 h 97360"/>
                  <a:gd name="connsiteX1" fmla="*/ -919 w 54303"/>
                  <a:gd name="connsiteY1" fmla="*/ 96684 h 97360"/>
                  <a:gd name="connsiteX2" fmla="*/ 53385 w 54303"/>
                  <a:gd name="connsiteY2" fmla="*/ 96684 h 97360"/>
                  <a:gd name="connsiteX3" fmla="*/ -919 w 54303"/>
                  <a:gd name="connsiteY3" fmla="*/ -676 h 97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303" h="97360">
                    <a:moveTo>
                      <a:pt x="-919" y="-676"/>
                    </a:moveTo>
                    <a:lnTo>
                      <a:pt x="-919" y="96684"/>
                    </a:lnTo>
                    <a:lnTo>
                      <a:pt x="53385" y="96684"/>
                    </a:lnTo>
                    <a:lnTo>
                      <a:pt x="-919" y="-676"/>
                    </a:lnTo>
                  </a:path>
                </a:pathLst>
              </a:custGeom>
              <a:solidFill>
                <a:srgbClr val="346EA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8" name="Vrije vorm 117">
                <a:extLst>
                  <a:ext uri="{FF2B5EF4-FFF2-40B4-BE49-F238E27FC236}">
                    <a16:creationId xmlns:a16="http://schemas.microsoft.com/office/drawing/2014/main" id="{0748618A-F828-0A83-F8F5-3104C1947FB6}"/>
                  </a:ext>
                </a:extLst>
              </p:cNvPr>
              <p:cNvSpPr/>
              <p:nvPr/>
            </p:nvSpPr>
            <p:spPr>
              <a:xfrm flipV="1">
                <a:off x="4226805" y="5047993"/>
                <a:ext cx="12693" cy="120119"/>
              </a:xfrm>
              <a:custGeom>
                <a:avLst/>
                <a:gdLst>
                  <a:gd name="connsiteX0" fmla="*/ -896 w 12693"/>
                  <a:gd name="connsiteY0" fmla="*/ -666 h 120119"/>
                  <a:gd name="connsiteX1" fmla="*/ -896 w 12693"/>
                  <a:gd name="connsiteY1" fmla="*/ 119454 h 120119"/>
                  <a:gd name="connsiteX2" fmla="*/ 11798 w 12693"/>
                  <a:gd name="connsiteY2" fmla="*/ 119454 h 120119"/>
                  <a:gd name="connsiteX3" fmla="*/ 11798 w 12693"/>
                  <a:gd name="connsiteY3" fmla="*/ 22094 h 120119"/>
                  <a:gd name="connsiteX4" fmla="*/ -896 w 12693"/>
                  <a:gd name="connsiteY4" fmla="*/ -666 h 120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20119">
                    <a:moveTo>
                      <a:pt x="-896" y="-666"/>
                    </a:moveTo>
                    <a:lnTo>
                      <a:pt x="-896" y="119454"/>
                    </a:lnTo>
                    <a:lnTo>
                      <a:pt x="11798" y="119454"/>
                    </a:lnTo>
                    <a:lnTo>
                      <a:pt x="11798" y="22094"/>
                    </a:lnTo>
                    <a:lnTo>
                      <a:pt x="-896" y="-666"/>
                    </a:lnTo>
                  </a:path>
                </a:pathLst>
              </a:custGeom>
              <a:solidFill>
                <a:srgbClr val="2A548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9" name="Vrije vorm 118">
                <a:extLst>
                  <a:ext uri="{FF2B5EF4-FFF2-40B4-BE49-F238E27FC236}">
                    <a16:creationId xmlns:a16="http://schemas.microsoft.com/office/drawing/2014/main" id="{8E0AE1BC-E750-7BBD-80BC-93DC75528D87}"/>
                  </a:ext>
                </a:extLst>
              </p:cNvPr>
              <p:cNvSpPr/>
              <p:nvPr/>
            </p:nvSpPr>
            <p:spPr>
              <a:xfrm flipV="1">
                <a:off x="4299425" y="5047993"/>
                <a:ext cx="198870" cy="241178"/>
              </a:xfrm>
              <a:custGeom>
                <a:avLst/>
                <a:gdLst>
                  <a:gd name="connsiteX0" fmla="*/ 63335 w 198870"/>
                  <a:gd name="connsiteY0" fmla="*/ -612 h 241178"/>
                  <a:gd name="connsiteX1" fmla="*/ -1009 w 198870"/>
                  <a:gd name="connsiteY1" fmla="*/ -612 h 241178"/>
                  <a:gd name="connsiteX2" fmla="*/ 95615 w 198870"/>
                  <a:gd name="connsiteY2" fmla="*/ 172605 h 241178"/>
                  <a:gd name="connsiteX3" fmla="*/ 95615 w 198870"/>
                  <a:gd name="connsiteY3" fmla="*/ 57258 h 241178"/>
                  <a:gd name="connsiteX4" fmla="*/ 63335 w 198870"/>
                  <a:gd name="connsiteY4" fmla="*/ -612 h 241178"/>
                  <a:gd name="connsiteX5" fmla="*/ 108308 w 198870"/>
                  <a:gd name="connsiteY5" fmla="*/ 80018 h 241178"/>
                  <a:gd name="connsiteX6" fmla="*/ 108308 w 198870"/>
                  <a:gd name="connsiteY6" fmla="*/ 195365 h 241178"/>
                  <a:gd name="connsiteX7" fmla="*/ 133518 w 198870"/>
                  <a:gd name="connsiteY7" fmla="*/ 240567 h 241178"/>
                  <a:gd name="connsiteX8" fmla="*/ 197862 w 198870"/>
                  <a:gd name="connsiteY8" fmla="*/ 240567 h 241178"/>
                  <a:gd name="connsiteX9" fmla="*/ 108308 w 198870"/>
                  <a:gd name="connsiteY9" fmla="*/ 80018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8870" h="241178">
                    <a:moveTo>
                      <a:pt x="63335" y="-612"/>
                    </a:moveTo>
                    <a:lnTo>
                      <a:pt x="-1009" y="-612"/>
                    </a:lnTo>
                    <a:lnTo>
                      <a:pt x="95615" y="172605"/>
                    </a:lnTo>
                    <a:lnTo>
                      <a:pt x="95615" y="57258"/>
                    </a:lnTo>
                    <a:lnTo>
                      <a:pt x="63335" y="-612"/>
                    </a:lnTo>
                    <a:moveTo>
                      <a:pt x="108308" y="80018"/>
                    </a:moveTo>
                    <a:lnTo>
                      <a:pt x="108308" y="195365"/>
                    </a:lnTo>
                    <a:lnTo>
                      <a:pt x="133518" y="240567"/>
                    </a:lnTo>
                    <a:lnTo>
                      <a:pt x="197862" y="240567"/>
                    </a:lnTo>
                    <a:lnTo>
                      <a:pt x="108308" y="80018"/>
                    </a:lnTo>
                  </a:path>
                </a:pathLst>
              </a:custGeom>
              <a:solidFill>
                <a:srgbClr val="346EA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0" name="Vrije vorm 119">
                <a:extLst>
                  <a:ext uri="{FF2B5EF4-FFF2-40B4-BE49-F238E27FC236}">
                    <a16:creationId xmlns:a16="http://schemas.microsoft.com/office/drawing/2014/main" id="{1DD118B2-A3CB-E43C-F6EF-C7B82E60115A}"/>
                  </a:ext>
                </a:extLst>
              </p:cNvPr>
              <p:cNvSpPr/>
              <p:nvPr/>
            </p:nvSpPr>
            <p:spPr>
              <a:xfrm flipV="1">
                <a:off x="4396049" y="5093195"/>
                <a:ext cx="12693" cy="138106"/>
              </a:xfrm>
              <a:custGeom>
                <a:avLst/>
                <a:gdLst>
                  <a:gd name="connsiteX0" fmla="*/ -1011 w 12693"/>
                  <a:gd name="connsiteY0" fmla="*/ -618 h 138106"/>
                  <a:gd name="connsiteX1" fmla="*/ -1011 w 12693"/>
                  <a:gd name="connsiteY1" fmla="*/ 114729 h 138106"/>
                  <a:gd name="connsiteX2" fmla="*/ 11682 w 12693"/>
                  <a:gd name="connsiteY2" fmla="*/ 137489 h 138106"/>
                  <a:gd name="connsiteX3" fmla="*/ 11682 w 12693"/>
                  <a:gd name="connsiteY3" fmla="*/ 22142 h 138106"/>
                  <a:gd name="connsiteX4" fmla="*/ -1011 w 12693"/>
                  <a:gd name="connsiteY4" fmla="*/ -618 h 138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38106">
                    <a:moveTo>
                      <a:pt x="-1011" y="-618"/>
                    </a:moveTo>
                    <a:lnTo>
                      <a:pt x="-1011" y="114729"/>
                    </a:lnTo>
                    <a:lnTo>
                      <a:pt x="11682" y="137489"/>
                    </a:lnTo>
                    <a:lnTo>
                      <a:pt x="11682" y="22142"/>
                    </a:lnTo>
                    <a:lnTo>
                      <a:pt x="-1011" y="-618"/>
                    </a:lnTo>
                  </a:path>
                </a:pathLst>
              </a:custGeom>
              <a:solidFill>
                <a:srgbClr val="2A548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1" name="Vrije vorm 120">
                <a:extLst>
                  <a:ext uri="{FF2B5EF4-FFF2-40B4-BE49-F238E27FC236}">
                    <a16:creationId xmlns:a16="http://schemas.microsoft.com/office/drawing/2014/main" id="{CFE59AEF-D9A8-48D1-6A72-E85EC12FBF47}"/>
                  </a:ext>
                </a:extLst>
              </p:cNvPr>
              <p:cNvSpPr/>
              <p:nvPr/>
            </p:nvSpPr>
            <p:spPr>
              <a:xfrm flipV="1">
                <a:off x="4576425" y="5047993"/>
                <a:ext cx="932600" cy="323687"/>
              </a:xfrm>
              <a:custGeom>
                <a:avLst/>
                <a:gdLst>
                  <a:gd name="connsiteX0" fmla="*/ 931152 w 932600"/>
                  <a:gd name="connsiteY0" fmla="*/ -575 h 323687"/>
                  <a:gd name="connsiteX1" fmla="*/ 600407 w 932600"/>
                  <a:gd name="connsiteY1" fmla="*/ -575 h 323687"/>
                  <a:gd name="connsiteX2" fmla="*/ 464852 w 932600"/>
                  <a:gd name="connsiteY2" fmla="*/ 81933 h 323687"/>
                  <a:gd name="connsiteX3" fmla="*/ -1449 w 932600"/>
                  <a:gd name="connsiteY3" fmla="*/ 81933 h 323687"/>
                  <a:gd name="connsiteX4" fmla="*/ -1449 w 932600"/>
                  <a:gd name="connsiteY4" fmla="*/ 323112 h 323687"/>
                  <a:gd name="connsiteX5" fmla="*/ 931152 w 932600"/>
                  <a:gd name="connsiteY5" fmla="*/ 323112 h 323687"/>
                  <a:gd name="connsiteX6" fmla="*/ 931152 w 932600"/>
                  <a:gd name="connsiteY6" fmla="*/ -575 h 32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32600" h="323687">
                    <a:moveTo>
                      <a:pt x="931152" y="-575"/>
                    </a:moveTo>
                    <a:lnTo>
                      <a:pt x="600407" y="-575"/>
                    </a:lnTo>
                    <a:lnTo>
                      <a:pt x="464852" y="81933"/>
                    </a:lnTo>
                    <a:lnTo>
                      <a:pt x="-1449" y="81933"/>
                    </a:lnTo>
                    <a:lnTo>
                      <a:pt x="-1449" y="323112"/>
                    </a:lnTo>
                    <a:lnTo>
                      <a:pt x="931152" y="323112"/>
                    </a:lnTo>
                    <a:lnTo>
                      <a:pt x="931152" y="-575"/>
                    </a:lnTo>
                  </a:path>
                </a:pathLst>
              </a:custGeom>
              <a:solidFill>
                <a:srgbClr val="1D446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2" name="Vrije vorm 121">
                <a:extLst>
                  <a:ext uri="{FF2B5EF4-FFF2-40B4-BE49-F238E27FC236}">
                    <a16:creationId xmlns:a16="http://schemas.microsoft.com/office/drawing/2014/main" id="{A87A851A-3C22-6700-CA4C-EAC091C60A81}"/>
                  </a:ext>
                </a:extLst>
              </p:cNvPr>
              <p:cNvSpPr/>
              <p:nvPr/>
            </p:nvSpPr>
            <p:spPr>
              <a:xfrm flipV="1">
                <a:off x="4687457" y="5047993"/>
                <a:ext cx="12693" cy="241178"/>
              </a:xfrm>
              <a:custGeom>
                <a:avLst/>
                <a:gdLst>
                  <a:gd name="connsiteX0" fmla="*/ 11483 w 12693"/>
                  <a:gd name="connsiteY0" fmla="*/ -612 h 241178"/>
                  <a:gd name="connsiteX1" fmla="*/ -1210 w 12693"/>
                  <a:gd name="connsiteY1" fmla="*/ -612 h 241178"/>
                  <a:gd name="connsiteX2" fmla="*/ -1210 w 12693"/>
                  <a:gd name="connsiteY2" fmla="*/ 240567 h 241178"/>
                  <a:gd name="connsiteX3" fmla="*/ 11483 w 12693"/>
                  <a:gd name="connsiteY3" fmla="*/ 240567 h 241178"/>
                  <a:gd name="connsiteX4" fmla="*/ 11483 w 12693"/>
                  <a:gd name="connsiteY4" fmla="*/ -612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241178">
                    <a:moveTo>
                      <a:pt x="11483" y="-612"/>
                    </a:moveTo>
                    <a:lnTo>
                      <a:pt x="-1210" y="-612"/>
                    </a:lnTo>
                    <a:lnTo>
                      <a:pt x="-1210" y="240567"/>
                    </a:lnTo>
                    <a:lnTo>
                      <a:pt x="11483" y="240567"/>
                    </a:lnTo>
                    <a:lnTo>
                      <a:pt x="11483" y="-612"/>
                    </a:lnTo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3" name="Vrije vorm 122">
                <a:extLst>
                  <a:ext uri="{FF2B5EF4-FFF2-40B4-BE49-F238E27FC236}">
                    <a16:creationId xmlns:a16="http://schemas.microsoft.com/office/drawing/2014/main" id="{4938DDD6-279E-BF0C-1A44-498E3BB45B13}"/>
                  </a:ext>
                </a:extLst>
              </p:cNvPr>
              <p:cNvSpPr/>
              <p:nvPr/>
            </p:nvSpPr>
            <p:spPr>
              <a:xfrm flipV="1">
                <a:off x="4856713" y="5047993"/>
                <a:ext cx="12693" cy="241178"/>
              </a:xfrm>
              <a:custGeom>
                <a:avLst/>
                <a:gdLst>
                  <a:gd name="connsiteX0" fmla="*/ -1326 w 12693"/>
                  <a:gd name="connsiteY0" fmla="*/ -612 h 241178"/>
                  <a:gd name="connsiteX1" fmla="*/ 11368 w 12693"/>
                  <a:gd name="connsiteY1" fmla="*/ -612 h 241178"/>
                  <a:gd name="connsiteX2" fmla="*/ 11368 w 12693"/>
                  <a:gd name="connsiteY2" fmla="*/ 240567 h 241178"/>
                  <a:gd name="connsiteX3" fmla="*/ -1326 w 12693"/>
                  <a:gd name="connsiteY3" fmla="*/ 240567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1326" y="-612"/>
                    </a:moveTo>
                    <a:lnTo>
                      <a:pt x="11368" y="-612"/>
                    </a:lnTo>
                    <a:lnTo>
                      <a:pt x="11368" y="240567"/>
                    </a:lnTo>
                    <a:lnTo>
                      <a:pt x="-1326" y="240567"/>
                    </a:lnTo>
                    <a:close/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4" name="Vrije vorm 123">
                <a:extLst>
                  <a:ext uri="{FF2B5EF4-FFF2-40B4-BE49-F238E27FC236}">
                    <a16:creationId xmlns:a16="http://schemas.microsoft.com/office/drawing/2014/main" id="{4969ACDB-ECEE-1B55-48E1-4323B63471B1}"/>
                  </a:ext>
                </a:extLst>
              </p:cNvPr>
              <p:cNvSpPr/>
              <p:nvPr/>
            </p:nvSpPr>
            <p:spPr>
              <a:xfrm flipV="1">
                <a:off x="5025957" y="5047993"/>
                <a:ext cx="12693" cy="241178"/>
              </a:xfrm>
              <a:custGeom>
                <a:avLst/>
                <a:gdLst>
                  <a:gd name="connsiteX0" fmla="*/ -1442 w 12693"/>
                  <a:gd name="connsiteY0" fmla="*/ -612 h 241178"/>
                  <a:gd name="connsiteX1" fmla="*/ 11252 w 12693"/>
                  <a:gd name="connsiteY1" fmla="*/ -612 h 241178"/>
                  <a:gd name="connsiteX2" fmla="*/ 11252 w 12693"/>
                  <a:gd name="connsiteY2" fmla="*/ 240567 h 241178"/>
                  <a:gd name="connsiteX3" fmla="*/ -1442 w 12693"/>
                  <a:gd name="connsiteY3" fmla="*/ 240567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241178">
                    <a:moveTo>
                      <a:pt x="-1442" y="-612"/>
                    </a:moveTo>
                    <a:lnTo>
                      <a:pt x="11252" y="-612"/>
                    </a:lnTo>
                    <a:lnTo>
                      <a:pt x="11252" y="240567"/>
                    </a:lnTo>
                    <a:lnTo>
                      <a:pt x="-1442" y="240567"/>
                    </a:lnTo>
                    <a:close/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5" name="Vrije vorm 124">
                <a:extLst>
                  <a:ext uri="{FF2B5EF4-FFF2-40B4-BE49-F238E27FC236}">
                    <a16:creationId xmlns:a16="http://schemas.microsoft.com/office/drawing/2014/main" id="{ADB94C2B-2F98-6FA6-B8F7-14665BA4C75D}"/>
                  </a:ext>
                </a:extLst>
              </p:cNvPr>
              <p:cNvSpPr/>
              <p:nvPr/>
            </p:nvSpPr>
            <p:spPr>
              <a:xfrm flipV="1">
                <a:off x="5195201" y="5047993"/>
                <a:ext cx="12693" cy="323687"/>
              </a:xfrm>
              <a:custGeom>
                <a:avLst/>
                <a:gdLst>
                  <a:gd name="connsiteX0" fmla="*/ -1557 w 12693"/>
                  <a:gd name="connsiteY0" fmla="*/ -575 h 323687"/>
                  <a:gd name="connsiteX1" fmla="*/ 11137 w 12693"/>
                  <a:gd name="connsiteY1" fmla="*/ -575 h 323687"/>
                  <a:gd name="connsiteX2" fmla="*/ 11137 w 12693"/>
                  <a:gd name="connsiteY2" fmla="*/ 323112 h 323687"/>
                  <a:gd name="connsiteX3" fmla="*/ -1557 w 12693"/>
                  <a:gd name="connsiteY3" fmla="*/ 323112 h 32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323687">
                    <a:moveTo>
                      <a:pt x="-1557" y="-575"/>
                    </a:moveTo>
                    <a:lnTo>
                      <a:pt x="11137" y="-575"/>
                    </a:lnTo>
                    <a:lnTo>
                      <a:pt x="11137" y="323112"/>
                    </a:lnTo>
                    <a:lnTo>
                      <a:pt x="-1557" y="323112"/>
                    </a:lnTo>
                    <a:close/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6" name="Vrije vorm 125">
                <a:extLst>
                  <a:ext uri="{FF2B5EF4-FFF2-40B4-BE49-F238E27FC236}">
                    <a16:creationId xmlns:a16="http://schemas.microsoft.com/office/drawing/2014/main" id="{9B3CF563-AD22-5B99-E6D0-5CD0BF6AF1B0}"/>
                  </a:ext>
                </a:extLst>
              </p:cNvPr>
              <p:cNvSpPr/>
              <p:nvPr/>
            </p:nvSpPr>
            <p:spPr>
              <a:xfrm flipV="1">
                <a:off x="5364458" y="5047993"/>
                <a:ext cx="12693" cy="323687"/>
              </a:xfrm>
              <a:custGeom>
                <a:avLst/>
                <a:gdLst>
                  <a:gd name="connsiteX0" fmla="*/ -1673 w 12693"/>
                  <a:gd name="connsiteY0" fmla="*/ -575 h 323687"/>
                  <a:gd name="connsiteX1" fmla="*/ 11021 w 12693"/>
                  <a:gd name="connsiteY1" fmla="*/ -575 h 323687"/>
                  <a:gd name="connsiteX2" fmla="*/ 11021 w 12693"/>
                  <a:gd name="connsiteY2" fmla="*/ 323112 h 323687"/>
                  <a:gd name="connsiteX3" fmla="*/ -1673 w 12693"/>
                  <a:gd name="connsiteY3" fmla="*/ 323112 h 32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3" h="323687">
                    <a:moveTo>
                      <a:pt x="-1673" y="-575"/>
                    </a:moveTo>
                    <a:lnTo>
                      <a:pt x="11021" y="-575"/>
                    </a:lnTo>
                    <a:lnTo>
                      <a:pt x="11021" y="323112"/>
                    </a:lnTo>
                    <a:lnTo>
                      <a:pt x="-1673" y="323112"/>
                    </a:lnTo>
                    <a:close/>
                  </a:path>
                </a:pathLst>
              </a:custGeom>
              <a:solidFill>
                <a:srgbClr val="25529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7" name="Vrije vorm 126">
                <a:extLst>
                  <a:ext uri="{FF2B5EF4-FFF2-40B4-BE49-F238E27FC236}">
                    <a16:creationId xmlns:a16="http://schemas.microsoft.com/office/drawing/2014/main" id="{BA0FFC68-BABC-46C3-7261-633C9F19ACDF}"/>
                  </a:ext>
                </a:extLst>
              </p:cNvPr>
              <p:cNvSpPr/>
              <p:nvPr/>
            </p:nvSpPr>
            <p:spPr>
              <a:xfrm flipV="1">
                <a:off x="4776591" y="5047993"/>
                <a:ext cx="249366" cy="241178"/>
              </a:xfrm>
              <a:custGeom>
                <a:avLst/>
                <a:gdLst>
                  <a:gd name="connsiteX0" fmla="*/ 191896 w 249366"/>
                  <a:gd name="connsiteY0" fmla="*/ -612 h 241178"/>
                  <a:gd name="connsiteX1" fmla="*/ 91464 w 249366"/>
                  <a:gd name="connsiteY1" fmla="*/ -612 h 241178"/>
                  <a:gd name="connsiteX2" fmla="*/ 91464 w 249366"/>
                  <a:gd name="connsiteY2" fmla="*/ 165776 h 241178"/>
                  <a:gd name="connsiteX3" fmla="*/ 133175 w 249366"/>
                  <a:gd name="connsiteY3" fmla="*/ 240567 h 241178"/>
                  <a:gd name="connsiteX4" fmla="*/ 248014 w 249366"/>
                  <a:gd name="connsiteY4" fmla="*/ 240567 h 241178"/>
                  <a:gd name="connsiteX5" fmla="*/ 248014 w 249366"/>
                  <a:gd name="connsiteY5" fmla="*/ 99998 h 241178"/>
                  <a:gd name="connsiteX6" fmla="*/ 191896 w 249366"/>
                  <a:gd name="connsiteY6" fmla="*/ -612 h 241178"/>
                  <a:gd name="connsiteX7" fmla="*/ 78770 w 249366"/>
                  <a:gd name="connsiteY7" fmla="*/ -612 h 241178"/>
                  <a:gd name="connsiteX8" fmla="*/ -1352 w 249366"/>
                  <a:gd name="connsiteY8" fmla="*/ -612 h 241178"/>
                  <a:gd name="connsiteX9" fmla="*/ 78770 w 249366"/>
                  <a:gd name="connsiteY9" fmla="*/ 143016 h 241178"/>
                  <a:gd name="connsiteX10" fmla="*/ 78770 w 249366"/>
                  <a:gd name="connsiteY10" fmla="*/ -612 h 24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9366" h="241178">
                    <a:moveTo>
                      <a:pt x="191896" y="-612"/>
                    </a:moveTo>
                    <a:lnTo>
                      <a:pt x="91464" y="-612"/>
                    </a:lnTo>
                    <a:lnTo>
                      <a:pt x="91464" y="165776"/>
                    </a:lnTo>
                    <a:lnTo>
                      <a:pt x="133175" y="240567"/>
                    </a:lnTo>
                    <a:lnTo>
                      <a:pt x="248014" y="240567"/>
                    </a:lnTo>
                    <a:lnTo>
                      <a:pt x="248014" y="99998"/>
                    </a:lnTo>
                    <a:lnTo>
                      <a:pt x="191896" y="-612"/>
                    </a:lnTo>
                    <a:moveTo>
                      <a:pt x="78770" y="-612"/>
                    </a:moveTo>
                    <a:lnTo>
                      <a:pt x="-1352" y="-612"/>
                    </a:lnTo>
                    <a:lnTo>
                      <a:pt x="78770" y="143016"/>
                    </a:lnTo>
                    <a:lnTo>
                      <a:pt x="78770" y="-612"/>
                    </a:lnTo>
                  </a:path>
                </a:pathLst>
              </a:custGeom>
              <a:solidFill>
                <a:srgbClr val="2956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8" name="Vrije vorm 127">
                <a:extLst>
                  <a:ext uri="{FF2B5EF4-FFF2-40B4-BE49-F238E27FC236}">
                    <a16:creationId xmlns:a16="http://schemas.microsoft.com/office/drawing/2014/main" id="{B3071E08-4CDB-80F9-5BFA-8A1759D4FA48}"/>
                  </a:ext>
                </a:extLst>
              </p:cNvPr>
              <p:cNvSpPr/>
              <p:nvPr/>
            </p:nvSpPr>
            <p:spPr>
              <a:xfrm flipV="1">
                <a:off x="4856713" y="5122784"/>
                <a:ext cx="12693" cy="166388"/>
              </a:xfrm>
              <a:custGeom>
                <a:avLst/>
                <a:gdLst>
                  <a:gd name="connsiteX0" fmla="*/ 11368 w 12693"/>
                  <a:gd name="connsiteY0" fmla="*/ -579 h 166388"/>
                  <a:gd name="connsiteX1" fmla="*/ -1326 w 12693"/>
                  <a:gd name="connsiteY1" fmla="*/ -579 h 166388"/>
                  <a:gd name="connsiteX2" fmla="*/ -1326 w 12693"/>
                  <a:gd name="connsiteY2" fmla="*/ 143050 h 166388"/>
                  <a:gd name="connsiteX3" fmla="*/ 11368 w 12693"/>
                  <a:gd name="connsiteY3" fmla="*/ 165809 h 166388"/>
                  <a:gd name="connsiteX4" fmla="*/ 11368 w 12693"/>
                  <a:gd name="connsiteY4" fmla="*/ -579 h 166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66388">
                    <a:moveTo>
                      <a:pt x="11368" y="-579"/>
                    </a:moveTo>
                    <a:lnTo>
                      <a:pt x="-1326" y="-579"/>
                    </a:lnTo>
                    <a:lnTo>
                      <a:pt x="-1326" y="143050"/>
                    </a:lnTo>
                    <a:lnTo>
                      <a:pt x="11368" y="165809"/>
                    </a:lnTo>
                    <a:lnTo>
                      <a:pt x="11368" y="-579"/>
                    </a:lnTo>
                  </a:path>
                </a:pathLst>
              </a:custGeom>
              <a:solidFill>
                <a:srgbClr val="30639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9" name="Vrije vorm 128">
                <a:extLst>
                  <a:ext uri="{FF2B5EF4-FFF2-40B4-BE49-F238E27FC236}">
                    <a16:creationId xmlns:a16="http://schemas.microsoft.com/office/drawing/2014/main" id="{7E2AA783-408B-B134-97C3-5896FB85B28D}"/>
                  </a:ext>
                </a:extLst>
              </p:cNvPr>
              <p:cNvSpPr/>
              <p:nvPr/>
            </p:nvSpPr>
            <p:spPr>
              <a:xfrm flipV="1">
                <a:off x="5038651" y="5047993"/>
                <a:ext cx="65702" cy="117809"/>
              </a:xfrm>
              <a:custGeom>
                <a:avLst/>
                <a:gdLst>
                  <a:gd name="connsiteX0" fmla="*/ -1468 w 65702"/>
                  <a:gd name="connsiteY0" fmla="*/ -667 h 117809"/>
                  <a:gd name="connsiteX1" fmla="*/ -1468 w 65702"/>
                  <a:gd name="connsiteY1" fmla="*/ 117142 h 117809"/>
                  <a:gd name="connsiteX2" fmla="*/ 64234 w 65702"/>
                  <a:gd name="connsiteY2" fmla="*/ 117142 h 117809"/>
                  <a:gd name="connsiteX3" fmla="*/ -1468 w 65702"/>
                  <a:gd name="connsiteY3" fmla="*/ -667 h 117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02" h="117809">
                    <a:moveTo>
                      <a:pt x="-1468" y="-667"/>
                    </a:moveTo>
                    <a:lnTo>
                      <a:pt x="-1468" y="117142"/>
                    </a:lnTo>
                    <a:lnTo>
                      <a:pt x="64234" y="117142"/>
                    </a:lnTo>
                    <a:lnTo>
                      <a:pt x="-1468" y="-667"/>
                    </a:lnTo>
                  </a:path>
                </a:pathLst>
              </a:custGeom>
              <a:solidFill>
                <a:srgbClr val="2956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0" name="Vrije vorm 129">
                <a:extLst>
                  <a:ext uri="{FF2B5EF4-FFF2-40B4-BE49-F238E27FC236}">
                    <a16:creationId xmlns:a16="http://schemas.microsoft.com/office/drawing/2014/main" id="{3B7D704B-78C7-95E3-13E8-76EA93D5BB23}"/>
                  </a:ext>
                </a:extLst>
              </p:cNvPr>
              <p:cNvSpPr/>
              <p:nvPr/>
            </p:nvSpPr>
            <p:spPr>
              <a:xfrm flipV="1">
                <a:off x="5025957" y="5047993"/>
                <a:ext cx="12693" cy="140569"/>
              </a:xfrm>
              <a:custGeom>
                <a:avLst/>
                <a:gdLst>
                  <a:gd name="connsiteX0" fmla="*/ -1442 w 12693"/>
                  <a:gd name="connsiteY0" fmla="*/ -657 h 140569"/>
                  <a:gd name="connsiteX1" fmla="*/ -1442 w 12693"/>
                  <a:gd name="connsiteY1" fmla="*/ 139912 h 140569"/>
                  <a:gd name="connsiteX2" fmla="*/ 11252 w 12693"/>
                  <a:gd name="connsiteY2" fmla="*/ 139912 h 140569"/>
                  <a:gd name="connsiteX3" fmla="*/ 11252 w 12693"/>
                  <a:gd name="connsiteY3" fmla="*/ 22103 h 140569"/>
                  <a:gd name="connsiteX4" fmla="*/ -1442 w 12693"/>
                  <a:gd name="connsiteY4" fmla="*/ -657 h 140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40569">
                    <a:moveTo>
                      <a:pt x="-1442" y="-657"/>
                    </a:moveTo>
                    <a:lnTo>
                      <a:pt x="-1442" y="139912"/>
                    </a:lnTo>
                    <a:lnTo>
                      <a:pt x="11252" y="139912"/>
                    </a:lnTo>
                    <a:lnTo>
                      <a:pt x="11252" y="22103"/>
                    </a:lnTo>
                    <a:lnTo>
                      <a:pt x="-1442" y="-657"/>
                    </a:lnTo>
                  </a:path>
                </a:pathLst>
              </a:custGeom>
              <a:solidFill>
                <a:srgbClr val="30639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1" name="Vrije vorm 130">
                <a:extLst>
                  <a:ext uri="{FF2B5EF4-FFF2-40B4-BE49-F238E27FC236}">
                    <a16:creationId xmlns:a16="http://schemas.microsoft.com/office/drawing/2014/main" id="{D115EE0B-6D63-A386-0BD9-F1EA2B0DE6E4}"/>
                  </a:ext>
                </a:extLst>
              </p:cNvPr>
              <p:cNvSpPr/>
              <p:nvPr/>
            </p:nvSpPr>
            <p:spPr>
              <a:xfrm flipV="1">
                <a:off x="5299124" y="5047993"/>
                <a:ext cx="209901" cy="323687"/>
              </a:xfrm>
              <a:custGeom>
                <a:avLst/>
                <a:gdLst>
                  <a:gd name="connsiteX0" fmla="*/ 208206 w 209901"/>
                  <a:gd name="connsiteY0" fmla="*/ -575 h 323687"/>
                  <a:gd name="connsiteX1" fmla="*/ 76332 w 209901"/>
                  <a:gd name="connsiteY1" fmla="*/ -575 h 323687"/>
                  <a:gd name="connsiteX2" fmla="*/ 76332 w 209901"/>
                  <a:gd name="connsiteY2" fmla="*/ 139308 h 323687"/>
                  <a:gd name="connsiteX3" fmla="*/ 178846 w 209901"/>
                  <a:gd name="connsiteY3" fmla="*/ 323112 h 323687"/>
                  <a:gd name="connsiteX4" fmla="*/ 208206 w 209901"/>
                  <a:gd name="connsiteY4" fmla="*/ 323112 h 323687"/>
                  <a:gd name="connsiteX5" fmla="*/ 208206 w 209901"/>
                  <a:gd name="connsiteY5" fmla="*/ -575 h 323687"/>
                  <a:gd name="connsiteX6" fmla="*/ 63639 w 209901"/>
                  <a:gd name="connsiteY6" fmla="*/ -575 h 323687"/>
                  <a:gd name="connsiteX7" fmla="*/ -1695 w 209901"/>
                  <a:gd name="connsiteY7" fmla="*/ -575 h 323687"/>
                  <a:gd name="connsiteX8" fmla="*/ 63639 w 209901"/>
                  <a:gd name="connsiteY8" fmla="*/ 116549 h 323687"/>
                  <a:gd name="connsiteX9" fmla="*/ 63639 w 209901"/>
                  <a:gd name="connsiteY9" fmla="*/ -575 h 32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9901" h="323687">
                    <a:moveTo>
                      <a:pt x="208206" y="-575"/>
                    </a:moveTo>
                    <a:lnTo>
                      <a:pt x="76332" y="-575"/>
                    </a:lnTo>
                    <a:lnTo>
                      <a:pt x="76332" y="139308"/>
                    </a:lnTo>
                    <a:lnTo>
                      <a:pt x="178846" y="323112"/>
                    </a:lnTo>
                    <a:lnTo>
                      <a:pt x="208206" y="323112"/>
                    </a:lnTo>
                    <a:lnTo>
                      <a:pt x="208206" y="-575"/>
                    </a:lnTo>
                    <a:moveTo>
                      <a:pt x="63639" y="-575"/>
                    </a:moveTo>
                    <a:lnTo>
                      <a:pt x="-1695" y="-575"/>
                    </a:lnTo>
                    <a:lnTo>
                      <a:pt x="63639" y="116549"/>
                    </a:lnTo>
                    <a:lnTo>
                      <a:pt x="63639" y="-575"/>
                    </a:lnTo>
                  </a:path>
                </a:pathLst>
              </a:custGeom>
              <a:solidFill>
                <a:srgbClr val="2956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2" name="Vrije vorm 131">
                <a:extLst>
                  <a:ext uri="{FF2B5EF4-FFF2-40B4-BE49-F238E27FC236}">
                    <a16:creationId xmlns:a16="http://schemas.microsoft.com/office/drawing/2014/main" id="{B2433385-875E-AE06-1031-9D67FE211015}"/>
                  </a:ext>
                </a:extLst>
              </p:cNvPr>
              <p:cNvSpPr/>
              <p:nvPr/>
            </p:nvSpPr>
            <p:spPr>
              <a:xfrm flipV="1">
                <a:off x="5364458" y="5231797"/>
                <a:ext cx="12693" cy="139883"/>
              </a:xfrm>
              <a:custGeom>
                <a:avLst/>
                <a:gdLst>
                  <a:gd name="connsiteX0" fmla="*/ 11021 w 12693"/>
                  <a:gd name="connsiteY0" fmla="*/ -493 h 139883"/>
                  <a:gd name="connsiteX1" fmla="*/ -1673 w 12693"/>
                  <a:gd name="connsiteY1" fmla="*/ -493 h 139883"/>
                  <a:gd name="connsiteX2" fmla="*/ -1673 w 12693"/>
                  <a:gd name="connsiteY2" fmla="*/ 116631 h 139883"/>
                  <a:gd name="connsiteX3" fmla="*/ 11021 w 12693"/>
                  <a:gd name="connsiteY3" fmla="*/ 139391 h 139883"/>
                  <a:gd name="connsiteX4" fmla="*/ 11021 w 12693"/>
                  <a:gd name="connsiteY4" fmla="*/ -493 h 139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39883">
                    <a:moveTo>
                      <a:pt x="11021" y="-493"/>
                    </a:moveTo>
                    <a:lnTo>
                      <a:pt x="-1673" y="-493"/>
                    </a:lnTo>
                    <a:lnTo>
                      <a:pt x="-1673" y="116631"/>
                    </a:lnTo>
                    <a:lnTo>
                      <a:pt x="11021" y="139391"/>
                    </a:lnTo>
                    <a:lnTo>
                      <a:pt x="11021" y="-493"/>
                    </a:lnTo>
                  </a:path>
                </a:pathLst>
              </a:custGeom>
              <a:solidFill>
                <a:srgbClr val="30639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3" name="Vrije vorm 132">
                <a:extLst>
                  <a:ext uri="{FF2B5EF4-FFF2-40B4-BE49-F238E27FC236}">
                    <a16:creationId xmlns:a16="http://schemas.microsoft.com/office/drawing/2014/main" id="{3DE9E799-8988-333B-B5A2-B74D01CD688B}"/>
                  </a:ext>
                </a:extLst>
              </p:cNvPr>
              <p:cNvSpPr/>
              <p:nvPr/>
            </p:nvSpPr>
            <p:spPr>
              <a:xfrm flipV="1">
                <a:off x="5092942" y="5047993"/>
                <a:ext cx="215905" cy="300977"/>
              </a:xfrm>
              <a:custGeom>
                <a:avLst/>
                <a:gdLst>
                  <a:gd name="connsiteX0" fmla="*/ 46476 w 215905"/>
                  <a:gd name="connsiteY0" fmla="*/ -585 h 300977"/>
                  <a:gd name="connsiteX1" fmla="*/ -1557 w 215905"/>
                  <a:gd name="connsiteY1" fmla="*/ 28647 h 300977"/>
                  <a:gd name="connsiteX2" fmla="*/ 100703 w 215905"/>
                  <a:gd name="connsiteY2" fmla="*/ 211981 h 300977"/>
                  <a:gd name="connsiteX3" fmla="*/ 100703 w 215905"/>
                  <a:gd name="connsiteY3" fmla="*/ 96647 h 300977"/>
                  <a:gd name="connsiteX4" fmla="*/ 46476 w 215905"/>
                  <a:gd name="connsiteY4" fmla="*/ -585 h 300977"/>
                  <a:gd name="connsiteX5" fmla="*/ 113397 w 215905"/>
                  <a:gd name="connsiteY5" fmla="*/ 119406 h 300977"/>
                  <a:gd name="connsiteX6" fmla="*/ 113397 w 215905"/>
                  <a:gd name="connsiteY6" fmla="*/ 234740 h 300977"/>
                  <a:gd name="connsiteX7" fmla="*/ 150018 w 215905"/>
                  <a:gd name="connsiteY7" fmla="*/ 300392 h 300977"/>
                  <a:gd name="connsiteX8" fmla="*/ 214349 w 215905"/>
                  <a:gd name="connsiteY8" fmla="*/ 300392 h 300977"/>
                  <a:gd name="connsiteX9" fmla="*/ 113397 w 215905"/>
                  <a:gd name="connsiteY9" fmla="*/ 119406 h 300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5905" h="300977">
                    <a:moveTo>
                      <a:pt x="46476" y="-585"/>
                    </a:moveTo>
                    <a:lnTo>
                      <a:pt x="-1557" y="28647"/>
                    </a:lnTo>
                    <a:lnTo>
                      <a:pt x="100703" y="211981"/>
                    </a:lnTo>
                    <a:lnTo>
                      <a:pt x="100703" y="96647"/>
                    </a:lnTo>
                    <a:lnTo>
                      <a:pt x="46476" y="-585"/>
                    </a:lnTo>
                    <a:moveTo>
                      <a:pt x="113397" y="119406"/>
                    </a:moveTo>
                    <a:lnTo>
                      <a:pt x="113397" y="234740"/>
                    </a:lnTo>
                    <a:lnTo>
                      <a:pt x="150018" y="300392"/>
                    </a:lnTo>
                    <a:lnTo>
                      <a:pt x="214349" y="300392"/>
                    </a:lnTo>
                    <a:lnTo>
                      <a:pt x="113397" y="119406"/>
                    </a:lnTo>
                  </a:path>
                </a:pathLst>
              </a:custGeom>
              <a:solidFill>
                <a:srgbClr val="2956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4" name="Vrije vorm 133">
                <a:extLst>
                  <a:ext uri="{FF2B5EF4-FFF2-40B4-BE49-F238E27FC236}">
                    <a16:creationId xmlns:a16="http://schemas.microsoft.com/office/drawing/2014/main" id="{B440EABF-0E43-32D4-876E-0A6AA9F71CCB}"/>
                  </a:ext>
                </a:extLst>
              </p:cNvPr>
              <p:cNvSpPr/>
              <p:nvPr/>
            </p:nvSpPr>
            <p:spPr>
              <a:xfrm flipV="1">
                <a:off x="5195201" y="5113645"/>
                <a:ext cx="12693" cy="138093"/>
              </a:xfrm>
              <a:custGeom>
                <a:avLst/>
                <a:gdLst>
                  <a:gd name="connsiteX0" fmla="*/ -1557 w 12693"/>
                  <a:gd name="connsiteY0" fmla="*/ -599 h 138093"/>
                  <a:gd name="connsiteX1" fmla="*/ -1557 w 12693"/>
                  <a:gd name="connsiteY1" fmla="*/ 114735 h 138093"/>
                  <a:gd name="connsiteX2" fmla="*/ 11137 w 12693"/>
                  <a:gd name="connsiteY2" fmla="*/ 137494 h 138093"/>
                  <a:gd name="connsiteX3" fmla="*/ 11137 w 12693"/>
                  <a:gd name="connsiteY3" fmla="*/ 22160 h 138093"/>
                  <a:gd name="connsiteX4" fmla="*/ -1557 w 12693"/>
                  <a:gd name="connsiteY4" fmla="*/ -599 h 138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3" h="138093">
                    <a:moveTo>
                      <a:pt x="-1557" y="-599"/>
                    </a:moveTo>
                    <a:lnTo>
                      <a:pt x="-1557" y="114735"/>
                    </a:lnTo>
                    <a:lnTo>
                      <a:pt x="11137" y="137494"/>
                    </a:lnTo>
                    <a:lnTo>
                      <a:pt x="11137" y="22160"/>
                    </a:lnTo>
                    <a:lnTo>
                      <a:pt x="-1557" y="-599"/>
                    </a:lnTo>
                  </a:path>
                </a:pathLst>
              </a:custGeom>
              <a:solidFill>
                <a:srgbClr val="30639E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5" name="Vrije vorm 134">
                <a:extLst>
                  <a:ext uri="{FF2B5EF4-FFF2-40B4-BE49-F238E27FC236}">
                    <a16:creationId xmlns:a16="http://schemas.microsoft.com/office/drawing/2014/main" id="{CECA6A5D-2F6F-1CD5-4611-8BDB002D5C67}"/>
                  </a:ext>
                </a:extLst>
              </p:cNvPr>
              <p:cNvSpPr/>
              <p:nvPr/>
            </p:nvSpPr>
            <p:spPr>
              <a:xfrm flipV="1">
                <a:off x="3742138" y="4971832"/>
                <a:ext cx="834287" cy="76161"/>
              </a:xfrm>
              <a:custGeom>
                <a:avLst/>
                <a:gdLst>
                  <a:gd name="connsiteX0" fmla="*/ 833442 w 834287"/>
                  <a:gd name="connsiteY0" fmla="*/ 75408 h 76161"/>
                  <a:gd name="connsiteX1" fmla="*/ -845 w 834287"/>
                  <a:gd name="connsiteY1" fmla="*/ 75408 h 76161"/>
                  <a:gd name="connsiteX2" fmla="*/ -845 w 834287"/>
                  <a:gd name="connsiteY2" fmla="*/ -754 h 76161"/>
                  <a:gd name="connsiteX3" fmla="*/ 833442 w 834287"/>
                  <a:gd name="connsiteY3" fmla="*/ -754 h 76161"/>
                  <a:gd name="connsiteX4" fmla="*/ 833442 w 834287"/>
                  <a:gd name="connsiteY4" fmla="*/ 75408 h 76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4287" h="76161">
                    <a:moveTo>
                      <a:pt x="833442" y="75408"/>
                    </a:moveTo>
                    <a:lnTo>
                      <a:pt x="-845" y="75408"/>
                    </a:lnTo>
                    <a:lnTo>
                      <a:pt x="-845" y="-754"/>
                    </a:lnTo>
                    <a:lnTo>
                      <a:pt x="833442" y="-754"/>
                    </a:lnTo>
                    <a:lnTo>
                      <a:pt x="833442" y="75408"/>
                    </a:lnTo>
                  </a:path>
                </a:pathLst>
              </a:custGeom>
              <a:solidFill>
                <a:srgbClr val="E2E7E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6" name="Vrije vorm 135">
                <a:extLst>
                  <a:ext uri="{FF2B5EF4-FFF2-40B4-BE49-F238E27FC236}">
                    <a16:creationId xmlns:a16="http://schemas.microsoft.com/office/drawing/2014/main" id="{275DCCB1-8901-42DC-9564-6B0A5D82FD1D}"/>
                  </a:ext>
                </a:extLst>
              </p:cNvPr>
              <p:cNvSpPr/>
              <p:nvPr/>
            </p:nvSpPr>
            <p:spPr>
              <a:xfrm flipV="1">
                <a:off x="4576425" y="4971832"/>
                <a:ext cx="1110133" cy="76161"/>
              </a:xfrm>
              <a:custGeom>
                <a:avLst/>
                <a:gdLst>
                  <a:gd name="connsiteX0" fmla="*/ 1108624 w 1110133"/>
                  <a:gd name="connsiteY0" fmla="*/ 75408 h 76161"/>
                  <a:gd name="connsiteX1" fmla="*/ -1509 w 1110133"/>
                  <a:gd name="connsiteY1" fmla="*/ 75408 h 76161"/>
                  <a:gd name="connsiteX2" fmla="*/ -1509 w 1110133"/>
                  <a:gd name="connsiteY2" fmla="*/ -754 h 76161"/>
                  <a:gd name="connsiteX3" fmla="*/ 1108624 w 1110133"/>
                  <a:gd name="connsiteY3" fmla="*/ -754 h 76161"/>
                  <a:gd name="connsiteX4" fmla="*/ 1108624 w 1110133"/>
                  <a:gd name="connsiteY4" fmla="*/ 75408 h 76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0133" h="76161">
                    <a:moveTo>
                      <a:pt x="1108624" y="75408"/>
                    </a:moveTo>
                    <a:lnTo>
                      <a:pt x="-1509" y="75408"/>
                    </a:lnTo>
                    <a:lnTo>
                      <a:pt x="-1509" y="-754"/>
                    </a:lnTo>
                    <a:lnTo>
                      <a:pt x="1108624" y="-754"/>
                    </a:lnTo>
                    <a:lnTo>
                      <a:pt x="1108624" y="75408"/>
                    </a:lnTo>
                  </a:path>
                </a:pathLst>
              </a:custGeom>
              <a:solidFill>
                <a:srgbClr val="FCF2D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7" name="Vrije vorm 136">
                <a:extLst>
                  <a:ext uri="{FF2B5EF4-FFF2-40B4-BE49-F238E27FC236}">
                    <a16:creationId xmlns:a16="http://schemas.microsoft.com/office/drawing/2014/main" id="{19E66CDC-8233-90AA-1B60-B41C83FE0E9B}"/>
                  </a:ext>
                </a:extLst>
              </p:cNvPr>
              <p:cNvSpPr/>
              <p:nvPr/>
            </p:nvSpPr>
            <p:spPr>
              <a:xfrm flipV="1">
                <a:off x="3861810" y="5661109"/>
                <a:ext cx="112120" cy="173952"/>
              </a:xfrm>
              <a:custGeom>
                <a:avLst/>
                <a:gdLst>
                  <a:gd name="connsiteX0" fmla="*/ 111440 w 112120"/>
                  <a:gd name="connsiteY0" fmla="*/ -95 h 173952"/>
                  <a:gd name="connsiteX1" fmla="*/ -681 w 112120"/>
                  <a:gd name="connsiteY1" fmla="*/ -95 h 173952"/>
                  <a:gd name="connsiteX2" fmla="*/ -681 w 112120"/>
                  <a:gd name="connsiteY2" fmla="*/ 173857 h 173952"/>
                  <a:gd name="connsiteX3" fmla="*/ 111440 w 112120"/>
                  <a:gd name="connsiteY3" fmla="*/ 173857 h 173952"/>
                  <a:gd name="connsiteX4" fmla="*/ 111440 w 112120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120" h="173952">
                    <a:moveTo>
                      <a:pt x="111440" y="-95"/>
                    </a:moveTo>
                    <a:lnTo>
                      <a:pt x="-681" y="-95"/>
                    </a:lnTo>
                    <a:lnTo>
                      <a:pt x="-681" y="173857"/>
                    </a:lnTo>
                    <a:lnTo>
                      <a:pt x="111440" y="173857"/>
                    </a:lnTo>
                    <a:lnTo>
                      <a:pt x="111440" y="-95"/>
                    </a:lnTo>
                  </a:path>
                </a:pathLst>
              </a:custGeom>
              <a:solidFill>
                <a:srgbClr val="2A5EA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8" name="Vrije vorm 137">
                <a:extLst>
                  <a:ext uri="{FF2B5EF4-FFF2-40B4-BE49-F238E27FC236}">
                    <a16:creationId xmlns:a16="http://schemas.microsoft.com/office/drawing/2014/main" id="{1B58B0F4-0CB9-F822-F822-B5876CD7EFCE}"/>
                  </a:ext>
                </a:extLst>
              </p:cNvPr>
              <p:cNvSpPr/>
              <p:nvPr/>
            </p:nvSpPr>
            <p:spPr>
              <a:xfrm flipV="1">
                <a:off x="3861810" y="5661109"/>
                <a:ext cx="30107" cy="173952"/>
              </a:xfrm>
              <a:custGeom>
                <a:avLst/>
                <a:gdLst>
                  <a:gd name="connsiteX0" fmla="*/ 29455 w 30107"/>
                  <a:gd name="connsiteY0" fmla="*/ -95 h 173952"/>
                  <a:gd name="connsiteX1" fmla="*/ -653 w 30107"/>
                  <a:gd name="connsiteY1" fmla="*/ -95 h 173952"/>
                  <a:gd name="connsiteX2" fmla="*/ -653 w 30107"/>
                  <a:gd name="connsiteY2" fmla="*/ 173857 h 173952"/>
                  <a:gd name="connsiteX3" fmla="*/ 29455 w 30107"/>
                  <a:gd name="connsiteY3" fmla="*/ 173857 h 173952"/>
                  <a:gd name="connsiteX4" fmla="*/ 29455 w 30107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107" h="173952">
                    <a:moveTo>
                      <a:pt x="29455" y="-95"/>
                    </a:moveTo>
                    <a:lnTo>
                      <a:pt x="-653" y="-95"/>
                    </a:lnTo>
                    <a:lnTo>
                      <a:pt x="-653" y="173857"/>
                    </a:lnTo>
                    <a:lnTo>
                      <a:pt x="29455" y="173857"/>
                    </a:lnTo>
                    <a:lnTo>
                      <a:pt x="29455" y="-95"/>
                    </a:lnTo>
                  </a:path>
                </a:pathLst>
              </a:custGeom>
              <a:solidFill>
                <a:srgbClr val="2F6DB2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9" name="Vrije vorm 138">
                <a:extLst>
                  <a:ext uri="{FF2B5EF4-FFF2-40B4-BE49-F238E27FC236}">
                    <a16:creationId xmlns:a16="http://schemas.microsoft.com/office/drawing/2014/main" id="{12EC0344-8A3F-E7FB-0FA5-3CC81806884C}"/>
                  </a:ext>
                </a:extLst>
              </p:cNvPr>
              <p:cNvSpPr/>
              <p:nvPr/>
            </p:nvSpPr>
            <p:spPr>
              <a:xfrm flipV="1">
                <a:off x="3986590" y="5661109"/>
                <a:ext cx="112120" cy="173952"/>
              </a:xfrm>
              <a:custGeom>
                <a:avLst/>
                <a:gdLst>
                  <a:gd name="connsiteX0" fmla="*/ 111354 w 112120"/>
                  <a:gd name="connsiteY0" fmla="*/ -95 h 173952"/>
                  <a:gd name="connsiteX1" fmla="*/ -766 w 112120"/>
                  <a:gd name="connsiteY1" fmla="*/ -95 h 173952"/>
                  <a:gd name="connsiteX2" fmla="*/ -766 w 112120"/>
                  <a:gd name="connsiteY2" fmla="*/ 173857 h 173952"/>
                  <a:gd name="connsiteX3" fmla="*/ 111354 w 112120"/>
                  <a:gd name="connsiteY3" fmla="*/ 173857 h 173952"/>
                  <a:gd name="connsiteX4" fmla="*/ 111354 w 112120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120" h="173952">
                    <a:moveTo>
                      <a:pt x="111354" y="-95"/>
                    </a:moveTo>
                    <a:lnTo>
                      <a:pt x="-766" y="-95"/>
                    </a:lnTo>
                    <a:lnTo>
                      <a:pt x="-766" y="173857"/>
                    </a:lnTo>
                    <a:lnTo>
                      <a:pt x="111354" y="173857"/>
                    </a:lnTo>
                    <a:lnTo>
                      <a:pt x="111354" y="-95"/>
                    </a:lnTo>
                  </a:path>
                </a:pathLst>
              </a:custGeom>
              <a:solidFill>
                <a:srgbClr val="2A5EA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0" name="Vrije vorm 139">
                <a:extLst>
                  <a:ext uri="{FF2B5EF4-FFF2-40B4-BE49-F238E27FC236}">
                    <a16:creationId xmlns:a16="http://schemas.microsoft.com/office/drawing/2014/main" id="{36C1E243-1ACB-E2CE-B6BB-FC08B4577E0F}"/>
                  </a:ext>
                </a:extLst>
              </p:cNvPr>
              <p:cNvSpPr/>
              <p:nvPr/>
            </p:nvSpPr>
            <p:spPr>
              <a:xfrm flipV="1">
                <a:off x="3986590" y="5661109"/>
                <a:ext cx="30111" cy="173952"/>
              </a:xfrm>
              <a:custGeom>
                <a:avLst/>
                <a:gdLst>
                  <a:gd name="connsiteX0" fmla="*/ 29374 w 30111"/>
                  <a:gd name="connsiteY0" fmla="*/ -95 h 173952"/>
                  <a:gd name="connsiteX1" fmla="*/ -738 w 30111"/>
                  <a:gd name="connsiteY1" fmla="*/ -95 h 173952"/>
                  <a:gd name="connsiteX2" fmla="*/ -738 w 30111"/>
                  <a:gd name="connsiteY2" fmla="*/ 173857 h 173952"/>
                  <a:gd name="connsiteX3" fmla="*/ 29374 w 30111"/>
                  <a:gd name="connsiteY3" fmla="*/ 173857 h 173952"/>
                  <a:gd name="connsiteX4" fmla="*/ 29374 w 30111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111" h="173952">
                    <a:moveTo>
                      <a:pt x="29374" y="-95"/>
                    </a:moveTo>
                    <a:lnTo>
                      <a:pt x="-738" y="-95"/>
                    </a:lnTo>
                    <a:lnTo>
                      <a:pt x="-738" y="173857"/>
                    </a:lnTo>
                    <a:lnTo>
                      <a:pt x="29374" y="173857"/>
                    </a:lnTo>
                    <a:lnTo>
                      <a:pt x="29374" y="-95"/>
                    </a:lnTo>
                  </a:path>
                </a:pathLst>
              </a:custGeom>
              <a:solidFill>
                <a:srgbClr val="2F6DB2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1" name="Vrije vorm 140">
                <a:extLst>
                  <a:ext uri="{FF2B5EF4-FFF2-40B4-BE49-F238E27FC236}">
                    <a16:creationId xmlns:a16="http://schemas.microsoft.com/office/drawing/2014/main" id="{84D6B0D1-3EC1-FDD7-FF01-B83FBF75DE98}"/>
                  </a:ext>
                </a:extLst>
              </p:cNvPr>
              <p:cNvSpPr/>
              <p:nvPr/>
            </p:nvSpPr>
            <p:spPr>
              <a:xfrm flipV="1">
                <a:off x="4219849" y="5661109"/>
                <a:ext cx="112110" cy="173952"/>
              </a:xfrm>
              <a:custGeom>
                <a:avLst/>
                <a:gdLst>
                  <a:gd name="connsiteX0" fmla="*/ 111185 w 112110"/>
                  <a:gd name="connsiteY0" fmla="*/ -95 h 173952"/>
                  <a:gd name="connsiteX1" fmla="*/ -925 w 112110"/>
                  <a:gd name="connsiteY1" fmla="*/ -95 h 173952"/>
                  <a:gd name="connsiteX2" fmla="*/ -925 w 112110"/>
                  <a:gd name="connsiteY2" fmla="*/ 173857 h 173952"/>
                  <a:gd name="connsiteX3" fmla="*/ 111185 w 112110"/>
                  <a:gd name="connsiteY3" fmla="*/ 173857 h 173952"/>
                  <a:gd name="connsiteX4" fmla="*/ 111185 w 112110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110" h="173952">
                    <a:moveTo>
                      <a:pt x="111185" y="-95"/>
                    </a:moveTo>
                    <a:lnTo>
                      <a:pt x="-925" y="-95"/>
                    </a:lnTo>
                    <a:lnTo>
                      <a:pt x="-925" y="173857"/>
                    </a:lnTo>
                    <a:lnTo>
                      <a:pt x="111185" y="173857"/>
                    </a:lnTo>
                    <a:lnTo>
                      <a:pt x="111185" y="-95"/>
                    </a:lnTo>
                  </a:path>
                </a:pathLst>
              </a:custGeom>
              <a:solidFill>
                <a:srgbClr val="2A5EA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2" name="Vrije vorm 141">
                <a:extLst>
                  <a:ext uri="{FF2B5EF4-FFF2-40B4-BE49-F238E27FC236}">
                    <a16:creationId xmlns:a16="http://schemas.microsoft.com/office/drawing/2014/main" id="{CEACEC1A-2785-C1F7-EDEB-368268C294A0}"/>
                  </a:ext>
                </a:extLst>
              </p:cNvPr>
              <p:cNvSpPr/>
              <p:nvPr/>
            </p:nvSpPr>
            <p:spPr>
              <a:xfrm flipV="1">
                <a:off x="4219849" y="5661109"/>
                <a:ext cx="30109" cy="173952"/>
              </a:xfrm>
              <a:custGeom>
                <a:avLst/>
                <a:gdLst>
                  <a:gd name="connsiteX0" fmla="*/ 29212 w 30109"/>
                  <a:gd name="connsiteY0" fmla="*/ -95 h 173952"/>
                  <a:gd name="connsiteX1" fmla="*/ -897 w 30109"/>
                  <a:gd name="connsiteY1" fmla="*/ -95 h 173952"/>
                  <a:gd name="connsiteX2" fmla="*/ -897 w 30109"/>
                  <a:gd name="connsiteY2" fmla="*/ 173857 h 173952"/>
                  <a:gd name="connsiteX3" fmla="*/ 29212 w 30109"/>
                  <a:gd name="connsiteY3" fmla="*/ 173857 h 173952"/>
                  <a:gd name="connsiteX4" fmla="*/ 29212 w 30109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109" h="173952">
                    <a:moveTo>
                      <a:pt x="29212" y="-95"/>
                    </a:moveTo>
                    <a:lnTo>
                      <a:pt x="-897" y="-95"/>
                    </a:lnTo>
                    <a:lnTo>
                      <a:pt x="-897" y="173857"/>
                    </a:lnTo>
                    <a:lnTo>
                      <a:pt x="29212" y="173857"/>
                    </a:lnTo>
                    <a:lnTo>
                      <a:pt x="29212" y="-95"/>
                    </a:lnTo>
                  </a:path>
                </a:pathLst>
              </a:custGeom>
              <a:solidFill>
                <a:srgbClr val="2F6DB2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3" name="Vrije vorm 142">
                <a:extLst>
                  <a:ext uri="{FF2B5EF4-FFF2-40B4-BE49-F238E27FC236}">
                    <a16:creationId xmlns:a16="http://schemas.microsoft.com/office/drawing/2014/main" id="{B5E9C284-22F1-96EA-4C2E-343C7C4D68C0}"/>
                  </a:ext>
                </a:extLst>
              </p:cNvPr>
              <p:cNvSpPr/>
              <p:nvPr/>
            </p:nvSpPr>
            <p:spPr>
              <a:xfrm flipV="1">
                <a:off x="4344627" y="5661109"/>
                <a:ext cx="112122" cy="173952"/>
              </a:xfrm>
              <a:custGeom>
                <a:avLst/>
                <a:gdLst>
                  <a:gd name="connsiteX0" fmla="*/ 111112 w 112122"/>
                  <a:gd name="connsiteY0" fmla="*/ -95 h 173952"/>
                  <a:gd name="connsiteX1" fmla="*/ -1010 w 112122"/>
                  <a:gd name="connsiteY1" fmla="*/ -95 h 173952"/>
                  <a:gd name="connsiteX2" fmla="*/ -1010 w 112122"/>
                  <a:gd name="connsiteY2" fmla="*/ 173857 h 173952"/>
                  <a:gd name="connsiteX3" fmla="*/ 111112 w 112122"/>
                  <a:gd name="connsiteY3" fmla="*/ 173857 h 173952"/>
                  <a:gd name="connsiteX4" fmla="*/ 111112 w 112122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122" h="173952">
                    <a:moveTo>
                      <a:pt x="111112" y="-95"/>
                    </a:moveTo>
                    <a:lnTo>
                      <a:pt x="-1010" y="-95"/>
                    </a:lnTo>
                    <a:lnTo>
                      <a:pt x="-1010" y="173857"/>
                    </a:lnTo>
                    <a:lnTo>
                      <a:pt x="111112" y="173857"/>
                    </a:lnTo>
                    <a:lnTo>
                      <a:pt x="111112" y="-95"/>
                    </a:lnTo>
                  </a:path>
                </a:pathLst>
              </a:custGeom>
              <a:solidFill>
                <a:srgbClr val="2A5EA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4" name="Vrije vorm 143">
                <a:extLst>
                  <a:ext uri="{FF2B5EF4-FFF2-40B4-BE49-F238E27FC236}">
                    <a16:creationId xmlns:a16="http://schemas.microsoft.com/office/drawing/2014/main" id="{47BBB3DA-BAB1-9C68-C7C0-885796874D73}"/>
                  </a:ext>
                </a:extLst>
              </p:cNvPr>
              <p:cNvSpPr/>
              <p:nvPr/>
            </p:nvSpPr>
            <p:spPr>
              <a:xfrm flipV="1">
                <a:off x="4344627" y="5661109"/>
                <a:ext cx="30109" cy="173952"/>
              </a:xfrm>
              <a:custGeom>
                <a:avLst/>
                <a:gdLst>
                  <a:gd name="connsiteX0" fmla="*/ 29127 w 30109"/>
                  <a:gd name="connsiteY0" fmla="*/ -95 h 173952"/>
                  <a:gd name="connsiteX1" fmla="*/ -982 w 30109"/>
                  <a:gd name="connsiteY1" fmla="*/ -95 h 173952"/>
                  <a:gd name="connsiteX2" fmla="*/ -982 w 30109"/>
                  <a:gd name="connsiteY2" fmla="*/ 173857 h 173952"/>
                  <a:gd name="connsiteX3" fmla="*/ 29127 w 30109"/>
                  <a:gd name="connsiteY3" fmla="*/ 173857 h 173952"/>
                  <a:gd name="connsiteX4" fmla="*/ 29127 w 30109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109" h="173952">
                    <a:moveTo>
                      <a:pt x="29127" y="-95"/>
                    </a:moveTo>
                    <a:lnTo>
                      <a:pt x="-982" y="-95"/>
                    </a:lnTo>
                    <a:lnTo>
                      <a:pt x="-982" y="173857"/>
                    </a:lnTo>
                    <a:lnTo>
                      <a:pt x="29127" y="173857"/>
                    </a:lnTo>
                    <a:lnTo>
                      <a:pt x="29127" y="-95"/>
                    </a:lnTo>
                  </a:path>
                </a:pathLst>
              </a:custGeom>
              <a:solidFill>
                <a:srgbClr val="2F6DB2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5" name="Vrije vorm 144">
                <a:extLst>
                  <a:ext uri="{FF2B5EF4-FFF2-40B4-BE49-F238E27FC236}">
                    <a16:creationId xmlns:a16="http://schemas.microsoft.com/office/drawing/2014/main" id="{7A6CB4D5-611B-9A0D-7738-80E746E3DD0D}"/>
                  </a:ext>
                </a:extLst>
              </p:cNvPr>
              <p:cNvSpPr/>
              <p:nvPr/>
            </p:nvSpPr>
            <p:spPr>
              <a:xfrm flipV="1">
                <a:off x="4734080" y="5661109"/>
                <a:ext cx="376175" cy="173952"/>
              </a:xfrm>
              <a:custGeom>
                <a:avLst/>
                <a:gdLst>
                  <a:gd name="connsiteX0" fmla="*/ 374809 w 376175"/>
                  <a:gd name="connsiteY0" fmla="*/ -95 h 173952"/>
                  <a:gd name="connsiteX1" fmla="*/ -1366 w 376175"/>
                  <a:gd name="connsiteY1" fmla="*/ -95 h 173952"/>
                  <a:gd name="connsiteX2" fmla="*/ -1366 w 376175"/>
                  <a:gd name="connsiteY2" fmla="*/ 173857 h 173952"/>
                  <a:gd name="connsiteX3" fmla="*/ 374809 w 376175"/>
                  <a:gd name="connsiteY3" fmla="*/ 173857 h 173952"/>
                  <a:gd name="connsiteX4" fmla="*/ 374809 w 376175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6175" h="173952">
                    <a:moveTo>
                      <a:pt x="374809" y="-95"/>
                    </a:moveTo>
                    <a:lnTo>
                      <a:pt x="-1366" y="-95"/>
                    </a:lnTo>
                    <a:lnTo>
                      <a:pt x="-1366" y="173857"/>
                    </a:lnTo>
                    <a:lnTo>
                      <a:pt x="374809" y="173857"/>
                    </a:lnTo>
                    <a:lnTo>
                      <a:pt x="374809" y="-95"/>
                    </a:lnTo>
                  </a:path>
                </a:pathLst>
              </a:custGeom>
              <a:solidFill>
                <a:srgbClr val="2A5EA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6" name="Vrije vorm 145">
                <a:extLst>
                  <a:ext uri="{FF2B5EF4-FFF2-40B4-BE49-F238E27FC236}">
                    <a16:creationId xmlns:a16="http://schemas.microsoft.com/office/drawing/2014/main" id="{EA792B88-E853-E6CC-2BFC-06CE28F8C70F}"/>
                  </a:ext>
                </a:extLst>
              </p:cNvPr>
              <p:cNvSpPr/>
              <p:nvPr/>
            </p:nvSpPr>
            <p:spPr>
              <a:xfrm flipV="1">
                <a:off x="4734080" y="5661109"/>
                <a:ext cx="101028" cy="173952"/>
              </a:xfrm>
              <a:custGeom>
                <a:avLst/>
                <a:gdLst>
                  <a:gd name="connsiteX0" fmla="*/ 99756 w 101028"/>
                  <a:gd name="connsiteY0" fmla="*/ -95 h 173952"/>
                  <a:gd name="connsiteX1" fmla="*/ -1272 w 101028"/>
                  <a:gd name="connsiteY1" fmla="*/ -95 h 173952"/>
                  <a:gd name="connsiteX2" fmla="*/ -1272 w 101028"/>
                  <a:gd name="connsiteY2" fmla="*/ 173857 h 173952"/>
                  <a:gd name="connsiteX3" fmla="*/ 99756 w 101028"/>
                  <a:gd name="connsiteY3" fmla="*/ 173857 h 173952"/>
                  <a:gd name="connsiteX4" fmla="*/ 99756 w 101028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028" h="173952">
                    <a:moveTo>
                      <a:pt x="99756" y="-95"/>
                    </a:moveTo>
                    <a:lnTo>
                      <a:pt x="-1272" y="-95"/>
                    </a:lnTo>
                    <a:lnTo>
                      <a:pt x="-1272" y="173857"/>
                    </a:lnTo>
                    <a:lnTo>
                      <a:pt x="99756" y="173857"/>
                    </a:lnTo>
                    <a:lnTo>
                      <a:pt x="99756" y="-95"/>
                    </a:lnTo>
                  </a:path>
                </a:pathLst>
              </a:custGeom>
              <a:solidFill>
                <a:srgbClr val="2F6DB2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7" name="Vrije vorm 146">
                <a:extLst>
                  <a:ext uri="{FF2B5EF4-FFF2-40B4-BE49-F238E27FC236}">
                    <a16:creationId xmlns:a16="http://schemas.microsoft.com/office/drawing/2014/main" id="{258127F3-74EE-37F8-EFDF-DA448DAE72AA}"/>
                  </a:ext>
                </a:extLst>
              </p:cNvPr>
              <p:cNvSpPr/>
              <p:nvPr/>
            </p:nvSpPr>
            <p:spPr>
              <a:xfrm flipV="1">
                <a:off x="5152729" y="5661109"/>
                <a:ext cx="376175" cy="173952"/>
              </a:xfrm>
              <a:custGeom>
                <a:avLst/>
                <a:gdLst>
                  <a:gd name="connsiteX0" fmla="*/ 374523 w 376175"/>
                  <a:gd name="connsiteY0" fmla="*/ -95 h 173952"/>
                  <a:gd name="connsiteX1" fmla="*/ -1652 w 376175"/>
                  <a:gd name="connsiteY1" fmla="*/ -95 h 173952"/>
                  <a:gd name="connsiteX2" fmla="*/ -1652 w 376175"/>
                  <a:gd name="connsiteY2" fmla="*/ 173857 h 173952"/>
                  <a:gd name="connsiteX3" fmla="*/ 374523 w 376175"/>
                  <a:gd name="connsiteY3" fmla="*/ 173857 h 173952"/>
                  <a:gd name="connsiteX4" fmla="*/ 374523 w 376175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6175" h="173952">
                    <a:moveTo>
                      <a:pt x="374523" y="-95"/>
                    </a:moveTo>
                    <a:lnTo>
                      <a:pt x="-1652" y="-95"/>
                    </a:lnTo>
                    <a:lnTo>
                      <a:pt x="-1652" y="173857"/>
                    </a:lnTo>
                    <a:lnTo>
                      <a:pt x="374523" y="173857"/>
                    </a:lnTo>
                    <a:lnTo>
                      <a:pt x="374523" y="-95"/>
                    </a:lnTo>
                  </a:path>
                </a:pathLst>
              </a:custGeom>
              <a:solidFill>
                <a:srgbClr val="2A5EA5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8" name="Vrije vorm 147">
                <a:extLst>
                  <a:ext uri="{FF2B5EF4-FFF2-40B4-BE49-F238E27FC236}">
                    <a16:creationId xmlns:a16="http://schemas.microsoft.com/office/drawing/2014/main" id="{D620979F-0719-4391-F1D7-CEF98E65235C}"/>
                  </a:ext>
                </a:extLst>
              </p:cNvPr>
              <p:cNvSpPr/>
              <p:nvPr/>
            </p:nvSpPr>
            <p:spPr>
              <a:xfrm flipV="1">
                <a:off x="5152729" y="5661109"/>
                <a:ext cx="101028" cy="173952"/>
              </a:xfrm>
              <a:custGeom>
                <a:avLst/>
                <a:gdLst>
                  <a:gd name="connsiteX0" fmla="*/ 99470 w 101028"/>
                  <a:gd name="connsiteY0" fmla="*/ -95 h 173952"/>
                  <a:gd name="connsiteX1" fmla="*/ -1558 w 101028"/>
                  <a:gd name="connsiteY1" fmla="*/ -95 h 173952"/>
                  <a:gd name="connsiteX2" fmla="*/ -1558 w 101028"/>
                  <a:gd name="connsiteY2" fmla="*/ 173857 h 173952"/>
                  <a:gd name="connsiteX3" fmla="*/ 99470 w 101028"/>
                  <a:gd name="connsiteY3" fmla="*/ 173857 h 173952"/>
                  <a:gd name="connsiteX4" fmla="*/ 99470 w 101028"/>
                  <a:gd name="connsiteY4" fmla="*/ -95 h 17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028" h="173952">
                    <a:moveTo>
                      <a:pt x="99470" y="-95"/>
                    </a:moveTo>
                    <a:lnTo>
                      <a:pt x="-1558" y="-95"/>
                    </a:lnTo>
                    <a:lnTo>
                      <a:pt x="-1558" y="173857"/>
                    </a:lnTo>
                    <a:lnTo>
                      <a:pt x="99470" y="173857"/>
                    </a:lnTo>
                    <a:lnTo>
                      <a:pt x="99470" y="-95"/>
                    </a:lnTo>
                  </a:path>
                </a:pathLst>
              </a:custGeom>
              <a:solidFill>
                <a:srgbClr val="2F6DB2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9" name="Vrije vorm 148">
                <a:extLst>
                  <a:ext uri="{FF2B5EF4-FFF2-40B4-BE49-F238E27FC236}">
                    <a16:creationId xmlns:a16="http://schemas.microsoft.com/office/drawing/2014/main" id="{88FD8FC5-09FA-4B99-153A-BE0120C4D2B1}"/>
                  </a:ext>
                </a:extLst>
              </p:cNvPr>
              <p:cNvSpPr/>
              <p:nvPr/>
            </p:nvSpPr>
            <p:spPr>
              <a:xfrm flipV="1">
                <a:off x="4906752" y="3657711"/>
                <a:ext cx="480605" cy="254202"/>
              </a:xfrm>
              <a:custGeom>
                <a:avLst/>
                <a:gdLst>
                  <a:gd name="connsiteX0" fmla="*/ 479086 w 480605"/>
                  <a:gd name="connsiteY0" fmla="*/ 252355 h 254202"/>
                  <a:gd name="connsiteX1" fmla="*/ -1520 w 480605"/>
                  <a:gd name="connsiteY1" fmla="*/ 252355 h 254202"/>
                  <a:gd name="connsiteX2" fmla="*/ -1520 w 480605"/>
                  <a:gd name="connsiteY2" fmla="*/ -1848 h 254202"/>
                  <a:gd name="connsiteX3" fmla="*/ 479086 w 480605"/>
                  <a:gd name="connsiteY3" fmla="*/ -1848 h 254202"/>
                  <a:gd name="connsiteX4" fmla="*/ 479086 w 480605"/>
                  <a:gd name="connsiteY4" fmla="*/ 252355 h 254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0605" h="254202">
                    <a:moveTo>
                      <a:pt x="479086" y="252355"/>
                    </a:moveTo>
                    <a:lnTo>
                      <a:pt x="-1520" y="252355"/>
                    </a:lnTo>
                    <a:lnTo>
                      <a:pt x="-1520" y="-1848"/>
                    </a:lnTo>
                    <a:lnTo>
                      <a:pt x="479086" y="-1848"/>
                    </a:lnTo>
                    <a:lnTo>
                      <a:pt x="479086" y="252355"/>
                    </a:lnTo>
                  </a:path>
                </a:pathLst>
              </a:custGeom>
              <a:solidFill>
                <a:schemeClr val="bg2">
                  <a:lumMod val="50000"/>
                </a:schemeClr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0" name="Vrije vorm 149">
                <a:extLst>
                  <a:ext uri="{FF2B5EF4-FFF2-40B4-BE49-F238E27FC236}">
                    <a16:creationId xmlns:a16="http://schemas.microsoft.com/office/drawing/2014/main" id="{157B104D-282D-969E-C537-6B4D79A538B9}"/>
                  </a:ext>
                </a:extLst>
              </p:cNvPr>
              <p:cNvSpPr/>
              <p:nvPr/>
            </p:nvSpPr>
            <p:spPr>
              <a:xfrm flipV="1">
                <a:off x="5387357" y="3657711"/>
                <a:ext cx="205687" cy="254202"/>
              </a:xfrm>
              <a:custGeom>
                <a:avLst/>
                <a:gdLst>
                  <a:gd name="connsiteX0" fmla="*/ 203933 w 205687"/>
                  <a:gd name="connsiteY0" fmla="*/ 252355 h 254202"/>
                  <a:gd name="connsiteX1" fmla="*/ -1754 w 205687"/>
                  <a:gd name="connsiteY1" fmla="*/ 252355 h 254202"/>
                  <a:gd name="connsiteX2" fmla="*/ -1754 w 205687"/>
                  <a:gd name="connsiteY2" fmla="*/ -1848 h 254202"/>
                  <a:gd name="connsiteX3" fmla="*/ 203933 w 205687"/>
                  <a:gd name="connsiteY3" fmla="*/ -1848 h 254202"/>
                  <a:gd name="connsiteX4" fmla="*/ 203933 w 205687"/>
                  <a:gd name="connsiteY4" fmla="*/ 252355 h 254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687" h="254202">
                    <a:moveTo>
                      <a:pt x="203933" y="252355"/>
                    </a:moveTo>
                    <a:lnTo>
                      <a:pt x="-1754" y="252355"/>
                    </a:lnTo>
                    <a:lnTo>
                      <a:pt x="-1754" y="-1848"/>
                    </a:lnTo>
                    <a:lnTo>
                      <a:pt x="203933" y="-1848"/>
                    </a:lnTo>
                    <a:lnTo>
                      <a:pt x="203933" y="252355"/>
                    </a:lnTo>
                  </a:path>
                </a:pathLst>
              </a:custGeom>
              <a:solidFill>
                <a:schemeClr val="bg2">
                  <a:lumMod val="50000"/>
                </a:schemeClr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1" name="Vrije vorm 150">
                <a:extLst>
                  <a:ext uri="{FF2B5EF4-FFF2-40B4-BE49-F238E27FC236}">
                    <a16:creationId xmlns:a16="http://schemas.microsoft.com/office/drawing/2014/main" id="{29423388-68B6-24EE-0304-FD59538650D0}"/>
                  </a:ext>
                </a:extLst>
              </p:cNvPr>
              <p:cNvSpPr/>
              <p:nvPr/>
            </p:nvSpPr>
            <p:spPr>
              <a:xfrm flipV="1">
                <a:off x="4863416" y="3598166"/>
                <a:ext cx="523941" cy="59545"/>
              </a:xfrm>
              <a:custGeom>
                <a:avLst/>
                <a:gdLst>
                  <a:gd name="connsiteX0" fmla="*/ -1505 w 523941"/>
                  <a:gd name="connsiteY0" fmla="*/ 57558 h 59545"/>
                  <a:gd name="connsiteX1" fmla="*/ 522437 w 523941"/>
                  <a:gd name="connsiteY1" fmla="*/ 57558 h 59545"/>
                  <a:gd name="connsiteX2" fmla="*/ 522437 w 523941"/>
                  <a:gd name="connsiteY2" fmla="*/ -1988 h 59545"/>
                  <a:gd name="connsiteX3" fmla="*/ -1505 w 523941"/>
                  <a:gd name="connsiteY3" fmla="*/ -1988 h 59545"/>
                  <a:gd name="connsiteX4" fmla="*/ -1505 w 523941"/>
                  <a:gd name="connsiteY4" fmla="*/ 57558 h 5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941" h="59545">
                    <a:moveTo>
                      <a:pt x="-1505" y="57558"/>
                    </a:moveTo>
                    <a:lnTo>
                      <a:pt x="522437" y="57558"/>
                    </a:lnTo>
                    <a:lnTo>
                      <a:pt x="522437" y="-1988"/>
                    </a:lnTo>
                    <a:lnTo>
                      <a:pt x="-1505" y="-1988"/>
                    </a:lnTo>
                    <a:lnTo>
                      <a:pt x="-1505" y="57558"/>
                    </a:lnTo>
                  </a:path>
                </a:pathLst>
              </a:custGeom>
              <a:solidFill>
                <a:srgbClr val="E2E7E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2" name="Vrije vorm 151">
                <a:extLst>
                  <a:ext uri="{FF2B5EF4-FFF2-40B4-BE49-F238E27FC236}">
                    <a16:creationId xmlns:a16="http://schemas.microsoft.com/office/drawing/2014/main" id="{4F9502DB-10B5-395B-041F-003881E62BB7}"/>
                  </a:ext>
                </a:extLst>
              </p:cNvPr>
              <p:cNvSpPr/>
              <p:nvPr/>
            </p:nvSpPr>
            <p:spPr>
              <a:xfrm flipV="1">
                <a:off x="5387357" y="3598166"/>
                <a:ext cx="249023" cy="59545"/>
              </a:xfrm>
              <a:custGeom>
                <a:avLst/>
                <a:gdLst>
                  <a:gd name="connsiteX0" fmla="*/ -1769 w 249023"/>
                  <a:gd name="connsiteY0" fmla="*/ 57558 h 59545"/>
                  <a:gd name="connsiteX1" fmla="*/ 247254 w 249023"/>
                  <a:gd name="connsiteY1" fmla="*/ 57558 h 59545"/>
                  <a:gd name="connsiteX2" fmla="*/ 247254 w 249023"/>
                  <a:gd name="connsiteY2" fmla="*/ -1988 h 59545"/>
                  <a:gd name="connsiteX3" fmla="*/ -1769 w 249023"/>
                  <a:gd name="connsiteY3" fmla="*/ -1988 h 59545"/>
                  <a:gd name="connsiteX4" fmla="*/ -1769 w 249023"/>
                  <a:gd name="connsiteY4" fmla="*/ 57558 h 5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023" h="59545">
                    <a:moveTo>
                      <a:pt x="-1769" y="57558"/>
                    </a:moveTo>
                    <a:lnTo>
                      <a:pt x="247254" y="57558"/>
                    </a:lnTo>
                    <a:lnTo>
                      <a:pt x="247254" y="-1988"/>
                    </a:lnTo>
                    <a:lnTo>
                      <a:pt x="-1769" y="-1988"/>
                    </a:lnTo>
                    <a:lnTo>
                      <a:pt x="-1769" y="57558"/>
                    </a:lnTo>
                  </a:path>
                </a:pathLst>
              </a:custGeom>
              <a:solidFill>
                <a:srgbClr val="B8BFC9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3" name="Vrije vorm 152">
                <a:extLst>
                  <a:ext uri="{FF2B5EF4-FFF2-40B4-BE49-F238E27FC236}">
                    <a16:creationId xmlns:a16="http://schemas.microsoft.com/office/drawing/2014/main" id="{5C9EB8D0-3EA5-93A7-4A00-C71351A64729}"/>
                  </a:ext>
                </a:extLst>
              </p:cNvPr>
              <p:cNvSpPr/>
              <p:nvPr/>
            </p:nvSpPr>
            <p:spPr>
              <a:xfrm flipV="1">
                <a:off x="5023089" y="3746110"/>
                <a:ext cx="101041" cy="165803"/>
              </a:xfrm>
              <a:custGeom>
                <a:avLst/>
                <a:gdLst>
                  <a:gd name="connsiteX0" fmla="*/ 99571 w 101041"/>
                  <a:gd name="connsiteY0" fmla="*/ 163996 h 165803"/>
                  <a:gd name="connsiteX1" fmla="*/ -1470 w 101041"/>
                  <a:gd name="connsiteY1" fmla="*/ 163996 h 165803"/>
                  <a:gd name="connsiteX2" fmla="*/ -1470 w 101041"/>
                  <a:gd name="connsiteY2" fmla="*/ -1808 h 165803"/>
                  <a:gd name="connsiteX3" fmla="*/ 99571 w 101041"/>
                  <a:gd name="connsiteY3" fmla="*/ -1808 h 165803"/>
                  <a:gd name="connsiteX4" fmla="*/ 99571 w 101041"/>
                  <a:gd name="connsiteY4" fmla="*/ 163996 h 165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041" h="165803">
                    <a:moveTo>
                      <a:pt x="99571" y="163996"/>
                    </a:moveTo>
                    <a:lnTo>
                      <a:pt x="-1470" y="163996"/>
                    </a:lnTo>
                    <a:lnTo>
                      <a:pt x="-1470" y="-1808"/>
                    </a:lnTo>
                    <a:lnTo>
                      <a:pt x="99571" y="-1808"/>
                    </a:lnTo>
                    <a:lnTo>
                      <a:pt x="99571" y="163996"/>
                    </a:lnTo>
                  </a:path>
                </a:pathLst>
              </a:custGeom>
              <a:solidFill>
                <a:srgbClr val="21447A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4" name="Vrije vorm 153">
                <a:extLst>
                  <a:ext uri="{FF2B5EF4-FFF2-40B4-BE49-F238E27FC236}">
                    <a16:creationId xmlns:a16="http://schemas.microsoft.com/office/drawing/2014/main" id="{E1CF4407-0464-9BC7-354C-F4A256408E2D}"/>
                  </a:ext>
                </a:extLst>
              </p:cNvPr>
              <p:cNvSpPr/>
              <p:nvPr/>
            </p:nvSpPr>
            <p:spPr>
              <a:xfrm flipV="1">
                <a:off x="3742758" y="3819314"/>
                <a:ext cx="23860" cy="92599"/>
              </a:xfrm>
              <a:custGeom>
                <a:avLst/>
                <a:gdLst>
                  <a:gd name="connsiteX0" fmla="*/ 23291 w 23860"/>
                  <a:gd name="connsiteY0" fmla="*/ 90824 h 92599"/>
                  <a:gd name="connsiteX1" fmla="*/ -569 w 23860"/>
                  <a:gd name="connsiteY1" fmla="*/ 90824 h 92599"/>
                  <a:gd name="connsiteX2" fmla="*/ -569 w 23860"/>
                  <a:gd name="connsiteY2" fmla="*/ -1775 h 92599"/>
                  <a:gd name="connsiteX3" fmla="*/ 23291 w 23860"/>
                  <a:gd name="connsiteY3" fmla="*/ -1775 h 92599"/>
                  <a:gd name="connsiteX4" fmla="*/ 23291 w 23860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60" h="92599">
                    <a:moveTo>
                      <a:pt x="23291" y="90824"/>
                    </a:moveTo>
                    <a:lnTo>
                      <a:pt x="-569" y="90824"/>
                    </a:lnTo>
                    <a:lnTo>
                      <a:pt x="-569" y="-1775"/>
                    </a:lnTo>
                    <a:lnTo>
                      <a:pt x="23291" y="-1775"/>
                    </a:lnTo>
                    <a:lnTo>
                      <a:pt x="23291" y="90824"/>
                    </a:lnTo>
                  </a:path>
                </a:pathLst>
              </a:custGeom>
              <a:solidFill>
                <a:srgbClr val="F4F8F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5" name="Vrije vorm 154">
                <a:extLst>
                  <a:ext uri="{FF2B5EF4-FFF2-40B4-BE49-F238E27FC236}">
                    <a16:creationId xmlns:a16="http://schemas.microsoft.com/office/drawing/2014/main" id="{3B4401F2-BA41-8747-30AF-7974E5CF4D83}"/>
                  </a:ext>
                </a:extLst>
              </p:cNvPr>
              <p:cNvSpPr/>
              <p:nvPr/>
            </p:nvSpPr>
            <p:spPr>
              <a:xfrm flipV="1">
                <a:off x="4552815" y="3819314"/>
                <a:ext cx="23876" cy="92599"/>
              </a:xfrm>
              <a:custGeom>
                <a:avLst/>
                <a:gdLst>
                  <a:gd name="connsiteX0" fmla="*/ 22754 w 23876"/>
                  <a:gd name="connsiteY0" fmla="*/ 90824 h 92599"/>
                  <a:gd name="connsiteX1" fmla="*/ -1122 w 23876"/>
                  <a:gd name="connsiteY1" fmla="*/ 90824 h 92599"/>
                  <a:gd name="connsiteX2" fmla="*/ -1122 w 23876"/>
                  <a:gd name="connsiteY2" fmla="*/ -1775 h 92599"/>
                  <a:gd name="connsiteX3" fmla="*/ 22754 w 23876"/>
                  <a:gd name="connsiteY3" fmla="*/ -1775 h 92599"/>
                  <a:gd name="connsiteX4" fmla="*/ 22754 w 23876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76" h="92599">
                    <a:moveTo>
                      <a:pt x="22754" y="90824"/>
                    </a:moveTo>
                    <a:lnTo>
                      <a:pt x="-1122" y="90824"/>
                    </a:lnTo>
                    <a:lnTo>
                      <a:pt x="-1122" y="-1775"/>
                    </a:lnTo>
                    <a:lnTo>
                      <a:pt x="22754" y="-1775"/>
                    </a:lnTo>
                    <a:lnTo>
                      <a:pt x="22754" y="90824"/>
                    </a:lnTo>
                  </a:path>
                </a:pathLst>
              </a:custGeom>
              <a:solidFill>
                <a:srgbClr val="F4F8F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6" name="Vrije vorm 155">
                <a:extLst>
                  <a:ext uri="{FF2B5EF4-FFF2-40B4-BE49-F238E27FC236}">
                    <a16:creationId xmlns:a16="http://schemas.microsoft.com/office/drawing/2014/main" id="{4939DA2A-CE55-7D50-BFD6-C68DFECF7787}"/>
                  </a:ext>
                </a:extLst>
              </p:cNvPr>
              <p:cNvSpPr/>
              <p:nvPr/>
            </p:nvSpPr>
            <p:spPr>
              <a:xfrm flipV="1">
                <a:off x="4378392" y="3819314"/>
                <a:ext cx="23876" cy="92599"/>
              </a:xfrm>
              <a:custGeom>
                <a:avLst/>
                <a:gdLst>
                  <a:gd name="connsiteX0" fmla="*/ 22873 w 23876"/>
                  <a:gd name="connsiteY0" fmla="*/ 90824 h 92599"/>
                  <a:gd name="connsiteX1" fmla="*/ -1003 w 23876"/>
                  <a:gd name="connsiteY1" fmla="*/ 90824 h 92599"/>
                  <a:gd name="connsiteX2" fmla="*/ -1003 w 23876"/>
                  <a:gd name="connsiteY2" fmla="*/ -1775 h 92599"/>
                  <a:gd name="connsiteX3" fmla="*/ 22873 w 23876"/>
                  <a:gd name="connsiteY3" fmla="*/ -1775 h 92599"/>
                  <a:gd name="connsiteX4" fmla="*/ 22873 w 23876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76" h="92599">
                    <a:moveTo>
                      <a:pt x="22873" y="90824"/>
                    </a:moveTo>
                    <a:lnTo>
                      <a:pt x="-1003" y="90824"/>
                    </a:lnTo>
                    <a:lnTo>
                      <a:pt x="-1003" y="-1775"/>
                    </a:lnTo>
                    <a:lnTo>
                      <a:pt x="22873" y="-1775"/>
                    </a:lnTo>
                    <a:lnTo>
                      <a:pt x="22873" y="90824"/>
                    </a:lnTo>
                  </a:path>
                </a:pathLst>
              </a:custGeom>
              <a:solidFill>
                <a:srgbClr val="F4F8F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7" name="Vrije vorm 156">
                <a:extLst>
                  <a:ext uri="{FF2B5EF4-FFF2-40B4-BE49-F238E27FC236}">
                    <a16:creationId xmlns:a16="http://schemas.microsoft.com/office/drawing/2014/main" id="{AC7855ED-EE23-DFBB-4428-D296149E3DDB}"/>
                  </a:ext>
                </a:extLst>
              </p:cNvPr>
              <p:cNvSpPr/>
              <p:nvPr/>
            </p:nvSpPr>
            <p:spPr>
              <a:xfrm flipV="1">
                <a:off x="4133776" y="3819314"/>
                <a:ext cx="23860" cy="92599"/>
              </a:xfrm>
              <a:custGeom>
                <a:avLst/>
                <a:gdLst>
                  <a:gd name="connsiteX0" fmla="*/ 23024 w 23860"/>
                  <a:gd name="connsiteY0" fmla="*/ 90824 h 92599"/>
                  <a:gd name="connsiteX1" fmla="*/ -836 w 23860"/>
                  <a:gd name="connsiteY1" fmla="*/ 90824 h 92599"/>
                  <a:gd name="connsiteX2" fmla="*/ -836 w 23860"/>
                  <a:gd name="connsiteY2" fmla="*/ -1775 h 92599"/>
                  <a:gd name="connsiteX3" fmla="*/ 23024 w 23860"/>
                  <a:gd name="connsiteY3" fmla="*/ -1775 h 92599"/>
                  <a:gd name="connsiteX4" fmla="*/ 23024 w 23860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60" h="92599">
                    <a:moveTo>
                      <a:pt x="23024" y="90824"/>
                    </a:moveTo>
                    <a:lnTo>
                      <a:pt x="-836" y="90824"/>
                    </a:lnTo>
                    <a:lnTo>
                      <a:pt x="-836" y="-1775"/>
                    </a:lnTo>
                    <a:lnTo>
                      <a:pt x="23024" y="-1775"/>
                    </a:lnTo>
                    <a:lnTo>
                      <a:pt x="23024" y="90824"/>
                    </a:lnTo>
                  </a:path>
                </a:pathLst>
              </a:custGeom>
              <a:solidFill>
                <a:srgbClr val="F4F8F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8" name="Vrije vorm 157">
                <a:extLst>
                  <a:ext uri="{FF2B5EF4-FFF2-40B4-BE49-F238E27FC236}">
                    <a16:creationId xmlns:a16="http://schemas.microsoft.com/office/drawing/2014/main" id="{5C0F9EEE-B662-6B29-03B6-2C709075D4D6}"/>
                  </a:ext>
                </a:extLst>
              </p:cNvPr>
              <p:cNvSpPr/>
              <p:nvPr/>
            </p:nvSpPr>
            <p:spPr>
              <a:xfrm flipV="1">
                <a:off x="3889141" y="3819314"/>
                <a:ext cx="23865" cy="92599"/>
              </a:xfrm>
              <a:custGeom>
                <a:avLst/>
                <a:gdLst>
                  <a:gd name="connsiteX0" fmla="*/ 23196 w 23865"/>
                  <a:gd name="connsiteY0" fmla="*/ 90824 h 92599"/>
                  <a:gd name="connsiteX1" fmla="*/ -669 w 23865"/>
                  <a:gd name="connsiteY1" fmla="*/ 90824 h 92599"/>
                  <a:gd name="connsiteX2" fmla="*/ -669 w 23865"/>
                  <a:gd name="connsiteY2" fmla="*/ -1775 h 92599"/>
                  <a:gd name="connsiteX3" fmla="*/ 23196 w 23865"/>
                  <a:gd name="connsiteY3" fmla="*/ -1775 h 92599"/>
                  <a:gd name="connsiteX4" fmla="*/ 23196 w 23865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65" h="92599">
                    <a:moveTo>
                      <a:pt x="23196" y="90824"/>
                    </a:moveTo>
                    <a:lnTo>
                      <a:pt x="-669" y="90824"/>
                    </a:lnTo>
                    <a:lnTo>
                      <a:pt x="-669" y="-1775"/>
                    </a:lnTo>
                    <a:lnTo>
                      <a:pt x="23196" y="-1775"/>
                    </a:lnTo>
                    <a:lnTo>
                      <a:pt x="23196" y="90824"/>
                    </a:lnTo>
                  </a:path>
                </a:pathLst>
              </a:custGeom>
              <a:solidFill>
                <a:srgbClr val="F4F8F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9" name="Vrije vorm 158">
                <a:extLst>
                  <a:ext uri="{FF2B5EF4-FFF2-40B4-BE49-F238E27FC236}">
                    <a16:creationId xmlns:a16="http://schemas.microsoft.com/office/drawing/2014/main" id="{F828C46C-4AFA-BCB2-30C8-B70538E45930}"/>
                  </a:ext>
                </a:extLst>
              </p:cNvPr>
              <p:cNvSpPr/>
              <p:nvPr/>
            </p:nvSpPr>
            <p:spPr>
              <a:xfrm flipV="1">
                <a:off x="3742758" y="3819314"/>
                <a:ext cx="833934" cy="18773"/>
              </a:xfrm>
              <a:custGeom>
                <a:avLst/>
                <a:gdLst>
                  <a:gd name="connsiteX0" fmla="*/ 833088 w 833934"/>
                  <a:gd name="connsiteY0" fmla="*/ -1808 h 18773"/>
                  <a:gd name="connsiteX1" fmla="*/ 833088 w 833934"/>
                  <a:gd name="connsiteY1" fmla="*/ 16966 h 18773"/>
                  <a:gd name="connsiteX2" fmla="*/ -846 w 833934"/>
                  <a:gd name="connsiteY2" fmla="*/ 16966 h 18773"/>
                  <a:gd name="connsiteX3" fmla="*/ -846 w 833934"/>
                  <a:gd name="connsiteY3" fmla="*/ -1808 h 18773"/>
                  <a:gd name="connsiteX4" fmla="*/ 833088 w 833934"/>
                  <a:gd name="connsiteY4" fmla="*/ -1808 h 18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3934" h="18773">
                    <a:moveTo>
                      <a:pt x="833088" y="-1808"/>
                    </a:moveTo>
                    <a:lnTo>
                      <a:pt x="833088" y="16966"/>
                    </a:lnTo>
                    <a:lnTo>
                      <a:pt x="-846" y="16966"/>
                    </a:lnTo>
                    <a:lnTo>
                      <a:pt x="-846" y="-1808"/>
                    </a:lnTo>
                    <a:lnTo>
                      <a:pt x="833088" y="-1808"/>
                    </a:lnTo>
                  </a:path>
                </a:pathLst>
              </a:custGeom>
              <a:solidFill>
                <a:srgbClr val="F4F8F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0" name="Vrije vorm 159">
                <a:extLst>
                  <a:ext uri="{FF2B5EF4-FFF2-40B4-BE49-F238E27FC236}">
                    <a16:creationId xmlns:a16="http://schemas.microsoft.com/office/drawing/2014/main" id="{724281CE-6E3C-9D02-6123-6CA23BE6435B}"/>
                  </a:ext>
                </a:extLst>
              </p:cNvPr>
              <p:cNvSpPr/>
              <p:nvPr/>
            </p:nvSpPr>
            <p:spPr>
              <a:xfrm flipV="1">
                <a:off x="3742758" y="3865620"/>
                <a:ext cx="833934" cy="18761"/>
              </a:xfrm>
              <a:custGeom>
                <a:avLst/>
                <a:gdLst>
                  <a:gd name="connsiteX0" fmla="*/ 833088 w 833934"/>
                  <a:gd name="connsiteY0" fmla="*/ -1767 h 18761"/>
                  <a:gd name="connsiteX1" fmla="*/ 833088 w 833934"/>
                  <a:gd name="connsiteY1" fmla="*/ 16994 h 18761"/>
                  <a:gd name="connsiteX2" fmla="*/ -846 w 833934"/>
                  <a:gd name="connsiteY2" fmla="*/ 16994 h 18761"/>
                  <a:gd name="connsiteX3" fmla="*/ -846 w 833934"/>
                  <a:gd name="connsiteY3" fmla="*/ -1767 h 18761"/>
                  <a:gd name="connsiteX4" fmla="*/ 833088 w 833934"/>
                  <a:gd name="connsiteY4" fmla="*/ -1767 h 18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3934" h="18761">
                    <a:moveTo>
                      <a:pt x="833088" y="-1767"/>
                    </a:moveTo>
                    <a:lnTo>
                      <a:pt x="833088" y="16994"/>
                    </a:lnTo>
                    <a:lnTo>
                      <a:pt x="-846" y="16994"/>
                    </a:lnTo>
                    <a:lnTo>
                      <a:pt x="-846" y="-1767"/>
                    </a:lnTo>
                    <a:lnTo>
                      <a:pt x="833088" y="-1767"/>
                    </a:lnTo>
                  </a:path>
                </a:pathLst>
              </a:custGeom>
              <a:solidFill>
                <a:srgbClr val="F4F8F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1" name="Vrije vorm 160">
                <a:extLst>
                  <a:ext uri="{FF2B5EF4-FFF2-40B4-BE49-F238E27FC236}">
                    <a16:creationId xmlns:a16="http://schemas.microsoft.com/office/drawing/2014/main" id="{EB833C53-DBA9-4912-40AC-C8B2CE1B645D}"/>
                  </a:ext>
                </a:extLst>
              </p:cNvPr>
              <p:cNvSpPr/>
              <p:nvPr/>
            </p:nvSpPr>
            <p:spPr>
              <a:xfrm flipV="1">
                <a:off x="4576692" y="3819314"/>
                <a:ext cx="23851" cy="92599"/>
              </a:xfrm>
              <a:custGeom>
                <a:avLst/>
                <a:gdLst>
                  <a:gd name="connsiteX0" fmla="*/ 22713 w 23851"/>
                  <a:gd name="connsiteY0" fmla="*/ 90824 h 92599"/>
                  <a:gd name="connsiteX1" fmla="*/ -1139 w 23851"/>
                  <a:gd name="connsiteY1" fmla="*/ 90824 h 92599"/>
                  <a:gd name="connsiteX2" fmla="*/ -1139 w 23851"/>
                  <a:gd name="connsiteY2" fmla="*/ -1775 h 92599"/>
                  <a:gd name="connsiteX3" fmla="*/ 22713 w 23851"/>
                  <a:gd name="connsiteY3" fmla="*/ -1775 h 92599"/>
                  <a:gd name="connsiteX4" fmla="*/ 22713 w 23851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51" h="92599">
                    <a:moveTo>
                      <a:pt x="22713" y="90824"/>
                    </a:moveTo>
                    <a:lnTo>
                      <a:pt x="-1139" y="90824"/>
                    </a:lnTo>
                    <a:lnTo>
                      <a:pt x="-1139" y="-1775"/>
                    </a:lnTo>
                    <a:lnTo>
                      <a:pt x="22713" y="-1775"/>
                    </a:lnTo>
                    <a:lnTo>
                      <a:pt x="22713" y="90824"/>
                    </a:lnTo>
                  </a:path>
                </a:pathLst>
              </a:custGeom>
              <a:solidFill>
                <a:srgbClr val="DDE1E4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2" name="Vrije vorm 161">
                <a:extLst>
                  <a:ext uri="{FF2B5EF4-FFF2-40B4-BE49-F238E27FC236}">
                    <a16:creationId xmlns:a16="http://schemas.microsoft.com/office/drawing/2014/main" id="{F1B28867-D1CA-3DD6-40DF-0A16DDB6E5C6}"/>
                  </a:ext>
                </a:extLst>
              </p:cNvPr>
              <p:cNvSpPr/>
              <p:nvPr/>
            </p:nvSpPr>
            <p:spPr>
              <a:xfrm flipV="1">
                <a:off x="5386748" y="3819314"/>
                <a:ext cx="23864" cy="92599"/>
              </a:xfrm>
              <a:custGeom>
                <a:avLst/>
                <a:gdLst>
                  <a:gd name="connsiteX0" fmla="*/ 22172 w 23864"/>
                  <a:gd name="connsiteY0" fmla="*/ 90824 h 92599"/>
                  <a:gd name="connsiteX1" fmla="*/ -1692 w 23864"/>
                  <a:gd name="connsiteY1" fmla="*/ 90824 h 92599"/>
                  <a:gd name="connsiteX2" fmla="*/ -1692 w 23864"/>
                  <a:gd name="connsiteY2" fmla="*/ -1775 h 92599"/>
                  <a:gd name="connsiteX3" fmla="*/ 22172 w 23864"/>
                  <a:gd name="connsiteY3" fmla="*/ -1775 h 92599"/>
                  <a:gd name="connsiteX4" fmla="*/ 22172 w 23864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64" h="92599">
                    <a:moveTo>
                      <a:pt x="22172" y="90824"/>
                    </a:moveTo>
                    <a:lnTo>
                      <a:pt x="-1692" y="90824"/>
                    </a:lnTo>
                    <a:lnTo>
                      <a:pt x="-1692" y="-1775"/>
                    </a:lnTo>
                    <a:lnTo>
                      <a:pt x="22172" y="-1775"/>
                    </a:lnTo>
                    <a:lnTo>
                      <a:pt x="22172" y="90824"/>
                    </a:lnTo>
                  </a:path>
                </a:pathLst>
              </a:custGeom>
              <a:solidFill>
                <a:srgbClr val="DDE1E4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3" name="Vrije vorm 162">
                <a:extLst>
                  <a:ext uri="{FF2B5EF4-FFF2-40B4-BE49-F238E27FC236}">
                    <a16:creationId xmlns:a16="http://schemas.microsoft.com/office/drawing/2014/main" id="{D758492B-3D2E-FF9C-FA47-F5F33A811551}"/>
                  </a:ext>
                </a:extLst>
              </p:cNvPr>
              <p:cNvSpPr/>
              <p:nvPr/>
            </p:nvSpPr>
            <p:spPr>
              <a:xfrm flipV="1">
                <a:off x="5212325" y="3819314"/>
                <a:ext cx="23876" cy="92599"/>
              </a:xfrm>
              <a:custGeom>
                <a:avLst/>
                <a:gdLst>
                  <a:gd name="connsiteX0" fmla="*/ 22304 w 23876"/>
                  <a:gd name="connsiteY0" fmla="*/ 90824 h 92599"/>
                  <a:gd name="connsiteX1" fmla="*/ -1573 w 23876"/>
                  <a:gd name="connsiteY1" fmla="*/ 90824 h 92599"/>
                  <a:gd name="connsiteX2" fmla="*/ -1573 w 23876"/>
                  <a:gd name="connsiteY2" fmla="*/ -1775 h 92599"/>
                  <a:gd name="connsiteX3" fmla="*/ 22304 w 23876"/>
                  <a:gd name="connsiteY3" fmla="*/ -1775 h 92599"/>
                  <a:gd name="connsiteX4" fmla="*/ 22304 w 23876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76" h="92599">
                    <a:moveTo>
                      <a:pt x="22304" y="90824"/>
                    </a:moveTo>
                    <a:lnTo>
                      <a:pt x="-1573" y="90824"/>
                    </a:lnTo>
                    <a:lnTo>
                      <a:pt x="-1573" y="-1775"/>
                    </a:lnTo>
                    <a:lnTo>
                      <a:pt x="22304" y="-1775"/>
                    </a:lnTo>
                    <a:lnTo>
                      <a:pt x="22304" y="90824"/>
                    </a:lnTo>
                  </a:path>
                </a:pathLst>
              </a:custGeom>
              <a:solidFill>
                <a:srgbClr val="DDE1E4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4" name="Vrije vorm 163">
                <a:extLst>
                  <a:ext uri="{FF2B5EF4-FFF2-40B4-BE49-F238E27FC236}">
                    <a16:creationId xmlns:a16="http://schemas.microsoft.com/office/drawing/2014/main" id="{AA2AC445-C0EE-47BC-84B4-DBAEADDB1CA9}"/>
                  </a:ext>
                </a:extLst>
              </p:cNvPr>
              <p:cNvSpPr/>
              <p:nvPr/>
            </p:nvSpPr>
            <p:spPr>
              <a:xfrm flipV="1">
                <a:off x="4967694" y="3819314"/>
                <a:ext cx="23876" cy="92599"/>
              </a:xfrm>
              <a:custGeom>
                <a:avLst/>
                <a:gdLst>
                  <a:gd name="connsiteX0" fmla="*/ 22471 w 23876"/>
                  <a:gd name="connsiteY0" fmla="*/ 90824 h 92599"/>
                  <a:gd name="connsiteX1" fmla="*/ -1406 w 23876"/>
                  <a:gd name="connsiteY1" fmla="*/ 90824 h 92599"/>
                  <a:gd name="connsiteX2" fmla="*/ -1406 w 23876"/>
                  <a:gd name="connsiteY2" fmla="*/ -1775 h 92599"/>
                  <a:gd name="connsiteX3" fmla="*/ 22471 w 23876"/>
                  <a:gd name="connsiteY3" fmla="*/ -1775 h 92599"/>
                  <a:gd name="connsiteX4" fmla="*/ 22471 w 23876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76" h="92599">
                    <a:moveTo>
                      <a:pt x="22471" y="90824"/>
                    </a:moveTo>
                    <a:lnTo>
                      <a:pt x="-1406" y="90824"/>
                    </a:lnTo>
                    <a:lnTo>
                      <a:pt x="-1406" y="-1775"/>
                    </a:lnTo>
                    <a:lnTo>
                      <a:pt x="22471" y="-1775"/>
                    </a:lnTo>
                    <a:lnTo>
                      <a:pt x="22471" y="90824"/>
                    </a:lnTo>
                  </a:path>
                </a:pathLst>
              </a:custGeom>
              <a:solidFill>
                <a:srgbClr val="DDE1E4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5" name="Vrije vorm 164">
                <a:extLst>
                  <a:ext uri="{FF2B5EF4-FFF2-40B4-BE49-F238E27FC236}">
                    <a16:creationId xmlns:a16="http://schemas.microsoft.com/office/drawing/2014/main" id="{66D40F94-8C21-795E-76CE-06F5BC88887D}"/>
                  </a:ext>
                </a:extLst>
              </p:cNvPr>
              <p:cNvSpPr/>
              <p:nvPr/>
            </p:nvSpPr>
            <p:spPr>
              <a:xfrm flipV="1">
                <a:off x="4723075" y="3819314"/>
                <a:ext cx="23863" cy="92599"/>
              </a:xfrm>
              <a:custGeom>
                <a:avLst/>
                <a:gdLst>
                  <a:gd name="connsiteX0" fmla="*/ 22625 w 23863"/>
                  <a:gd name="connsiteY0" fmla="*/ 90824 h 92599"/>
                  <a:gd name="connsiteX1" fmla="*/ -1239 w 23863"/>
                  <a:gd name="connsiteY1" fmla="*/ 90824 h 92599"/>
                  <a:gd name="connsiteX2" fmla="*/ -1239 w 23863"/>
                  <a:gd name="connsiteY2" fmla="*/ -1775 h 92599"/>
                  <a:gd name="connsiteX3" fmla="*/ 22625 w 23863"/>
                  <a:gd name="connsiteY3" fmla="*/ -1775 h 92599"/>
                  <a:gd name="connsiteX4" fmla="*/ 22625 w 23863"/>
                  <a:gd name="connsiteY4" fmla="*/ 90824 h 9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63" h="92599">
                    <a:moveTo>
                      <a:pt x="22625" y="90824"/>
                    </a:moveTo>
                    <a:lnTo>
                      <a:pt x="-1239" y="90824"/>
                    </a:lnTo>
                    <a:lnTo>
                      <a:pt x="-1239" y="-1775"/>
                    </a:lnTo>
                    <a:lnTo>
                      <a:pt x="22625" y="-1775"/>
                    </a:lnTo>
                    <a:lnTo>
                      <a:pt x="22625" y="90824"/>
                    </a:lnTo>
                  </a:path>
                </a:pathLst>
              </a:custGeom>
              <a:solidFill>
                <a:srgbClr val="DDE1E4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6" name="Vrije vorm 165">
                <a:extLst>
                  <a:ext uri="{FF2B5EF4-FFF2-40B4-BE49-F238E27FC236}">
                    <a16:creationId xmlns:a16="http://schemas.microsoft.com/office/drawing/2014/main" id="{FC8D5141-15E9-10B9-2ED3-62E6DA2D17FD}"/>
                  </a:ext>
                </a:extLst>
              </p:cNvPr>
              <p:cNvSpPr/>
              <p:nvPr/>
            </p:nvSpPr>
            <p:spPr>
              <a:xfrm flipV="1">
                <a:off x="4576692" y="3819314"/>
                <a:ext cx="833920" cy="18773"/>
              </a:xfrm>
              <a:custGeom>
                <a:avLst/>
                <a:gdLst>
                  <a:gd name="connsiteX0" fmla="*/ 832505 w 833920"/>
                  <a:gd name="connsiteY0" fmla="*/ -1808 h 18773"/>
                  <a:gd name="connsiteX1" fmla="*/ 832505 w 833920"/>
                  <a:gd name="connsiteY1" fmla="*/ 16966 h 18773"/>
                  <a:gd name="connsiteX2" fmla="*/ -1415 w 833920"/>
                  <a:gd name="connsiteY2" fmla="*/ 16966 h 18773"/>
                  <a:gd name="connsiteX3" fmla="*/ -1415 w 833920"/>
                  <a:gd name="connsiteY3" fmla="*/ -1808 h 18773"/>
                  <a:gd name="connsiteX4" fmla="*/ 832505 w 833920"/>
                  <a:gd name="connsiteY4" fmla="*/ -1808 h 18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3920" h="18773">
                    <a:moveTo>
                      <a:pt x="832505" y="-1808"/>
                    </a:moveTo>
                    <a:lnTo>
                      <a:pt x="832505" y="16966"/>
                    </a:lnTo>
                    <a:lnTo>
                      <a:pt x="-1415" y="16966"/>
                    </a:lnTo>
                    <a:lnTo>
                      <a:pt x="-1415" y="-1808"/>
                    </a:lnTo>
                    <a:lnTo>
                      <a:pt x="832505" y="-1808"/>
                    </a:lnTo>
                  </a:path>
                </a:pathLst>
              </a:custGeom>
              <a:solidFill>
                <a:srgbClr val="DDE1E4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7" name="Vrije vorm 166">
                <a:extLst>
                  <a:ext uri="{FF2B5EF4-FFF2-40B4-BE49-F238E27FC236}">
                    <a16:creationId xmlns:a16="http://schemas.microsoft.com/office/drawing/2014/main" id="{F53FBAB7-1890-693B-DDBB-ADFCCC7681DA}"/>
                  </a:ext>
                </a:extLst>
              </p:cNvPr>
              <p:cNvSpPr/>
              <p:nvPr/>
            </p:nvSpPr>
            <p:spPr>
              <a:xfrm flipV="1">
                <a:off x="4576692" y="3865620"/>
                <a:ext cx="833920" cy="18761"/>
              </a:xfrm>
              <a:custGeom>
                <a:avLst/>
                <a:gdLst>
                  <a:gd name="connsiteX0" fmla="*/ 832505 w 833920"/>
                  <a:gd name="connsiteY0" fmla="*/ -1767 h 18761"/>
                  <a:gd name="connsiteX1" fmla="*/ 832505 w 833920"/>
                  <a:gd name="connsiteY1" fmla="*/ 16994 h 18761"/>
                  <a:gd name="connsiteX2" fmla="*/ -1415 w 833920"/>
                  <a:gd name="connsiteY2" fmla="*/ 16994 h 18761"/>
                  <a:gd name="connsiteX3" fmla="*/ -1415 w 833920"/>
                  <a:gd name="connsiteY3" fmla="*/ -1767 h 18761"/>
                  <a:gd name="connsiteX4" fmla="*/ 832505 w 833920"/>
                  <a:gd name="connsiteY4" fmla="*/ -1767 h 18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3920" h="18761">
                    <a:moveTo>
                      <a:pt x="832505" y="-1767"/>
                    </a:moveTo>
                    <a:lnTo>
                      <a:pt x="832505" y="16994"/>
                    </a:lnTo>
                    <a:lnTo>
                      <a:pt x="-1415" y="16994"/>
                    </a:lnTo>
                    <a:lnTo>
                      <a:pt x="-1415" y="-1767"/>
                    </a:lnTo>
                    <a:lnTo>
                      <a:pt x="832505" y="-1767"/>
                    </a:lnTo>
                  </a:path>
                </a:pathLst>
              </a:custGeom>
              <a:solidFill>
                <a:srgbClr val="DDE1E4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8" name="Vrije vorm 167">
                <a:extLst>
                  <a:ext uri="{FF2B5EF4-FFF2-40B4-BE49-F238E27FC236}">
                    <a16:creationId xmlns:a16="http://schemas.microsoft.com/office/drawing/2014/main" id="{0EC4D50C-E3B6-9DEA-26DE-05278E75A862}"/>
                  </a:ext>
                </a:extLst>
              </p:cNvPr>
              <p:cNvSpPr/>
              <p:nvPr/>
            </p:nvSpPr>
            <p:spPr>
              <a:xfrm flipV="1">
                <a:off x="5618673" y="5749657"/>
                <a:ext cx="23216" cy="142461"/>
              </a:xfrm>
              <a:custGeom>
                <a:avLst/>
                <a:gdLst>
                  <a:gd name="connsiteX0" fmla="*/ 21367 w 23216"/>
                  <a:gd name="connsiteY0" fmla="*/ -30 h 142461"/>
                  <a:gd name="connsiteX1" fmla="*/ -1850 w 23216"/>
                  <a:gd name="connsiteY1" fmla="*/ -30 h 142461"/>
                  <a:gd name="connsiteX2" fmla="*/ -1850 w 23216"/>
                  <a:gd name="connsiteY2" fmla="*/ 142432 h 142461"/>
                  <a:gd name="connsiteX3" fmla="*/ 21367 w 23216"/>
                  <a:gd name="connsiteY3" fmla="*/ 142432 h 142461"/>
                  <a:gd name="connsiteX4" fmla="*/ 21367 w 23216"/>
                  <a:gd name="connsiteY4" fmla="*/ -30 h 142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216" h="142461">
                    <a:moveTo>
                      <a:pt x="21367" y="-30"/>
                    </a:moveTo>
                    <a:lnTo>
                      <a:pt x="-1850" y="-30"/>
                    </a:lnTo>
                    <a:lnTo>
                      <a:pt x="-1850" y="142432"/>
                    </a:lnTo>
                    <a:lnTo>
                      <a:pt x="21367" y="142432"/>
                    </a:lnTo>
                    <a:lnTo>
                      <a:pt x="21367" y="-30"/>
                    </a:lnTo>
                  </a:path>
                </a:pathLst>
              </a:custGeom>
              <a:solidFill>
                <a:srgbClr val="692B1C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9" name="Vrije vorm 168">
                <a:extLst>
                  <a:ext uri="{FF2B5EF4-FFF2-40B4-BE49-F238E27FC236}">
                    <a16:creationId xmlns:a16="http://schemas.microsoft.com/office/drawing/2014/main" id="{977A5FAF-6EB1-A72C-420F-D550C5B89DDA}"/>
                  </a:ext>
                </a:extLst>
              </p:cNvPr>
              <p:cNvSpPr/>
              <p:nvPr/>
            </p:nvSpPr>
            <p:spPr>
              <a:xfrm flipV="1">
                <a:off x="5585987" y="5382941"/>
                <a:ext cx="88601" cy="412111"/>
              </a:xfrm>
              <a:custGeom>
                <a:avLst/>
                <a:gdLst>
                  <a:gd name="connsiteX0" fmla="*/ 86752 w 88601"/>
                  <a:gd name="connsiteY0" fmla="*/ 205821 h 412111"/>
                  <a:gd name="connsiteX1" fmla="*/ 42451 w 88601"/>
                  <a:gd name="connsiteY1" fmla="*/ -237 h 412111"/>
                  <a:gd name="connsiteX2" fmla="*/ -1850 w 88601"/>
                  <a:gd name="connsiteY2" fmla="*/ 205821 h 412111"/>
                  <a:gd name="connsiteX3" fmla="*/ 42451 w 88601"/>
                  <a:gd name="connsiteY3" fmla="*/ 411874 h 412111"/>
                  <a:gd name="connsiteX4" fmla="*/ 86752 w 88601"/>
                  <a:gd name="connsiteY4" fmla="*/ 205821 h 412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601" h="412111">
                    <a:moveTo>
                      <a:pt x="86752" y="205821"/>
                    </a:moveTo>
                    <a:cubicBezTo>
                      <a:pt x="86752" y="92010"/>
                      <a:pt x="66911" y="-237"/>
                      <a:pt x="42451" y="-237"/>
                    </a:cubicBezTo>
                    <a:cubicBezTo>
                      <a:pt x="17978" y="-237"/>
                      <a:pt x="-1850" y="92010"/>
                      <a:pt x="-1850" y="205821"/>
                    </a:cubicBezTo>
                    <a:cubicBezTo>
                      <a:pt x="-1850" y="319618"/>
                      <a:pt x="17978" y="411874"/>
                      <a:pt x="42451" y="411874"/>
                    </a:cubicBezTo>
                    <a:cubicBezTo>
                      <a:pt x="66911" y="411874"/>
                      <a:pt x="86752" y="319618"/>
                      <a:pt x="86752" y="205821"/>
                    </a:cubicBezTo>
                  </a:path>
                </a:pathLst>
              </a:custGeom>
              <a:solidFill>
                <a:srgbClr val="2A863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0" name="Vrije vorm 169">
                <a:extLst>
                  <a:ext uri="{FF2B5EF4-FFF2-40B4-BE49-F238E27FC236}">
                    <a16:creationId xmlns:a16="http://schemas.microsoft.com/office/drawing/2014/main" id="{35F01A5A-69BF-E365-9F1F-22D20E3F1B86}"/>
                  </a:ext>
                </a:extLst>
              </p:cNvPr>
              <p:cNvSpPr/>
              <p:nvPr/>
            </p:nvSpPr>
            <p:spPr>
              <a:xfrm flipV="1">
                <a:off x="5472989" y="5749657"/>
                <a:ext cx="23216" cy="142461"/>
              </a:xfrm>
              <a:custGeom>
                <a:avLst/>
                <a:gdLst>
                  <a:gd name="connsiteX0" fmla="*/ 21466 w 23216"/>
                  <a:gd name="connsiteY0" fmla="*/ -30 h 142461"/>
                  <a:gd name="connsiteX1" fmla="*/ -1750 w 23216"/>
                  <a:gd name="connsiteY1" fmla="*/ -30 h 142461"/>
                  <a:gd name="connsiteX2" fmla="*/ -1750 w 23216"/>
                  <a:gd name="connsiteY2" fmla="*/ 142432 h 142461"/>
                  <a:gd name="connsiteX3" fmla="*/ 21466 w 23216"/>
                  <a:gd name="connsiteY3" fmla="*/ 142432 h 142461"/>
                  <a:gd name="connsiteX4" fmla="*/ 21466 w 23216"/>
                  <a:gd name="connsiteY4" fmla="*/ -30 h 142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216" h="142461">
                    <a:moveTo>
                      <a:pt x="21466" y="-30"/>
                    </a:moveTo>
                    <a:lnTo>
                      <a:pt x="-1750" y="-30"/>
                    </a:lnTo>
                    <a:lnTo>
                      <a:pt x="-1750" y="142432"/>
                    </a:lnTo>
                    <a:lnTo>
                      <a:pt x="21466" y="142432"/>
                    </a:lnTo>
                    <a:lnTo>
                      <a:pt x="21466" y="-30"/>
                    </a:lnTo>
                  </a:path>
                </a:pathLst>
              </a:custGeom>
              <a:solidFill>
                <a:srgbClr val="692B1C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1" name="Vrije vorm 170">
                <a:extLst>
                  <a:ext uri="{FF2B5EF4-FFF2-40B4-BE49-F238E27FC236}">
                    <a16:creationId xmlns:a16="http://schemas.microsoft.com/office/drawing/2014/main" id="{7BFDA740-6B4E-7816-BEE2-3A352F78ABB7}"/>
                  </a:ext>
                </a:extLst>
              </p:cNvPr>
              <p:cNvSpPr/>
              <p:nvPr/>
            </p:nvSpPr>
            <p:spPr>
              <a:xfrm flipV="1">
                <a:off x="5440302" y="5382941"/>
                <a:ext cx="88601" cy="412111"/>
              </a:xfrm>
              <a:custGeom>
                <a:avLst/>
                <a:gdLst>
                  <a:gd name="connsiteX0" fmla="*/ 86851 w 88601"/>
                  <a:gd name="connsiteY0" fmla="*/ 205821 h 412111"/>
                  <a:gd name="connsiteX1" fmla="*/ 42538 w 88601"/>
                  <a:gd name="connsiteY1" fmla="*/ -237 h 412111"/>
                  <a:gd name="connsiteX2" fmla="*/ -1750 w 88601"/>
                  <a:gd name="connsiteY2" fmla="*/ 205821 h 412111"/>
                  <a:gd name="connsiteX3" fmla="*/ 42538 w 88601"/>
                  <a:gd name="connsiteY3" fmla="*/ 411874 h 412111"/>
                  <a:gd name="connsiteX4" fmla="*/ 86851 w 88601"/>
                  <a:gd name="connsiteY4" fmla="*/ 205821 h 412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601" h="412111">
                    <a:moveTo>
                      <a:pt x="86851" y="205821"/>
                    </a:moveTo>
                    <a:cubicBezTo>
                      <a:pt x="86851" y="92010"/>
                      <a:pt x="67011" y="-237"/>
                      <a:pt x="42538" y="-237"/>
                    </a:cubicBezTo>
                    <a:cubicBezTo>
                      <a:pt x="18077" y="-237"/>
                      <a:pt x="-1750" y="92010"/>
                      <a:pt x="-1750" y="205821"/>
                    </a:cubicBezTo>
                    <a:cubicBezTo>
                      <a:pt x="-1750" y="319618"/>
                      <a:pt x="18077" y="411874"/>
                      <a:pt x="42538" y="411874"/>
                    </a:cubicBezTo>
                    <a:cubicBezTo>
                      <a:pt x="67011" y="411874"/>
                      <a:pt x="86851" y="319618"/>
                      <a:pt x="86851" y="205821"/>
                    </a:cubicBezTo>
                  </a:path>
                </a:pathLst>
              </a:custGeom>
              <a:solidFill>
                <a:srgbClr val="2A863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2" name="Vrije vorm 171">
                <a:extLst>
                  <a:ext uri="{FF2B5EF4-FFF2-40B4-BE49-F238E27FC236}">
                    <a16:creationId xmlns:a16="http://schemas.microsoft.com/office/drawing/2014/main" id="{747C19F4-A463-3A36-6EC0-41E8F038FA11}"/>
                  </a:ext>
                </a:extLst>
              </p:cNvPr>
              <p:cNvSpPr/>
              <p:nvPr/>
            </p:nvSpPr>
            <p:spPr>
              <a:xfrm flipV="1">
                <a:off x="3758511" y="5749657"/>
                <a:ext cx="23210" cy="142461"/>
              </a:xfrm>
              <a:custGeom>
                <a:avLst/>
                <a:gdLst>
                  <a:gd name="connsiteX0" fmla="*/ 22631 w 23210"/>
                  <a:gd name="connsiteY0" fmla="*/ -30 h 142461"/>
                  <a:gd name="connsiteX1" fmla="*/ -580 w 23210"/>
                  <a:gd name="connsiteY1" fmla="*/ -30 h 142461"/>
                  <a:gd name="connsiteX2" fmla="*/ -580 w 23210"/>
                  <a:gd name="connsiteY2" fmla="*/ 142432 h 142461"/>
                  <a:gd name="connsiteX3" fmla="*/ 22631 w 23210"/>
                  <a:gd name="connsiteY3" fmla="*/ 142432 h 142461"/>
                  <a:gd name="connsiteX4" fmla="*/ 22631 w 23210"/>
                  <a:gd name="connsiteY4" fmla="*/ -30 h 142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210" h="142461">
                    <a:moveTo>
                      <a:pt x="22631" y="-30"/>
                    </a:moveTo>
                    <a:lnTo>
                      <a:pt x="-580" y="-30"/>
                    </a:lnTo>
                    <a:lnTo>
                      <a:pt x="-580" y="142432"/>
                    </a:lnTo>
                    <a:lnTo>
                      <a:pt x="22631" y="142432"/>
                    </a:lnTo>
                    <a:lnTo>
                      <a:pt x="22631" y="-30"/>
                    </a:lnTo>
                  </a:path>
                </a:pathLst>
              </a:custGeom>
              <a:solidFill>
                <a:srgbClr val="692B1C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3" name="Vrije vorm 172">
                <a:extLst>
                  <a:ext uri="{FF2B5EF4-FFF2-40B4-BE49-F238E27FC236}">
                    <a16:creationId xmlns:a16="http://schemas.microsoft.com/office/drawing/2014/main" id="{024D58EC-ACF7-25F5-419C-19C85386B03F}"/>
                  </a:ext>
                </a:extLst>
              </p:cNvPr>
              <p:cNvSpPr/>
              <p:nvPr/>
            </p:nvSpPr>
            <p:spPr>
              <a:xfrm flipV="1">
                <a:off x="3725814" y="5382941"/>
                <a:ext cx="88602" cy="412111"/>
              </a:xfrm>
              <a:custGeom>
                <a:avLst/>
                <a:gdLst>
                  <a:gd name="connsiteX0" fmla="*/ 88023 w 88602"/>
                  <a:gd name="connsiteY0" fmla="*/ 205821 h 412111"/>
                  <a:gd name="connsiteX1" fmla="*/ 43720 w 88602"/>
                  <a:gd name="connsiteY1" fmla="*/ -237 h 412111"/>
                  <a:gd name="connsiteX2" fmla="*/ -580 w 88602"/>
                  <a:gd name="connsiteY2" fmla="*/ 205821 h 412111"/>
                  <a:gd name="connsiteX3" fmla="*/ 43720 w 88602"/>
                  <a:gd name="connsiteY3" fmla="*/ 411874 h 412111"/>
                  <a:gd name="connsiteX4" fmla="*/ 88023 w 88602"/>
                  <a:gd name="connsiteY4" fmla="*/ 205821 h 412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602" h="412111">
                    <a:moveTo>
                      <a:pt x="88023" y="205821"/>
                    </a:moveTo>
                    <a:cubicBezTo>
                      <a:pt x="88023" y="92010"/>
                      <a:pt x="68189" y="-237"/>
                      <a:pt x="43720" y="-237"/>
                    </a:cubicBezTo>
                    <a:cubicBezTo>
                      <a:pt x="19254" y="-237"/>
                      <a:pt x="-580" y="92010"/>
                      <a:pt x="-580" y="205821"/>
                    </a:cubicBezTo>
                    <a:cubicBezTo>
                      <a:pt x="-580" y="319618"/>
                      <a:pt x="19254" y="411874"/>
                      <a:pt x="43720" y="411874"/>
                    </a:cubicBezTo>
                    <a:cubicBezTo>
                      <a:pt x="68189" y="411874"/>
                      <a:pt x="88023" y="319618"/>
                      <a:pt x="88023" y="205821"/>
                    </a:cubicBezTo>
                  </a:path>
                </a:pathLst>
              </a:custGeom>
              <a:solidFill>
                <a:srgbClr val="2A863B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4" name="Vrije vorm 173">
                <a:extLst>
                  <a:ext uri="{FF2B5EF4-FFF2-40B4-BE49-F238E27FC236}">
                    <a16:creationId xmlns:a16="http://schemas.microsoft.com/office/drawing/2014/main" id="{7E20555B-6A86-1A0F-4388-5289152B5F69}"/>
                  </a:ext>
                </a:extLst>
              </p:cNvPr>
              <p:cNvSpPr/>
              <p:nvPr/>
            </p:nvSpPr>
            <p:spPr>
              <a:xfrm flipV="1">
                <a:off x="3382225" y="5892119"/>
                <a:ext cx="2664248" cy="78268"/>
              </a:xfrm>
              <a:custGeom>
                <a:avLst/>
                <a:gdLst>
                  <a:gd name="connsiteX0" fmla="*/ 37902 w 2664248"/>
                  <a:gd name="connsiteY0" fmla="*/ 69 h 78268"/>
                  <a:gd name="connsiteX1" fmla="*/ 2623890 w 2664248"/>
                  <a:gd name="connsiteY1" fmla="*/ 69 h 78268"/>
                  <a:gd name="connsiteX2" fmla="*/ 2663025 w 2664248"/>
                  <a:gd name="connsiteY2" fmla="*/ 39201 h 78268"/>
                  <a:gd name="connsiteX3" fmla="*/ 2623890 w 2664248"/>
                  <a:gd name="connsiteY3" fmla="*/ 78338 h 78268"/>
                  <a:gd name="connsiteX4" fmla="*/ 37902 w 2664248"/>
                  <a:gd name="connsiteY4" fmla="*/ 78338 h 78268"/>
                  <a:gd name="connsiteX5" fmla="*/ -1224 w 2664248"/>
                  <a:gd name="connsiteY5" fmla="*/ 39201 h 78268"/>
                  <a:gd name="connsiteX6" fmla="*/ 37902 w 2664248"/>
                  <a:gd name="connsiteY6" fmla="*/ 69 h 78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64248" h="78268">
                    <a:moveTo>
                      <a:pt x="37902" y="69"/>
                    </a:moveTo>
                    <a:lnTo>
                      <a:pt x="2623890" y="69"/>
                    </a:lnTo>
                    <a:cubicBezTo>
                      <a:pt x="2645507" y="69"/>
                      <a:pt x="2663025" y="17597"/>
                      <a:pt x="2663025" y="39201"/>
                    </a:cubicBezTo>
                    <a:cubicBezTo>
                      <a:pt x="2663025" y="60810"/>
                      <a:pt x="2645507" y="78338"/>
                      <a:pt x="2623890" y="78338"/>
                    </a:cubicBezTo>
                    <a:lnTo>
                      <a:pt x="37902" y="78338"/>
                    </a:lnTo>
                    <a:cubicBezTo>
                      <a:pt x="16293" y="78338"/>
                      <a:pt x="-1224" y="60810"/>
                      <a:pt x="-1224" y="39201"/>
                    </a:cubicBezTo>
                    <a:cubicBezTo>
                      <a:pt x="-1224" y="17597"/>
                      <a:pt x="16293" y="69"/>
                      <a:pt x="37902" y="69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5" name="Vrije vorm 174">
                <a:extLst>
                  <a:ext uri="{FF2B5EF4-FFF2-40B4-BE49-F238E27FC236}">
                    <a16:creationId xmlns:a16="http://schemas.microsoft.com/office/drawing/2014/main" id="{265AA6D4-ED96-8872-7343-54DEC536484E}"/>
                  </a:ext>
                </a:extLst>
              </p:cNvPr>
              <p:cNvSpPr/>
              <p:nvPr/>
            </p:nvSpPr>
            <p:spPr>
              <a:xfrm flipV="1">
                <a:off x="3891918" y="5820970"/>
                <a:ext cx="142301" cy="71148"/>
              </a:xfrm>
              <a:custGeom>
                <a:avLst/>
                <a:gdLst>
                  <a:gd name="connsiteX0" fmla="*/ 70441 w 142301"/>
                  <a:gd name="connsiteY0" fmla="*/ 71151 h 71148"/>
                  <a:gd name="connsiteX1" fmla="*/ 141590 w 142301"/>
                  <a:gd name="connsiteY1" fmla="*/ 2 h 71148"/>
                  <a:gd name="connsiteX2" fmla="*/ -711 w 142301"/>
                  <a:gd name="connsiteY2" fmla="*/ 2 h 71148"/>
                  <a:gd name="connsiteX3" fmla="*/ 70441 w 142301"/>
                  <a:gd name="connsiteY3" fmla="*/ 71151 h 71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301" h="71148">
                    <a:moveTo>
                      <a:pt x="70441" y="71151"/>
                    </a:moveTo>
                    <a:cubicBezTo>
                      <a:pt x="109737" y="71151"/>
                      <a:pt x="141590" y="39303"/>
                      <a:pt x="141590" y="2"/>
                    </a:cubicBezTo>
                    <a:lnTo>
                      <a:pt x="-711" y="2"/>
                    </a:lnTo>
                    <a:cubicBezTo>
                      <a:pt x="-711" y="39303"/>
                      <a:pt x="31146" y="71151"/>
                      <a:pt x="70441" y="71151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6" name="Vrije vorm 175">
                <a:extLst>
                  <a:ext uri="{FF2B5EF4-FFF2-40B4-BE49-F238E27FC236}">
                    <a16:creationId xmlns:a16="http://schemas.microsoft.com/office/drawing/2014/main" id="{BB20F69B-4517-8162-7068-79F0278D77A9}"/>
                  </a:ext>
                </a:extLst>
              </p:cNvPr>
              <p:cNvSpPr/>
              <p:nvPr/>
            </p:nvSpPr>
            <p:spPr>
              <a:xfrm flipV="1">
                <a:off x="3826664" y="5852198"/>
                <a:ext cx="79841" cy="39921"/>
              </a:xfrm>
              <a:custGeom>
                <a:avLst/>
                <a:gdLst>
                  <a:gd name="connsiteX0" fmla="*/ 39281 w 79841"/>
                  <a:gd name="connsiteY0" fmla="*/ 39938 h 39921"/>
                  <a:gd name="connsiteX1" fmla="*/ 79196 w 79841"/>
                  <a:gd name="connsiteY1" fmla="*/ 16 h 39921"/>
                  <a:gd name="connsiteX2" fmla="*/ -646 w 79841"/>
                  <a:gd name="connsiteY2" fmla="*/ 16 h 39921"/>
                  <a:gd name="connsiteX3" fmla="*/ 39281 w 79841"/>
                  <a:gd name="connsiteY3" fmla="*/ 39938 h 39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841" h="39921">
                    <a:moveTo>
                      <a:pt x="39281" y="39938"/>
                    </a:moveTo>
                    <a:cubicBezTo>
                      <a:pt x="61326" y="39938"/>
                      <a:pt x="79196" y="22052"/>
                      <a:pt x="79196" y="16"/>
                    </a:cubicBezTo>
                    <a:lnTo>
                      <a:pt x="-646" y="16"/>
                    </a:lnTo>
                    <a:cubicBezTo>
                      <a:pt x="-646" y="22052"/>
                      <a:pt x="17231" y="39938"/>
                      <a:pt x="39281" y="39938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7" name="Vrije vorm 176">
                <a:extLst>
                  <a:ext uri="{FF2B5EF4-FFF2-40B4-BE49-F238E27FC236}">
                    <a16:creationId xmlns:a16="http://schemas.microsoft.com/office/drawing/2014/main" id="{5E2B9EC2-50C5-3741-72B5-46CFBD6942AC}"/>
                  </a:ext>
                </a:extLst>
              </p:cNvPr>
              <p:cNvSpPr/>
              <p:nvPr/>
            </p:nvSpPr>
            <p:spPr>
              <a:xfrm flipV="1">
                <a:off x="3770114" y="5872166"/>
                <a:ext cx="39925" cy="19953"/>
              </a:xfrm>
              <a:custGeom>
                <a:avLst/>
                <a:gdLst>
                  <a:gd name="connsiteX0" fmla="*/ 19369 w 39925"/>
                  <a:gd name="connsiteY0" fmla="*/ 19978 h 19953"/>
                  <a:gd name="connsiteX1" fmla="*/ 39332 w 39925"/>
                  <a:gd name="connsiteY1" fmla="*/ 25 h 19953"/>
                  <a:gd name="connsiteX2" fmla="*/ -593 w 39925"/>
                  <a:gd name="connsiteY2" fmla="*/ 25 h 19953"/>
                  <a:gd name="connsiteX3" fmla="*/ 19369 w 39925"/>
                  <a:gd name="connsiteY3" fmla="*/ 19978 h 19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925" h="19953">
                    <a:moveTo>
                      <a:pt x="19369" y="19978"/>
                    </a:moveTo>
                    <a:cubicBezTo>
                      <a:pt x="30392" y="19978"/>
                      <a:pt x="39332" y="11043"/>
                      <a:pt x="39332" y="25"/>
                    </a:cubicBezTo>
                    <a:lnTo>
                      <a:pt x="-593" y="25"/>
                    </a:lnTo>
                    <a:cubicBezTo>
                      <a:pt x="-593" y="11043"/>
                      <a:pt x="8347" y="19978"/>
                      <a:pt x="19369" y="19978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8" name="Vrije vorm 177">
                <a:extLst>
                  <a:ext uri="{FF2B5EF4-FFF2-40B4-BE49-F238E27FC236}">
                    <a16:creationId xmlns:a16="http://schemas.microsoft.com/office/drawing/2014/main" id="{16839421-DD91-B7D4-E5E1-79297BBBF527}"/>
                  </a:ext>
                </a:extLst>
              </p:cNvPr>
              <p:cNvSpPr/>
              <p:nvPr/>
            </p:nvSpPr>
            <p:spPr>
              <a:xfrm flipV="1">
                <a:off x="3685860" y="5854950"/>
                <a:ext cx="74331" cy="37169"/>
              </a:xfrm>
              <a:custGeom>
                <a:avLst/>
                <a:gdLst>
                  <a:gd name="connsiteX0" fmla="*/ 36621 w 74331"/>
                  <a:gd name="connsiteY0" fmla="*/ 37187 h 37169"/>
                  <a:gd name="connsiteX1" fmla="*/ 73784 w 74331"/>
                  <a:gd name="connsiteY1" fmla="*/ 17 h 37169"/>
                  <a:gd name="connsiteX2" fmla="*/ -548 w 74331"/>
                  <a:gd name="connsiteY2" fmla="*/ 17 h 37169"/>
                  <a:gd name="connsiteX3" fmla="*/ 36621 w 74331"/>
                  <a:gd name="connsiteY3" fmla="*/ 37187 h 37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331" h="37169">
                    <a:moveTo>
                      <a:pt x="36621" y="37187"/>
                    </a:moveTo>
                    <a:cubicBezTo>
                      <a:pt x="57149" y="37187"/>
                      <a:pt x="73784" y="20545"/>
                      <a:pt x="73784" y="17"/>
                    </a:cubicBezTo>
                    <a:lnTo>
                      <a:pt x="-548" y="17"/>
                    </a:lnTo>
                    <a:cubicBezTo>
                      <a:pt x="-548" y="20545"/>
                      <a:pt x="16092" y="37187"/>
                      <a:pt x="36621" y="37187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9" name="Vrije vorm 178">
                <a:extLst>
                  <a:ext uri="{FF2B5EF4-FFF2-40B4-BE49-F238E27FC236}">
                    <a16:creationId xmlns:a16="http://schemas.microsoft.com/office/drawing/2014/main" id="{7C906F19-879B-750C-7F81-EBA74F882AF9}"/>
                  </a:ext>
                </a:extLst>
              </p:cNvPr>
              <p:cNvSpPr/>
              <p:nvPr/>
            </p:nvSpPr>
            <p:spPr>
              <a:xfrm flipV="1">
                <a:off x="5735023" y="5848846"/>
                <a:ext cx="85478" cy="47268"/>
              </a:xfrm>
              <a:custGeom>
                <a:avLst/>
                <a:gdLst>
                  <a:gd name="connsiteX0" fmla="*/ 40789 w 85478"/>
                  <a:gd name="connsiteY0" fmla="*/ 47285 h 47268"/>
                  <a:gd name="connsiteX1" fmla="*/ 83528 w 85478"/>
                  <a:gd name="connsiteY1" fmla="*/ 16 h 47268"/>
                  <a:gd name="connsiteX2" fmla="*/ -1950 w 85478"/>
                  <a:gd name="connsiteY2" fmla="*/ 16 h 47268"/>
                  <a:gd name="connsiteX3" fmla="*/ 40789 w 85478"/>
                  <a:gd name="connsiteY3" fmla="*/ 47285 h 4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478" h="47268">
                    <a:moveTo>
                      <a:pt x="40789" y="47285"/>
                    </a:moveTo>
                    <a:cubicBezTo>
                      <a:pt x="64399" y="47285"/>
                      <a:pt x="83528" y="26127"/>
                      <a:pt x="83528" y="16"/>
                    </a:cubicBezTo>
                    <a:lnTo>
                      <a:pt x="-1950" y="16"/>
                    </a:lnTo>
                    <a:cubicBezTo>
                      <a:pt x="-1950" y="26127"/>
                      <a:pt x="17179" y="47285"/>
                      <a:pt x="40789" y="47285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0" name="Vrije vorm 179">
                <a:extLst>
                  <a:ext uri="{FF2B5EF4-FFF2-40B4-BE49-F238E27FC236}">
                    <a16:creationId xmlns:a16="http://schemas.microsoft.com/office/drawing/2014/main" id="{D628B477-BBE3-B918-9DF6-A518E0C61A92}"/>
                  </a:ext>
                </a:extLst>
              </p:cNvPr>
              <p:cNvSpPr/>
              <p:nvPr/>
            </p:nvSpPr>
            <p:spPr>
              <a:xfrm flipV="1">
                <a:off x="5697133" y="5867848"/>
                <a:ext cx="56537" cy="28267"/>
              </a:xfrm>
              <a:custGeom>
                <a:avLst/>
                <a:gdLst>
                  <a:gd name="connsiteX0" fmla="*/ 26354 w 56537"/>
                  <a:gd name="connsiteY0" fmla="*/ 28292 h 28267"/>
                  <a:gd name="connsiteX1" fmla="*/ 54623 w 56537"/>
                  <a:gd name="connsiteY1" fmla="*/ 25 h 28267"/>
                  <a:gd name="connsiteX2" fmla="*/ -1915 w 56537"/>
                  <a:gd name="connsiteY2" fmla="*/ 25 h 28267"/>
                  <a:gd name="connsiteX3" fmla="*/ 26354 w 56537"/>
                  <a:gd name="connsiteY3" fmla="*/ 28292 h 28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537" h="28267">
                    <a:moveTo>
                      <a:pt x="26354" y="28292"/>
                    </a:moveTo>
                    <a:cubicBezTo>
                      <a:pt x="41967" y="28292"/>
                      <a:pt x="54623" y="15634"/>
                      <a:pt x="54623" y="25"/>
                    </a:cubicBezTo>
                    <a:lnTo>
                      <a:pt x="-1915" y="25"/>
                    </a:lnTo>
                    <a:cubicBezTo>
                      <a:pt x="-1915" y="15634"/>
                      <a:pt x="10741" y="28292"/>
                      <a:pt x="26354" y="28292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1" name="Vrije vorm 180">
                <a:extLst>
                  <a:ext uri="{FF2B5EF4-FFF2-40B4-BE49-F238E27FC236}">
                    <a16:creationId xmlns:a16="http://schemas.microsoft.com/office/drawing/2014/main" id="{1E7D34AE-EACB-586F-F157-238442198DBF}"/>
                  </a:ext>
                </a:extLst>
              </p:cNvPr>
              <p:cNvSpPr/>
              <p:nvPr/>
            </p:nvSpPr>
            <p:spPr>
              <a:xfrm flipV="1">
                <a:off x="5630288" y="5843476"/>
                <a:ext cx="73191" cy="52639"/>
              </a:xfrm>
              <a:custGeom>
                <a:avLst/>
                <a:gdLst>
                  <a:gd name="connsiteX0" fmla="*/ 34721 w 73191"/>
                  <a:gd name="connsiteY0" fmla="*/ 52653 h 52639"/>
                  <a:gd name="connsiteX1" fmla="*/ 71317 w 73191"/>
                  <a:gd name="connsiteY1" fmla="*/ 14 h 52639"/>
                  <a:gd name="connsiteX2" fmla="*/ -1875 w 73191"/>
                  <a:gd name="connsiteY2" fmla="*/ 14 h 52639"/>
                  <a:gd name="connsiteX3" fmla="*/ 34721 w 73191"/>
                  <a:gd name="connsiteY3" fmla="*/ 52653 h 52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191" h="52639">
                    <a:moveTo>
                      <a:pt x="34721" y="52653"/>
                    </a:moveTo>
                    <a:cubicBezTo>
                      <a:pt x="54929" y="52653"/>
                      <a:pt x="71317" y="29095"/>
                      <a:pt x="71317" y="14"/>
                    </a:cubicBezTo>
                    <a:lnTo>
                      <a:pt x="-1875" y="14"/>
                    </a:lnTo>
                    <a:cubicBezTo>
                      <a:pt x="-1875" y="29095"/>
                      <a:pt x="14513" y="52653"/>
                      <a:pt x="34721" y="52653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2" name="Vrije vorm 181">
                <a:extLst>
                  <a:ext uri="{FF2B5EF4-FFF2-40B4-BE49-F238E27FC236}">
                    <a16:creationId xmlns:a16="http://schemas.microsoft.com/office/drawing/2014/main" id="{420934CB-6057-2AF1-5356-F7591E17113F}"/>
                  </a:ext>
                </a:extLst>
              </p:cNvPr>
              <p:cNvSpPr/>
              <p:nvPr/>
            </p:nvSpPr>
            <p:spPr>
              <a:xfrm flipV="1">
                <a:off x="5244719" y="5820970"/>
                <a:ext cx="142485" cy="71237"/>
              </a:xfrm>
              <a:custGeom>
                <a:avLst/>
                <a:gdLst>
                  <a:gd name="connsiteX0" fmla="*/ 69601 w 142485"/>
                  <a:gd name="connsiteY0" fmla="*/ 71240 h 71237"/>
                  <a:gd name="connsiteX1" fmla="*/ -1635 w 142485"/>
                  <a:gd name="connsiteY1" fmla="*/ 2 h 71237"/>
                  <a:gd name="connsiteX2" fmla="*/ 140851 w 142485"/>
                  <a:gd name="connsiteY2" fmla="*/ 2 h 71237"/>
                  <a:gd name="connsiteX3" fmla="*/ 69601 w 142485"/>
                  <a:gd name="connsiteY3" fmla="*/ 71240 h 7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485" h="71237">
                    <a:moveTo>
                      <a:pt x="69601" y="71240"/>
                    </a:moveTo>
                    <a:cubicBezTo>
                      <a:pt x="30264" y="71240"/>
                      <a:pt x="-1635" y="39352"/>
                      <a:pt x="-1635" y="2"/>
                    </a:cubicBezTo>
                    <a:lnTo>
                      <a:pt x="140851" y="2"/>
                    </a:lnTo>
                    <a:cubicBezTo>
                      <a:pt x="140851" y="39352"/>
                      <a:pt x="108952" y="71240"/>
                      <a:pt x="69601" y="71240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3" name="Vrije vorm 182">
                <a:extLst>
                  <a:ext uri="{FF2B5EF4-FFF2-40B4-BE49-F238E27FC236}">
                    <a16:creationId xmlns:a16="http://schemas.microsoft.com/office/drawing/2014/main" id="{B2A3120B-836C-8952-01A9-3519424CDA22}"/>
                  </a:ext>
                </a:extLst>
              </p:cNvPr>
              <p:cNvSpPr/>
              <p:nvPr/>
            </p:nvSpPr>
            <p:spPr>
              <a:xfrm flipV="1">
                <a:off x="5379056" y="5856591"/>
                <a:ext cx="71236" cy="35617"/>
              </a:xfrm>
              <a:custGeom>
                <a:avLst/>
                <a:gdLst>
                  <a:gd name="connsiteX0" fmla="*/ 33916 w 71236"/>
                  <a:gd name="connsiteY0" fmla="*/ 35635 h 35617"/>
                  <a:gd name="connsiteX1" fmla="*/ -1703 w 71236"/>
                  <a:gd name="connsiteY1" fmla="*/ 18 h 35617"/>
                  <a:gd name="connsiteX2" fmla="*/ 69534 w 71236"/>
                  <a:gd name="connsiteY2" fmla="*/ 18 h 35617"/>
                  <a:gd name="connsiteX3" fmla="*/ 33916 w 71236"/>
                  <a:gd name="connsiteY3" fmla="*/ 35635 h 35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236" h="35617">
                    <a:moveTo>
                      <a:pt x="33916" y="35635"/>
                    </a:moveTo>
                    <a:cubicBezTo>
                      <a:pt x="14241" y="35635"/>
                      <a:pt x="-1703" y="19693"/>
                      <a:pt x="-1703" y="18"/>
                    </a:cubicBezTo>
                    <a:lnTo>
                      <a:pt x="69534" y="18"/>
                    </a:lnTo>
                    <a:cubicBezTo>
                      <a:pt x="69534" y="19693"/>
                      <a:pt x="53578" y="35635"/>
                      <a:pt x="33916" y="35635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4" name="Vrije vorm 183">
                <a:extLst>
                  <a:ext uri="{FF2B5EF4-FFF2-40B4-BE49-F238E27FC236}">
                    <a16:creationId xmlns:a16="http://schemas.microsoft.com/office/drawing/2014/main" id="{AAC0F140-CE9B-CDFE-744A-1492CA467E08}"/>
                  </a:ext>
                </a:extLst>
              </p:cNvPr>
              <p:cNvSpPr/>
              <p:nvPr/>
            </p:nvSpPr>
            <p:spPr>
              <a:xfrm flipV="1">
                <a:off x="4284650" y="5833312"/>
                <a:ext cx="117796" cy="58895"/>
              </a:xfrm>
              <a:custGeom>
                <a:avLst/>
                <a:gdLst>
                  <a:gd name="connsiteX0" fmla="*/ 57927 w 117796"/>
                  <a:gd name="connsiteY0" fmla="*/ 58904 h 58895"/>
                  <a:gd name="connsiteX1" fmla="*/ 116825 w 117796"/>
                  <a:gd name="connsiteY1" fmla="*/ 8 h 58895"/>
                  <a:gd name="connsiteX2" fmla="*/ -971 w 117796"/>
                  <a:gd name="connsiteY2" fmla="*/ 8 h 58895"/>
                  <a:gd name="connsiteX3" fmla="*/ 57927 w 117796"/>
                  <a:gd name="connsiteY3" fmla="*/ 58904 h 58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7796" h="58895">
                    <a:moveTo>
                      <a:pt x="57927" y="58904"/>
                    </a:moveTo>
                    <a:cubicBezTo>
                      <a:pt x="90448" y="58904"/>
                      <a:pt x="116825" y="32540"/>
                      <a:pt x="116825" y="8"/>
                    </a:cubicBezTo>
                    <a:lnTo>
                      <a:pt x="-971" y="8"/>
                    </a:lnTo>
                    <a:cubicBezTo>
                      <a:pt x="-971" y="32540"/>
                      <a:pt x="25393" y="58904"/>
                      <a:pt x="57927" y="58904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5" name="Vrije vorm 184">
                <a:extLst>
                  <a:ext uri="{FF2B5EF4-FFF2-40B4-BE49-F238E27FC236}">
                    <a16:creationId xmlns:a16="http://schemas.microsoft.com/office/drawing/2014/main" id="{71693FC2-C2AC-5494-DBFF-0B3AA24ABF9C}"/>
                  </a:ext>
                </a:extLst>
              </p:cNvPr>
              <p:cNvSpPr/>
              <p:nvPr/>
            </p:nvSpPr>
            <p:spPr>
              <a:xfrm flipV="1">
                <a:off x="4232492" y="5862760"/>
                <a:ext cx="58885" cy="29447"/>
              </a:xfrm>
              <a:custGeom>
                <a:avLst/>
                <a:gdLst>
                  <a:gd name="connsiteX0" fmla="*/ 28534 w 58885"/>
                  <a:gd name="connsiteY0" fmla="*/ 29469 h 29447"/>
                  <a:gd name="connsiteX1" fmla="*/ 57970 w 58885"/>
                  <a:gd name="connsiteY1" fmla="*/ 21 h 29447"/>
                  <a:gd name="connsiteX2" fmla="*/ -916 w 58885"/>
                  <a:gd name="connsiteY2" fmla="*/ 21 h 29447"/>
                  <a:gd name="connsiteX3" fmla="*/ 28534 w 58885"/>
                  <a:gd name="connsiteY3" fmla="*/ 29469 h 29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885" h="29447">
                    <a:moveTo>
                      <a:pt x="28534" y="29469"/>
                    </a:moveTo>
                    <a:cubicBezTo>
                      <a:pt x="44794" y="29469"/>
                      <a:pt x="57970" y="16280"/>
                      <a:pt x="57970" y="21"/>
                    </a:cubicBezTo>
                    <a:lnTo>
                      <a:pt x="-916" y="21"/>
                    </a:lnTo>
                    <a:cubicBezTo>
                      <a:pt x="-916" y="16280"/>
                      <a:pt x="12260" y="29469"/>
                      <a:pt x="28534" y="29469"/>
                    </a:cubicBezTo>
                  </a:path>
                </a:pathLst>
              </a:custGeom>
              <a:solidFill>
                <a:srgbClr val="2F9E40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3" name="Vrije vorm 2">
              <a:extLst>
                <a:ext uri="{FF2B5EF4-FFF2-40B4-BE49-F238E27FC236}">
                  <a16:creationId xmlns:a16="http://schemas.microsoft.com/office/drawing/2014/main" id="{601BFAE8-2FAA-4BAA-AD58-7C95CFE67CDB}"/>
                </a:ext>
              </a:extLst>
            </p:cNvPr>
            <p:cNvSpPr/>
            <p:nvPr/>
          </p:nvSpPr>
          <p:spPr>
            <a:xfrm>
              <a:off x="0" y="5381239"/>
              <a:ext cx="12212782" cy="1476761"/>
            </a:xfrm>
            <a:custGeom>
              <a:avLst/>
              <a:gdLst>
                <a:gd name="connsiteX0" fmla="*/ 0 w 7772399"/>
                <a:gd name="connsiteY0" fmla="*/ 585733 h 585733"/>
                <a:gd name="connsiteX1" fmla="*/ 7772400 w 7772399"/>
                <a:gd name="connsiteY1" fmla="*/ 585733 h 585733"/>
                <a:gd name="connsiteX2" fmla="*/ 7772400 w 7772399"/>
                <a:gd name="connsiteY2" fmla="*/ 25876 h 585733"/>
                <a:gd name="connsiteX3" fmla="*/ 6157795 w 7772399"/>
                <a:gd name="connsiteY3" fmla="*/ 25876 h 585733"/>
                <a:gd name="connsiteX4" fmla="*/ 6129315 w 7772399"/>
                <a:gd name="connsiteY4" fmla="*/ 0 h 585733"/>
                <a:gd name="connsiteX5" fmla="*/ 1947070 w 7772399"/>
                <a:gd name="connsiteY5" fmla="*/ 0 h 585733"/>
                <a:gd name="connsiteX6" fmla="*/ 1918628 w 7772399"/>
                <a:gd name="connsiteY6" fmla="*/ 25876 h 585733"/>
                <a:gd name="connsiteX7" fmla="*/ 0 w 7772399"/>
                <a:gd name="connsiteY7" fmla="*/ 25876 h 585733"/>
                <a:gd name="connsiteX8" fmla="*/ 0 w 7772399"/>
                <a:gd name="connsiteY8" fmla="*/ 585733 h 585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72399" h="585733">
                  <a:moveTo>
                    <a:pt x="0" y="585733"/>
                  </a:moveTo>
                  <a:lnTo>
                    <a:pt x="7772400" y="585733"/>
                  </a:lnTo>
                  <a:lnTo>
                    <a:pt x="7772400" y="25876"/>
                  </a:lnTo>
                  <a:lnTo>
                    <a:pt x="6157795" y="25876"/>
                  </a:lnTo>
                  <a:cubicBezTo>
                    <a:pt x="6142972" y="25876"/>
                    <a:pt x="6130703" y="14468"/>
                    <a:pt x="6129315" y="0"/>
                  </a:cubicBezTo>
                  <a:lnTo>
                    <a:pt x="1947070" y="0"/>
                  </a:lnTo>
                  <a:cubicBezTo>
                    <a:pt x="1945704" y="14468"/>
                    <a:pt x="1933435" y="25876"/>
                    <a:pt x="1918628" y="25876"/>
                  </a:cubicBezTo>
                  <a:lnTo>
                    <a:pt x="0" y="25876"/>
                  </a:lnTo>
                  <a:lnTo>
                    <a:pt x="0" y="585733"/>
                  </a:lnTo>
                  <a:close/>
                </a:path>
              </a:pathLst>
            </a:custGeom>
            <a:solidFill>
              <a:srgbClr val="3B3B3B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" name="Vrije vorm 3">
              <a:extLst>
                <a:ext uri="{FF2B5EF4-FFF2-40B4-BE49-F238E27FC236}">
                  <a16:creationId xmlns:a16="http://schemas.microsoft.com/office/drawing/2014/main" id="{C04CF0C6-0E2A-C137-92EC-B62E467464FD}"/>
                </a:ext>
              </a:extLst>
            </p:cNvPr>
            <p:cNvSpPr/>
            <p:nvPr/>
          </p:nvSpPr>
          <p:spPr>
            <a:xfrm>
              <a:off x="0" y="5302378"/>
              <a:ext cx="3059641" cy="144085"/>
            </a:xfrm>
            <a:custGeom>
              <a:avLst/>
              <a:gdLst>
                <a:gd name="connsiteX0" fmla="*/ 0 w 1947202"/>
                <a:gd name="connsiteY0" fmla="*/ 0 h 57149"/>
                <a:gd name="connsiteX1" fmla="*/ 1918628 w 1947202"/>
                <a:gd name="connsiteY1" fmla="*/ 0 h 57149"/>
                <a:gd name="connsiteX2" fmla="*/ 1947203 w 1947202"/>
                <a:gd name="connsiteY2" fmla="*/ 28575 h 57149"/>
                <a:gd name="connsiteX3" fmla="*/ 1947203 w 1947202"/>
                <a:gd name="connsiteY3" fmla="*/ 28575 h 57149"/>
                <a:gd name="connsiteX4" fmla="*/ 1918628 w 1947202"/>
                <a:gd name="connsiteY4" fmla="*/ 57149 h 57149"/>
                <a:gd name="connsiteX5" fmla="*/ 0 w 1947202"/>
                <a:gd name="connsiteY5" fmla="*/ 57149 h 57149"/>
                <a:gd name="connsiteX6" fmla="*/ 0 w 1947202"/>
                <a:gd name="connsiteY6" fmla="*/ 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7202" h="57149">
                  <a:moveTo>
                    <a:pt x="0" y="0"/>
                  </a:moveTo>
                  <a:lnTo>
                    <a:pt x="1918628" y="0"/>
                  </a:lnTo>
                  <a:cubicBezTo>
                    <a:pt x="1934339" y="0"/>
                    <a:pt x="1947203" y="12852"/>
                    <a:pt x="1947203" y="28575"/>
                  </a:cubicBezTo>
                  <a:lnTo>
                    <a:pt x="1947203" y="28575"/>
                  </a:lnTo>
                  <a:cubicBezTo>
                    <a:pt x="1947203" y="44297"/>
                    <a:pt x="1934339" y="57149"/>
                    <a:pt x="1918628" y="57149"/>
                  </a:cubicBezTo>
                  <a:lnTo>
                    <a:pt x="0" y="571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86344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" name="Vrije vorm 4">
              <a:extLst>
                <a:ext uri="{FF2B5EF4-FFF2-40B4-BE49-F238E27FC236}">
                  <a16:creationId xmlns:a16="http://schemas.microsoft.com/office/drawing/2014/main" id="{A1C6BA9E-BC14-953F-A23E-AE780B2B7101}"/>
                </a:ext>
              </a:extLst>
            </p:cNvPr>
            <p:cNvSpPr/>
            <p:nvPr/>
          </p:nvSpPr>
          <p:spPr>
            <a:xfrm>
              <a:off x="3219114" y="5302378"/>
              <a:ext cx="5527640" cy="130725"/>
            </a:xfrm>
            <a:custGeom>
              <a:avLst/>
              <a:gdLst>
                <a:gd name="connsiteX0" fmla="*/ 28575 w 3212194"/>
                <a:gd name="connsiteY0" fmla="*/ 0 h 57149"/>
                <a:gd name="connsiteX1" fmla="*/ 3183620 w 3212194"/>
                <a:gd name="connsiteY1" fmla="*/ 0 h 57149"/>
                <a:gd name="connsiteX2" fmla="*/ 3212194 w 3212194"/>
                <a:gd name="connsiteY2" fmla="*/ 28575 h 57149"/>
                <a:gd name="connsiteX3" fmla="*/ 3212194 w 3212194"/>
                <a:gd name="connsiteY3" fmla="*/ 28575 h 57149"/>
                <a:gd name="connsiteX4" fmla="*/ 3183620 w 3212194"/>
                <a:gd name="connsiteY4" fmla="*/ 57149 h 57149"/>
                <a:gd name="connsiteX5" fmla="*/ 28575 w 3212194"/>
                <a:gd name="connsiteY5" fmla="*/ 57149 h 57149"/>
                <a:gd name="connsiteX6" fmla="*/ 0 w 3212194"/>
                <a:gd name="connsiteY6" fmla="*/ 28575 h 57149"/>
                <a:gd name="connsiteX7" fmla="*/ 0 w 3212194"/>
                <a:gd name="connsiteY7" fmla="*/ 28575 h 57149"/>
                <a:gd name="connsiteX8" fmla="*/ 28575 w 3212194"/>
                <a:gd name="connsiteY8" fmla="*/ 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12194" h="57149">
                  <a:moveTo>
                    <a:pt x="28575" y="0"/>
                  </a:moveTo>
                  <a:lnTo>
                    <a:pt x="3183620" y="0"/>
                  </a:lnTo>
                  <a:cubicBezTo>
                    <a:pt x="3199342" y="0"/>
                    <a:pt x="3212194" y="12852"/>
                    <a:pt x="3212194" y="28575"/>
                  </a:cubicBezTo>
                  <a:lnTo>
                    <a:pt x="3212194" y="28575"/>
                  </a:lnTo>
                  <a:cubicBezTo>
                    <a:pt x="3212194" y="44297"/>
                    <a:pt x="3199342" y="57149"/>
                    <a:pt x="3183620" y="57149"/>
                  </a:cubicBezTo>
                  <a:lnTo>
                    <a:pt x="28575" y="57149"/>
                  </a:lnTo>
                  <a:cubicBezTo>
                    <a:pt x="12852" y="57149"/>
                    <a:pt x="0" y="44297"/>
                    <a:pt x="0" y="28575"/>
                  </a:cubicBezTo>
                  <a:lnTo>
                    <a:pt x="0" y="28575"/>
                  </a:lnTo>
                  <a:cubicBezTo>
                    <a:pt x="0" y="12852"/>
                    <a:pt x="12852" y="0"/>
                    <a:pt x="28575" y="0"/>
                  </a:cubicBezTo>
                  <a:close/>
                </a:path>
              </a:pathLst>
            </a:custGeom>
            <a:solidFill>
              <a:srgbClr val="786344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" name="Vrije vorm 5">
              <a:extLst>
                <a:ext uri="{FF2B5EF4-FFF2-40B4-BE49-F238E27FC236}">
                  <a16:creationId xmlns:a16="http://schemas.microsoft.com/office/drawing/2014/main" id="{80927708-04E4-D6FE-FE07-9E18103A6D9C}"/>
                </a:ext>
              </a:extLst>
            </p:cNvPr>
            <p:cNvSpPr/>
            <p:nvPr/>
          </p:nvSpPr>
          <p:spPr>
            <a:xfrm>
              <a:off x="8459794" y="5302378"/>
              <a:ext cx="533872" cy="144085"/>
            </a:xfrm>
            <a:custGeom>
              <a:avLst/>
              <a:gdLst>
                <a:gd name="connsiteX0" fmla="*/ 311173 w 339764"/>
                <a:gd name="connsiteY0" fmla="*/ 0 h 57149"/>
                <a:gd name="connsiteX1" fmla="*/ 28575 w 339764"/>
                <a:gd name="connsiteY1" fmla="*/ 0 h 57149"/>
                <a:gd name="connsiteX2" fmla="*/ 0 w 339764"/>
                <a:gd name="connsiteY2" fmla="*/ 28575 h 57149"/>
                <a:gd name="connsiteX3" fmla="*/ 0 w 339764"/>
                <a:gd name="connsiteY3" fmla="*/ 28575 h 57149"/>
                <a:gd name="connsiteX4" fmla="*/ 28575 w 339764"/>
                <a:gd name="connsiteY4" fmla="*/ 57149 h 57149"/>
                <a:gd name="connsiteX5" fmla="*/ 311173 w 339764"/>
                <a:gd name="connsiteY5" fmla="*/ 57149 h 57149"/>
                <a:gd name="connsiteX6" fmla="*/ 339765 w 339764"/>
                <a:gd name="connsiteY6" fmla="*/ 28575 h 57149"/>
                <a:gd name="connsiteX7" fmla="*/ 339765 w 339764"/>
                <a:gd name="connsiteY7" fmla="*/ 28575 h 57149"/>
                <a:gd name="connsiteX8" fmla="*/ 311173 w 339764"/>
                <a:gd name="connsiteY8" fmla="*/ 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9764" h="57149">
                  <a:moveTo>
                    <a:pt x="311173" y="0"/>
                  </a:moveTo>
                  <a:lnTo>
                    <a:pt x="28575" y="0"/>
                  </a:lnTo>
                  <a:cubicBezTo>
                    <a:pt x="12852" y="0"/>
                    <a:pt x="0" y="12852"/>
                    <a:pt x="0" y="28575"/>
                  </a:cubicBezTo>
                  <a:lnTo>
                    <a:pt x="0" y="28575"/>
                  </a:lnTo>
                  <a:cubicBezTo>
                    <a:pt x="0" y="44297"/>
                    <a:pt x="12852" y="57149"/>
                    <a:pt x="28575" y="57149"/>
                  </a:cubicBezTo>
                  <a:lnTo>
                    <a:pt x="311173" y="57149"/>
                  </a:lnTo>
                  <a:cubicBezTo>
                    <a:pt x="326941" y="57149"/>
                    <a:pt x="339765" y="44297"/>
                    <a:pt x="339765" y="28575"/>
                  </a:cubicBezTo>
                  <a:lnTo>
                    <a:pt x="339765" y="28575"/>
                  </a:lnTo>
                  <a:cubicBezTo>
                    <a:pt x="339765" y="12852"/>
                    <a:pt x="326941" y="0"/>
                    <a:pt x="311173" y="0"/>
                  </a:cubicBezTo>
                  <a:close/>
                </a:path>
              </a:pathLst>
            </a:custGeom>
            <a:solidFill>
              <a:srgbClr val="786344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" name="Vrije vorm 6">
              <a:extLst>
                <a:ext uri="{FF2B5EF4-FFF2-40B4-BE49-F238E27FC236}">
                  <a16:creationId xmlns:a16="http://schemas.microsoft.com/office/drawing/2014/main" id="{5D2C9650-5B6B-7A90-F1F8-800C33AC0380}"/>
                </a:ext>
              </a:extLst>
            </p:cNvPr>
            <p:cNvSpPr/>
            <p:nvPr/>
          </p:nvSpPr>
          <p:spPr>
            <a:xfrm>
              <a:off x="4554138" y="5261214"/>
              <a:ext cx="189829" cy="183948"/>
            </a:xfrm>
            <a:custGeom>
              <a:avLst/>
              <a:gdLst>
                <a:gd name="connsiteX0" fmla="*/ 1344 w 120810"/>
                <a:gd name="connsiteY0" fmla="*/ 72961 h 72960"/>
                <a:gd name="connsiteX1" fmla="*/ 0 w 120810"/>
                <a:gd name="connsiteY1" fmla="*/ 60380 h 72960"/>
                <a:gd name="connsiteX2" fmla="*/ 60408 w 120810"/>
                <a:gd name="connsiteY2" fmla="*/ 0 h 72960"/>
                <a:gd name="connsiteX3" fmla="*/ 120811 w 120810"/>
                <a:gd name="connsiteY3" fmla="*/ 60380 h 72960"/>
                <a:gd name="connsiteX4" fmla="*/ 119489 w 120810"/>
                <a:gd name="connsiteY4" fmla="*/ 72961 h 72960"/>
                <a:gd name="connsiteX5" fmla="*/ 1344 w 120810"/>
                <a:gd name="connsiteY5" fmla="*/ 72961 h 7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0810" h="72960">
                  <a:moveTo>
                    <a:pt x="1344" y="72961"/>
                  </a:moveTo>
                  <a:cubicBezTo>
                    <a:pt x="472" y="68908"/>
                    <a:pt x="0" y="64705"/>
                    <a:pt x="0" y="60380"/>
                  </a:cubicBezTo>
                  <a:cubicBezTo>
                    <a:pt x="0" y="27037"/>
                    <a:pt x="27053" y="0"/>
                    <a:pt x="60408" y="0"/>
                  </a:cubicBezTo>
                  <a:cubicBezTo>
                    <a:pt x="93774" y="0"/>
                    <a:pt x="120811" y="27042"/>
                    <a:pt x="120811" y="60380"/>
                  </a:cubicBezTo>
                  <a:cubicBezTo>
                    <a:pt x="120811" y="64705"/>
                    <a:pt x="120339" y="68908"/>
                    <a:pt x="119489" y="72961"/>
                  </a:cubicBezTo>
                  <a:lnTo>
                    <a:pt x="1344" y="72961"/>
                  </a:lnTo>
                  <a:close/>
                </a:path>
              </a:pathLst>
            </a:custGeom>
            <a:solidFill>
              <a:srgbClr val="816C89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" name="Vrije vorm 7">
              <a:extLst>
                <a:ext uri="{FF2B5EF4-FFF2-40B4-BE49-F238E27FC236}">
                  <a16:creationId xmlns:a16="http://schemas.microsoft.com/office/drawing/2014/main" id="{2EAA87BB-05FB-2D5C-8BAA-8805CC0105B4}"/>
                </a:ext>
              </a:extLst>
            </p:cNvPr>
            <p:cNvSpPr/>
            <p:nvPr/>
          </p:nvSpPr>
          <p:spPr>
            <a:xfrm>
              <a:off x="9109171" y="5302379"/>
              <a:ext cx="3097671" cy="142784"/>
            </a:xfrm>
            <a:custGeom>
              <a:avLst/>
              <a:gdLst>
                <a:gd name="connsiteX0" fmla="*/ 28591 w 1643196"/>
                <a:gd name="connsiteY0" fmla="*/ 0 h 57149"/>
                <a:gd name="connsiteX1" fmla="*/ 1643196 w 1643196"/>
                <a:gd name="connsiteY1" fmla="*/ 0 h 57149"/>
                <a:gd name="connsiteX2" fmla="*/ 1643196 w 1643196"/>
                <a:gd name="connsiteY2" fmla="*/ 57149 h 57149"/>
                <a:gd name="connsiteX3" fmla="*/ 28591 w 1643196"/>
                <a:gd name="connsiteY3" fmla="*/ 57149 h 57149"/>
                <a:gd name="connsiteX4" fmla="*/ 0 w 1643196"/>
                <a:gd name="connsiteY4" fmla="*/ 28575 h 57149"/>
                <a:gd name="connsiteX5" fmla="*/ 0 w 1643196"/>
                <a:gd name="connsiteY5" fmla="*/ 28575 h 57149"/>
                <a:gd name="connsiteX6" fmla="*/ 28591 w 1643196"/>
                <a:gd name="connsiteY6" fmla="*/ 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3196" h="57149">
                  <a:moveTo>
                    <a:pt x="28591" y="0"/>
                  </a:moveTo>
                  <a:lnTo>
                    <a:pt x="1643196" y="0"/>
                  </a:lnTo>
                  <a:lnTo>
                    <a:pt x="1643196" y="57149"/>
                  </a:lnTo>
                  <a:lnTo>
                    <a:pt x="28591" y="57149"/>
                  </a:lnTo>
                  <a:cubicBezTo>
                    <a:pt x="12880" y="57149"/>
                    <a:pt x="0" y="44297"/>
                    <a:pt x="0" y="28575"/>
                  </a:cubicBezTo>
                  <a:lnTo>
                    <a:pt x="0" y="28575"/>
                  </a:lnTo>
                  <a:cubicBezTo>
                    <a:pt x="0" y="12852"/>
                    <a:pt x="12880" y="0"/>
                    <a:pt x="28591" y="0"/>
                  </a:cubicBezTo>
                  <a:close/>
                </a:path>
              </a:pathLst>
            </a:custGeom>
            <a:solidFill>
              <a:srgbClr val="786344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" name="Vrije vorm 8">
              <a:extLst>
                <a:ext uri="{FF2B5EF4-FFF2-40B4-BE49-F238E27FC236}">
                  <a16:creationId xmlns:a16="http://schemas.microsoft.com/office/drawing/2014/main" id="{944FCEC2-7449-4DCA-D04B-72C65C9C089D}"/>
                </a:ext>
              </a:extLst>
            </p:cNvPr>
            <p:cNvSpPr/>
            <p:nvPr/>
          </p:nvSpPr>
          <p:spPr>
            <a:xfrm>
              <a:off x="11414591" y="6063723"/>
              <a:ext cx="539744" cy="87481"/>
            </a:xfrm>
            <a:custGeom>
              <a:avLst/>
              <a:gdLst>
                <a:gd name="connsiteX0" fmla="*/ 0 w 343501"/>
                <a:gd name="connsiteY0" fmla="*/ 0 h 34698"/>
                <a:gd name="connsiteX1" fmla="*/ 343501 w 343501"/>
                <a:gd name="connsiteY1" fmla="*/ 0 h 34698"/>
                <a:gd name="connsiteX2" fmla="*/ 343501 w 343501"/>
                <a:gd name="connsiteY2" fmla="*/ 34698 h 34698"/>
                <a:gd name="connsiteX3" fmla="*/ 0 w 343501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01" h="34698">
                  <a:moveTo>
                    <a:pt x="0" y="0"/>
                  </a:moveTo>
                  <a:lnTo>
                    <a:pt x="343501" y="0"/>
                  </a:lnTo>
                  <a:lnTo>
                    <a:pt x="343501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" name="Vrije vorm 9">
              <a:extLst>
                <a:ext uri="{FF2B5EF4-FFF2-40B4-BE49-F238E27FC236}">
                  <a16:creationId xmlns:a16="http://schemas.microsoft.com/office/drawing/2014/main" id="{CB727692-C2FA-2166-3710-FFB1833FBBBB}"/>
                </a:ext>
              </a:extLst>
            </p:cNvPr>
            <p:cNvSpPr/>
            <p:nvPr/>
          </p:nvSpPr>
          <p:spPr>
            <a:xfrm>
              <a:off x="10525848" y="6063723"/>
              <a:ext cx="539786" cy="87481"/>
            </a:xfrm>
            <a:custGeom>
              <a:avLst/>
              <a:gdLst>
                <a:gd name="connsiteX0" fmla="*/ 0 w 343528"/>
                <a:gd name="connsiteY0" fmla="*/ 0 h 34698"/>
                <a:gd name="connsiteX1" fmla="*/ 343529 w 343528"/>
                <a:gd name="connsiteY1" fmla="*/ 0 h 34698"/>
                <a:gd name="connsiteX2" fmla="*/ 343529 w 343528"/>
                <a:gd name="connsiteY2" fmla="*/ 34698 h 34698"/>
                <a:gd name="connsiteX3" fmla="*/ 0 w 343528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28" h="34698">
                  <a:moveTo>
                    <a:pt x="0" y="0"/>
                  </a:moveTo>
                  <a:lnTo>
                    <a:pt x="343529" y="0"/>
                  </a:lnTo>
                  <a:lnTo>
                    <a:pt x="343529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427" name="Groep 426">
              <a:extLst>
                <a:ext uri="{FF2B5EF4-FFF2-40B4-BE49-F238E27FC236}">
                  <a16:creationId xmlns:a16="http://schemas.microsoft.com/office/drawing/2014/main" id="{3724287F-FE26-1F89-8A39-37A7BD5CB897}"/>
                </a:ext>
              </a:extLst>
            </p:cNvPr>
            <p:cNvGrpSpPr/>
            <p:nvPr/>
          </p:nvGrpSpPr>
          <p:grpSpPr>
            <a:xfrm>
              <a:off x="10949422" y="3659590"/>
              <a:ext cx="816773" cy="1635455"/>
              <a:chOff x="3746777" y="1060540"/>
              <a:chExt cx="1755121" cy="3991906"/>
            </a:xfrm>
          </p:grpSpPr>
          <p:grpSp>
            <p:nvGrpSpPr>
              <p:cNvPr id="428" name="Groep 427">
                <a:extLst>
                  <a:ext uri="{FF2B5EF4-FFF2-40B4-BE49-F238E27FC236}">
                    <a16:creationId xmlns:a16="http://schemas.microsoft.com/office/drawing/2014/main" id="{BF908985-D4B1-D9CC-17FC-733500FB8308}"/>
                  </a:ext>
                </a:extLst>
              </p:cNvPr>
              <p:cNvGrpSpPr/>
              <p:nvPr/>
            </p:nvGrpSpPr>
            <p:grpSpPr>
              <a:xfrm>
                <a:off x="3746777" y="1172166"/>
                <a:ext cx="1755121" cy="3880280"/>
                <a:chOff x="3596071" y="1050503"/>
                <a:chExt cx="550926" cy="1475463"/>
              </a:xfrm>
            </p:grpSpPr>
            <p:sp>
              <p:nvSpPr>
                <p:cNvPr id="435" name="Vrije vorm 434">
                  <a:extLst>
                    <a:ext uri="{FF2B5EF4-FFF2-40B4-BE49-F238E27FC236}">
                      <a16:creationId xmlns:a16="http://schemas.microsoft.com/office/drawing/2014/main" id="{EC58A5AB-0D87-FB2D-FC20-4D871C65C22C}"/>
                    </a:ext>
                  </a:extLst>
                </p:cNvPr>
                <p:cNvSpPr/>
                <p:nvPr/>
              </p:nvSpPr>
              <p:spPr>
                <a:xfrm flipV="1">
                  <a:off x="3976741" y="1601908"/>
                  <a:ext cx="158297" cy="158377"/>
                </a:xfrm>
                <a:custGeom>
                  <a:avLst/>
                  <a:gdLst>
                    <a:gd name="connsiteX0" fmla="*/ 156021 w 158297"/>
                    <a:gd name="connsiteY0" fmla="*/ 129444 h 158377"/>
                    <a:gd name="connsiteX1" fmla="*/ -1510 w 158297"/>
                    <a:gd name="connsiteY1" fmla="*/ -3439 h 158377"/>
                    <a:gd name="connsiteX2" fmla="*/ -2277 w 158297"/>
                    <a:gd name="connsiteY2" fmla="*/ 33436 h 158377"/>
                    <a:gd name="connsiteX3" fmla="*/ 80711 w 158297"/>
                    <a:gd name="connsiteY3" fmla="*/ 127901 h 158377"/>
                    <a:gd name="connsiteX4" fmla="*/ 156021 w 158297"/>
                    <a:gd name="connsiteY4" fmla="*/ 129444 h 1583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8297" h="158377">
                      <a:moveTo>
                        <a:pt x="156021" y="129444"/>
                      </a:moveTo>
                      <a:cubicBezTo>
                        <a:pt x="156021" y="129444"/>
                        <a:pt x="76867" y="18065"/>
                        <a:pt x="-1510" y="-3439"/>
                      </a:cubicBezTo>
                      <a:lnTo>
                        <a:pt x="-2277" y="33436"/>
                      </a:lnTo>
                      <a:cubicBezTo>
                        <a:pt x="-2277" y="33436"/>
                        <a:pt x="40751" y="68001"/>
                        <a:pt x="80711" y="127901"/>
                      </a:cubicBezTo>
                      <a:cubicBezTo>
                        <a:pt x="120672" y="187822"/>
                        <a:pt x="156021" y="129444"/>
                        <a:pt x="156021" y="129444"/>
                      </a:cubicBezTo>
                    </a:path>
                  </a:pathLst>
                </a:custGeom>
                <a:solidFill>
                  <a:srgbClr val="F9AA8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36" name="Vrije vorm 435">
                  <a:extLst>
                    <a:ext uri="{FF2B5EF4-FFF2-40B4-BE49-F238E27FC236}">
                      <a16:creationId xmlns:a16="http://schemas.microsoft.com/office/drawing/2014/main" id="{68DA5110-E0A4-06A6-C485-8B426284A272}"/>
                    </a:ext>
                  </a:extLst>
                </p:cNvPr>
                <p:cNvSpPr/>
                <p:nvPr/>
              </p:nvSpPr>
              <p:spPr>
                <a:xfrm flipV="1">
                  <a:off x="3968834" y="2397861"/>
                  <a:ext cx="46271" cy="90725"/>
                </a:xfrm>
                <a:custGeom>
                  <a:avLst/>
                  <a:gdLst>
                    <a:gd name="connsiteX0" fmla="*/ -2223 w 46271"/>
                    <a:gd name="connsiteY0" fmla="*/ 80808 h 90725"/>
                    <a:gd name="connsiteX1" fmla="*/ 11653 w 46271"/>
                    <a:gd name="connsiteY1" fmla="*/ -2605 h 90725"/>
                    <a:gd name="connsiteX2" fmla="*/ 44048 w 46271"/>
                    <a:gd name="connsiteY2" fmla="*/ -2605 h 90725"/>
                    <a:gd name="connsiteX3" fmla="*/ 33219 w 46271"/>
                    <a:gd name="connsiteY3" fmla="*/ 88121 h 90725"/>
                    <a:gd name="connsiteX4" fmla="*/ -2223 w 46271"/>
                    <a:gd name="connsiteY4" fmla="*/ 80808 h 90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271" h="90725">
                      <a:moveTo>
                        <a:pt x="-2223" y="80808"/>
                      </a:moveTo>
                      <a:lnTo>
                        <a:pt x="11653" y="-2605"/>
                      </a:lnTo>
                      <a:lnTo>
                        <a:pt x="44048" y="-2605"/>
                      </a:lnTo>
                      <a:lnTo>
                        <a:pt x="33219" y="88121"/>
                      </a:lnTo>
                      <a:lnTo>
                        <a:pt x="-2223" y="80808"/>
                      </a:lnTo>
                    </a:path>
                  </a:pathLst>
                </a:custGeom>
                <a:solidFill>
                  <a:srgbClr val="172D36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37" name="Vrije vorm 436">
                  <a:extLst>
                    <a:ext uri="{FF2B5EF4-FFF2-40B4-BE49-F238E27FC236}">
                      <a16:creationId xmlns:a16="http://schemas.microsoft.com/office/drawing/2014/main" id="{8A8033E5-6A75-A572-6150-B01AF0984A75}"/>
                    </a:ext>
                  </a:extLst>
                </p:cNvPr>
                <p:cNvSpPr/>
                <p:nvPr/>
              </p:nvSpPr>
              <p:spPr>
                <a:xfrm flipV="1">
                  <a:off x="3968834" y="2449050"/>
                  <a:ext cx="154062" cy="76915"/>
                </a:xfrm>
                <a:custGeom>
                  <a:avLst/>
                  <a:gdLst>
                    <a:gd name="connsiteX0" fmla="*/ 53828 w 154062"/>
                    <a:gd name="connsiteY0" fmla="*/ 74360 h 76915"/>
                    <a:gd name="connsiteX1" fmla="*/ 100348 w 154062"/>
                    <a:gd name="connsiteY1" fmla="*/ 41908 h 76915"/>
                    <a:gd name="connsiteX2" fmla="*/ 151677 w 154062"/>
                    <a:gd name="connsiteY2" fmla="*/ 5873 h 76915"/>
                    <a:gd name="connsiteX3" fmla="*/ 42200 w 154062"/>
                    <a:gd name="connsiteY3" fmla="*/ 8172 h 76915"/>
                    <a:gd name="connsiteX4" fmla="*/ 42200 w 154062"/>
                    <a:gd name="connsiteY4" fmla="*/ 1025 h 76915"/>
                    <a:gd name="connsiteX5" fmla="*/ -2268 w 154062"/>
                    <a:gd name="connsiteY5" fmla="*/ 2972 h 76915"/>
                    <a:gd name="connsiteX6" fmla="*/ -2268 w 154062"/>
                    <a:gd name="connsiteY6" fmla="*/ 62023 h 76915"/>
                    <a:gd name="connsiteX7" fmla="*/ 34666 w 154062"/>
                    <a:gd name="connsiteY7" fmla="*/ 59423 h 76915"/>
                    <a:gd name="connsiteX8" fmla="*/ 31941 w 154062"/>
                    <a:gd name="connsiteY8" fmla="*/ 65265 h 76915"/>
                    <a:gd name="connsiteX9" fmla="*/ 53828 w 154062"/>
                    <a:gd name="connsiteY9" fmla="*/ 74360 h 76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4062" h="76915">
                      <a:moveTo>
                        <a:pt x="53828" y="74360"/>
                      </a:moveTo>
                      <a:cubicBezTo>
                        <a:pt x="53828" y="74360"/>
                        <a:pt x="72295" y="50339"/>
                        <a:pt x="100348" y="41908"/>
                      </a:cubicBezTo>
                      <a:cubicBezTo>
                        <a:pt x="128401" y="33477"/>
                        <a:pt x="153739" y="22746"/>
                        <a:pt x="151677" y="5873"/>
                      </a:cubicBezTo>
                      <a:cubicBezTo>
                        <a:pt x="151677" y="5873"/>
                        <a:pt x="109934" y="-14543"/>
                        <a:pt x="42200" y="8172"/>
                      </a:cubicBezTo>
                      <a:lnTo>
                        <a:pt x="42200" y="1025"/>
                      </a:lnTo>
                      <a:lnTo>
                        <a:pt x="-2268" y="2972"/>
                      </a:lnTo>
                      <a:lnTo>
                        <a:pt x="-2268" y="62023"/>
                      </a:lnTo>
                      <a:lnTo>
                        <a:pt x="34666" y="59423"/>
                      </a:lnTo>
                      <a:lnTo>
                        <a:pt x="31941" y="65265"/>
                      </a:lnTo>
                      <a:lnTo>
                        <a:pt x="53828" y="74360"/>
                      </a:lnTo>
                    </a:path>
                  </a:pathLst>
                </a:custGeom>
                <a:solidFill>
                  <a:srgbClr val="A24027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38" name="Vrije vorm 437">
                  <a:extLst>
                    <a:ext uri="{FF2B5EF4-FFF2-40B4-BE49-F238E27FC236}">
                      <a16:creationId xmlns:a16="http://schemas.microsoft.com/office/drawing/2014/main" id="{CA18857D-6BF3-C2E1-1EDB-2EC870742E8E}"/>
                    </a:ext>
                  </a:extLst>
                </p:cNvPr>
                <p:cNvSpPr/>
                <p:nvPr/>
              </p:nvSpPr>
              <p:spPr>
                <a:xfrm flipV="1">
                  <a:off x="3968834" y="2508352"/>
                  <a:ext cx="154025" cy="17614"/>
                </a:xfrm>
                <a:custGeom>
                  <a:avLst/>
                  <a:gdLst>
                    <a:gd name="connsiteX0" fmla="*/ 71673 w 154025"/>
                    <a:gd name="connsiteY0" fmla="*/ 7376 h 17614"/>
                    <a:gd name="connsiteX1" fmla="*/ 151335 w 154025"/>
                    <a:gd name="connsiteY1" fmla="*/ 10297 h 17614"/>
                    <a:gd name="connsiteX2" fmla="*/ 151677 w 154025"/>
                    <a:gd name="connsiteY2" fmla="*/ 5905 h 17614"/>
                    <a:gd name="connsiteX3" fmla="*/ 42200 w 154025"/>
                    <a:gd name="connsiteY3" fmla="*/ 8204 h 17614"/>
                    <a:gd name="connsiteX4" fmla="*/ 42200 w 154025"/>
                    <a:gd name="connsiteY4" fmla="*/ 1058 h 17614"/>
                    <a:gd name="connsiteX5" fmla="*/ -2268 w 154025"/>
                    <a:gd name="connsiteY5" fmla="*/ 3005 h 17614"/>
                    <a:gd name="connsiteX6" fmla="*/ -2268 w 154025"/>
                    <a:gd name="connsiteY6" fmla="*/ 14782 h 17614"/>
                    <a:gd name="connsiteX7" fmla="*/ 71673 w 154025"/>
                    <a:gd name="connsiteY7" fmla="*/ 7376 h 176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4025" h="17614">
                      <a:moveTo>
                        <a:pt x="71673" y="7376"/>
                      </a:moveTo>
                      <a:cubicBezTo>
                        <a:pt x="132370" y="-8223"/>
                        <a:pt x="147780" y="9095"/>
                        <a:pt x="151335" y="10297"/>
                      </a:cubicBezTo>
                      <a:cubicBezTo>
                        <a:pt x="151718" y="8836"/>
                        <a:pt x="151863" y="7366"/>
                        <a:pt x="151677" y="5905"/>
                      </a:cubicBezTo>
                      <a:cubicBezTo>
                        <a:pt x="151677" y="5905"/>
                        <a:pt x="109934" y="-14511"/>
                        <a:pt x="42200" y="8204"/>
                      </a:cubicBezTo>
                      <a:lnTo>
                        <a:pt x="42200" y="1058"/>
                      </a:lnTo>
                      <a:lnTo>
                        <a:pt x="-2268" y="3005"/>
                      </a:lnTo>
                      <a:lnTo>
                        <a:pt x="-2268" y="14782"/>
                      </a:lnTo>
                      <a:cubicBezTo>
                        <a:pt x="13598" y="13829"/>
                        <a:pt x="26914" y="18884"/>
                        <a:pt x="71673" y="7376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39" name="Vrije vorm 438">
                  <a:extLst>
                    <a:ext uri="{FF2B5EF4-FFF2-40B4-BE49-F238E27FC236}">
                      <a16:creationId xmlns:a16="http://schemas.microsoft.com/office/drawing/2014/main" id="{7DD94C06-5B49-3DF2-2954-6CA7FA3244DC}"/>
                    </a:ext>
                  </a:extLst>
                </p:cNvPr>
                <p:cNvSpPr/>
                <p:nvPr/>
              </p:nvSpPr>
              <p:spPr>
                <a:xfrm flipV="1">
                  <a:off x="4017158" y="2461390"/>
                  <a:ext cx="23928" cy="22058"/>
                </a:xfrm>
                <a:custGeom>
                  <a:avLst/>
                  <a:gdLst>
                    <a:gd name="connsiteX0" fmla="*/ -638 w 23928"/>
                    <a:gd name="connsiteY0" fmla="*/ -2573 h 22058"/>
                    <a:gd name="connsiteX1" fmla="*/ 979 w 23928"/>
                    <a:gd name="connsiteY1" fmla="*/ -1713 h 22058"/>
                    <a:gd name="connsiteX2" fmla="*/ 20379 w 23928"/>
                    <a:gd name="connsiteY2" fmla="*/ 15699 h 22058"/>
                    <a:gd name="connsiteX3" fmla="*/ 21560 w 23928"/>
                    <a:gd name="connsiteY3" fmla="*/ 18195 h 22058"/>
                    <a:gd name="connsiteX4" fmla="*/ 19063 w 23928"/>
                    <a:gd name="connsiteY4" fmla="*/ 19376 h 22058"/>
                    <a:gd name="connsiteX5" fmla="*/ -2254 w 23928"/>
                    <a:gd name="connsiteY5" fmla="*/ 462 h 22058"/>
                    <a:gd name="connsiteX6" fmla="*/ -1726 w 23928"/>
                    <a:gd name="connsiteY6" fmla="*/ -2241 h 22058"/>
                    <a:gd name="connsiteX7" fmla="*/ -638 w 23928"/>
                    <a:gd name="connsiteY7" fmla="*/ -2573 h 220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28" h="22058">
                      <a:moveTo>
                        <a:pt x="-638" y="-2573"/>
                      </a:moveTo>
                      <a:lnTo>
                        <a:pt x="979" y="-1713"/>
                      </a:lnTo>
                      <a:cubicBezTo>
                        <a:pt x="10098" y="11877"/>
                        <a:pt x="20275" y="15668"/>
                        <a:pt x="20379" y="15699"/>
                      </a:cubicBezTo>
                      <a:cubicBezTo>
                        <a:pt x="21394" y="16072"/>
                        <a:pt x="21923" y="17190"/>
                        <a:pt x="21560" y="18195"/>
                      </a:cubicBezTo>
                      <a:cubicBezTo>
                        <a:pt x="21187" y="19210"/>
                        <a:pt x="20068" y="19728"/>
                        <a:pt x="19063" y="19376"/>
                      </a:cubicBezTo>
                      <a:cubicBezTo>
                        <a:pt x="18596" y="19200"/>
                        <a:pt x="7560" y="15098"/>
                        <a:pt x="-2254" y="462"/>
                      </a:cubicBezTo>
                      <a:lnTo>
                        <a:pt x="-1726" y="-2241"/>
                      </a:lnTo>
                      <a:lnTo>
                        <a:pt x="-638" y="-2573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0" name="Vrije vorm 439">
                  <a:extLst>
                    <a:ext uri="{FF2B5EF4-FFF2-40B4-BE49-F238E27FC236}">
                      <a16:creationId xmlns:a16="http://schemas.microsoft.com/office/drawing/2014/main" id="{435BA23C-065B-EDA7-A702-0F76A96607E5}"/>
                    </a:ext>
                  </a:extLst>
                </p:cNvPr>
                <p:cNvSpPr/>
                <p:nvPr/>
              </p:nvSpPr>
              <p:spPr>
                <a:xfrm flipV="1">
                  <a:off x="4027334" y="2465958"/>
                  <a:ext cx="23930" cy="22069"/>
                </a:xfrm>
                <a:custGeom>
                  <a:avLst/>
                  <a:gdLst>
                    <a:gd name="connsiteX0" fmla="*/ -646 w 23930"/>
                    <a:gd name="connsiteY0" fmla="*/ -2568 h 22069"/>
                    <a:gd name="connsiteX1" fmla="*/ 971 w 23930"/>
                    <a:gd name="connsiteY1" fmla="*/ -1698 h 22069"/>
                    <a:gd name="connsiteX2" fmla="*/ 20381 w 23930"/>
                    <a:gd name="connsiteY2" fmla="*/ 15714 h 22069"/>
                    <a:gd name="connsiteX3" fmla="*/ 21552 w 23930"/>
                    <a:gd name="connsiteY3" fmla="*/ 18211 h 22069"/>
                    <a:gd name="connsiteX4" fmla="*/ 19054 w 23930"/>
                    <a:gd name="connsiteY4" fmla="*/ 19391 h 22069"/>
                    <a:gd name="connsiteX5" fmla="*/ -2263 w 23930"/>
                    <a:gd name="connsiteY5" fmla="*/ 477 h 22069"/>
                    <a:gd name="connsiteX6" fmla="*/ -1734 w 23930"/>
                    <a:gd name="connsiteY6" fmla="*/ -2236 h 22069"/>
                    <a:gd name="connsiteX7" fmla="*/ -646 w 23930"/>
                    <a:gd name="connsiteY7" fmla="*/ -2568 h 22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30" h="22069">
                      <a:moveTo>
                        <a:pt x="-646" y="-2568"/>
                      </a:moveTo>
                      <a:lnTo>
                        <a:pt x="971" y="-1698"/>
                      </a:lnTo>
                      <a:cubicBezTo>
                        <a:pt x="10090" y="11892"/>
                        <a:pt x="20277" y="15673"/>
                        <a:pt x="20381" y="15714"/>
                      </a:cubicBezTo>
                      <a:cubicBezTo>
                        <a:pt x="21396" y="16077"/>
                        <a:pt x="21915" y="17195"/>
                        <a:pt x="21552" y="18211"/>
                      </a:cubicBezTo>
                      <a:cubicBezTo>
                        <a:pt x="21189" y="19226"/>
                        <a:pt x="20059" y="19743"/>
                        <a:pt x="19054" y="19391"/>
                      </a:cubicBezTo>
                      <a:cubicBezTo>
                        <a:pt x="18588" y="19226"/>
                        <a:pt x="7561" y="15113"/>
                        <a:pt x="-2263" y="477"/>
                      </a:cubicBezTo>
                      <a:lnTo>
                        <a:pt x="-1734" y="-2236"/>
                      </a:lnTo>
                      <a:lnTo>
                        <a:pt x="-646" y="-2568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1" name="Vrije vorm 440">
                  <a:extLst>
                    <a:ext uri="{FF2B5EF4-FFF2-40B4-BE49-F238E27FC236}">
                      <a16:creationId xmlns:a16="http://schemas.microsoft.com/office/drawing/2014/main" id="{7284CDD5-2D06-867D-C922-EE3ABA2CD5B9}"/>
                    </a:ext>
                  </a:extLst>
                </p:cNvPr>
                <p:cNvSpPr/>
                <p:nvPr/>
              </p:nvSpPr>
              <p:spPr>
                <a:xfrm flipV="1">
                  <a:off x="4037511" y="2470470"/>
                  <a:ext cx="23930" cy="22062"/>
                </a:xfrm>
                <a:custGeom>
                  <a:avLst/>
                  <a:gdLst>
                    <a:gd name="connsiteX0" fmla="*/ -655 w 23930"/>
                    <a:gd name="connsiteY0" fmla="*/ -2563 h 22062"/>
                    <a:gd name="connsiteX1" fmla="*/ 972 w 23930"/>
                    <a:gd name="connsiteY1" fmla="*/ -1703 h 22062"/>
                    <a:gd name="connsiteX2" fmla="*/ 20372 w 23930"/>
                    <a:gd name="connsiteY2" fmla="*/ 15719 h 22062"/>
                    <a:gd name="connsiteX3" fmla="*/ 21543 w 23930"/>
                    <a:gd name="connsiteY3" fmla="*/ 18215 h 22062"/>
                    <a:gd name="connsiteX4" fmla="*/ 19046 w 23930"/>
                    <a:gd name="connsiteY4" fmla="*/ 19386 h 22062"/>
                    <a:gd name="connsiteX5" fmla="*/ -2271 w 23930"/>
                    <a:gd name="connsiteY5" fmla="*/ 472 h 22062"/>
                    <a:gd name="connsiteX6" fmla="*/ -1732 w 23930"/>
                    <a:gd name="connsiteY6" fmla="*/ -2231 h 22062"/>
                    <a:gd name="connsiteX7" fmla="*/ -655 w 23930"/>
                    <a:gd name="connsiteY7" fmla="*/ -2563 h 22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30" h="22062">
                      <a:moveTo>
                        <a:pt x="-655" y="-2563"/>
                      </a:moveTo>
                      <a:lnTo>
                        <a:pt x="972" y="-1703"/>
                      </a:lnTo>
                      <a:cubicBezTo>
                        <a:pt x="10030" y="11804"/>
                        <a:pt x="20279" y="15678"/>
                        <a:pt x="20372" y="15719"/>
                      </a:cubicBezTo>
                      <a:cubicBezTo>
                        <a:pt x="21388" y="16092"/>
                        <a:pt x="21906" y="17210"/>
                        <a:pt x="21543" y="18215"/>
                      </a:cubicBezTo>
                      <a:cubicBezTo>
                        <a:pt x="21170" y="19220"/>
                        <a:pt x="20051" y="19748"/>
                        <a:pt x="19046" y="19386"/>
                      </a:cubicBezTo>
                      <a:cubicBezTo>
                        <a:pt x="18579" y="19220"/>
                        <a:pt x="7553" y="15108"/>
                        <a:pt x="-2271" y="472"/>
                      </a:cubicBezTo>
                      <a:lnTo>
                        <a:pt x="-1732" y="-2231"/>
                      </a:lnTo>
                      <a:lnTo>
                        <a:pt x="-655" y="-2563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2" name="Vrije vorm 441">
                  <a:extLst>
                    <a:ext uri="{FF2B5EF4-FFF2-40B4-BE49-F238E27FC236}">
                      <a16:creationId xmlns:a16="http://schemas.microsoft.com/office/drawing/2014/main" id="{DEA06286-752F-13C8-D84D-94E2A476922B}"/>
                    </a:ext>
                  </a:extLst>
                </p:cNvPr>
                <p:cNvSpPr/>
                <p:nvPr/>
              </p:nvSpPr>
              <p:spPr>
                <a:xfrm flipV="1">
                  <a:off x="3771239" y="2397861"/>
                  <a:ext cx="46281" cy="90725"/>
                </a:xfrm>
                <a:custGeom>
                  <a:avLst/>
                  <a:gdLst>
                    <a:gd name="connsiteX0" fmla="*/ 44224 w 46281"/>
                    <a:gd name="connsiteY0" fmla="*/ 80808 h 90725"/>
                    <a:gd name="connsiteX1" fmla="*/ 30348 w 46281"/>
                    <a:gd name="connsiteY1" fmla="*/ -2605 h 90725"/>
                    <a:gd name="connsiteX2" fmla="*/ -2058 w 46281"/>
                    <a:gd name="connsiteY2" fmla="*/ -2605 h 90725"/>
                    <a:gd name="connsiteX3" fmla="*/ 8782 w 46281"/>
                    <a:gd name="connsiteY3" fmla="*/ 88121 h 90725"/>
                    <a:gd name="connsiteX4" fmla="*/ 44224 w 46281"/>
                    <a:gd name="connsiteY4" fmla="*/ 80808 h 90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281" h="90725">
                      <a:moveTo>
                        <a:pt x="44224" y="80808"/>
                      </a:moveTo>
                      <a:lnTo>
                        <a:pt x="30348" y="-2605"/>
                      </a:lnTo>
                      <a:lnTo>
                        <a:pt x="-2058" y="-2605"/>
                      </a:lnTo>
                      <a:lnTo>
                        <a:pt x="8782" y="88121"/>
                      </a:lnTo>
                      <a:lnTo>
                        <a:pt x="44224" y="80808"/>
                      </a:lnTo>
                    </a:path>
                  </a:pathLst>
                </a:custGeom>
                <a:solidFill>
                  <a:srgbClr val="172D36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3" name="Vrije vorm 442">
                  <a:extLst>
                    <a:ext uri="{FF2B5EF4-FFF2-40B4-BE49-F238E27FC236}">
                      <a16:creationId xmlns:a16="http://schemas.microsoft.com/office/drawing/2014/main" id="{292C8DA4-1F04-44E7-2262-5C60D37EE96E}"/>
                    </a:ext>
                  </a:extLst>
                </p:cNvPr>
                <p:cNvSpPr/>
                <p:nvPr/>
              </p:nvSpPr>
              <p:spPr>
                <a:xfrm flipV="1">
                  <a:off x="3660393" y="2449050"/>
                  <a:ext cx="157127" cy="76915"/>
                </a:xfrm>
                <a:custGeom>
                  <a:avLst/>
                  <a:gdLst>
                    <a:gd name="connsiteX0" fmla="*/ 99020 w 157127"/>
                    <a:gd name="connsiteY0" fmla="*/ 74360 h 76915"/>
                    <a:gd name="connsiteX1" fmla="*/ 52500 w 157127"/>
                    <a:gd name="connsiteY1" fmla="*/ 41908 h 76915"/>
                    <a:gd name="connsiteX2" fmla="*/ -1907 w 157127"/>
                    <a:gd name="connsiteY2" fmla="*/ 5873 h 76915"/>
                    <a:gd name="connsiteX3" fmla="*/ 110648 w 157127"/>
                    <a:gd name="connsiteY3" fmla="*/ 8172 h 76915"/>
                    <a:gd name="connsiteX4" fmla="*/ 110648 w 157127"/>
                    <a:gd name="connsiteY4" fmla="*/ 1025 h 76915"/>
                    <a:gd name="connsiteX5" fmla="*/ 155116 w 157127"/>
                    <a:gd name="connsiteY5" fmla="*/ 2972 h 76915"/>
                    <a:gd name="connsiteX6" fmla="*/ 155116 w 157127"/>
                    <a:gd name="connsiteY6" fmla="*/ 62023 h 76915"/>
                    <a:gd name="connsiteX7" fmla="*/ 118171 w 157127"/>
                    <a:gd name="connsiteY7" fmla="*/ 59423 h 76915"/>
                    <a:gd name="connsiteX8" fmla="*/ 120907 w 157127"/>
                    <a:gd name="connsiteY8" fmla="*/ 65265 h 76915"/>
                    <a:gd name="connsiteX9" fmla="*/ 99020 w 157127"/>
                    <a:gd name="connsiteY9" fmla="*/ 74360 h 76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7127" h="76915">
                      <a:moveTo>
                        <a:pt x="99020" y="74360"/>
                      </a:moveTo>
                      <a:cubicBezTo>
                        <a:pt x="99020" y="74360"/>
                        <a:pt x="80543" y="50339"/>
                        <a:pt x="52500" y="41908"/>
                      </a:cubicBezTo>
                      <a:cubicBezTo>
                        <a:pt x="24447" y="33477"/>
                        <a:pt x="-3959" y="22746"/>
                        <a:pt x="-1907" y="5873"/>
                      </a:cubicBezTo>
                      <a:cubicBezTo>
                        <a:pt x="-1907" y="5873"/>
                        <a:pt x="42914" y="-14543"/>
                        <a:pt x="110648" y="8172"/>
                      </a:cubicBezTo>
                      <a:lnTo>
                        <a:pt x="110648" y="1025"/>
                      </a:lnTo>
                      <a:lnTo>
                        <a:pt x="155116" y="2972"/>
                      </a:lnTo>
                      <a:lnTo>
                        <a:pt x="155116" y="62023"/>
                      </a:lnTo>
                      <a:lnTo>
                        <a:pt x="118171" y="59423"/>
                      </a:lnTo>
                      <a:lnTo>
                        <a:pt x="120907" y="65265"/>
                      </a:lnTo>
                      <a:lnTo>
                        <a:pt x="99020" y="74360"/>
                      </a:lnTo>
                    </a:path>
                  </a:pathLst>
                </a:custGeom>
                <a:solidFill>
                  <a:srgbClr val="A24027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4" name="Vrije vorm 443">
                  <a:extLst>
                    <a:ext uri="{FF2B5EF4-FFF2-40B4-BE49-F238E27FC236}">
                      <a16:creationId xmlns:a16="http://schemas.microsoft.com/office/drawing/2014/main" id="{8B420EE9-5369-18F8-21D9-E5F9E99CC5E0}"/>
                    </a:ext>
                  </a:extLst>
                </p:cNvPr>
                <p:cNvSpPr/>
                <p:nvPr/>
              </p:nvSpPr>
              <p:spPr>
                <a:xfrm flipV="1">
                  <a:off x="3660417" y="2505584"/>
                  <a:ext cx="157103" cy="20381"/>
                </a:xfrm>
                <a:custGeom>
                  <a:avLst/>
                  <a:gdLst>
                    <a:gd name="connsiteX0" fmla="*/ 71928 w 157103"/>
                    <a:gd name="connsiteY0" fmla="*/ 4308 h 20381"/>
                    <a:gd name="connsiteX1" fmla="*/ -1589 w 157103"/>
                    <a:gd name="connsiteY1" fmla="*/ 10295 h 20381"/>
                    <a:gd name="connsiteX2" fmla="*/ -1931 w 157103"/>
                    <a:gd name="connsiteY2" fmla="*/ 5904 h 20381"/>
                    <a:gd name="connsiteX3" fmla="*/ 110624 w 157103"/>
                    <a:gd name="connsiteY3" fmla="*/ 8203 h 20381"/>
                    <a:gd name="connsiteX4" fmla="*/ 110624 w 157103"/>
                    <a:gd name="connsiteY4" fmla="*/ 1056 h 20381"/>
                    <a:gd name="connsiteX5" fmla="*/ 155092 w 157103"/>
                    <a:gd name="connsiteY5" fmla="*/ 3003 h 20381"/>
                    <a:gd name="connsiteX6" fmla="*/ 155092 w 157103"/>
                    <a:gd name="connsiteY6" fmla="*/ 17857 h 20381"/>
                    <a:gd name="connsiteX7" fmla="*/ 71928 w 157103"/>
                    <a:gd name="connsiteY7" fmla="*/ 4308 h 20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7103" h="20381">
                      <a:moveTo>
                        <a:pt x="71928" y="4308"/>
                      </a:moveTo>
                      <a:cubicBezTo>
                        <a:pt x="29314" y="-2393"/>
                        <a:pt x="1966" y="9094"/>
                        <a:pt x="-1589" y="10295"/>
                      </a:cubicBezTo>
                      <a:cubicBezTo>
                        <a:pt x="-1972" y="8835"/>
                        <a:pt x="-2117" y="7364"/>
                        <a:pt x="-1931" y="5904"/>
                      </a:cubicBezTo>
                      <a:cubicBezTo>
                        <a:pt x="-1931" y="5904"/>
                        <a:pt x="42890" y="-14512"/>
                        <a:pt x="110624" y="8203"/>
                      </a:cubicBezTo>
                      <a:lnTo>
                        <a:pt x="110624" y="1056"/>
                      </a:lnTo>
                      <a:lnTo>
                        <a:pt x="155092" y="3003"/>
                      </a:lnTo>
                      <a:lnTo>
                        <a:pt x="155092" y="17857"/>
                      </a:lnTo>
                      <a:cubicBezTo>
                        <a:pt x="139216" y="16893"/>
                        <a:pt x="112841" y="10741"/>
                        <a:pt x="71928" y="4308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5" name="Vrije vorm 444">
                  <a:extLst>
                    <a:ext uri="{FF2B5EF4-FFF2-40B4-BE49-F238E27FC236}">
                      <a16:creationId xmlns:a16="http://schemas.microsoft.com/office/drawing/2014/main" id="{353872A4-BED2-CEA3-3A97-FF6AEC8ADBBF}"/>
                    </a:ext>
                  </a:extLst>
                </p:cNvPr>
                <p:cNvSpPr/>
                <p:nvPr/>
              </p:nvSpPr>
              <p:spPr>
                <a:xfrm flipV="1">
                  <a:off x="3745269" y="2461390"/>
                  <a:ext cx="23929" cy="22058"/>
                </a:xfrm>
                <a:custGeom>
                  <a:avLst/>
                  <a:gdLst>
                    <a:gd name="connsiteX0" fmla="*/ 20285 w 23929"/>
                    <a:gd name="connsiteY0" fmla="*/ -2573 h 22058"/>
                    <a:gd name="connsiteX1" fmla="*/ 18658 w 23929"/>
                    <a:gd name="connsiteY1" fmla="*/ -1713 h 22058"/>
                    <a:gd name="connsiteX2" fmla="*/ -742 w 23929"/>
                    <a:gd name="connsiteY2" fmla="*/ 15699 h 22058"/>
                    <a:gd name="connsiteX3" fmla="*/ -1912 w 23929"/>
                    <a:gd name="connsiteY3" fmla="*/ 18195 h 22058"/>
                    <a:gd name="connsiteX4" fmla="*/ 585 w 23929"/>
                    <a:gd name="connsiteY4" fmla="*/ 19376 h 22058"/>
                    <a:gd name="connsiteX5" fmla="*/ 21902 w 23929"/>
                    <a:gd name="connsiteY5" fmla="*/ 462 h 22058"/>
                    <a:gd name="connsiteX6" fmla="*/ 21374 w 23929"/>
                    <a:gd name="connsiteY6" fmla="*/ -2241 h 22058"/>
                    <a:gd name="connsiteX7" fmla="*/ 20285 w 23929"/>
                    <a:gd name="connsiteY7" fmla="*/ -2573 h 220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29" h="22058">
                      <a:moveTo>
                        <a:pt x="20285" y="-2573"/>
                      </a:moveTo>
                      <a:lnTo>
                        <a:pt x="18658" y="-1713"/>
                      </a:lnTo>
                      <a:cubicBezTo>
                        <a:pt x="9549" y="11877"/>
                        <a:pt x="-638" y="15668"/>
                        <a:pt x="-742" y="15699"/>
                      </a:cubicBezTo>
                      <a:cubicBezTo>
                        <a:pt x="-1747" y="16072"/>
                        <a:pt x="-2275" y="17190"/>
                        <a:pt x="-1912" y="18195"/>
                      </a:cubicBezTo>
                      <a:cubicBezTo>
                        <a:pt x="-1539" y="19210"/>
                        <a:pt x="-420" y="19728"/>
                        <a:pt x="585" y="19376"/>
                      </a:cubicBezTo>
                      <a:cubicBezTo>
                        <a:pt x="1051" y="19200"/>
                        <a:pt x="12088" y="15098"/>
                        <a:pt x="21902" y="462"/>
                      </a:cubicBezTo>
                      <a:lnTo>
                        <a:pt x="21374" y="-2241"/>
                      </a:lnTo>
                      <a:lnTo>
                        <a:pt x="20285" y="-2573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6" name="Vrije vorm 445">
                  <a:extLst>
                    <a:ext uri="{FF2B5EF4-FFF2-40B4-BE49-F238E27FC236}">
                      <a16:creationId xmlns:a16="http://schemas.microsoft.com/office/drawing/2014/main" id="{4AD3158E-EF8C-3CC2-DC98-597DDADE8EA2}"/>
                    </a:ext>
                  </a:extLst>
                </p:cNvPr>
                <p:cNvSpPr/>
                <p:nvPr/>
              </p:nvSpPr>
              <p:spPr>
                <a:xfrm flipV="1">
                  <a:off x="3735087" y="2465958"/>
                  <a:ext cx="23934" cy="22069"/>
                </a:xfrm>
                <a:custGeom>
                  <a:avLst/>
                  <a:gdLst>
                    <a:gd name="connsiteX0" fmla="*/ 20299 w 23934"/>
                    <a:gd name="connsiteY0" fmla="*/ -2568 h 22069"/>
                    <a:gd name="connsiteX1" fmla="*/ 18672 w 23934"/>
                    <a:gd name="connsiteY1" fmla="*/ -1698 h 22069"/>
                    <a:gd name="connsiteX2" fmla="*/ -728 w 23934"/>
                    <a:gd name="connsiteY2" fmla="*/ 15714 h 22069"/>
                    <a:gd name="connsiteX3" fmla="*/ -1899 w 23934"/>
                    <a:gd name="connsiteY3" fmla="*/ 18211 h 22069"/>
                    <a:gd name="connsiteX4" fmla="*/ 599 w 23934"/>
                    <a:gd name="connsiteY4" fmla="*/ 19391 h 22069"/>
                    <a:gd name="connsiteX5" fmla="*/ 21916 w 23934"/>
                    <a:gd name="connsiteY5" fmla="*/ 477 h 22069"/>
                    <a:gd name="connsiteX6" fmla="*/ 21387 w 23934"/>
                    <a:gd name="connsiteY6" fmla="*/ -2236 h 22069"/>
                    <a:gd name="connsiteX7" fmla="*/ 20299 w 23934"/>
                    <a:gd name="connsiteY7" fmla="*/ -2568 h 22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34" h="22069">
                      <a:moveTo>
                        <a:pt x="20299" y="-2568"/>
                      </a:moveTo>
                      <a:lnTo>
                        <a:pt x="18672" y="-1698"/>
                      </a:lnTo>
                      <a:cubicBezTo>
                        <a:pt x="9563" y="11892"/>
                        <a:pt x="-624" y="15673"/>
                        <a:pt x="-728" y="15714"/>
                      </a:cubicBezTo>
                      <a:cubicBezTo>
                        <a:pt x="-1743" y="16077"/>
                        <a:pt x="-2272" y="17195"/>
                        <a:pt x="-1899" y="18211"/>
                      </a:cubicBezTo>
                      <a:cubicBezTo>
                        <a:pt x="-1536" y="19226"/>
                        <a:pt x="-406" y="19743"/>
                        <a:pt x="599" y="19391"/>
                      </a:cubicBezTo>
                      <a:cubicBezTo>
                        <a:pt x="1065" y="19226"/>
                        <a:pt x="12092" y="15113"/>
                        <a:pt x="21916" y="477"/>
                      </a:cubicBezTo>
                      <a:lnTo>
                        <a:pt x="21387" y="-2236"/>
                      </a:lnTo>
                      <a:lnTo>
                        <a:pt x="20299" y="-2568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7" name="Vrije vorm 446">
                  <a:extLst>
                    <a:ext uri="{FF2B5EF4-FFF2-40B4-BE49-F238E27FC236}">
                      <a16:creationId xmlns:a16="http://schemas.microsoft.com/office/drawing/2014/main" id="{A2CD2B36-B707-2D17-AED5-3258D2FD2257}"/>
                    </a:ext>
                  </a:extLst>
                </p:cNvPr>
                <p:cNvSpPr/>
                <p:nvPr/>
              </p:nvSpPr>
              <p:spPr>
                <a:xfrm flipV="1">
                  <a:off x="3724910" y="2470470"/>
                  <a:ext cx="23923" cy="22062"/>
                </a:xfrm>
                <a:custGeom>
                  <a:avLst/>
                  <a:gdLst>
                    <a:gd name="connsiteX0" fmla="*/ 20297 w 23923"/>
                    <a:gd name="connsiteY0" fmla="*/ -2563 h 22062"/>
                    <a:gd name="connsiteX1" fmla="*/ 18681 w 23923"/>
                    <a:gd name="connsiteY1" fmla="*/ -1703 h 22062"/>
                    <a:gd name="connsiteX2" fmla="*/ -729 w 23923"/>
                    <a:gd name="connsiteY2" fmla="*/ 15719 h 22062"/>
                    <a:gd name="connsiteX3" fmla="*/ -1890 w 23923"/>
                    <a:gd name="connsiteY3" fmla="*/ 18215 h 22062"/>
                    <a:gd name="connsiteX4" fmla="*/ 597 w 23923"/>
                    <a:gd name="connsiteY4" fmla="*/ 19386 h 22062"/>
                    <a:gd name="connsiteX5" fmla="*/ 21914 w 23923"/>
                    <a:gd name="connsiteY5" fmla="*/ 472 h 22062"/>
                    <a:gd name="connsiteX6" fmla="*/ 21385 w 23923"/>
                    <a:gd name="connsiteY6" fmla="*/ -2231 h 22062"/>
                    <a:gd name="connsiteX7" fmla="*/ 20297 w 23923"/>
                    <a:gd name="connsiteY7" fmla="*/ -2563 h 22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23" h="22062">
                      <a:moveTo>
                        <a:pt x="20297" y="-2563"/>
                      </a:moveTo>
                      <a:lnTo>
                        <a:pt x="18681" y="-1703"/>
                      </a:lnTo>
                      <a:cubicBezTo>
                        <a:pt x="9623" y="11804"/>
                        <a:pt x="-626" y="15678"/>
                        <a:pt x="-729" y="15719"/>
                      </a:cubicBezTo>
                      <a:cubicBezTo>
                        <a:pt x="-1735" y="16092"/>
                        <a:pt x="-2263" y="17210"/>
                        <a:pt x="-1890" y="18215"/>
                      </a:cubicBezTo>
                      <a:cubicBezTo>
                        <a:pt x="-1517" y="19220"/>
                        <a:pt x="-398" y="19748"/>
                        <a:pt x="597" y="19386"/>
                      </a:cubicBezTo>
                      <a:cubicBezTo>
                        <a:pt x="1074" y="19220"/>
                        <a:pt x="12100" y="15108"/>
                        <a:pt x="21914" y="472"/>
                      </a:cubicBezTo>
                      <a:lnTo>
                        <a:pt x="21385" y="-2231"/>
                      </a:lnTo>
                      <a:lnTo>
                        <a:pt x="20297" y="-2563"/>
                      </a:ln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8" name="Vrije vorm 447">
                  <a:extLst>
                    <a:ext uri="{FF2B5EF4-FFF2-40B4-BE49-F238E27FC236}">
                      <a16:creationId xmlns:a16="http://schemas.microsoft.com/office/drawing/2014/main" id="{7AADE511-467D-F7DA-6BB1-4D2FDA97A324}"/>
                    </a:ext>
                  </a:extLst>
                </p:cNvPr>
                <p:cNvSpPr/>
                <p:nvPr/>
              </p:nvSpPr>
              <p:spPr>
                <a:xfrm flipV="1">
                  <a:off x="3753881" y="1725721"/>
                  <a:ext cx="274592" cy="732766"/>
                </a:xfrm>
                <a:custGeom>
                  <a:avLst/>
                  <a:gdLst>
                    <a:gd name="connsiteX0" fmla="*/ 204917 w 274592"/>
                    <a:gd name="connsiteY0" fmla="*/ 716696 h 732766"/>
                    <a:gd name="connsiteX1" fmla="*/ 238649 w 274592"/>
                    <a:gd name="connsiteY1" fmla="*/ 313987 h 732766"/>
                    <a:gd name="connsiteX2" fmla="*/ 272454 w 274592"/>
                    <a:gd name="connsiteY2" fmla="*/ 19043 h 732766"/>
                    <a:gd name="connsiteX3" fmla="*/ 194585 w 274592"/>
                    <a:gd name="connsiteY3" fmla="*/ 6749 h 732766"/>
                    <a:gd name="connsiteX4" fmla="*/ 148479 w 274592"/>
                    <a:gd name="connsiteY4" fmla="*/ 295550 h 732766"/>
                    <a:gd name="connsiteX5" fmla="*/ 111597 w 274592"/>
                    <a:gd name="connsiteY5" fmla="*/ 570016 h 732766"/>
                    <a:gd name="connsiteX6" fmla="*/ 91098 w 274592"/>
                    <a:gd name="connsiteY6" fmla="*/ 570016 h 732766"/>
                    <a:gd name="connsiteX7" fmla="*/ 73678 w 274592"/>
                    <a:gd name="connsiteY7" fmla="*/ 6749 h 732766"/>
                    <a:gd name="connsiteX8" fmla="*/ -2139 w 274592"/>
                    <a:gd name="connsiteY8" fmla="*/ 4708 h 732766"/>
                    <a:gd name="connsiteX9" fmla="*/ 4006 w 274592"/>
                    <a:gd name="connsiteY9" fmla="*/ 729778 h 732766"/>
                    <a:gd name="connsiteX10" fmla="*/ 204917 w 274592"/>
                    <a:gd name="connsiteY10" fmla="*/ 716696 h 732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74592" h="732766">
                      <a:moveTo>
                        <a:pt x="204917" y="716696"/>
                      </a:moveTo>
                      <a:lnTo>
                        <a:pt x="238649" y="313987"/>
                      </a:lnTo>
                      <a:lnTo>
                        <a:pt x="272454" y="19043"/>
                      </a:lnTo>
                      <a:cubicBezTo>
                        <a:pt x="272454" y="19043"/>
                        <a:pt x="256070" y="-3496"/>
                        <a:pt x="194585" y="6749"/>
                      </a:cubicBezTo>
                      <a:lnTo>
                        <a:pt x="148479" y="295550"/>
                      </a:lnTo>
                      <a:lnTo>
                        <a:pt x="111597" y="570016"/>
                      </a:lnTo>
                      <a:lnTo>
                        <a:pt x="91098" y="570016"/>
                      </a:lnTo>
                      <a:lnTo>
                        <a:pt x="73678" y="6749"/>
                      </a:lnTo>
                      <a:cubicBezTo>
                        <a:pt x="73678" y="6749"/>
                        <a:pt x="47034" y="-13729"/>
                        <a:pt x="-2139" y="4708"/>
                      </a:cubicBezTo>
                      <a:lnTo>
                        <a:pt x="4006" y="729778"/>
                      </a:lnTo>
                      <a:lnTo>
                        <a:pt x="204917" y="716696"/>
                      </a:lnTo>
                    </a:path>
                  </a:pathLst>
                </a:custGeom>
                <a:solidFill>
                  <a:schemeClr val="tx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49" name="Vrije vorm 448">
                  <a:extLst>
                    <a:ext uri="{FF2B5EF4-FFF2-40B4-BE49-F238E27FC236}">
                      <a16:creationId xmlns:a16="http://schemas.microsoft.com/office/drawing/2014/main" id="{6297780E-61CD-E2F5-ADC9-E2B2B2370F2E}"/>
                    </a:ext>
                  </a:extLst>
                </p:cNvPr>
                <p:cNvSpPr/>
                <p:nvPr/>
              </p:nvSpPr>
              <p:spPr>
                <a:xfrm flipV="1">
                  <a:off x="3847118" y="1306335"/>
                  <a:ext cx="71754" cy="148616"/>
                </a:xfrm>
                <a:custGeom>
                  <a:avLst/>
                  <a:gdLst>
                    <a:gd name="connsiteX0" fmla="*/ -2132 w 71754"/>
                    <a:gd name="connsiteY0" fmla="*/ 110616 h 148616"/>
                    <a:gd name="connsiteX1" fmla="*/ 624 w 71754"/>
                    <a:gd name="connsiteY1" fmla="*/ -3767 h 148616"/>
                    <a:gd name="connsiteX2" fmla="*/ 69622 w 71754"/>
                    <a:gd name="connsiteY2" fmla="*/ 27058 h 148616"/>
                    <a:gd name="connsiteX3" fmla="*/ 67446 w 71754"/>
                    <a:gd name="connsiteY3" fmla="*/ 144849 h 148616"/>
                    <a:gd name="connsiteX4" fmla="*/ -2132 w 71754"/>
                    <a:gd name="connsiteY4" fmla="*/ 110616 h 1486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754" h="148616">
                      <a:moveTo>
                        <a:pt x="-2132" y="110616"/>
                      </a:moveTo>
                      <a:lnTo>
                        <a:pt x="624" y="-3767"/>
                      </a:lnTo>
                      <a:lnTo>
                        <a:pt x="69622" y="27058"/>
                      </a:lnTo>
                      <a:lnTo>
                        <a:pt x="67446" y="144849"/>
                      </a:lnTo>
                      <a:lnTo>
                        <a:pt x="-2132" y="110616"/>
                      </a:lnTo>
                    </a:path>
                  </a:pathLst>
                </a:custGeom>
                <a:solidFill>
                  <a:srgbClr val="CF8D7C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0" name="Vrije vorm 449">
                  <a:extLst>
                    <a:ext uri="{FF2B5EF4-FFF2-40B4-BE49-F238E27FC236}">
                      <a16:creationId xmlns:a16="http://schemas.microsoft.com/office/drawing/2014/main" id="{486B6AF6-17CA-F7FA-24FB-3F473CBE2D89}"/>
                    </a:ext>
                  </a:extLst>
                </p:cNvPr>
                <p:cNvSpPr/>
                <p:nvPr/>
              </p:nvSpPr>
              <p:spPr>
                <a:xfrm flipV="1">
                  <a:off x="3734958" y="1382383"/>
                  <a:ext cx="319165" cy="371257"/>
                </a:xfrm>
                <a:custGeom>
                  <a:avLst/>
                  <a:gdLst>
                    <a:gd name="connsiteX0" fmla="*/ -1074 w 319165"/>
                    <a:gd name="connsiteY0" fmla="*/ 324719 h 371257"/>
                    <a:gd name="connsiteX1" fmla="*/ 18833 w 319165"/>
                    <a:gd name="connsiteY1" fmla="*/ 16165 h 371257"/>
                    <a:gd name="connsiteX2" fmla="*/ 150321 w 319165"/>
                    <a:gd name="connsiteY2" fmla="*/ -3236 h 371257"/>
                    <a:gd name="connsiteX3" fmla="*/ 223838 w 319165"/>
                    <a:gd name="connsiteY3" fmla="*/ 11276 h 371257"/>
                    <a:gd name="connsiteX4" fmla="*/ 317023 w 319165"/>
                    <a:gd name="connsiteY4" fmla="*/ 356912 h 371257"/>
                    <a:gd name="connsiteX5" fmla="*/ 177545 w 319165"/>
                    <a:gd name="connsiteY5" fmla="*/ 367695 h 371257"/>
                    <a:gd name="connsiteX6" fmla="*/ 137212 w 319165"/>
                    <a:gd name="connsiteY6" fmla="*/ 330344 h 371257"/>
                    <a:gd name="connsiteX7" fmla="*/ 104630 w 319165"/>
                    <a:gd name="connsiteY7" fmla="*/ 365115 h 371257"/>
                    <a:gd name="connsiteX8" fmla="*/ -2142 w 319165"/>
                    <a:gd name="connsiteY8" fmla="*/ 352634 h 371257"/>
                    <a:gd name="connsiteX9" fmla="*/ -1074 w 319165"/>
                    <a:gd name="connsiteY9" fmla="*/ 324719 h 3712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19165" h="371257">
                      <a:moveTo>
                        <a:pt x="-1074" y="324719"/>
                      </a:moveTo>
                      <a:cubicBezTo>
                        <a:pt x="-1074" y="324719"/>
                        <a:pt x="5579" y="120045"/>
                        <a:pt x="18833" y="16165"/>
                      </a:cubicBezTo>
                      <a:cubicBezTo>
                        <a:pt x="18833" y="16165"/>
                        <a:pt x="69540" y="-6529"/>
                        <a:pt x="150321" y="-3236"/>
                      </a:cubicBezTo>
                      <a:cubicBezTo>
                        <a:pt x="207391" y="-915"/>
                        <a:pt x="223838" y="11276"/>
                        <a:pt x="223838" y="11276"/>
                      </a:cubicBezTo>
                      <a:lnTo>
                        <a:pt x="317023" y="356912"/>
                      </a:lnTo>
                      <a:cubicBezTo>
                        <a:pt x="317023" y="356912"/>
                        <a:pt x="264513" y="367798"/>
                        <a:pt x="177545" y="367695"/>
                      </a:cubicBezTo>
                      <a:lnTo>
                        <a:pt x="137212" y="330344"/>
                      </a:lnTo>
                      <a:cubicBezTo>
                        <a:pt x="137212" y="330344"/>
                        <a:pt x="126268" y="359346"/>
                        <a:pt x="104630" y="365115"/>
                      </a:cubicBezTo>
                      <a:cubicBezTo>
                        <a:pt x="71851" y="362857"/>
                        <a:pt x="36067" y="358921"/>
                        <a:pt x="-2142" y="352634"/>
                      </a:cubicBezTo>
                      <a:lnTo>
                        <a:pt x="-1074" y="324719"/>
                      </a:lnTo>
                    </a:path>
                  </a:pathLst>
                </a:custGeom>
                <a:solidFill>
                  <a:srgbClr val="E1F5F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1" name="Vrije vorm 450">
                  <a:extLst>
                    <a:ext uri="{FF2B5EF4-FFF2-40B4-BE49-F238E27FC236}">
                      <a16:creationId xmlns:a16="http://schemas.microsoft.com/office/drawing/2014/main" id="{CBAEDC38-2A09-E4EA-442E-742E00403F0E}"/>
                    </a:ext>
                  </a:extLst>
                </p:cNvPr>
                <p:cNvSpPr/>
                <p:nvPr/>
              </p:nvSpPr>
              <p:spPr>
                <a:xfrm flipV="1">
                  <a:off x="3983456" y="1393167"/>
                  <a:ext cx="151447" cy="235778"/>
                </a:xfrm>
                <a:custGeom>
                  <a:avLst/>
                  <a:gdLst>
                    <a:gd name="connsiteX0" fmla="*/ 73993 w 151447"/>
                    <a:gd name="connsiteY0" fmla="*/ -3625 h 235778"/>
                    <a:gd name="connsiteX1" fmla="*/ -2279 w 151447"/>
                    <a:gd name="connsiteY1" fmla="*/ 208797 h 235778"/>
                    <a:gd name="connsiteX2" fmla="*/ 68387 w 151447"/>
                    <a:gd name="connsiteY2" fmla="*/ 232154 h 235778"/>
                    <a:gd name="connsiteX3" fmla="*/ 149168 w 151447"/>
                    <a:gd name="connsiteY3" fmla="*/ 2901 h 235778"/>
                    <a:gd name="connsiteX4" fmla="*/ 73993 w 151447"/>
                    <a:gd name="connsiteY4" fmla="*/ -3625 h 235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1447" h="235778">
                      <a:moveTo>
                        <a:pt x="73993" y="-3625"/>
                      </a:moveTo>
                      <a:lnTo>
                        <a:pt x="-2279" y="208797"/>
                      </a:lnTo>
                      <a:lnTo>
                        <a:pt x="68387" y="232154"/>
                      </a:lnTo>
                      <a:lnTo>
                        <a:pt x="149168" y="2901"/>
                      </a:lnTo>
                      <a:lnTo>
                        <a:pt x="73993" y="-3625"/>
                      </a:lnTo>
                    </a:path>
                  </a:pathLst>
                </a:custGeom>
                <a:solidFill>
                  <a:srgbClr val="E1F5F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2" name="Vrije vorm 451">
                  <a:extLst>
                    <a:ext uri="{FF2B5EF4-FFF2-40B4-BE49-F238E27FC236}">
                      <a16:creationId xmlns:a16="http://schemas.microsoft.com/office/drawing/2014/main" id="{F4CC7A7C-C637-10AB-F502-48D810D7508D}"/>
                    </a:ext>
                  </a:extLst>
                </p:cNvPr>
                <p:cNvSpPr/>
                <p:nvPr/>
              </p:nvSpPr>
              <p:spPr>
                <a:xfrm flipV="1">
                  <a:off x="3754820" y="1744586"/>
                  <a:ext cx="31166" cy="29350"/>
                </a:xfrm>
                <a:custGeom>
                  <a:avLst/>
                  <a:gdLst>
                    <a:gd name="connsiteX0" fmla="*/ 29129 w 31166"/>
                    <a:gd name="connsiteY0" fmla="*/ 16938 h 29350"/>
                    <a:gd name="connsiteX1" fmla="*/ 3169 w 31166"/>
                    <a:gd name="connsiteY1" fmla="*/ 25660 h 29350"/>
                    <a:gd name="connsiteX2" fmla="*/ -1826 w 31166"/>
                    <a:gd name="connsiteY2" fmla="*/ 17218 h 29350"/>
                    <a:gd name="connsiteX3" fmla="*/ 3169 w 31166"/>
                    <a:gd name="connsiteY3" fmla="*/ 5244 h 29350"/>
                    <a:gd name="connsiteX4" fmla="*/ 25284 w 31166"/>
                    <a:gd name="connsiteY4" fmla="*/ -3353 h 29350"/>
                    <a:gd name="connsiteX5" fmla="*/ 29129 w 31166"/>
                    <a:gd name="connsiteY5" fmla="*/ 16938 h 29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1166" h="29350">
                      <a:moveTo>
                        <a:pt x="29129" y="16938"/>
                      </a:moveTo>
                      <a:cubicBezTo>
                        <a:pt x="11781" y="20677"/>
                        <a:pt x="3366" y="25598"/>
                        <a:pt x="3169" y="25660"/>
                      </a:cubicBezTo>
                      <a:cubicBezTo>
                        <a:pt x="-1919" y="27348"/>
                        <a:pt x="-1256" y="22418"/>
                        <a:pt x="-1826" y="17218"/>
                      </a:cubicBezTo>
                      <a:cubicBezTo>
                        <a:pt x="-2583" y="10340"/>
                        <a:pt x="-1401" y="6663"/>
                        <a:pt x="3169" y="5244"/>
                      </a:cubicBezTo>
                      <a:cubicBezTo>
                        <a:pt x="3998" y="4995"/>
                        <a:pt x="8008" y="801"/>
                        <a:pt x="25284" y="-3353"/>
                      </a:cubicBezTo>
                      <a:cubicBezTo>
                        <a:pt x="26579" y="3411"/>
                        <a:pt x="27864" y="10174"/>
                        <a:pt x="29129" y="16938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3" name="Vrije vorm 452">
                  <a:extLst>
                    <a:ext uri="{FF2B5EF4-FFF2-40B4-BE49-F238E27FC236}">
                      <a16:creationId xmlns:a16="http://schemas.microsoft.com/office/drawing/2014/main" id="{43465801-B9C3-903D-E508-3B8D7A4EA016}"/>
                    </a:ext>
                  </a:extLst>
                </p:cNvPr>
                <p:cNvSpPr/>
                <p:nvPr/>
              </p:nvSpPr>
              <p:spPr>
                <a:xfrm flipV="1">
                  <a:off x="3798619" y="1756359"/>
                  <a:ext cx="114316" cy="25998"/>
                </a:xfrm>
                <a:custGeom>
                  <a:avLst/>
                  <a:gdLst>
                    <a:gd name="connsiteX0" fmla="*/ 109668 w 114316"/>
                    <a:gd name="connsiteY0" fmla="*/ 19839 h 25998"/>
                    <a:gd name="connsiteX1" fmla="*/ 46338 w 114316"/>
                    <a:gd name="connsiteY1" fmla="*/ 18171 h 25998"/>
                    <a:gd name="connsiteX2" fmla="*/ -420 w 114316"/>
                    <a:gd name="connsiteY2" fmla="*/ 22656 h 25998"/>
                    <a:gd name="connsiteX3" fmla="*/ -2109 w 114316"/>
                    <a:gd name="connsiteY3" fmla="*/ 1640 h 25998"/>
                    <a:gd name="connsiteX4" fmla="*/ 45914 w 114316"/>
                    <a:gd name="connsiteY4" fmla="*/ -3187 h 25998"/>
                    <a:gd name="connsiteX5" fmla="*/ 67769 w 114316"/>
                    <a:gd name="connsiteY5" fmla="*/ -3260 h 25998"/>
                    <a:gd name="connsiteX6" fmla="*/ 112207 w 114316"/>
                    <a:gd name="connsiteY6" fmla="*/ -494 h 25998"/>
                    <a:gd name="connsiteX7" fmla="*/ 109668 w 114316"/>
                    <a:gd name="connsiteY7" fmla="*/ 19839 h 25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4316" h="25998">
                      <a:moveTo>
                        <a:pt x="109668" y="19839"/>
                      </a:moveTo>
                      <a:cubicBezTo>
                        <a:pt x="90361" y="18005"/>
                        <a:pt x="69231" y="17632"/>
                        <a:pt x="46338" y="18171"/>
                      </a:cubicBezTo>
                      <a:cubicBezTo>
                        <a:pt x="28700" y="18596"/>
                        <a:pt x="12876" y="20419"/>
                        <a:pt x="-420" y="22656"/>
                      </a:cubicBezTo>
                      <a:cubicBezTo>
                        <a:pt x="5" y="15613"/>
                        <a:pt x="-928" y="8611"/>
                        <a:pt x="-2109" y="1640"/>
                      </a:cubicBezTo>
                      <a:cubicBezTo>
                        <a:pt x="11425" y="-794"/>
                        <a:pt x="27591" y="-2752"/>
                        <a:pt x="45914" y="-3187"/>
                      </a:cubicBezTo>
                      <a:cubicBezTo>
                        <a:pt x="53375" y="-3374"/>
                        <a:pt x="60660" y="-3384"/>
                        <a:pt x="67769" y="-3260"/>
                      </a:cubicBezTo>
                      <a:cubicBezTo>
                        <a:pt x="83719" y="-2959"/>
                        <a:pt x="98413" y="-2089"/>
                        <a:pt x="112207" y="-494"/>
                      </a:cubicBezTo>
                      <a:cubicBezTo>
                        <a:pt x="110694" y="6176"/>
                        <a:pt x="109803" y="12951"/>
                        <a:pt x="109668" y="19839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4" name="Vrije vorm 453">
                  <a:extLst>
                    <a:ext uri="{FF2B5EF4-FFF2-40B4-BE49-F238E27FC236}">
                      <a16:creationId xmlns:a16="http://schemas.microsoft.com/office/drawing/2014/main" id="{257207BF-2A08-9938-906F-85AD46A9C216}"/>
                    </a:ext>
                  </a:extLst>
                </p:cNvPr>
                <p:cNvSpPr/>
                <p:nvPr/>
              </p:nvSpPr>
              <p:spPr>
                <a:xfrm flipV="1">
                  <a:off x="3923049" y="1749031"/>
                  <a:ext cx="44557" cy="28800"/>
                </a:xfrm>
                <a:custGeom>
                  <a:avLst/>
                  <a:gdLst>
                    <a:gd name="connsiteX0" fmla="*/ 41755 w 44557"/>
                    <a:gd name="connsiteY0" fmla="*/ 17057 h 28800"/>
                    <a:gd name="connsiteX1" fmla="*/ 35082 w 44557"/>
                    <a:gd name="connsiteY1" fmla="*/ 25084 h 28800"/>
                    <a:gd name="connsiteX2" fmla="*/ -2184 w 44557"/>
                    <a:gd name="connsiteY2" fmla="*/ 16715 h 28800"/>
                    <a:gd name="connsiteX3" fmla="*/ 261 w 44557"/>
                    <a:gd name="connsiteY3" fmla="*/ -3348 h 28800"/>
                    <a:gd name="connsiteX4" fmla="*/ 39372 w 44557"/>
                    <a:gd name="connsiteY4" fmla="*/ 6461 h 28800"/>
                    <a:gd name="connsiteX5" fmla="*/ 41755 w 44557"/>
                    <a:gd name="connsiteY5" fmla="*/ 17057 h 28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557" h="28800">
                      <a:moveTo>
                        <a:pt x="41755" y="17057"/>
                      </a:moveTo>
                      <a:cubicBezTo>
                        <a:pt x="40781" y="22215"/>
                        <a:pt x="40160" y="26804"/>
                        <a:pt x="35082" y="25084"/>
                      </a:cubicBezTo>
                      <a:cubicBezTo>
                        <a:pt x="23713" y="21262"/>
                        <a:pt x="11267" y="18559"/>
                        <a:pt x="-2184" y="16715"/>
                      </a:cubicBezTo>
                      <a:cubicBezTo>
                        <a:pt x="-1739" y="9993"/>
                        <a:pt x="-744" y="3322"/>
                        <a:pt x="261" y="-3348"/>
                      </a:cubicBezTo>
                      <a:cubicBezTo>
                        <a:pt x="14231" y="-1132"/>
                        <a:pt x="27226" y="1996"/>
                        <a:pt x="39372" y="6461"/>
                      </a:cubicBezTo>
                      <a:cubicBezTo>
                        <a:pt x="42916" y="7766"/>
                        <a:pt x="42750" y="11836"/>
                        <a:pt x="41755" y="17057"/>
                      </a:cubicBezTo>
                    </a:path>
                  </a:pathLst>
                </a:custGeom>
                <a:solidFill>
                  <a:srgbClr val="16141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5" name="Vrije vorm 454">
                  <a:extLst>
                    <a:ext uri="{FF2B5EF4-FFF2-40B4-BE49-F238E27FC236}">
                      <a16:creationId xmlns:a16="http://schemas.microsoft.com/office/drawing/2014/main" id="{E29B1B68-F2A0-C7E8-18B4-438B2F1AA406}"/>
                    </a:ext>
                  </a:extLst>
                </p:cNvPr>
                <p:cNvSpPr/>
                <p:nvPr/>
              </p:nvSpPr>
              <p:spPr>
                <a:xfrm flipV="1">
                  <a:off x="3833822" y="1757499"/>
                  <a:ext cx="45370" cy="27676"/>
                </a:xfrm>
                <a:custGeom>
                  <a:avLst/>
                  <a:gdLst>
                    <a:gd name="connsiteX0" fmla="*/ 35560 w 45370"/>
                    <a:gd name="connsiteY0" fmla="*/ 1352 h 27676"/>
                    <a:gd name="connsiteX1" fmla="*/ 5890 w 45370"/>
                    <a:gd name="connsiteY1" fmla="*/ 2854 h 27676"/>
                    <a:gd name="connsiteX2" fmla="*/ 5580 w 45370"/>
                    <a:gd name="connsiteY2" fmla="*/ 19645 h 27676"/>
                    <a:gd name="connsiteX3" fmla="*/ 35229 w 45370"/>
                    <a:gd name="connsiteY3" fmla="*/ 19448 h 27676"/>
                    <a:gd name="connsiteX4" fmla="*/ -2110 w 45370"/>
                    <a:gd name="connsiteY4" fmla="*/ 24337 h 27676"/>
                    <a:gd name="connsiteX5" fmla="*/ -1644 w 45370"/>
                    <a:gd name="connsiteY5" fmla="*/ -1071 h 27676"/>
                    <a:gd name="connsiteX6" fmla="*/ 43260 w 45370"/>
                    <a:gd name="connsiteY6" fmla="*/ -3340 h 27676"/>
                    <a:gd name="connsiteX7" fmla="*/ 42752 w 45370"/>
                    <a:gd name="connsiteY7" fmla="*/ 24036 h 27676"/>
                    <a:gd name="connsiteX8" fmla="*/ -2110 w 45370"/>
                    <a:gd name="connsiteY8" fmla="*/ 24337 h 27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5370" h="27676">
                      <a:moveTo>
                        <a:pt x="35560" y="1352"/>
                      </a:moveTo>
                      <a:lnTo>
                        <a:pt x="5890" y="2854"/>
                      </a:lnTo>
                      <a:lnTo>
                        <a:pt x="5580" y="19645"/>
                      </a:lnTo>
                      <a:lnTo>
                        <a:pt x="35229" y="19448"/>
                      </a:lnTo>
                      <a:close/>
                      <a:moveTo>
                        <a:pt x="-2110" y="24337"/>
                      </a:moveTo>
                      <a:lnTo>
                        <a:pt x="-1644" y="-1071"/>
                      </a:lnTo>
                      <a:lnTo>
                        <a:pt x="43260" y="-3340"/>
                      </a:lnTo>
                      <a:lnTo>
                        <a:pt x="42752" y="24036"/>
                      </a:lnTo>
                      <a:lnTo>
                        <a:pt x="-2110" y="24337"/>
                      </a:lnTo>
                    </a:path>
                  </a:pathLst>
                </a:custGeom>
                <a:solidFill>
                  <a:srgbClr val="9FA2A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6" name="Vrije vorm 455">
                  <a:extLst>
                    <a:ext uri="{FF2B5EF4-FFF2-40B4-BE49-F238E27FC236}">
                      <a16:creationId xmlns:a16="http://schemas.microsoft.com/office/drawing/2014/main" id="{109AA80E-5352-5EC9-F815-4D806CCF21B3}"/>
                    </a:ext>
                  </a:extLst>
                </p:cNvPr>
                <p:cNvSpPr/>
                <p:nvPr/>
              </p:nvSpPr>
              <p:spPr>
                <a:xfrm flipV="1">
                  <a:off x="3874311" y="1383389"/>
                  <a:ext cx="33669" cy="36346"/>
                </a:xfrm>
                <a:custGeom>
                  <a:avLst/>
                  <a:gdLst>
                    <a:gd name="connsiteX0" fmla="*/ -2139 w 33669"/>
                    <a:gd name="connsiteY0" fmla="*/ -3744 h 36346"/>
                    <a:gd name="connsiteX1" fmla="*/ 8328 w 33669"/>
                    <a:gd name="connsiteY1" fmla="*/ 32602 h 36346"/>
                    <a:gd name="connsiteX2" fmla="*/ 31531 w 33669"/>
                    <a:gd name="connsiteY2" fmla="*/ 21985 h 36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669" h="36346">
                      <a:moveTo>
                        <a:pt x="-2139" y="-3744"/>
                      </a:moveTo>
                      <a:lnTo>
                        <a:pt x="8328" y="32602"/>
                      </a:lnTo>
                      <a:lnTo>
                        <a:pt x="31531" y="21985"/>
                      </a:lnTo>
                      <a:close/>
                    </a:path>
                  </a:pathLst>
                </a:custGeom>
                <a:solidFill>
                  <a:srgbClr val="D0BEBB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7" name="Vrije vorm 456">
                  <a:extLst>
                    <a:ext uri="{FF2B5EF4-FFF2-40B4-BE49-F238E27FC236}">
                      <a16:creationId xmlns:a16="http://schemas.microsoft.com/office/drawing/2014/main" id="{0BD41A30-AE6B-31DB-5BDE-2F140E5C2FB1}"/>
                    </a:ext>
                  </a:extLst>
                </p:cNvPr>
                <p:cNvSpPr/>
                <p:nvPr/>
              </p:nvSpPr>
              <p:spPr>
                <a:xfrm flipV="1">
                  <a:off x="3855316" y="1386537"/>
                  <a:ext cx="18995" cy="33197"/>
                </a:xfrm>
                <a:custGeom>
                  <a:avLst/>
                  <a:gdLst>
                    <a:gd name="connsiteX0" fmla="*/ 13894 w 18995"/>
                    <a:gd name="connsiteY0" fmla="*/ 29455 h 33197"/>
                    <a:gd name="connsiteX1" fmla="*/ 16879 w 18995"/>
                    <a:gd name="connsiteY1" fmla="*/ -3743 h 33197"/>
                    <a:gd name="connsiteX2" fmla="*/ -2117 w 18995"/>
                    <a:gd name="connsiteY2" fmla="*/ 19760 h 33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8995" h="33197">
                      <a:moveTo>
                        <a:pt x="13894" y="29455"/>
                      </a:moveTo>
                      <a:lnTo>
                        <a:pt x="16879" y="-3743"/>
                      </a:lnTo>
                      <a:lnTo>
                        <a:pt x="-2117" y="19760"/>
                      </a:lnTo>
                      <a:close/>
                    </a:path>
                  </a:pathLst>
                </a:custGeom>
                <a:solidFill>
                  <a:srgbClr val="D0BEBB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8" name="Vrije vorm 457">
                  <a:extLst>
                    <a:ext uri="{FF2B5EF4-FFF2-40B4-BE49-F238E27FC236}">
                      <a16:creationId xmlns:a16="http://schemas.microsoft.com/office/drawing/2014/main" id="{360A818B-0977-9494-2269-FB36BC111105}"/>
                    </a:ext>
                  </a:extLst>
                </p:cNvPr>
                <p:cNvSpPr/>
                <p:nvPr/>
              </p:nvSpPr>
              <p:spPr>
                <a:xfrm flipV="1">
                  <a:off x="3818982" y="1361492"/>
                  <a:ext cx="52344" cy="61174"/>
                </a:xfrm>
                <a:custGeom>
                  <a:avLst/>
                  <a:gdLst>
                    <a:gd name="connsiteX0" fmla="*/ -2100 w 52344"/>
                    <a:gd name="connsiteY0" fmla="*/ 34559 h 61174"/>
                    <a:gd name="connsiteX1" fmla="*/ 26305 w 52344"/>
                    <a:gd name="connsiteY1" fmla="*/ -3755 h 61174"/>
                    <a:gd name="connsiteX2" fmla="*/ 50244 w 52344"/>
                    <a:gd name="connsiteY2" fmla="*/ 32374 h 61174"/>
                    <a:gd name="connsiteX3" fmla="*/ 12605 w 52344"/>
                    <a:gd name="connsiteY3" fmla="*/ 57420 h 61174"/>
                    <a:gd name="connsiteX4" fmla="*/ -2100 w 52344"/>
                    <a:gd name="connsiteY4" fmla="*/ 34559 h 61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44" h="61174">
                      <a:moveTo>
                        <a:pt x="-2100" y="34559"/>
                      </a:moveTo>
                      <a:lnTo>
                        <a:pt x="26305" y="-3755"/>
                      </a:lnTo>
                      <a:lnTo>
                        <a:pt x="50244" y="32374"/>
                      </a:lnTo>
                      <a:lnTo>
                        <a:pt x="12605" y="57420"/>
                      </a:lnTo>
                      <a:lnTo>
                        <a:pt x="-2100" y="34559"/>
                      </a:lnTo>
                    </a:path>
                  </a:pathLst>
                </a:custGeom>
                <a:solidFill>
                  <a:srgbClr val="D0EBEA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59" name="Vrije vorm 458">
                  <a:extLst>
                    <a:ext uri="{FF2B5EF4-FFF2-40B4-BE49-F238E27FC236}">
                      <a16:creationId xmlns:a16="http://schemas.microsoft.com/office/drawing/2014/main" id="{3BD7FD32-FE13-1E2B-BB75-4F95149EC538}"/>
                    </a:ext>
                  </a:extLst>
                </p:cNvPr>
                <p:cNvSpPr/>
                <p:nvPr/>
              </p:nvSpPr>
              <p:spPr>
                <a:xfrm flipV="1">
                  <a:off x="3884778" y="1356437"/>
                  <a:ext cx="56085" cy="64115"/>
                </a:xfrm>
                <a:custGeom>
                  <a:avLst/>
                  <a:gdLst>
                    <a:gd name="connsiteX0" fmla="*/ 53928 w 56085"/>
                    <a:gd name="connsiteY0" fmla="*/ 37539 h 64115"/>
                    <a:gd name="connsiteX1" fmla="*/ 17844 w 56085"/>
                    <a:gd name="connsiteY1" fmla="*/ -3759 h 64115"/>
                    <a:gd name="connsiteX2" fmla="*/ -2157 w 56085"/>
                    <a:gd name="connsiteY2" fmla="*/ 33406 h 64115"/>
                    <a:gd name="connsiteX3" fmla="*/ 39451 w 56085"/>
                    <a:gd name="connsiteY3" fmla="*/ 60357 h 64115"/>
                    <a:gd name="connsiteX4" fmla="*/ 53928 w 56085"/>
                    <a:gd name="connsiteY4" fmla="*/ 37539 h 64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085" h="64115">
                      <a:moveTo>
                        <a:pt x="53928" y="37539"/>
                      </a:moveTo>
                      <a:lnTo>
                        <a:pt x="17844" y="-3759"/>
                      </a:lnTo>
                      <a:lnTo>
                        <a:pt x="-2157" y="33406"/>
                      </a:lnTo>
                      <a:lnTo>
                        <a:pt x="39451" y="60357"/>
                      </a:lnTo>
                      <a:lnTo>
                        <a:pt x="53928" y="37539"/>
                      </a:lnTo>
                    </a:path>
                  </a:pathLst>
                </a:custGeom>
                <a:solidFill>
                  <a:srgbClr val="D0EBEA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0" name="Vrije vorm 459">
                  <a:extLst>
                    <a:ext uri="{FF2B5EF4-FFF2-40B4-BE49-F238E27FC236}">
                      <a16:creationId xmlns:a16="http://schemas.microsoft.com/office/drawing/2014/main" id="{7473D242-EEF9-C934-D41C-BB6043BB7BDC}"/>
                    </a:ext>
                  </a:extLst>
                </p:cNvPr>
                <p:cNvSpPr/>
                <p:nvPr/>
              </p:nvSpPr>
              <p:spPr>
                <a:xfrm flipV="1">
                  <a:off x="4045895" y="1589513"/>
                  <a:ext cx="101102" cy="51717"/>
                </a:xfrm>
                <a:custGeom>
                  <a:avLst/>
                  <a:gdLst>
                    <a:gd name="connsiteX0" fmla="*/ -2311 w 101102"/>
                    <a:gd name="connsiteY0" fmla="*/ 33354 h 51717"/>
                    <a:gd name="connsiteX1" fmla="*/ 84781 w 101102"/>
                    <a:gd name="connsiteY1" fmla="*/ 48207 h 51717"/>
                    <a:gd name="connsiteX2" fmla="*/ 98792 w 101102"/>
                    <a:gd name="connsiteY2" fmla="*/ 12669 h 51717"/>
                    <a:gd name="connsiteX3" fmla="*/ 3845 w 101102"/>
                    <a:gd name="connsiteY3" fmla="*/ -3510 h 51717"/>
                    <a:gd name="connsiteX4" fmla="*/ -2311 w 101102"/>
                    <a:gd name="connsiteY4" fmla="*/ 33354 h 51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102" h="51717">
                      <a:moveTo>
                        <a:pt x="-2311" y="33354"/>
                      </a:moveTo>
                      <a:lnTo>
                        <a:pt x="84781" y="48207"/>
                      </a:lnTo>
                      <a:lnTo>
                        <a:pt x="98792" y="12669"/>
                      </a:lnTo>
                      <a:lnTo>
                        <a:pt x="3845" y="-3510"/>
                      </a:lnTo>
                      <a:lnTo>
                        <a:pt x="-2311" y="33354"/>
                      </a:lnTo>
                    </a:path>
                  </a:pathLst>
                </a:custGeom>
                <a:solidFill>
                  <a:srgbClr val="D0EBEA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1" name="Vrije vorm 460">
                  <a:extLst>
                    <a:ext uri="{FF2B5EF4-FFF2-40B4-BE49-F238E27FC236}">
                      <a16:creationId xmlns:a16="http://schemas.microsoft.com/office/drawing/2014/main" id="{2DD76D4D-7B14-3C14-7954-2A58D1BC9D06}"/>
                    </a:ext>
                  </a:extLst>
                </p:cNvPr>
                <p:cNvSpPr/>
                <p:nvPr/>
              </p:nvSpPr>
              <p:spPr>
                <a:xfrm flipV="1">
                  <a:off x="3784629" y="1050503"/>
                  <a:ext cx="217456" cy="303572"/>
                </a:xfrm>
                <a:custGeom>
                  <a:avLst/>
                  <a:gdLst>
                    <a:gd name="connsiteX0" fmla="*/ 117813 w 217456"/>
                    <a:gd name="connsiteY0" fmla="*/ 294452 h 303572"/>
                    <a:gd name="connsiteX1" fmla="*/ 181598 w 217456"/>
                    <a:gd name="connsiteY1" fmla="*/ 234500 h 303572"/>
                    <a:gd name="connsiteX2" fmla="*/ 178261 w 217456"/>
                    <a:gd name="connsiteY2" fmla="*/ 158389 h 303572"/>
                    <a:gd name="connsiteX3" fmla="*/ 205112 w 217456"/>
                    <a:gd name="connsiteY3" fmla="*/ 165702 h 303572"/>
                    <a:gd name="connsiteX4" fmla="*/ 177028 w 217456"/>
                    <a:gd name="connsiteY4" fmla="*/ 91995 h 303572"/>
                    <a:gd name="connsiteX5" fmla="*/ 171121 w 217456"/>
                    <a:gd name="connsiteY5" fmla="*/ 51805 h 303572"/>
                    <a:gd name="connsiteX6" fmla="*/ 82589 w 217456"/>
                    <a:gd name="connsiteY6" fmla="*/ -3382 h 303572"/>
                    <a:gd name="connsiteX7" fmla="*/ -1198 w 217456"/>
                    <a:gd name="connsiteY7" fmla="*/ 60372 h 303572"/>
                    <a:gd name="connsiteX8" fmla="*/ -2141 w 217456"/>
                    <a:gd name="connsiteY8" fmla="*/ 246877 h 303572"/>
                    <a:gd name="connsiteX9" fmla="*/ 117813 w 217456"/>
                    <a:gd name="connsiteY9" fmla="*/ 294452 h 3035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17456" h="303572">
                      <a:moveTo>
                        <a:pt x="117813" y="294452"/>
                      </a:moveTo>
                      <a:cubicBezTo>
                        <a:pt x="183350" y="279516"/>
                        <a:pt x="181598" y="234500"/>
                        <a:pt x="181598" y="234500"/>
                      </a:cubicBezTo>
                      <a:cubicBezTo>
                        <a:pt x="181598" y="234500"/>
                        <a:pt x="179557" y="199759"/>
                        <a:pt x="178261" y="158389"/>
                      </a:cubicBezTo>
                      <a:cubicBezTo>
                        <a:pt x="184324" y="166717"/>
                        <a:pt x="194583" y="170208"/>
                        <a:pt x="205112" y="165702"/>
                      </a:cubicBezTo>
                      <a:cubicBezTo>
                        <a:pt x="227424" y="156162"/>
                        <a:pt x="210937" y="85914"/>
                        <a:pt x="177028" y="91995"/>
                      </a:cubicBezTo>
                      <a:cubicBezTo>
                        <a:pt x="175567" y="72376"/>
                        <a:pt x="173639" y="57098"/>
                        <a:pt x="171121" y="51805"/>
                      </a:cubicBezTo>
                      <a:cubicBezTo>
                        <a:pt x="161608" y="31825"/>
                        <a:pt x="119709" y="1372"/>
                        <a:pt x="82589" y="-3382"/>
                      </a:cubicBezTo>
                      <a:cubicBezTo>
                        <a:pt x="45457" y="-8136"/>
                        <a:pt x="-1198" y="16599"/>
                        <a:pt x="-1198" y="60372"/>
                      </a:cubicBezTo>
                      <a:cubicBezTo>
                        <a:pt x="-1198" y="104144"/>
                        <a:pt x="-2141" y="246877"/>
                        <a:pt x="-2141" y="246877"/>
                      </a:cubicBezTo>
                      <a:cubicBezTo>
                        <a:pt x="-2141" y="246877"/>
                        <a:pt x="9279" y="319197"/>
                        <a:pt x="117813" y="294452"/>
                      </a:cubicBezTo>
                    </a:path>
                  </a:pathLst>
                </a:custGeom>
                <a:solidFill>
                  <a:srgbClr val="F9AA8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2" name="Vrije vorm 461">
                  <a:extLst>
                    <a:ext uri="{FF2B5EF4-FFF2-40B4-BE49-F238E27FC236}">
                      <a16:creationId xmlns:a16="http://schemas.microsoft.com/office/drawing/2014/main" id="{417EB487-CE80-E1C9-368E-0339587BB004}"/>
                    </a:ext>
                  </a:extLst>
                </p:cNvPr>
                <p:cNvSpPr/>
                <p:nvPr/>
              </p:nvSpPr>
              <p:spPr>
                <a:xfrm flipV="1">
                  <a:off x="3810288" y="1182216"/>
                  <a:ext cx="33835" cy="82781"/>
                </a:xfrm>
                <a:custGeom>
                  <a:avLst/>
                  <a:gdLst>
                    <a:gd name="connsiteX0" fmla="*/ 31750 w 33835"/>
                    <a:gd name="connsiteY0" fmla="*/ 78842 h 82781"/>
                    <a:gd name="connsiteX1" fmla="*/ 22082 w 33835"/>
                    <a:gd name="connsiteY1" fmla="*/ 41346 h 82781"/>
                    <a:gd name="connsiteX2" fmla="*/ 13770 w 33835"/>
                    <a:gd name="connsiteY2" fmla="*/ 23655 h 82781"/>
                    <a:gd name="connsiteX3" fmla="*/ 1448 w 33835"/>
                    <a:gd name="connsiteY3" fmla="*/ 8149 h 82781"/>
                    <a:gd name="connsiteX4" fmla="*/ 1438 w 33835"/>
                    <a:gd name="connsiteY4" fmla="*/ 10624 h 82781"/>
                    <a:gd name="connsiteX5" fmla="*/ 15573 w 33835"/>
                    <a:gd name="connsiteY5" fmla="*/ -3939 h 82781"/>
                    <a:gd name="connsiteX6" fmla="*/ -749 w 33835"/>
                    <a:gd name="connsiteY6" fmla="*/ 8128 h 82781"/>
                    <a:gd name="connsiteX7" fmla="*/ -2085 w 33835"/>
                    <a:gd name="connsiteY7" fmla="*/ 9184 h 82781"/>
                    <a:gd name="connsiteX8" fmla="*/ -769 w 33835"/>
                    <a:gd name="connsiteY8" fmla="*/ 10604 h 82781"/>
                    <a:gd name="connsiteX9" fmla="*/ 17884 w 33835"/>
                    <a:gd name="connsiteY9" fmla="*/ 43035 h 82781"/>
                    <a:gd name="connsiteX10" fmla="*/ 31750 w 33835"/>
                    <a:gd name="connsiteY10" fmla="*/ 78842 h 82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3835" h="82781">
                      <a:moveTo>
                        <a:pt x="31750" y="78842"/>
                      </a:moveTo>
                      <a:cubicBezTo>
                        <a:pt x="30009" y="66040"/>
                        <a:pt x="26828" y="53424"/>
                        <a:pt x="22082" y="41346"/>
                      </a:cubicBezTo>
                      <a:cubicBezTo>
                        <a:pt x="19833" y="35256"/>
                        <a:pt x="17180" y="29279"/>
                        <a:pt x="13770" y="23655"/>
                      </a:cubicBezTo>
                      <a:cubicBezTo>
                        <a:pt x="10444" y="18041"/>
                        <a:pt x="6765" y="12406"/>
                        <a:pt x="1448" y="8149"/>
                      </a:cubicBezTo>
                      <a:lnTo>
                        <a:pt x="1438" y="10624"/>
                      </a:lnTo>
                      <a:cubicBezTo>
                        <a:pt x="6298" y="5942"/>
                        <a:pt x="11024" y="1116"/>
                        <a:pt x="15573" y="-3939"/>
                      </a:cubicBezTo>
                      <a:cubicBezTo>
                        <a:pt x="9957" y="-117"/>
                        <a:pt x="4536" y="3923"/>
                        <a:pt x="-749" y="8128"/>
                      </a:cubicBezTo>
                      <a:lnTo>
                        <a:pt x="-2085" y="9184"/>
                      </a:lnTo>
                      <a:lnTo>
                        <a:pt x="-769" y="10604"/>
                      </a:lnTo>
                      <a:cubicBezTo>
                        <a:pt x="7615" y="19667"/>
                        <a:pt x="12734" y="31506"/>
                        <a:pt x="17884" y="43035"/>
                      </a:cubicBezTo>
                      <a:cubicBezTo>
                        <a:pt x="22734" y="54780"/>
                        <a:pt x="27232" y="66744"/>
                        <a:pt x="31750" y="78842"/>
                      </a:cubicBezTo>
                    </a:path>
                  </a:pathLst>
                </a:custGeom>
                <a:solidFill>
                  <a:srgbClr val="CF8D7C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3" name="Vrije vorm 462">
                  <a:extLst>
                    <a:ext uri="{FF2B5EF4-FFF2-40B4-BE49-F238E27FC236}">
                      <a16:creationId xmlns:a16="http://schemas.microsoft.com/office/drawing/2014/main" id="{026A6953-70BD-C937-5B0D-A4A95A0A5D5D}"/>
                    </a:ext>
                  </a:extLst>
                </p:cNvPr>
                <p:cNvSpPr/>
                <p:nvPr/>
              </p:nvSpPr>
              <p:spPr>
                <a:xfrm flipV="1">
                  <a:off x="3883877" y="1171122"/>
                  <a:ext cx="18985" cy="34554"/>
                </a:xfrm>
                <a:custGeom>
                  <a:avLst/>
                  <a:gdLst>
                    <a:gd name="connsiteX0" fmla="*/ -2141 w 18985"/>
                    <a:gd name="connsiteY0" fmla="*/ 13300 h 34554"/>
                    <a:gd name="connsiteX1" fmla="*/ 7352 w 18985"/>
                    <a:gd name="connsiteY1" fmla="*/ -3978 h 34554"/>
                    <a:gd name="connsiteX2" fmla="*/ 16845 w 18985"/>
                    <a:gd name="connsiteY2" fmla="*/ 13300 h 34554"/>
                    <a:gd name="connsiteX3" fmla="*/ 7352 w 18985"/>
                    <a:gd name="connsiteY3" fmla="*/ 30577 h 34554"/>
                    <a:gd name="connsiteX4" fmla="*/ -2141 w 18985"/>
                    <a:gd name="connsiteY4" fmla="*/ 13300 h 34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85" h="34554">
                      <a:moveTo>
                        <a:pt x="-2141" y="13300"/>
                      </a:moveTo>
                      <a:cubicBezTo>
                        <a:pt x="-2141" y="3760"/>
                        <a:pt x="2108" y="-3978"/>
                        <a:pt x="7352" y="-3978"/>
                      </a:cubicBezTo>
                      <a:cubicBezTo>
                        <a:pt x="12596" y="-3978"/>
                        <a:pt x="16845" y="3760"/>
                        <a:pt x="16845" y="13300"/>
                      </a:cubicBezTo>
                      <a:cubicBezTo>
                        <a:pt x="16845" y="22839"/>
                        <a:pt x="12596" y="30577"/>
                        <a:pt x="7352" y="30577"/>
                      </a:cubicBezTo>
                      <a:cubicBezTo>
                        <a:pt x="2108" y="30577"/>
                        <a:pt x="-2141" y="22839"/>
                        <a:pt x="-2141" y="13300"/>
                      </a:cubicBezTo>
                    </a:path>
                  </a:pathLst>
                </a:custGeom>
                <a:solidFill>
                  <a:srgbClr val="1A1B2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4" name="Vrije vorm 463">
                  <a:extLst>
                    <a:ext uri="{FF2B5EF4-FFF2-40B4-BE49-F238E27FC236}">
                      <a16:creationId xmlns:a16="http://schemas.microsoft.com/office/drawing/2014/main" id="{D54C1D1C-F31C-C002-FB51-63D5DFBFAD9E}"/>
                    </a:ext>
                  </a:extLst>
                </p:cNvPr>
                <p:cNvSpPr/>
                <p:nvPr/>
              </p:nvSpPr>
              <p:spPr>
                <a:xfrm flipV="1">
                  <a:off x="3803904" y="1174934"/>
                  <a:ext cx="18985" cy="34554"/>
                </a:xfrm>
                <a:custGeom>
                  <a:avLst/>
                  <a:gdLst>
                    <a:gd name="connsiteX0" fmla="*/ -2074 w 18985"/>
                    <a:gd name="connsiteY0" fmla="*/ 13304 h 34554"/>
                    <a:gd name="connsiteX1" fmla="*/ 7419 w 18985"/>
                    <a:gd name="connsiteY1" fmla="*/ -3973 h 34554"/>
                    <a:gd name="connsiteX2" fmla="*/ 16911 w 18985"/>
                    <a:gd name="connsiteY2" fmla="*/ 13304 h 34554"/>
                    <a:gd name="connsiteX3" fmla="*/ 7419 w 18985"/>
                    <a:gd name="connsiteY3" fmla="*/ 30581 h 34554"/>
                    <a:gd name="connsiteX4" fmla="*/ -2074 w 18985"/>
                    <a:gd name="connsiteY4" fmla="*/ 13304 h 34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85" h="34554">
                      <a:moveTo>
                        <a:pt x="-2074" y="13304"/>
                      </a:moveTo>
                      <a:cubicBezTo>
                        <a:pt x="-2074" y="3764"/>
                        <a:pt x="2175" y="-3973"/>
                        <a:pt x="7419" y="-3973"/>
                      </a:cubicBezTo>
                      <a:cubicBezTo>
                        <a:pt x="12662" y="-3973"/>
                        <a:pt x="16911" y="3764"/>
                        <a:pt x="16911" y="13304"/>
                      </a:cubicBezTo>
                      <a:cubicBezTo>
                        <a:pt x="16911" y="22854"/>
                        <a:pt x="12662" y="30581"/>
                        <a:pt x="7419" y="30581"/>
                      </a:cubicBezTo>
                      <a:cubicBezTo>
                        <a:pt x="2175" y="30581"/>
                        <a:pt x="-2074" y="22854"/>
                        <a:pt x="-2074" y="13304"/>
                      </a:cubicBezTo>
                    </a:path>
                  </a:pathLst>
                </a:custGeom>
                <a:solidFill>
                  <a:srgbClr val="1A1B21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5" name="Vrije vorm 464">
                  <a:extLst>
                    <a:ext uri="{FF2B5EF4-FFF2-40B4-BE49-F238E27FC236}">
                      <a16:creationId xmlns:a16="http://schemas.microsoft.com/office/drawing/2014/main" id="{8A10B0AF-0381-0D60-4233-432C27B294A9}"/>
                    </a:ext>
                  </a:extLst>
                </p:cNvPr>
                <p:cNvSpPr/>
                <p:nvPr/>
              </p:nvSpPr>
              <p:spPr>
                <a:xfrm flipV="1">
                  <a:off x="3868404" y="1136664"/>
                  <a:ext cx="51411" cy="19864"/>
                </a:xfrm>
                <a:custGeom>
                  <a:avLst/>
                  <a:gdLst>
                    <a:gd name="connsiteX0" fmla="*/ -2141 w 51411"/>
                    <a:gd name="connsiteY0" fmla="*/ 3589 h 19864"/>
                    <a:gd name="connsiteX1" fmla="*/ 10294 w 51411"/>
                    <a:gd name="connsiteY1" fmla="*/ 12777 h 19864"/>
                    <a:gd name="connsiteX2" fmla="*/ 25994 w 51411"/>
                    <a:gd name="connsiteY2" fmla="*/ 15822 h 19864"/>
                    <a:gd name="connsiteX3" fmla="*/ 41550 w 51411"/>
                    <a:gd name="connsiteY3" fmla="*/ 9815 h 19864"/>
                    <a:gd name="connsiteX4" fmla="*/ 49270 w 51411"/>
                    <a:gd name="connsiteY4" fmla="*/ -4023 h 19864"/>
                    <a:gd name="connsiteX5" fmla="*/ 37404 w 51411"/>
                    <a:gd name="connsiteY5" fmla="*/ 3382 h 19864"/>
                    <a:gd name="connsiteX6" fmla="*/ 25466 w 51411"/>
                    <a:gd name="connsiteY6" fmla="*/ 6044 h 19864"/>
                    <a:gd name="connsiteX7" fmla="*/ -2141 w 51411"/>
                    <a:gd name="connsiteY7" fmla="*/ 3589 h 19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1411" h="19864">
                      <a:moveTo>
                        <a:pt x="-2141" y="3589"/>
                      </a:moveTo>
                      <a:cubicBezTo>
                        <a:pt x="1133" y="7753"/>
                        <a:pt x="5517" y="10685"/>
                        <a:pt x="10294" y="12777"/>
                      </a:cubicBezTo>
                      <a:cubicBezTo>
                        <a:pt x="15082" y="14911"/>
                        <a:pt x="20430" y="15998"/>
                        <a:pt x="25994" y="15822"/>
                      </a:cubicBezTo>
                      <a:cubicBezTo>
                        <a:pt x="31539" y="15429"/>
                        <a:pt x="37249" y="13492"/>
                        <a:pt x="41550" y="9815"/>
                      </a:cubicBezTo>
                      <a:cubicBezTo>
                        <a:pt x="46058" y="6335"/>
                        <a:pt x="48389" y="1010"/>
                        <a:pt x="49270" y="-4023"/>
                      </a:cubicBezTo>
                      <a:cubicBezTo>
                        <a:pt x="44835" y="-1010"/>
                        <a:pt x="41446" y="1922"/>
                        <a:pt x="37404" y="3382"/>
                      </a:cubicBezTo>
                      <a:cubicBezTo>
                        <a:pt x="33508" y="4915"/>
                        <a:pt x="29642" y="5848"/>
                        <a:pt x="25466" y="6044"/>
                      </a:cubicBezTo>
                      <a:cubicBezTo>
                        <a:pt x="17041" y="6490"/>
                        <a:pt x="8149" y="4781"/>
                        <a:pt x="-2141" y="3589"/>
                      </a:cubicBezTo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6" name="Vrije vorm 465">
                  <a:extLst>
                    <a:ext uri="{FF2B5EF4-FFF2-40B4-BE49-F238E27FC236}">
                      <a16:creationId xmlns:a16="http://schemas.microsoft.com/office/drawing/2014/main" id="{3DF3D2D1-8CAF-7FE2-C761-CB962BA225B2}"/>
                    </a:ext>
                  </a:extLst>
                </p:cNvPr>
                <p:cNvSpPr/>
                <p:nvPr/>
              </p:nvSpPr>
              <p:spPr>
                <a:xfrm flipV="1">
                  <a:off x="3788432" y="1137241"/>
                  <a:ext cx="40934" cy="19286"/>
                </a:xfrm>
                <a:custGeom>
                  <a:avLst/>
                  <a:gdLst>
                    <a:gd name="connsiteX0" fmla="*/ 38864 w 40934"/>
                    <a:gd name="connsiteY0" fmla="*/ 3590 h 19286"/>
                    <a:gd name="connsiteX1" fmla="*/ 16397 w 40934"/>
                    <a:gd name="connsiteY1" fmla="*/ 6490 h 19286"/>
                    <a:gd name="connsiteX2" fmla="*/ 7226 w 40934"/>
                    <a:gd name="connsiteY2" fmla="*/ 3362 h 19286"/>
                    <a:gd name="connsiteX3" fmla="*/ -2070 w 40934"/>
                    <a:gd name="connsiteY3" fmla="*/ -4023 h 19286"/>
                    <a:gd name="connsiteX4" fmla="*/ 2697 w 40934"/>
                    <a:gd name="connsiteY4" fmla="*/ 8458 h 19286"/>
                    <a:gd name="connsiteX5" fmla="*/ 15496 w 40934"/>
                    <a:gd name="connsiteY5" fmla="*/ 15181 h 19286"/>
                    <a:gd name="connsiteX6" fmla="*/ 29102 w 40934"/>
                    <a:gd name="connsiteY6" fmla="*/ 12373 h 19286"/>
                    <a:gd name="connsiteX7" fmla="*/ 38864 w 40934"/>
                    <a:gd name="connsiteY7" fmla="*/ 3590 h 19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0934" h="19286">
                      <a:moveTo>
                        <a:pt x="38864" y="3590"/>
                      </a:moveTo>
                      <a:cubicBezTo>
                        <a:pt x="30274" y="5289"/>
                        <a:pt x="22926" y="7194"/>
                        <a:pt x="16397" y="6490"/>
                      </a:cubicBezTo>
                      <a:cubicBezTo>
                        <a:pt x="13133" y="6314"/>
                        <a:pt x="10221" y="5154"/>
                        <a:pt x="7226" y="3362"/>
                      </a:cubicBezTo>
                      <a:cubicBezTo>
                        <a:pt x="4127" y="1632"/>
                        <a:pt x="1443" y="-1164"/>
                        <a:pt x="-2070" y="-4023"/>
                      </a:cubicBezTo>
                      <a:cubicBezTo>
                        <a:pt x="-1863" y="348"/>
                        <a:pt x="-526" y="4895"/>
                        <a:pt x="2697" y="8458"/>
                      </a:cubicBezTo>
                      <a:cubicBezTo>
                        <a:pt x="5671" y="12187"/>
                        <a:pt x="10573" y="14745"/>
                        <a:pt x="15496" y="15181"/>
                      </a:cubicBezTo>
                      <a:cubicBezTo>
                        <a:pt x="20418" y="15584"/>
                        <a:pt x="25133" y="14486"/>
                        <a:pt x="29102" y="12373"/>
                      </a:cubicBezTo>
                      <a:cubicBezTo>
                        <a:pt x="33072" y="10302"/>
                        <a:pt x="36543" y="7443"/>
                        <a:pt x="38864" y="3590"/>
                      </a:cubicBezTo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7" name="Vrije vorm 466">
                  <a:extLst>
                    <a:ext uri="{FF2B5EF4-FFF2-40B4-BE49-F238E27FC236}">
                      <a16:creationId xmlns:a16="http://schemas.microsoft.com/office/drawing/2014/main" id="{DB9418D8-5715-7E42-B60B-4AC2C7ABE0B8}"/>
                    </a:ext>
                  </a:extLst>
                </p:cNvPr>
                <p:cNvSpPr/>
                <p:nvPr/>
              </p:nvSpPr>
              <p:spPr>
                <a:xfrm flipV="1">
                  <a:off x="3823977" y="1273677"/>
                  <a:ext cx="87682" cy="29229"/>
                </a:xfrm>
                <a:custGeom>
                  <a:avLst/>
                  <a:gdLst>
                    <a:gd name="connsiteX0" fmla="*/ 85563 w 87682"/>
                    <a:gd name="connsiteY0" fmla="*/ 25361 h 29229"/>
                    <a:gd name="connsiteX1" fmla="*/ -2119 w 87682"/>
                    <a:gd name="connsiteY1" fmla="*/ 20793 h 29229"/>
                    <a:gd name="connsiteX2" fmla="*/ 85563 w 87682"/>
                    <a:gd name="connsiteY2" fmla="*/ 25361 h 29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7682" h="29229">
                      <a:moveTo>
                        <a:pt x="85563" y="25361"/>
                      </a:moveTo>
                      <a:lnTo>
                        <a:pt x="-2119" y="20793"/>
                      </a:lnTo>
                      <a:cubicBezTo>
                        <a:pt x="-2119" y="20793"/>
                        <a:pt x="43551" y="-37626"/>
                        <a:pt x="85563" y="25361"/>
                      </a:cubicBezTo>
                    </a:path>
                  </a:pathLst>
                </a:custGeom>
                <a:solidFill>
                  <a:srgbClr val="B85964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8" name="Vrije vorm 467">
                  <a:extLst>
                    <a:ext uri="{FF2B5EF4-FFF2-40B4-BE49-F238E27FC236}">
                      <a16:creationId xmlns:a16="http://schemas.microsoft.com/office/drawing/2014/main" id="{97D70A66-BAD4-9A34-875A-4CC700BC88B2}"/>
                    </a:ext>
                  </a:extLst>
                </p:cNvPr>
                <p:cNvSpPr/>
                <p:nvPr/>
              </p:nvSpPr>
              <p:spPr>
                <a:xfrm flipV="1">
                  <a:off x="3823977" y="1273677"/>
                  <a:ext cx="87682" cy="25801"/>
                </a:xfrm>
                <a:custGeom>
                  <a:avLst/>
                  <a:gdLst>
                    <a:gd name="connsiteX0" fmla="*/ 77252 w 87682"/>
                    <a:gd name="connsiteY0" fmla="*/ 17032 h 25801"/>
                    <a:gd name="connsiteX1" fmla="*/ 25188 w 87682"/>
                    <a:gd name="connsiteY1" fmla="*/ -3870 h 25801"/>
                    <a:gd name="connsiteX2" fmla="*/ -2119 w 87682"/>
                    <a:gd name="connsiteY2" fmla="*/ 17364 h 25801"/>
                    <a:gd name="connsiteX3" fmla="*/ 85563 w 87682"/>
                    <a:gd name="connsiteY3" fmla="*/ 21932 h 25801"/>
                    <a:gd name="connsiteX4" fmla="*/ 82278 w 87682"/>
                    <a:gd name="connsiteY4" fmla="*/ 16732 h 25801"/>
                    <a:gd name="connsiteX5" fmla="*/ 77252 w 87682"/>
                    <a:gd name="connsiteY5" fmla="*/ 17032 h 258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7682" h="25801">
                      <a:moveTo>
                        <a:pt x="77252" y="17032"/>
                      </a:moveTo>
                      <a:cubicBezTo>
                        <a:pt x="56858" y="17032"/>
                        <a:pt x="37686" y="9937"/>
                        <a:pt x="25188" y="-3870"/>
                      </a:cubicBezTo>
                      <a:cubicBezTo>
                        <a:pt x="5124" y="2334"/>
                        <a:pt x="-2119" y="17364"/>
                        <a:pt x="-2119" y="17364"/>
                      </a:cubicBezTo>
                      <a:lnTo>
                        <a:pt x="85563" y="21932"/>
                      </a:lnTo>
                      <a:cubicBezTo>
                        <a:pt x="84486" y="20088"/>
                        <a:pt x="83387" y="18368"/>
                        <a:pt x="82278" y="16732"/>
                      </a:cubicBezTo>
                      <a:cubicBezTo>
                        <a:pt x="80620" y="16918"/>
                        <a:pt x="78952" y="17032"/>
                        <a:pt x="77252" y="17032"/>
                      </a:cubicBezTo>
                    </a:path>
                  </a:pathLst>
                </a:custGeom>
                <a:solidFill>
                  <a:srgbClr val="642A32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69" name="Vrije vorm 468">
                  <a:extLst>
                    <a:ext uri="{FF2B5EF4-FFF2-40B4-BE49-F238E27FC236}">
                      <a16:creationId xmlns:a16="http://schemas.microsoft.com/office/drawing/2014/main" id="{4B00FF2F-857E-BC26-BC1A-46E65A19DF19}"/>
                    </a:ext>
                  </a:extLst>
                </p:cNvPr>
                <p:cNvSpPr/>
                <p:nvPr/>
              </p:nvSpPr>
              <p:spPr>
                <a:xfrm flipV="1">
                  <a:off x="3966461" y="1195400"/>
                  <a:ext cx="27833" cy="51643"/>
                </a:xfrm>
                <a:custGeom>
                  <a:avLst/>
                  <a:gdLst>
                    <a:gd name="connsiteX0" fmla="*/ 20192 w 27833"/>
                    <a:gd name="connsiteY0" fmla="*/ 46603 h 51643"/>
                    <a:gd name="connsiteX1" fmla="*/ -2214 w 27833"/>
                    <a:gd name="connsiteY1" fmla="*/ 13789 h 51643"/>
                    <a:gd name="connsiteX2" fmla="*/ 3611 w 27833"/>
                    <a:gd name="connsiteY2" fmla="*/ -3706 h 51643"/>
                    <a:gd name="connsiteX3" fmla="*/ 20192 w 27833"/>
                    <a:gd name="connsiteY3" fmla="*/ 46603 h 51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833" h="51643">
                      <a:moveTo>
                        <a:pt x="20192" y="46603"/>
                      </a:moveTo>
                      <a:cubicBezTo>
                        <a:pt x="8554" y="52486"/>
                        <a:pt x="-1737" y="33769"/>
                        <a:pt x="-2214" y="13789"/>
                      </a:cubicBezTo>
                      <a:cubicBezTo>
                        <a:pt x="7310" y="15208"/>
                        <a:pt x="8916" y="4135"/>
                        <a:pt x="3611" y="-3706"/>
                      </a:cubicBezTo>
                      <a:cubicBezTo>
                        <a:pt x="22503" y="-7704"/>
                        <a:pt x="32524" y="40357"/>
                        <a:pt x="20192" y="46603"/>
                      </a:cubicBezTo>
                    </a:path>
                  </a:pathLst>
                </a:custGeom>
                <a:solidFill>
                  <a:srgbClr val="CF8D7C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70" name="Vrije vorm 469">
                  <a:extLst>
                    <a:ext uri="{FF2B5EF4-FFF2-40B4-BE49-F238E27FC236}">
                      <a16:creationId xmlns:a16="http://schemas.microsoft.com/office/drawing/2014/main" id="{1F03D8F8-4E74-5873-E1AD-EEDDC2BC3A66}"/>
                    </a:ext>
                  </a:extLst>
                </p:cNvPr>
                <p:cNvSpPr/>
                <p:nvPr/>
              </p:nvSpPr>
              <p:spPr>
                <a:xfrm flipV="1">
                  <a:off x="3937574" y="1663561"/>
                  <a:ext cx="56069" cy="97947"/>
                </a:xfrm>
                <a:custGeom>
                  <a:avLst/>
                  <a:gdLst>
                    <a:gd name="connsiteX0" fmla="*/ 53868 w 56069"/>
                    <a:gd name="connsiteY0" fmla="*/ 3972 h 97947"/>
                    <a:gd name="connsiteX1" fmla="*/ 24665 w 56069"/>
                    <a:gd name="connsiteY1" fmla="*/ 44679 h 97947"/>
                    <a:gd name="connsiteX2" fmla="*/ 20053 w 56069"/>
                    <a:gd name="connsiteY2" fmla="*/ 60806 h 97947"/>
                    <a:gd name="connsiteX3" fmla="*/ 24665 w 56069"/>
                    <a:gd name="connsiteY3" fmla="*/ 71558 h 97947"/>
                    <a:gd name="connsiteX4" fmla="*/ 45412 w 56069"/>
                    <a:gd name="connsiteY4" fmla="*/ 70791 h 97947"/>
                    <a:gd name="connsiteX5" fmla="*/ 52334 w 56069"/>
                    <a:gd name="connsiteY5" fmla="*/ 26242 h 97947"/>
                    <a:gd name="connsiteX6" fmla="*/ 53868 w 56069"/>
                    <a:gd name="connsiteY6" fmla="*/ 3972 h 97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6069" h="97947">
                      <a:moveTo>
                        <a:pt x="53868" y="3972"/>
                      </a:moveTo>
                      <a:cubicBezTo>
                        <a:pt x="53868" y="3972"/>
                        <a:pt x="9296" y="-29060"/>
                        <a:pt x="24665" y="44679"/>
                      </a:cubicBezTo>
                      <a:cubicBezTo>
                        <a:pt x="24665" y="44679"/>
                        <a:pt x="-29897" y="60040"/>
                        <a:pt x="20053" y="60806"/>
                      </a:cubicBezTo>
                      <a:cubicBezTo>
                        <a:pt x="20053" y="60806"/>
                        <a:pt x="-32965" y="86152"/>
                        <a:pt x="24665" y="71558"/>
                      </a:cubicBezTo>
                      <a:cubicBezTo>
                        <a:pt x="24665" y="71558"/>
                        <a:pt x="-15296" y="123783"/>
                        <a:pt x="45412" y="70791"/>
                      </a:cubicBezTo>
                      <a:cubicBezTo>
                        <a:pt x="45412" y="70791"/>
                        <a:pt x="57454" y="58755"/>
                        <a:pt x="52334" y="26242"/>
                      </a:cubicBezTo>
                      <a:lnTo>
                        <a:pt x="53868" y="3972"/>
                      </a:lnTo>
                    </a:path>
                  </a:pathLst>
                </a:custGeom>
                <a:solidFill>
                  <a:srgbClr val="F9AA8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71" name="Vrije vorm 470">
                  <a:extLst>
                    <a:ext uri="{FF2B5EF4-FFF2-40B4-BE49-F238E27FC236}">
                      <a16:creationId xmlns:a16="http://schemas.microsoft.com/office/drawing/2014/main" id="{43D1EA45-4432-8AA9-C004-E853BDCC833D}"/>
                    </a:ext>
                  </a:extLst>
                </p:cNvPr>
                <p:cNvSpPr/>
                <p:nvPr/>
              </p:nvSpPr>
              <p:spPr>
                <a:xfrm flipV="1">
                  <a:off x="3607439" y="1594472"/>
                  <a:ext cx="139353" cy="177144"/>
                </a:xfrm>
                <a:custGeom>
                  <a:avLst/>
                  <a:gdLst>
                    <a:gd name="connsiteX0" fmla="*/ -1960 w 139353"/>
                    <a:gd name="connsiteY0" fmla="*/ 154626 h 177144"/>
                    <a:gd name="connsiteX1" fmla="*/ 130274 w 139353"/>
                    <a:gd name="connsiteY1" fmla="*/ -3436 h 177144"/>
                    <a:gd name="connsiteX2" fmla="*/ 137394 w 139353"/>
                    <a:gd name="connsiteY2" fmla="*/ 32744 h 177144"/>
                    <a:gd name="connsiteX3" fmla="*/ 71961 w 139353"/>
                    <a:gd name="connsiteY3" fmla="*/ 140115 h 177144"/>
                    <a:gd name="connsiteX4" fmla="*/ -1960 w 139353"/>
                    <a:gd name="connsiteY4" fmla="*/ 154626 h 177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9353" h="177144">
                      <a:moveTo>
                        <a:pt x="-1960" y="154626"/>
                      </a:moveTo>
                      <a:cubicBezTo>
                        <a:pt x="-1960" y="154626"/>
                        <a:pt x="56778" y="31263"/>
                        <a:pt x="130274" y="-3436"/>
                      </a:cubicBezTo>
                      <a:lnTo>
                        <a:pt x="137394" y="32744"/>
                      </a:lnTo>
                      <a:cubicBezTo>
                        <a:pt x="137394" y="32744"/>
                        <a:pt x="100978" y="74207"/>
                        <a:pt x="71961" y="140115"/>
                      </a:cubicBezTo>
                      <a:cubicBezTo>
                        <a:pt x="42944" y="206023"/>
                        <a:pt x="-1960" y="154626"/>
                        <a:pt x="-1960" y="154626"/>
                      </a:cubicBezTo>
                    </a:path>
                  </a:pathLst>
                </a:custGeom>
                <a:solidFill>
                  <a:srgbClr val="F9AA8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72" name="Vrije vorm 471">
                  <a:extLst>
                    <a:ext uri="{FF2B5EF4-FFF2-40B4-BE49-F238E27FC236}">
                      <a16:creationId xmlns:a16="http://schemas.microsoft.com/office/drawing/2014/main" id="{2EF800A8-D733-EA1E-EB4B-2E96851BA1A8}"/>
                    </a:ext>
                  </a:extLst>
                </p:cNvPr>
                <p:cNvSpPr/>
                <p:nvPr/>
              </p:nvSpPr>
              <p:spPr>
                <a:xfrm flipV="1">
                  <a:off x="3608444" y="1397444"/>
                  <a:ext cx="191791" cy="230620"/>
                </a:xfrm>
                <a:custGeom>
                  <a:avLst/>
                  <a:gdLst>
                    <a:gd name="connsiteX0" fmla="*/ 70933 w 191791"/>
                    <a:gd name="connsiteY0" fmla="*/ -3623 h 230620"/>
                    <a:gd name="connsiteX1" fmla="*/ 189809 w 191791"/>
                    <a:gd name="connsiteY1" fmla="*/ 171852 h 230620"/>
                    <a:gd name="connsiteX2" fmla="*/ 124531 w 191791"/>
                    <a:gd name="connsiteY2" fmla="*/ 226998 h 230620"/>
                    <a:gd name="connsiteX3" fmla="*/ -1983 w 191791"/>
                    <a:gd name="connsiteY3" fmla="*/ 15767 h 230620"/>
                    <a:gd name="connsiteX4" fmla="*/ 70933 w 191791"/>
                    <a:gd name="connsiteY4" fmla="*/ -3623 h 2306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1791" h="230620">
                      <a:moveTo>
                        <a:pt x="70933" y="-3623"/>
                      </a:moveTo>
                      <a:lnTo>
                        <a:pt x="189809" y="171852"/>
                      </a:lnTo>
                      <a:lnTo>
                        <a:pt x="124531" y="226998"/>
                      </a:lnTo>
                      <a:lnTo>
                        <a:pt x="-1983" y="15767"/>
                      </a:lnTo>
                      <a:lnTo>
                        <a:pt x="70933" y="-3623"/>
                      </a:lnTo>
                    </a:path>
                  </a:pathLst>
                </a:custGeom>
                <a:solidFill>
                  <a:srgbClr val="E1F5F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73" name="Vrije vorm 472">
                  <a:extLst>
                    <a:ext uri="{FF2B5EF4-FFF2-40B4-BE49-F238E27FC236}">
                      <a16:creationId xmlns:a16="http://schemas.microsoft.com/office/drawing/2014/main" id="{E5074A95-19A1-F7F0-7507-7C7B772BE6FF}"/>
                    </a:ext>
                  </a:extLst>
                </p:cNvPr>
                <p:cNvSpPr/>
                <p:nvPr/>
              </p:nvSpPr>
              <p:spPr>
                <a:xfrm flipV="1">
                  <a:off x="3596071" y="1576596"/>
                  <a:ext cx="103155" cy="64892"/>
                </a:xfrm>
                <a:custGeom>
                  <a:avLst/>
                  <a:gdLst>
                    <a:gd name="connsiteX0" fmla="*/ 101220 w 103155"/>
                    <a:gd name="connsiteY0" fmla="*/ 31731 h 64892"/>
                    <a:gd name="connsiteX1" fmla="*/ 18003 w 103155"/>
                    <a:gd name="connsiteY1" fmla="*/ 61375 h 64892"/>
                    <a:gd name="connsiteX2" fmla="*/ -1935 w 103155"/>
                    <a:gd name="connsiteY2" fmla="*/ 28800 h 64892"/>
                    <a:gd name="connsiteX3" fmla="*/ 88805 w 103155"/>
                    <a:gd name="connsiteY3" fmla="*/ -3517 h 64892"/>
                    <a:gd name="connsiteX4" fmla="*/ 101220 w 103155"/>
                    <a:gd name="connsiteY4" fmla="*/ 31731 h 64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3155" h="64892">
                      <a:moveTo>
                        <a:pt x="101220" y="31731"/>
                      </a:moveTo>
                      <a:lnTo>
                        <a:pt x="18003" y="61375"/>
                      </a:lnTo>
                      <a:lnTo>
                        <a:pt x="-1935" y="28800"/>
                      </a:lnTo>
                      <a:lnTo>
                        <a:pt x="88805" y="-3517"/>
                      </a:lnTo>
                      <a:lnTo>
                        <a:pt x="101220" y="31731"/>
                      </a:lnTo>
                    </a:path>
                  </a:pathLst>
                </a:custGeom>
                <a:solidFill>
                  <a:srgbClr val="D0EBEA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74" name="Vrije vorm 473">
                  <a:extLst>
                    <a:ext uri="{FF2B5EF4-FFF2-40B4-BE49-F238E27FC236}">
                      <a16:creationId xmlns:a16="http://schemas.microsoft.com/office/drawing/2014/main" id="{58F02C74-505C-4D78-EF5B-2A0A34E6AE2D}"/>
                    </a:ext>
                  </a:extLst>
                </p:cNvPr>
                <p:cNvSpPr/>
                <p:nvPr/>
              </p:nvSpPr>
              <p:spPr>
                <a:xfrm flipV="1">
                  <a:off x="3724833" y="1680583"/>
                  <a:ext cx="67506" cy="92936"/>
                </a:xfrm>
                <a:custGeom>
                  <a:avLst/>
                  <a:gdLst>
                    <a:gd name="connsiteX0" fmla="*/ -2028 w 67506"/>
                    <a:gd name="connsiteY0" fmla="*/ 7349 h 92936"/>
                    <a:gd name="connsiteX1" fmla="*/ 33766 w 67506"/>
                    <a:gd name="connsiteY1" fmla="*/ 42401 h 92936"/>
                    <a:gd name="connsiteX2" fmla="*/ 41093 w 67506"/>
                    <a:gd name="connsiteY2" fmla="*/ 57493 h 92936"/>
                    <a:gd name="connsiteX3" fmla="*/ 38409 w 67506"/>
                    <a:gd name="connsiteY3" fmla="*/ 68886 h 92936"/>
                    <a:gd name="connsiteX4" fmla="*/ 17838 w 67506"/>
                    <a:gd name="connsiteY4" fmla="*/ 71704 h 92936"/>
                    <a:gd name="connsiteX5" fmla="*/ 3340 w 67506"/>
                    <a:gd name="connsiteY5" fmla="*/ 29018 h 92936"/>
                    <a:gd name="connsiteX6" fmla="*/ -2028 w 67506"/>
                    <a:gd name="connsiteY6" fmla="*/ 7349 h 92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7506" h="92936">
                      <a:moveTo>
                        <a:pt x="-2028" y="7349"/>
                      </a:moveTo>
                      <a:cubicBezTo>
                        <a:pt x="-2028" y="7349"/>
                        <a:pt x="36170" y="-32881"/>
                        <a:pt x="33766" y="42401"/>
                      </a:cubicBezTo>
                      <a:cubicBezTo>
                        <a:pt x="33766" y="42401"/>
                        <a:pt x="90163" y="48129"/>
                        <a:pt x="41093" y="57493"/>
                      </a:cubicBezTo>
                      <a:cubicBezTo>
                        <a:pt x="41093" y="57493"/>
                        <a:pt x="97707" y="73320"/>
                        <a:pt x="38409" y="68886"/>
                      </a:cubicBezTo>
                      <a:cubicBezTo>
                        <a:pt x="38409" y="68886"/>
                        <a:pt x="86795" y="113436"/>
                        <a:pt x="17838" y="71704"/>
                      </a:cubicBezTo>
                      <a:cubicBezTo>
                        <a:pt x="17838" y="71704"/>
                        <a:pt x="3900" y="61936"/>
                        <a:pt x="3340" y="29018"/>
                      </a:cubicBezTo>
                      <a:lnTo>
                        <a:pt x="-2028" y="7349"/>
                      </a:lnTo>
                    </a:path>
                  </a:pathLst>
                </a:custGeom>
                <a:solidFill>
                  <a:srgbClr val="F9AA8F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</p:grpSp>
          <p:sp>
            <p:nvSpPr>
              <p:cNvPr id="429" name="Vrije vorm 428">
                <a:extLst>
                  <a:ext uri="{FF2B5EF4-FFF2-40B4-BE49-F238E27FC236}">
                    <a16:creationId xmlns:a16="http://schemas.microsoft.com/office/drawing/2014/main" id="{9A79EDF4-5D6A-58ED-5171-1EDAD3902E2F}"/>
                  </a:ext>
                </a:extLst>
              </p:cNvPr>
              <p:cNvSpPr/>
              <p:nvPr/>
            </p:nvSpPr>
            <p:spPr>
              <a:xfrm flipH="1" flipV="1">
                <a:off x="4292989" y="1060540"/>
                <a:ext cx="714998" cy="528767"/>
              </a:xfrm>
              <a:custGeom>
                <a:avLst/>
                <a:gdLst>
                  <a:gd name="connsiteX0" fmla="*/ 7576 w 467845"/>
                  <a:gd name="connsiteY0" fmla="*/ 18404 h 298152"/>
                  <a:gd name="connsiteX1" fmla="*/ 88440 w 467845"/>
                  <a:gd name="connsiteY1" fmla="*/ -4021 h 298152"/>
                  <a:gd name="connsiteX2" fmla="*/ 117187 w 467845"/>
                  <a:gd name="connsiteY2" fmla="*/ -4021 h 298152"/>
                  <a:gd name="connsiteX3" fmla="*/ 129509 w 467845"/>
                  <a:gd name="connsiteY3" fmla="*/ 87036 h 298152"/>
                  <a:gd name="connsiteX4" fmla="*/ 206736 w 467845"/>
                  <a:gd name="connsiteY4" fmla="*/ 156010 h 298152"/>
                  <a:gd name="connsiteX5" fmla="*/ 418963 w 467845"/>
                  <a:gd name="connsiteY5" fmla="*/ 132508 h 298152"/>
                  <a:gd name="connsiteX6" fmla="*/ 91165 w 467845"/>
                  <a:gd name="connsiteY6" fmla="*/ 270352 h 298152"/>
                  <a:gd name="connsiteX7" fmla="*/ 7576 w 467845"/>
                  <a:gd name="connsiteY7" fmla="*/ 18404 h 29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7845" h="298152">
                    <a:moveTo>
                      <a:pt x="7576" y="18404"/>
                    </a:moveTo>
                    <a:cubicBezTo>
                      <a:pt x="7576" y="18404"/>
                      <a:pt x="51464" y="46971"/>
                      <a:pt x="88440" y="-4021"/>
                    </a:cubicBezTo>
                    <a:lnTo>
                      <a:pt x="117187" y="-4021"/>
                    </a:lnTo>
                    <a:cubicBezTo>
                      <a:pt x="117187" y="-4021"/>
                      <a:pt x="115550" y="55020"/>
                      <a:pt x="129509" y="87036"/>
                    </a:cubicBezTo>
                    <a:cubicBezTo>
                      <a:pt x="143468" y="119063"/>
                      <a:pt x="198517" y="118235"/>
                      <a:pt x="206736" y="156010"/>
                    </a:cubicBezTo>
                    <a:cubicBezTo>
                      <a:pt x="206736" y="156010"/>
                      <a:pt x="341467" y="91180"/>
                      <a:pt x="418963" y="132508"/>
                    </a:cubicBezTo>
                    <a:cubicBezTo>
                      <a:pt x="594173" y="225927"/>
                      <a:pt x="225969" y="345758"/>
                      <a:pt x="91165" y="270352"/>
                    </a:cubicBezTo>
                    <a:cubicBezTo>
                      <a:pt x="-8984" y="214346"/>
                      <a:pt x="-13316" y="118918"/>
                      <a:pt x="7576" y="18404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 dirty="0"/>
              </a:p>
            </p:txBody>
          </p:sp>
          <p:grpSp>
            <p:nvGrpSpPr>
              <p:cNvPr id="430" name="Groep 429">
                <a:extLst>
                  <a:ext uri="{FF2B5EF4-FFF2-40B4-BE49-F238E27FC236}">
                    <a16:creationId xmlns:a16="http://schemas.microsoft.com/office/drawing/2014/main" id="{5FAE248C-66E1-090F-7677-45D2D0584D08}"/>
                  </a:ext>
                </a:extLst>
              </p:cNvPr>
              <p:cNvGrpSpPr/>
              <p:nvPr/>
            </p:nvGrpSpPr>
            <p:grpSpPr>
              <a:xfrm>
                <a:off x="4327649" y="1446834"/>
                <a:ext cx="599104" cy="194023"/>
                <a:chOff x="4327649" y="1446834"/>
                <a:chExt cx="599104" cy="194023"/>
              </a:xfrm>
            </p:grpSpPr>
            <p:sp>
              <p:nvSpPr>
                <p:cNvPr id="431" name="Vrije vorm 430">
                  <a:extLst>
                    <a:ext uri="{FF2B5EF4-FFF2-40B4-BE49-F238E27FC236}">
                      <a16:creationId xmlns:a16="http://schemas.microsoft.com/office/drawing/2014/main" id="{5BD4FADD-DF3C-AFDA-2F4C-2D735D8EC1FB}"/>
                    </a:ext>
                  </a:extLst>
                </p:cNvPr>
                <p:cNvSpPr/>
                <p:nvPr/>
              </p:nvSpPr>
              <p:spPr>
                <a:xfrm flipV="1">
                  <a:off x="4327649" y="1460857"/>
                  <a:ext cx="180000" cy="180000"/>
                </a:xfrm>
                <a:custGeom>
                  <a:avLst/>
                  <a:gdLst>
                    <a:gd name="connsiteX0" fmla="*/ 56246 w 117549"/>
                    <a:gd name="connsiteY0" fmla="*/ 103954 h 117480"/>
                    <a:gd name="connsiteX1" fmla="*/ 7156 w 117549"/>
                    <a:gd name="connsiteY1" fmla="*/ 54888 h 117480"/>
                    <a:gd name="connsiteX2" fmla="*/ 56246 w 117549"/>
                    <a:gd name="connsiteY2" fmla="*/ 5822 h 117480"/>
                    <a:gd name="connsiteX3" fmla="*/ 105347 w 117549"/>
                    <a:gd name="connsiteY3" fmla="*/ 54888 h 117480"/>
                    <a:gd name="connsiteX4" fmla="*/ 56246 w 117549"/>
                    <a:gd name="connsiteY4" fmla="*/ 103954 h 117480"/>
                    <a:gd name="connsiteX5" fmla="*/ 56246 w 117549"/>
                    <a:gd name="connsiteY5" fmla="*/ -3852 h 117480"/>
                    <a:gd name="connsiteX6" fmla="*/ -2534 w 117549"/>
                    <a:gd name="connsiteY6" fmla="*/ 54888 h 117480"/>
                    <a:gd name="connsiteX7" fmla="*/ 56246 w 117549"/>
                    <a:gd name="connsiteY7" fmla="*/ 113628 h 117480"/>
                    <a:gd name="connsiteX8" fmla="*/ 115015 w 117549"/>
                    <a:gd name="connsiteY8" fmla="*/ 54888 h 117480"/>
                    <a:gd name="connsiteX9" fmla="*/ 56246 w 117549"/>
                    <a:gd name="connsiteY9" fmla="*/ -3852 h 117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7549" h="117480">
                      <a:moveTo>
                        <a:pt x="56246" y="103954"/>
                      </a:moveTo>
                      <a:cubicBezTo>
                        <a:pt x="29177" y="103954"/>
                        <a:pt x="7156" y="81943"/>
                        <a:pt x="7156" y="54888"/>
                      </a:cubicBezTo>
                      <a:cubicBezTo>
                        <a:pt x="7156" y="27833"/>
                        <a:pt x="29177" y="5822"/>
                        <a:pt x="56246" y="5822"/>
                      </a:cubicBezTo>
                      <a:cubicBezTo>
                        <a:pt x="83315" y="5822"/>
                        <a:pt x="105347" y="27833"/>
                        <a:pt x="105347" y="54888"/>
                      </a:cubicBezTo>
                      <a:cubicBezTo>
                        <a:pt x="105347" y="81943"/>
                        <a:pt x="83315" y="103954"/>
                        <a:pt x="56246" y="103954"/>
                      </a:cubicBezTo>
                      <a:close/>
                      <a:moveTo>
                        <a:pt x="56246" y="-3852"/>
                      </a:moveTo>
                      <a:cubicBezTo>
                        <a:pt x="23830" y="-3852"/>
                        <a:pt x="-2534" y="22499"/>
                        <a:pt x="-2534" y="54888"/>
                      </a:cubicBezTo>
                      <a:cubicBezTo>
                        <a:pt x="-2534" y="87288"/>
                        <a:pt x="23830" y="113628"/>
                        <a:pt x="56246" y="113628"/>
                      </a:cubicBezTo>
                      <a:cubicBezTo>
                        <a:pt x="88651" y="113628"/>
                        <a:pt x="115015" y="87288"/>
                        <a:pt x="115015" y="54888"/>
                      </a:cubicBezTo>
                      <a:cubicBezTo>
                        <a:pt x="115015" y="22499"/>
                        <a:pt x="88651" y="-3852"/>
                        <a:pt x="56246" y="-3852"/>
                      </a:cubicBezTo>
                    </a:path>
                  </a:pathLst>
                </a:custGeom>
                <a:solidFill>
                  <a:srgbClr val="292E4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32" name="Vrije vorm 431">
                  <a:extLst>
                    <a:ext uri="{FF2B5EF4-FFF2-40B4-BE49-F238E27FC236}">
                      <a16:creationId xmlns:a16="http://schemas.microsoft.com/office/drawing/2014/main" id="{B7E11FAF-C38F-0943-234C-0D8BF4A6201A}"/>
                    </a:ext>
                  </a:extLst>
                </p:cNvPr>
                <p:cNvSpPr/>
                <p:nvPr/>
              </p:nvSpPr>
              <p:spPr>
                <a:xfrm flipV="1">
                  <a:off x="4575074" y="1446834"/>
                  <a:ext cx="180000" cy="180000"/>
                </a:xfrm>
                <a:custGeom>
                  <a:avLst/>
                  <a:gdLst>
                    <a:gd name="connsiteX0" fmla="*/ 56107 w 117539"/>
                    <a:gd name="connsiteY0" fmla="*/ 103954 h 117480"/>
                    <a:gd name="connsiteX1" fmla="*/ 7017 w 117539"/>
                    <a:gd name="connsiteY1" fmla="*/ 54888 h 117480"/>
                    <a:gd name="connsiteX2" fmla="*/ 56107 w 117539"/>
                    <a:gd name="connsiteY2" fmla="*/ 5822 h 117480"/>
                    <a:gd name="connsiteX3" fmla="*/ 105198 w 117539"/>
                    <a:gd name="connsiteY3" fmla="*/ 54888 h 117480"/>
                    <a:gd name="connsiteX4" fmla="*/ 56107 w 117539"/>
                    <a:gd name="connsiteY4" fmla="*/ 103954 h 117480"/>
                    <a:gd name="connsiteX5" fmla="*/ 56107 w 117539"/>
                    <a:gd name="connsiteY5" fmla="*/ -3852 h 117480"/>
                    <a:gd name="connsiteX6" fmla="*/ -2662 w 117539"/>
                    <a:gd name="connsiteY6" fmla="*/ 54888 h 117480"/>
                    <a:gd name="connsiteX7" fmla="*/ 56107 w 117539"/>
                    <a:gd name="connsiteY7" fmla="*/ 113628 h 117480"/>
                    <a:gd name="connsiteX8" fmla="*/ 114877 w 117539"/>
                    <a:gd name="connsiteY8" fmla="*/ 54888 h 117480"/>
                    <a:gd name="connsiteX9" fmla="*/ 56107 w 117539"/>
                    <a:gd name="connsiteY9" fmla="*/ -3852 h 117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7539" h="117480">
                      <a:moveTo>
                        <a:pt x="56107" y="103954"/>
                      </a:moveTo>
                      <a:cubicBezTo>
                        <a:pt x="29039" y="103954"/>
                        <a:pt x="7017" y="81943"/>
                        <a:pt x="7017" y="54888"/>
                      </a:cubicBezTo>
                      <a:cubicBezTo>
                        <a:pt x="7017" y="27833"/>
                        <a:pt x="29039" y="5822"/>
                        <a:pt x="56107" y="5822"/>
                      </a:cubicBezTo>
                      <a:cubicBezTo>
                        <a:pt x="83176" y="5822"/>
                        <a:pt x="105198" y="27833"/>
                        <a:pt x="105198" y="54888"/>
                      </a:cubicBezTo>
                      <a:cubicBezTo>
                        <a:pt x="105198" y="81943"/>
                        <a:pt x="83176" y="103954"/>
                        <a:pt x="56107" y="103954"/>
                      </a:cubicBezTo>
                      <a:close/>
                      <a:moveTo>
                        <a:pt x="56107" y="-3852"/>
                      </a:moveTo>
                      <a:cubicBezTo>
                        <a:pt x="23702" y="-3852"/>
                        <a:pt x="-2662" y="22499"/>
                        <a:pt x="-2662" y="54888"/>
                      </a:cubicBezTo>
                      <a:cubicBezTo>
                        <a:pt x="-2662" y="87288"/>
                        <a:pt x="23702" y="113628"/>
                        <a:pt x="56107" y="113628"/>
                      </a:cubicBezTo>
                      <a:cubicBezTo>
                        <a:pt x="88513" y="113628"/>
                        <a:pt x="114877" y="87288"/>
                        <a:pt x="114877" y="54888"/>
                      </a:cubicBezTo>
                      <a:cubicBezTo>
                        <a:pt x="114877" y="22499"/>
                        <a:pt x="88513" y="-3852"/>
                        <a:pt x="56107" y="-3852"/>
                      </a:cubicBezTo>
                    </a:path>
                  </a:pathLst>
                </a:custGeom>
                <a:solidFill>
                  <a:srgbClr val="292E4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33" name="Vrije vorm 432">
                  <a:extLst>
                    <a:ext uri="{FF2B5EF4-FFF2-40B4-BE49-F238E27FC236}">
                      <a16:creationId xmlns:a16="http://schemas.microsoft.com/office/drawing/2014/main" id="{56AF60BE-19BD-9CD8-053F-7BACE6F567A4}"/>
                    </a:ext>
                  </a:extLst>
                </p:cNvPr>
                <p:cNvSpPr/>
                <p:nvPr/>
              </p:nvSpPr>
              <p:spPr>
                <a:xfrm flipV="1">
                  <a:off x="4746753" y="1519175"/>
                  <a:ext cx="180000" cy="16442"/>
                </a:xfrm>
                <a:custGeom>
                  <a:avLst/>
                  <a:gdLst>
                    <a:gd name="connsiteX0" fmla="*/ 108369 w 111559"/>
                    <a:gd name="connsiteY0" fmla="*/ -3873 h 18230"/>
                    <a:gd name="connsiteX1" fmla="*/ -2444 w 111559"/>
                    <a:gd name="connsiteY1" fmla="*/ 4714 h 18230"/>
                    <a:gd name="connsiteX2" fmla="*/ -1698 w 111559"/>
                    <a:gd name="connsiteY2" fmla="*/ 14357 h 18230"/>
                    <a:gd name="connsiteX3" fmla="*/ 109115 w 111559"/>
                    <a:gd name="connsiteY3" fmla="*/ 5770 h 18230"/>
                    <a:gd name="connsiteX4" fmla="*/ 108369 w 111559"/>
                    <a:gd name="connsiteY4" fmla="*/ -3873 h 18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1559" h="18230">
                      <a:moveTo>
                        <a:pt x="108369" y="-3873"/>
                      </a:moveTo>
                      <a:lnTo>
                        <a:pt x="-2444" y="4714"/>
                      </a:lnTo>
                      <a:lnTo>
                        <a:pt x="-1698" y="14357"/>
                      </a:lnTo>
                      <a:lnTo>
                        <a:pt x="109115" y="5770"/>
                      </a:lnTo>
                      <a:lnTo>
                        <a:pt x="108369" y="-3873"/>
                      </a:lnTo>
                    </a:path>
                  </a:pathLst>
                </a:custGeom>
                <a:solidFill>
                  <a:srgbClr val="292E4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434" name="Vrije vorm 433">
                  <a:extLst>
                    <a:ext uri="{FF2B5EF4-FFF2-40B4-BE49-F238E27FC236}">
                      <a16:creationId xmlns:a16="http://schemas.microsoft.com/office/drawing/2014/main" id="{801895A8-5101-5272-B083-71EE57F1CA88}"/>
                    </a:ext>
                  </a:extLst>
                </p:cNvPr>
                <p:cNvSpPr/>
                <p:nvPr/>
              </p:nvSpPr>
              <p:spPr>
                <a:xfrm flipV="1">
                  <a:off x="4508557" y="1523698"/>
                  <a:ext cx="72000" cy="14758"/>
                </a:xfrm>
                <a:custGeom>
                  <a:avLst/>
                  <a:gdLst>
                    <a:gd name="connsiteX0" fmla="*/ 3008 w 52302"/>
                    <a:gd name="connsiteY0" fmla="*/ -3866 h 16363"/>
                    <a:gd name="connsiteX1" fmla="*/ -2598 w 52302"/>
                    <a:gd name="connsiteY1" fmla="*/ 4027 h 16363"/>
                    <a:gd name="connsiteX2" fmla="*/ 49705 w 52302"/>
                    <a:gd name="connsiteY2" fmla="*/ 3923 h 16363"/>
                    <a:gd name="connsiteX3" fmla="*/ 43819 w 52302"/>
                    <a:gd name="connsiteY3" fmla="*/ -3752 h 16363"/>
                    <a:gd name="connsiteX4" fmla="*/ 3008 w 52302"/>
                    <a:gd name="connsiteY4" fmla="*/ -3866 h 16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02" h="16363">
                      <a:moveTo>
                        <a:pt x="3008" y="-3866"/>
                      </a:moveTo>
                      <a:lnTo>
                        <a:pt x="-2598" y="4027"/>
                      </a:lnTo>
                      <a:cubicBezTo>
                        <a:pt x="6760" y="10687"/>
                        <a:pt x="29735" y="19233"/>
                        <a:pt x="49705" y="3923"/>
                      </a:cubicBezTo>
                      <a:lnTo>
                        <a:pt x="43819" y="-3752"/>
                      </a:lnTo>
                      <a:cubicBezTo>
                        <a:pt x="24584" y="10977"/>
                        <a:pt x="3879" y="-3255"/>
                        <a:pt x="3008" y="-3866"/>
                      </a:cubicBezTo>
                    </a:path>
                  </a:pathLst>
                </a:custGeom>
                <a:solidFill>
                  <a:srgbClr val="292E4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</p:grpSp>
        </p:grpSp>
        <p:sp>
          <p:nvSpPr>
            <p:cNvPr id="11" name="Vrije vorm 10">
              <a:extLst>
                <a:ext uri="{FF2B5EF4-FFF2-40B4-BE49-F238E27FC236}">
                  <a16:creationId xmlns:a16="http://schemas.microsoft.com/office/drawing/2014/main" id="{87B1EFE2-03CF-8D81-BD45-9FB653ED5F28}"/>
                </a:ext>
              </a:extLst>
            </p:cNvPr>
            <p:cNvSpPr/>
            <p:nvPr/>
          </p:nvSpPr>
          <p:spPr>
            <a:xfrm>
              <a:off x="9637106" y="6063723"/>
              <a:ext cx="539786" cy="87481"/>
            </a:xfrm>
            <a:custGeom>
              <a:avLst/>
              <a:gdLst>
                <a:gd name="connsiteX0" fmla="*/ 0 w 343528"/>
                <a:gd name="connsiteY0" fmla="*/ 0 h 34698"/>
                <a:gd name="connsiteX1" fmla="*/ 343529 w 343528"/>
                <a:gd name="connsiteY1" fmla="*/ 0 h 34698"/>
                <a:gd name="connsiteX2" fmla="*/ 343529 w 343528"/>
                <a:gd name="connsiteY2" fmla="*/ 34698 h 34698"/>
                <a:gd name="connsiteX3" fmla="*/ 0 w 343528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28" h="34698">
                  <a:moveTo>
                    <a:pt x="0" y="0"/>
                  </a:moveTo>
                  <a:lnTo>
                    <a:pt x="343529" y="0"/>
                  </a:lnTo>
                  <a:lnTo>
                    <a:pt x="343529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" name="Vrije vorm 11">
              <a:extLst>
                <a:ext uri="{FF2B5EF4-FFF2-40B4-BE49-F238E27FC236}">
                  <a16:creationId xmlns:a16="http://schemas.microsoft.com/office/drawing/2014/main" id="{E04211BB-6F36-787C-FB89-518EEB8CA77E}"/>
                </a:ext>
              </a:extLst>
            </p:cNvPr>
            <p:cNvSpPr/>
            <p:nvPr/>
          </p:nvSpPr>
          <p:spPr>
            <a:xfrm>
              <a:off x="8748452" y="6063723"/>
              <a:ext cx="539786" cy="87481"/>
            </a:xfrm>
            <a:custGeom>
              <a:avLst/>
              <a:gdLst>
                <a:gd name="connsiteX0" fmla="*/ 0 w 343528"/>
                <a:gd name="connsiteY0" fmla="*/ 0 h 34698"/>
                <a:gd name="connsiteX1" fmla="*/ 343529 w 343528"/>
                <a:gd name="connsiteY1" fmla="*/ 0 h 34698"/>
                <a:gd name="connsiteX2" fmla="*/ 343529 w 343528"/>
                <a:gd name="connsiteY2" fmla="*/ 34698 h 34698"/>
                <a:gd name="connsiteX3" fmla="*/ 0 w 343528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28" h="34698">
                  <a:moveTo>
                    <a:pt x="0" y="0"/>
                  </a:moveTo>
                  <a:lnTo>
                    <a:pt x="343529" y="0"/>
                  </a:lnTo>
                  <a:lnTo>
                    <a:pt x="343529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" name="Vrije vorm 12">
              <a:extLst>
                <a:ext uri="{FF2B5EF4-FFF2-40B4-BE49-F238E27FC236}">
                  <a16:creationId xmlns:a16="http://schemas.microsoft.com/office/drawing/2014/main" id="{3843A266-0B3E-E932-D4BE-029C131507D7}"/>
                </a:ext>
              </a:extLst>
            </p:cNvPr>
            <p:cNvSpPr/>
            <p:nvPr/>
          </p:nvSpPr>
          <p:spPr>
            <a:xfrm>
              <a:off x="7859763" y="6063723"/>
              <a:ext cx="539751" cy="87481"/>
            </a:xfrm>
            <a:custGeom>
              <a:avLst/>
              <a:gdLst>
                <a:gd name="connsiteX0" fmla="*/ 0 w 343506"/>
                <a:gd name="connsiteY0" fmla="*/ 0 h 34698"/>
                <a:gd name="connsiteX1" fmla="*/ 343507 w 343506"/>
                <a:gd name="connsiteY1" fmla="*/ 0 h 34698"/>
                <a:gd name="connsiteX2" fmla="*/ 343507 w 343506"/>
                <a:gd name="connsiteY2" fmla="*/ 34698 h 34698"/>
                <a:gd name="connsiteX3" fmla="*/ 0 w 343506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06" h="34698">
                  <a:moveTo>
                    <a:pt x="0" y="0"/>
                  </a:moveTo>
                  <a:lnTo>
                    <a:pt x="343507" y="0"/>
                  </a:lnTo>
                  <a:lnTo>
                    <a:pt x="343507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" name="Vrije vorm 13">
              <a:extLst>
                <a:ext uri="{FF2B5EF4-FFF2-40B4-BE49-F238E27FC236}">
                  <a16:creationId xmlns:a16="http://schemas.microsoft.com/office/drawing/2014/main" id="{EA69971A-8109-A02F-3371-888CD9B476D6}"/>
                </a:ext>
              </a:extLst>
            </p:cNvPr>
            <p:cNvSpPr/>
            <p:nvPr/>
          </p:nvSpPr>
          <p:spPr>
            <a:xfrm>
              <a:off x="6971055" y="6063723"/>
              <a:ext cx="539751" cy="87481"/>
            </a:xfrm>
            <a:custGeom>
              <a:avLst/>
              <a:gdLst>
                <a:gd name="connsiteX0" fmla="*/ 0 w 343506"/>
                <a:gd name="connsiteY0" fmla="*/ 0 h 34698"/>
                <a:gd name="connsiteX1" fmla="*/ 343507 w 343506"/>
                <a:gd name="connsiteY1" fmla="*/ 0 h 34698"/>
                <a:gd name="connsiteX2" fmla="*/ 343507 w 343506"/>
                <a:gd name="connsiteY2" fmla="*/ 34698 h 34698"/>
                <a:gd name="connsiteX3" fmla="*/ 0 w 343506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06" h="34698">
                  <a:moveTo>
                    <a:pt x="0" y="0"/>
                  </a:moveTo>
                  <a:lnTo>
                    <a:pt x="343507" y="0"/>
                  </a:lnTo>
                  <a:lnTo>
                    <a:pt x="343507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5" name="Vrije vorm 14">
              <a:extLst>
                <a:ext uri="{FF2B5EF4-FFF2-40B4-BE49-F238E27FC236}">
                  <a16:creationId xmlns:a16="http://schemas.microsoft.com/office/drawing/2014/main" id="{6AC28018-9CBF-1A0B-79B4-46E9504CFFC4}"/>
                </a:ext>
              </a:extLst>
            </p:cNvPr>
            <p:cNvSpPr/>
            <p:nvPr/>
          </p:nvSpPr>
          <p:spPr>
            <a:xfrm>
              <a:off x="6082359" y="6063723"/>
              <a:ext cx="539778" cy="87481"/>
            </a:xfrm>
            <a:custGeom>
              <a:avLst/>
              <a:gdLst>
                <a:gd name="connsiteX0" fmla="*/ 0 w 343523"/>
                <a:gd name="connsiteY0" fmla="*/ 0 h 34698"/>
                <a:gd name="connsiteX1" fmla="*/ 343523 w 343523"/>
                <a:gd name="connsiteY1" fmla="*/ 0 h 34698"/>
                <a:gd name="connsiteX2" fmla="*/ 343523 w 343523"/>
                <a:gd name="connsiteY2" fmla="*/ 34698 h 34698"/>
                <a:gd name="connsiteX3" fmla="*/ 0 w 343523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23" h="34698">
                  <a:moveTo>
                    <a:pt x="0" y="0"/>
                  </a:moveTo>
                  <a:lnTo>
                    <a:pt x="343523" y="0"/>
                  </a:lnTo>
                  <a:lnTo>
                    <a:pt x="343523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6" name="Vrije vorm 15">
              <a:extLst>
                <a:ext uri="{FF2B5EF4-FFF2-40B4-BE49-F238E27FC236}">
                  <a16:creationId xmlns:a16="http://schemas.microsoft.com/office/drawing/2014/main" id="{5E32C051-DB4F-F94D-700C-D89AC4A88B31}"/>
                </a:ext>
              </a:extLst>
            </p:cNvPr>
            <p:cNvSpPr/>
            <p:nvPr/>
          </p:nvSpPr>
          <p:spPr>
            <a:xfrm>
              <a:off x="5193668" y="6063723"/>
              <a:ext cx="539761" cy="87481"/>
            </a:xfrm>
            <a:custGeom>
              <a:avLst/>
              <a:gdLst>
                <a:gd name="connsiteX0" fmla="*/ 0 w 343512"/>
                <a:gd name="connsiteY0" fmla="*/ 0 h 34698"/>
                <a:gd name="connsiteX1" fmla="*/ 343512 w 343512"/>
                <a:gd name="connsiteY1" fmla="*/ 0 h 34698"/>
                <a:gd name="connsiteX2" fmla="*/ 343512 w 343512"/>
                <a:gd name="connsiteY2" fmla="*/ 34698 h 34698"/>
                <a:gd name="connsiteX3" fmla="*/ 0 w 343512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12" h="34698">
                  <a:moveTo>
                    <a:pt x="0" y="0"/>
                  </a:moveTo>
                  <a:lnTo>
                    <a:pt x="343512" y="0"/>
                  </a:lnTo>
                  <a:lnTo>
                    <a:pt x="343512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7" name="Vrije vorm 16">
              <a:extLst>
                <a:ext uri="{FF2B5EF4-FFF2-40B4-BE49-F238E27FC236}">
                  <a16:creationId xmlns:a16="http://schemas.microsoft.com/office/drawing/2014/main" id="{1A67DB48-2A40-F1AF-BDAB-62B09ED3BE1B}"/>
                </a:ext>
              </a:extLst>
            </p:cNvPr>
            <p:cNvSpPr/>
            <p:nvPr/>
          </p:nvSpPr>
          <p:spPr>
            <a:xfrm>
              <a:off x="4304962" y="6063723"/>
              <a:ext cx="539761" cy="87481"/>
            </a:xfrm>
            <a:custGeom>
              <a:avLst/>
              <a:gdLst>
                <a:gd name="connsiteX0" fmla="*/ 0 w 343512"/>
                <a:gd name="connsiteY0" fmla="*/ 0 h 34698"/>
                <a:gd name="connsiteX1" fmla="*/ 343512 w 343512"/>
                <a:gd name="connsiteY1" fmla="*/ 0 h 34698"/>
                <a:gd name="connsiteX2" fmla="*/ 343512 w 343512"/>
                <a:gd name="connsiteY2" fmla="*/ 34698 h 34698"/>
                <a:gd name="connsiteX3" fmla="*/ 0 w 343512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12" h="34698">
                  <a:moveTo>
                    <a:pt x="0" y="0"/>
                  </a:moveTo>
                  <a:lnTo>
                    <a:pt x="343512" y="0"/>
                  </a:lnTo>
                  <a:lnTo>
                    <a:pt x="343512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8" name="Vrije vorm 17">
              <a:extLst>
                <a:ext uri="{FF2B5EF4-FFF2-40B4-BE49-F238E27FC236}">
                  <a16:creationId xmlns:a16="http://schemas.microsoft.com/office/drawing/2014/main" id="{494288BA-2ACE-9EF8-3807-5FCA932DFAF3}"/>
                </a:ext>
              </a:extLst>
            </p:cNvPr>
            <p:cNvSpPr/>
            <p:nvPr/>
          </p:nvSpPr>
          <p:spPr>
            <a:xfrm>
              <a:off x="3416272" y="6063723"/>
              <a:ext cx="539761" cy="87481"/>
            </a:xfrm>
            <a:custGeom>
              <a:avLst/>
              <a:gdLst>
                <a:gd name="connsiteX0" fmla="*/ 0 w 343512"/>
                <a:gd name="connsiteY0" fmla="*/ 0 h 34698"/>
                <a:gd name="connsiteX1" fmla="*/ 343512 w 343512"/>
                <a:gd name="connsiteY1" fmla="*/ 0 h 34698"/>
                <a:gd name="connsiteX2" fmla="*/ 343512 w 343512"/>
                <a:gd name="connsiteY2" fmla="*/ 34698 h 34698"/>
                <a:gd name="connsiteX3" fmla="*/ 0 w 343512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12" h="34698">
                  <a:moveTo>
                    <a:pt x="0" y="0"/>
                  </a:moveTo>
                  <a:lnTo>
                    <a:pt x="343512" y="0"/>
                  </a:lnTo>
                  <a:lnTo>
                    <a:pt x="343512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9" name="Vrije vorm 18">
              <a:extLst>
                <a:ext uri="{FF2B5EF4-FFF2-40B4-BE49-F238E27FC236}">
                  <a16:creationId xmlns:a16="http://schemas.microsoft.com/office/drawing/2014/main" id="{2B72599F-61A6-27E0-1C99-4493068D2E23}"/>
                </a:ext>
              </a:extLst>
            </p:cNvPr>
            <p:cNvSpPr/>
            <p:nvPr/>
          </p:nvSpPr>
          <p:spPr>
            <a:xfrm>
              <a:off x="2527566" y="6063723"/>
              <a:ext cx="539761" cy="87481"/>
            </a:xfrm>
            <a:custGeom>
              <a:avLst/>
              <a:gdLst>
                <a:gd name="connsiteX0" fmla="*/ 0 w 343512"/>
                <a:gd name="connsiteY0" fmla="*/ 0 h 34698"/>
                <a:gd name="connsiteX1" fmla="*/ 343512 w 343512"/>
                <a:gd name="connsiteY1" fmla="*/ 0 h 34698"/>
                <a:gd name="connsiteX2" fmla="*/ 343512 w 343512"/>
                <a:gd name="connsiteY2" fmla="*/ 34698 h 34698"/>
                <a:gd name="connsiteX3" fmla="*/ 0 w 343512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12" h="34698">
                  <a:moveTo>
                    <a:pt x="0" y="0"/>
                  </a:moveTo>
                  <a:lnTo>
                    <a:pt x="343512" y="0"/>
                  </a:lnTo>
                  <a:lnTo>
                    <a:pt x="343512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0" name="Vrije vorm 19">
              <a:extLst>
                <a:ext uri="{FF2B5EF4-FFF2-40B4-BE49-F238E27FC236}">
                  <a16:creationId xmlns:a16="http://schemas.microsoft.com/office/drawing/2014/main" id="{89E365F8-0953-8733-A2BE-4E296C9C8AA7}"/>
                </a:ext>
              </a:extLst>
            </p:cNvPr>
            <p:cNvSpPr/>
            <p:nvPr/>
          </p:nvSpPr>
          <p:spPr>
            <a:xfrm>
              <a:off x="1638877" y="6063723"/>
              <a:ext cx="539761" cy="87481"/>
            </a:xfrm>
            <a:custGeom>
              <a:avLst/>
              <a:gdLst>
                <a:gd name="connsiteX0" fmla="*/ 0 w 343512"/>
                <a:gd name="connsiteY0" fmla="*/ 0 h 34698"/>
                <a:gd name="connsiteX1" fmla="*/ 343512 w 343512"/>
                <a:gd name="connsiteY1" fmla="*/ 0 h 34698"/>
                <a:gd name="connsiteX2" fmla="*/ 343512 w 343512"/>
                <a:gd name="connsiteY2" fmla="*/ 34698 h 34698"/>
                <a:gd name="connsiteX3" fmla="*/ 0 w 343512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12" h="34698">
                  <a:moveTo>
                    <a:pt x="0" y="0"/>
                  </a:moveTo>
                  <a:lnTo>
                    <a:pt x="343512" y="0"/>
                  </a:lnTo>
                  <a:lnTo>
                    <a:pt x="343512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1" name="Vrije vorm 20">
              <a:extLst>
                <a:ext uri="{FF2B5EF4-FFF2-40B4-BE49-F238E27FC236}">
                  <a16:creationId xmlns:a16="http://schemas.microsoft.com/office/drawing/2014/main" id="{F82A085A-C9E2-B1C8-EE60-592E4438E70F}"/>
                </a:ext>
              </a:extLst>
            </p:cNvPr>
            <p:cNvSpPr/>
            <p:nvPr/>
          </p:nvSpPr>
          <p:spPr>
            <a:xfrm>
              <a:off x="750169" y="6063723"/>
              <a:ext cx="539761" cy="87481"/>
            </a:xfrm>
            <a:custGeom>
              <a:avLst/>
              <a:gdLst>
                <a:gd name="connsiteX0" fmla="*/ 0 w 343512"/>
                <a:gd name="connsiteY0" fmla="*/ 0 h 34698"/>
                <a:gd name="connsiteX1" fmla="*/ 343512 w 343512"/>
                <a:gd name="connsiteY1" fmla="*/ 0 h 34698"/>
                <a:gd name="connsiteX2" fmla="*/ 343512 w 343512"/>
                <a:gd name="connsiteY2" fmla="*/ 34698 h 34698"/>
                <a:gd name="connsiteX3" fmla="*/ 0 w 343512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12" h="34698">
                  <a:moveTo>
                    <a:pt x="0" y="0"/>
                  </a:moveTo>
                  <a:lnTo>
                    <a:pt x="343512" y="0"/>
                  </a:lnTo>
                  <a:lnTo>
                    <a:pt x="343512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" name="Vrije vorm 21">
              <a:extLst>
                <a:ext uri="{FF2B5EF4-FFF2-40B4-BE49-F238E27FC236}">
                  <a16:creationId xmlns:a16="http://schemas.microsoft.com/office/drawing/2014/main" id="{AB6BCFB4-3733-098D-6051-949B5B83E21A}"/>
                </a:ext>
              </a:extLst>
            </p:cNvPr>
            <p:cNvSpPr/>
            <p:nvPr/>
          </p:nvSpPr>
          <p:spPr>
            <a:xfrm>
              <a:off x="0" y="6063723"/>
              <a:ext cx="401241" cy="87481"/>
            </a:xfrm>
            <a:custGeom>
              <a:avLst/>
              <a:gdLst>
                <a:gd name="connsiteX0" fmla="*/ 0 w 255356"/>
                <a:gd name="connsiteY0" fmla="*/ 0 h 34698"/>
                <a:gd name="connsiteX1" fmla="*/ 255357 w 255356"/>
                <a:gd name="connsiteY1" fmla="*/ 0 h 34698"/>
                <a:gd name="connsiteX2" fmla="*/ 255357 w 255356"/>
                <a:gd name="connsiteY2" fmla="*/ 34698 h 34698"/>
                <a:gd name="connsiteX3" fmla="*/ 0 w 255356"/>
                <a:gd name="connsiteY3" fmla="*/ 34698 h 3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356" h="34698">
                  <a:moveTo>
                    <a:pt x="0" y="0"/>
                  </a:moveTo>
                  <a:lnTo>
                    <a:pt x="255357" y="0"/>
                  </a:lnTo>
                  <a:lnTo>
                    <a:pt x="255357" y="34698"/>
                  </a:lnTo>
                  <a:lnTo>
                    <a:pt x="0" y="34698"/>
                  </a:lnTo>
                  <a:close/>
                </a:path>
              </a:pathLst>
            </a:custGeom>
            <a:solidFill>
              <a:srgbClr val="FFFFFF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23" name="Graphic 608">
              <a:extLst>
                <a:ext uri="{FF2B5EF4-FFF2-40B4-BE49-F238E27FC236}">
                  <a16:creationId xmlns:a16="http://schemas.microsoft.com/office/drawing/2014/main" id="{DFC8D620-708E-16DE-3057-07E44444B2D0}"/>
                </a:ext>
              </a:extLst>
            </p:cNvPr>
            <p:cNvGrpSpPr/>
            <p:nvPr/>
          </p:nvGrpSpPr>
          <p:grpSpPr>
            <a:xfrm>
              <a:off x="6555193" y="5935748"/>
              <a:ext cx="946037" cy="703982"/>
              <a:chOff x="5369252" y="2353982"/>
              <a:chExt cx="602072" cy="279223"/>
            </a:xfrm>
          </p:grpSpPr>
          <p:sp>
            <p:nvSpPr>
              <p:cNvPr id="24" name="Vrije vorm 23">
                <a:extLst>
                  <a:ext uri="{FF2B5EF4-FFF2-40B4-BE49-F238E27FC236}">
                    <a16:creationId xmlns:a16="http://schemas.microsoft.com/office/drawing/2014/main" id="{A77904A8-1826-580D-8DCE-358A91787D43}"/>
                  </a:ext>
                </a:extLst>
              </p:cNvPr>
              <p:cNvSpPr/>
              <p:nvPr/>
            </p:nvSpPr>
            <p:spPr>
              <a:xfrm>
                <a:off x="5369252" y="2462040"/>
                <a:ext cx="602072" cy="120833"/>
              </a:xfrm>
              <a:custGeom>
                <a:avLst/>
                <a:gdLst>
                  <a:gd name="connsiteX0" fmla="*/ 546700 w 602072"/>
                  <a:gd name="connsiteY0" fmla="*/ 118324 h 120833"/>
                  <a:gd name="connsiteX1" fmla="*/ 602072 w 602072"/>
                  <a:gd name="connsiteY1" fmla="*/ 60425 h 120833"/>
                  <a:gd name="connsiteX2" fmla="*/ 541642 w 602072"/>
                  <a:gd name="connsiteY2" fmla="*/ 44 h 120833"/>
                  <a:gd name="connsiteX3" fmla="*/ 541642 w 602072"/>
                  <a:gd name="connsiteY3" fmla="*/ 0 h 120833"/>
                  <a:gd name="connsiteX4" fmla="*/ 60403 w 602072"/>
                  <a:gd name="connsiteY4" fmla="*/ 0 h 120833"/>
                  <a:gd name="connsiteX5" fmla="*/ 0 w 602072"/>
                  <a:gd name="connsiteY5" fmla="*/ 60430 h 120833"/>
                  <a:gd name="connsiteX6" fmla="*/ 60403 w 602072"/>
                  <a:gd name="connsiteY6" fmla="*/ 120811 h 120833"/>
                  <a:gd name="connsiteX7" fmla="*/ 60403 w 602072"/>
                  <a:gd name="connsiteY7" fmla="*/ 120833 h 120833"/>
                  <a:gd name="connsiteX8" fmla="*/ 61735 w 602072"/>
                  <a:gd name="connsiteY8" fmla="*/ 120833 h 120833"/>
                  <a:gd name="connsiteX9" fmla="*/ 60403 w 602072"/>
                  <a:gd name="connsiteY9" fmla="*/ 108264 h 120833"/>
                  <a:gd name="connsiteX10" fmla="*/ 120833 w 602072"/>
                  <a:gd name="connsiteY10" fmla="*/ 47856 h 120833"/>
                  <a:gd name="connsiteX11" fmla="*/ 181197 w 602072"/>
                  <a:gd name="connsiteY11" fmla="*/ 108264 h 120833"/>
                  <a:gd name="connsiteX12" fmla="*/ 179887 w 602072"/>
                  <a:gd name="connsiteY12" fmla="*/ 120833 h 120833"/>
                  <a:gd name="connsiteX13" fmla="*/ 414330 w 602072"/>
                  <a:gd name="connsiteY13" fmla="*/ 120833 h 120833"/>
                  <a:gd name="connsiteX14" fmla="*/ 412131 w 602072"/>
                  <a:gd name="connsiteY14" fmla="*/ 111051 h 120833"/>
                  <a:gd name="connsiteX15" fmla="*/ 472562 w 602072"/>
                  <a:gd name="connsiteY15" fmla="*/ 50648 h 120833"/>
                  <a:gd name="connsiteX16" fmla="*/ 531299 w 602072"/>
                  <a:gd name="connsiteY16" fmla="*/ 118585 h 120833"/>
                  <a:gd name="connsiteX17" fmla="*/ 546700 w 602072"/>
                  <a:gd name="connsiteY17" fmla="*/ 118324 h 120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02072" h="120833">
                    <a:moveTo>
                      <a:pt x="546700" y="118324"/>
                    </a:moveTo>
                    <a:cubicBezTo>
                      <a:pt x="580065" y="118324"/>
                      <a:pt x="602072" y="93791"/>
                      <a:pt x="602072" y="60425"/>
                    </a:cubicBezTo>
                    <a:cubicBezTo>
                      <a:pt x="602072" y="27081"/>
                      <a:pt x="575008" y="44"/>
                      <a:pt x="541642" y="44"/>
                    </a:cubicBezTo>
                    <a:lnTo>
                      <a:pt x="541642" y="0"/>
                    </a:lnTo>
                    <a:lnTo>
                      <a:pt x="60403" y="0"/>
                    </a:lnTo>
                    <a:cubicBezTo>
                      <a:pt x="27037" y="0"/>
                      <a:pt x="0" y="27065"/>
                      <a:pt x="0" y="60430"/>
                    </a:cubicBezTo>
                    <a:cubicBezTo>
                      <a:pt x="0" y="93785"/>
                      <a:pt x="27037" y="120811"/>
                      <a:pt x="60403" y="120811"/>
                    </a:cubicBezTo>
                    <a:lnTo>
                      <a:pt x="60403" y="120833"/>
                    </a:lnTo>
                    <a:lnTo>
                      <a:pt x="61735" y="120833"/>
                    </a:lnTo>
                    <a:cubicBezTo>
                      <a:pt x="60880" y="116780"/>
                      <a:pt x="60403" y="112578"/>
                      <a:pt x="60403" y="108264"/>
                    </a:cubicBezTo>
                    <a:cubicBezTo>
                      <a:pt x="60403" y="74909"/>
                      <a:pt x="87445" y="47856"/>
                      <a:pt x="120833" y="47856"/>
                    </a:cubicBezTo>
                    <a:cubicBezTo>
                      <a:pt x="154177" y="47856"/>
                      <a:pt x="181197" y="74909"/>
                      <a:pt x="181197" y="108264"/>
                    </a:cubicBezTo>
                    <a:cubicBezTo>
                      <a:pt x="181197" y="112578"/>
                      <a:pt x="180742" y="116780"/>
                      <a:pt x="179887" y="120833"/>
                    </a:cubicBezTo>
                    <a:lnTo>
                      <a:pt x="414330" y="120833"/>
                    </a:lnTo>
                    <a:lnTo>
                      <a:pt x="412131" y="111051"/>
                    </a:lnTo>
                    <a:cubicBezTo>
                      <a:pt x="412131" y="77685"/>
                      <a:pt x="439174" y="50648"/>
                      <a:pt x="472562" y="50648"/>
                    </a:cubicBezTo>
                    <a:cubicBezTo>
                      <a:pt x="512662" y="50648"/>
                      <a:pt x="535546" y="87850"/>
                      <a:pt x="531299" y="118585"/>
                    </a:cubicBezTo>
                    <a:lnTo>
                      <a:pt x="546700" y="118324"/>
                    </a:lnTo>
                    <a:close/>
                  </a:path>
                </a:pathLst>
              </a:custGeom>
              <a:solidFill>
                <a:srgbClr val="F5CC69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pic>
            <p:nvPicPr>
              <p:cNvPr id="25" name="Afbeelding 24">
                <a:extLst>
                  <a:ext uri="{FF2B5EF4-FFF2-40B4-BE49-F238E27FC236}">
                    <a16:creationId xmlns:a16="http://schemas.microsoft.com/office/drawing/2014/main" id="{BDF22F33-F13A-E1F5-C213-734315EA07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452428" y="2353982"/>
                <a:ext cx="385853" cy="114647"/>
              </a:xfrm>
              <a:custGeom>
                <a:avLst/>
                <a:gdLst>
                  <a:gd name="connsiteX0" fmla="*/ 752 w 385853"/>
                  <a:gd name="connsiteY0" fmla="*/ 420 h 114647"/>
                  <a:gd name="connsiteX1" fmla="*/ 386605 w 385853"/>
                  <a:gd name="connsiteY1" fmla="*/ 420 h 114647"/>
                  <a:gd name="connsiteX2" fmla="*/ 386605 w 385853"/>
                  <a:gd name="connsiteY2" fmla="*/ 115068 h 114647"/>
                  <a:gd name="connsiteX3" fmla="*/ 752 w 385853"/>
                  <a:gd name="connsiteY3" fmla="*/ 115068 h 114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5853" h="114647">
                    <a:moveTo>
                      <a:pt x="752" y="420"/>
                    </a:moveTo>
                    <a:lnTo>
                      <a:pt x="386605" y="420"/>
                    </a:lnTo>
                    <a:lnTo>
                      <a:pt x="386605" y="115068"/>
                    </a:lnTo>
                    <a:lnTo>
                      <a:pt x="752" y="115068"/>
                    </a:lnTo>
                    <a:close/>
                  </a:path>
                </a:pathLst>
              </a:custGeom>
            </p:spPr>
          </p:pic>
          <p:sp>
            <p:nvSpPr>
              <p:cNvPr id="26" name="Vrije vorm 25">
                <a:extLst>
                  <a:ext uri="{FF2B5EF4-FFF2-40B4-BE49-F238E27FC236}">
                    <a16:creationId xmlns:a16="http://schemas.microsoft.com/office/drawing/2014/main" id="{D14C44D1-88AB-86DB-8F93-EF3832761DD5}"/>
                  </a:ext>
                </a:extLst>
              </p:cNvPr>
              <p:cNvSpPr/>
              <p:nvPr/>
            </p:nvSpPr>
            <p:spPr>
              <a:xfrm>
                <a:off x="5429655" y="2509896"/>
                <a:ext cx="120794" cy="120799"/>
              </a:xfrm>
              <a:custGeom>
                <a:avLst/>
                <a:gdLst>
                  <a:gd name="connsiteX0" fmla="*/ 120794 w 120794"/>
                  <a:gd name="connsiteY0" fmla="*/ 60408 h 120799"/>
                  <a:gd name="connsiteX1" fmla="*/ 60430 w 120794"/>
                  <a:gd name="connsiteY1" fmla="*/ 120800 h 120799"/>
                  <a:gd name="connsiteX2" fmla="*/ 0 w 120794"/>
                  <a:gd name="connsiteY2" fmla="*/ 60408 h 120799"/>
                  <a:gd name="connsiteX3" fmla="*/ 60430 w 120794"/>
                  <a:gd name="connsiteY3" fmla="*/ 0 h 120799"/>
                  <a:gd name="connsiteX4" fmla="*/ 120794 w 120794"/>
                  <a:gd name="connsiteY4" fmla="*/ 60408 h 120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794" h="120799">
                    <a:moveTo>
                      <a:pt x="120794" y="60408"/>
                    </a:moveTo>
                    <a:cubicBezTo>
                      <a:pt x="120794" y="93763"/>
                      <a:pt x="93774" y="120800"/>
                      <a:pt x="60430" y="120800"/>
                    </a:cubicBezTo>
                    <a:cubicBezTo>
                      <a:pt x="27042" y="120800"/>
                      <a:pt x="0" y="93757"/>
                      <a:pt x="0" y="60408"/>
                    </a:cubicBezTo>
                    <a:cubicBezTo>
                      <a:pt x="0" y="27059"/>
                      <a:pt x="27042" y="0"/>
                      <a:pt x="60430" y="0"/>
                    </a:cubicBezTo>
                    <a:cubicBezTo>
                      <a:pt x="93774" y="0"/>
                      <a:pt x="120794" y="27054"/>
                      <a:pt x="120794" y="60408"/>
                    </a:cubicBezTo>
                    <a:close/>
                  </a:path>
                </a:pathLst>
              </a:custGeom>
              <a:solidFill>
                <a:srgbClr val="768E9C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7" name="Vrije vorm 26">
                <a:extLst>
                  <a:ext uri="{FF2B5EF4-FFF2-40B4-BE49-F238E27FC236}">
                    <a16:creationId xmlns:a16="http://schemas.microsoft.com/office/drawing/2014/main" id="{59510231-51DA-970B-FD9B-5A23FC9B2446}"/>
                  </a:ext>
                </a:extLst>
              </p:cNvPr>
              <p:cNvSpPr/>
              <p:nvPr/>
            </p:nvSpPr>
            <p:spPr>
              <a:xfrm>
                <a:off x="5780295" y="2512383"/>
                <a:ext cx="120838" cy="120821"/>
              </a:xfrm>
              <a:custGeom>
                <a:avLst/>
                <a:gdLst>
                  <a:gd name="connsiteX0" fmla="*/ 120839 w 120838"/>
                  <a:gd name="connsiteY0" fmla="*/ 60403 h 120821"/>
                  <a:gd name="connsiteX1" fmla="*/ 60408 w 120838"/>
                  <a:gd name="connsiteY1" fmla="*/ 120822 h 120821"/>
                  <a:gd name="connsiteX2" fmla="*/ 0 w 120838"/>
                  <a:gd name="connsiteY2" fmla="*/ 60403 h 120821"/>
                  <a:gd name="connsiteX3" fmla="*/ 60408 w 120838"/>
                  <a:gd name="connsiteY3" fmla="*/ 0 h 120821"/>
                  <a:gd name="connsiteX4" fmla="*/ 120839 w 120838"/>
                  <a:gd name="connsiteY4" fmla="*/ 60403 h 120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838" h="120821">
                    <a:moveTo>
                      <a:pt x="120839" y="60403"/>
                    </a:moveTo>
                    <a:cubicBezTo>
                      <a:pt x="120839" y="93757"/>
                      <a:pt x="93796" y="120822"/>
                      <a:pt x="60408" y="120822"/>
                    </a:cubicBezTo>
                    <a:cubicBezTo>
                      <a:pt x="27065" y="120822"/>
                      <a:pt x="0" y="93757"/>
                      <a:pt x="0" y="60403"/>
                    </a:cubicBezTo>
                    <a:cubicBezTo>
                      <a:pt x="0" y="27037"/>
                      <a:pt x="27065" y="0"/>
                      <a:pt x="60408" y="0"/>
                    </a:cubicBezTo>
                    <a:cubicBezTo>
                      <a:pt x="93796" y="0"/>
                      <a:pt x="120839" y="27037"/>
                      <a:pt x="120839" y="60403"/>
                    </a:cubicBezTo>
                    <a:close/>
                  </a:path>
                </a:pathLst>
              </a:custGeom>
              <a:solidFill>
                <a:srgbClr val="768E9C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28" name="Vrije vorm 27">
              <a:extLst>
                <a:ext uri="{FF2B5EF4-FFF2-40B4-BE49-F238E27FC236}">
                  <a16:creationId xmlns:a16="http://schemas.microsoft.com/office/drawing/2014/main" id="{ADBF60EF-3BB2-1C56-9694-A448FD05BA4B}"/>
                </a:ext>
              </a:extLst>
            </p:cNvPr>
            <p:cNvSpPr/>
            <p:nvPr/>
          </p:nvSpPr>
          <p:spPr>
            <a:xfrm>
              <a:off x="-1" y="5302378"/>
              <a:ext cx="3348000" cy="144085"/>
            </a:xfrm>
            <a:custGeom>
              <a:avLst/>
              <a:gdLst>
                <a:gd name="connsiteX0" fmla="*/ 0 w 1947202"/>
                <a:gd name="connsiteY0" fmla="*/ 0 h 57149"/>
                <a:gd name="connsiteX1" fmla="*/ 1918628 w 1947202"/>
                <a:gd name="connsiteY1" fmla="*/ 0 h 57149"/>
                <a:gd name="connsiteX2" fmla="*/ 1947203 w 1947202"/>
                <a:gd name="connsiteY2" fmla="*/ 28575 h 57149"/>
                <a:gd name="connsiteX3" fmla="*/ 1947203 w 1947202"/>
                <a:gd name="connsiteY3" fmla="*/ 28575 h 57149"/>
                <a:gd name="connsiteX4" fmla="*/ 1918628 w 1947202"/>
                <a:gd name="connsiteY4" fmla="*/ 57149 h 57149"/>
                <a:gd name="connsiteX5" fmla="*/ 0 w 1947202"/>
                <a:gd name="connsiteY5" fmla="*/ 57149 h 57149"/>
                <a:gd name="connsiteX6" fmla="*/ 0 w 1947202"/>
                <a:gd name="connsiteY6" fmla="*/ 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7202" h="57149">
                  <a:moveTo>
                    <a:pt x="0" y="0"/>
                  </a:moveTo>
                  <a:lnTo>
                    <a:pt x="1918628" y="0"/>
                  </a:lnTo>
                  <a:cubicBezTo>
                    <a:pt x="1934339" y="0"/>
                    <a:pt x="1947203" y="12852"/>
                    <a:pt x="1947203" y="28575"/>
                  </a:cubicBezTo>
                  <a:lnTo>
                    <a:pt x="1947203" y="28575"/>
                  </a:lnTo>
                  <a:cubicBezTo>
                    <a:pt x="1947203" y="44297"/>
                    <a:pt x="1934339" y="57149"/>
                    <a:pt x="1918628" y="57149"/>
                  </a:cubicBezTo>
                  <a:lnTo>
                    <a:pt x="0" y="571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86344"/>
            </a:solidFill>
            <a:ln w="5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30" name="Graphic 608">
              <a:extLst>
                <a:ext uri="{FF2B5EF4-FFF2-40B4-BE49-F238E27FC236}">
                  <a16:creationId xmlns:a16="http://schemas.microsoft.com/office/drawing/2014/main" id="{504DACC7-FB60-58B4-3C73-18B99176F8C5}"/>
                </a:ext>
              </a:extLst>
            </p:cNvPr>
            <p:cNvGrpSpPr/>
            <p:nvPr/>
          </p:nvGrpSpPr>
          <p:grpSpPr>
            <a:xfrm>
              <a:off x="3892859" y="4990523"/>
              <a:ext cx="946010" cy="689886"/>
              <a:chOff x="3674902" y="1979074"/>
              <a:chExt cx="602055" cy="273632"/>
            </a:xfrm>
          </p:grpSpPr>
          <p:sp>
            <p:nvSpPr>
              <p:cNvPr id="31" name="Vrije vorm 30">
                <a:extLst>
                  <a:ext uri="{FF2B5EF4-FFF2-40B4-BE49-F238E27FC236}">
                    <a16:creationId xmlns:a16="http://schemas.microsoft.com/office/drawing/2014/main" id="{34D421DE-2882-77D0-7C47-940F27A7287A}"/>
                  </a:ext>
                </a:extLst>
              </p:cNvPr>
              <p:cNvSpPr/>
              <p:nvPr/>
            </p:nvSpPr>
            <p:spPr>
              <a:xfrm>
                <a:off x="3674902" y="2081609"/>
                <a:ext cx="602055" cy="120788"/>
              </a:xfrm>
              <a:custGeom>
                <a:avLst/>
                <a:gdLst>
                  <a:gd name="connsiteX0" fmla="*/ 55367 w 602055"/>
                  <a:gd name="connsiteY0" fmla="*/ 118274 h 120788"/>
                  <a:gd name="connsiteX1" fmla="*/ 0 w 602055"/>
                  <a:gd name="connsiteY1" fmla="*/ 60397 h 120788"/>
                  <a:gd name="connsiteX2" fmla="*/ 60419 w 602055"/>
                  <a:gd name="connsiteY2" fmla="*/ 0 h 120788"/>
                  <a:gd name="connsiteX3" fmla="*/ 541664 w 602055"/>
                  <a:gd name="connsiteY3" fmla="*/ 0 h 120788"/>
                  <a:gd name="connsiteX4" fmla="*/ 602056 w 602055"/>
                  <a:gd name="connsiteY4" fmla="*/ 60375 h 120788"/>
                  <a:gd name="connsiteX5" fmla="*/ 541664 w 602055"/>
                  <a:gd name="connsiteY5" fmla="*/ 120766 h 120788"/>
                  <a:gd name="connsiteX6" fmla="*/ 541664 w 602055"/>
                  <a:gd name="connsiteY6" fmla="*/ 120789 h 120788"/>
                  <a:gd name="connsiteX7" fmla="*/ 540343 w 602055"/>
                  <a:gd name="connsiteY7" fmla="*/ 120789 h 120788"/>
                  <a:gd name="connsiteX8" fmla="*/ 541664 w 602055"/>
                  <a:gd name="connsiteY8" fmla="*/ 108192 h 120788"/>
                  <a:gd name="connsiteX9" fmla="*/ 481261 w 602055"/>
                  <a:gd name="connsiteY9" fmla="*/ 47817 h 120788"/>
                  <a:gd name="connsiteX10" fmla="*/ 420853 w 602055"/>
                  <a:gd name="connsiteY10" fmla="*/ 108192 h 120788"/>
                  <a:gd name="connsiteX11" fmla="*/ 422197 w 602055"/>
                  <a:gd name="connsiteY11" fmla="*/ 120789 h 120788"/>
                  <a:gd name="connsiteX12" fmla="*/ 187737 w 602055"/>
                  <a:gd name="connsiteY12" fmla="*/ 120789 h 120788"/>
                  <a:gd name="connsiteX13" fmla="*/ 189930 w 602055"/>
                  <a:gd name="connsiteY13" fmla="*/ 110995 h 120788"/>
                  <a:gd name="connsiteX14" fmla="*/ 129522 w 602055"/>
                  <a:gd name="connsiteY14" fmla="*/ 50593 h 120788"/>
                  <a:gd name="connsiteX15" fmla="*/ 70746 w 602055"/>
                  <a:gd name="connsiteY15" fmla="*/ 118557 h 120788"/>
                  <a:gd name="connsiteX16" fmla="*/ 55367 w 602055"/>
                  <a:gd name="connsiteY16" fmla="*/ 118274 h 120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02055" h="120788">
                    <a:moveTo>
                      <a:pt x="55367" y="118274"/>
                    </a:moveTo>
                    <a:cubicBezTo>
                      <a:pt x="21990" y="118274"/>
                      <a:pt x="0" y="93774"/>
                      <a:pt x="0" y="60397"/>
                    </a:cubicBezTo>
                    <a:cubicBezTo>
                      <a:pt x="0" y="27031"/>
                      <a:pt x="27054" y="0"/>
                      <a:pt x="60419" y="0"/>
                    </a:cubicBezTo>
                    <a:lnTo>
                      <a:pt x="541664" y="0"/>
                    </a:lnTo>
                    <a:cubicBezTo>
                      <a:pt x="575030" y="0"/>
                      <a:pt x="602056" y="27020"/>
                      <a:pt x="602056" y="60375"/>
                    </a:cubicBezTo>
                    <a:cubicBezTo>
                      <a:pt x="602056" y="93763"/>
                      <a:pt x="575024" y="120766"/>
                      <a:pt x="541664" y="120766"/>
                    </a:cubicBezTo>
                    <a:lnTo>
                      <a:pt x="541664" y="120789"/>
                    </a:lnTo>
                    <a:lnTo>
                      <a:pt x="540343" y="120789"/>
                    </a:lnTo>
                    <a:cubicBezTo>
                      <a:pt x="541192" y="116725"/>
                      <a:pt x="541664" y="112522"/>
                      <a:pt x="541664" y="108192"/>
                    </a:cubicBezTo>
                    <a:cubicBezTo>
                      <a:pt x="541664" y="74848"/>
                      <a:pt x="514622" y="47817"/>
                      <a:pt x="481261" y="47817"/>
                    </a:cubicBezTo>
                    <a:cubicBezTo>
                      <a:pt x="447907" y="47817"/>
                      <a:pt x="420853" y="74848"/>
                      <a:pt x="420853" y="108192"/>
                    </a:cubicBezTo>
                    <a:cubicBezTo>
                      <a:pt x="420853" y="112517"/>
                      <a:pt x="421325" y="116719"/>
                      <a:pt x="422197" y="120789"/>
                    </a:cubicBezTo>
                    <a:lnTo>
                      <a:pt x="187737" y="120789"/>
                    </a:lnTo>
                    <a:lnTo>
                      <a:pt x="189930" y="110995"/>
                    </a:lnTo>
                    <a:cubicBezTo>
                      <a:pt x="189930" y="77641"/>
                      <a:pt x="162898" y="50593"/>
                      <a:pt x="129522" y="50593"/>
                    </a:cubicBezTo>
                    <a:cubicBezTo>
                      <a:pt x="89410" y="50593"/>
                      <a:pt x="66554" y="87811"/>
                      <a:pt x="70746" y="118557"/>
                    </a:cubicBezTo>
                    <a:lnTo>
                      <a:pt x="55367" y="118274"/>
                    </a:lnTo>
                    <a:close/>
                  </a:path>
                </a:pathLst>
              </a:custGeom>
              <a:solidFill>
                <a:srgbClr val="816C89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" name="Vrije vorm 31">
                <a:extLst>
                  <a:ext uri="{FF2B5EF4-FFF2-40B4-BE49-F238E27FC236}">
                    <a16:creationId xmlns:a16="http://schemas.microsoft.com/office/drawing/2014/main" id="{D96F810F-6067-36D7-2089-CF23D7E62E62}"/>
                  </a:ext>
                </a:extLst>
              </p:cNvPr>
              <p:cNvSpPr/>
              <p:nvPr/>
            </p:nvSpPr>
            <p:spPr>
              <a:xfrm>
                <a:off x="3814844" y="1979074"/>
                <a:ext cx="373152" cy="102162"/>
              </a:xfrm>
              <a:custGeom>
                <a:avLst/>
                <a:gdLst>
                  <a:gd name="connsiteX0" fmla="*/ 373153 w 373152"/>
                  <a:gd name="connsiteY0" fmla="*/ 102163 h 102162"/>
                  <a:gd name="connsiteX1" fmla="*/ 280906 w 373152"/>
                  <a:gd name="connsiteY1" fmla="*/ 0 h 102162"/>
                  <a:gd name="connsiteX2" fmla="*/ 99959 w 373152"/>
                  <a:gd name="connsiteY2" fmla="*/ 0 h 102162"/>
                  <a:gd name="connsiteX3" fmla="*/ 0 w 373152"/>
                  <a:gd name="connsiteY3" fmla="*/ 102163 h 102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3152" h="102162">
                    <a:moveTo>
                      <a:pt x="373153" y="102163"/>
                    </a:moveTo>
                    <a:lnTo>
                      <a:pt x="280906" y="0"/>
                    </a:lnTo>
                    <a:lnTo>
                      <a:pt x="99959" y="0"/>
                    </a:lnTo>
                    <a:lnTo>
                      <a:pt x="0" y="102163"/>
                    </a:lnTo>
                    <a:close/>
                  </a:path>
                </a:pathLst>
              </a:custGeom>
              <a:solidFill>
                <a:srgbClr val="FFFFFF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" name="Vrije vorm 32">
                <a:extLst>
                  <a:ext uri="{FF2B5EF4-FFF2-40B4-BE49-F238E27FC236}">
                    <a16:creationId xmlns:a16="http://schemas.microsoft.com/office/drawing/2014/main" id="{695B1A5F-DD71-4762-59B9-04D0C8C29D17}"/>
                  </a:ext>
                </a:extLst>
              </p:cNvPr>
              <p:cNvSpPr/>
              <p:nvPr/>
            </p:nvSpPr>
            <p:spPr>
              <a:xfrm>
                <a:off x="4095750" y="2129431"/>
                <a:ext cx="120810" cy="120794"/>
              </a:xfrm>
              <a:custGeom>
                <a:avLst/>
                <a:gdLst>
                  <a:gd name="connsiteX0" fmla="*/ 0 w 120810"/>
                  <a:gd name="connsiteY0" fmla="*/ 60375 h 120794"/>
                  <a:gd name="connsiteX1" fmla="*/ 60408 w 120810"/>
                  <a:gd name="connsiteY1" fmla="*/ 120794 h 120794"/>
                  <a:gd name="connsiteX2" fmla="*/ 120811 w 120810"/>
                  <a:gd name="connsiteY2" fmla="*/ 60375 h 120794"/>
                  <a:gd name="connsiteX3" fmla="*/ 60408 w 120810"/>
                  <a:gd name="connsiteY3" fmla="*/ 0 h 120794"/>
                  <a:gd name="connsiteX4" fmla="*/ 0 w 120810"/>
                  <a:gd name="connsiteY4" fmla="*/ 60375 h 120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810" h="120794">
                    <a:moveTo>
                      <a:pt x="0" y="60375"/>
                    </a:moveTo>
                    <a:cubicBezTo>
                      <a:pt x="0" y="93752"/>
                      <a:pt x="27053" y="120794"/>
                      <a:pt x="60408" y="120794"/>
                    </a:cubicBezTo>
                    <a:cubicBezTo>
                      <a:pt x="93774" y="120794"/>
                      <a:pt x="120811" y="93752"/>
                      <a:pt x="120811" y="60375"/>
                    </a:cubicBezTo>
                    <a:cubicBezTo>
                      <a:pt x="120811" y="27031"/>
                      <a:pt x="93768" y="0"/>
                      <a:pt x="60408" y="0"/>
                    </a:cubicBezTo>
                    <a:cubicBezTo>
                      <a:pt x="27053" y="0"/>
                      <a:pt x="0" y="27031"/>
                      <a:pt x="0" y="60375"/>
                    </a:cubicBezTo>
                    <a:close/>
                  </a:path>
                </a:pathLst>
              </a:custGeom>
              <a:solidFill>
                <a:srgbClr val="A6A6A6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" name="Vrije vorm 33">
                <a:extLst>
                  <a:ext uri="{FF2B5EF4-FFF2-40B4-BE49-F238E27FC236}">
                    <a16:creationId xmlns:a16="http://schemas.microsoft.com/office/drawing/2014/main" id="{5160C148-487B-CB9E-EF1C-C54D0AA23E54}"/>
                  </a:ext>
                </a:extLst>
              </p:cNvPr>
              <p:cNvSpPr/>
              <p:nvPr/>
            </p:nvSpPr>
            <p:spPr>
              <a:xfrm>
                <a:off x="3745098" y="2131935"/>
                <a:ext cx="120782" cy="120771"/>
              </a:xfrm>
              <a:custGeom>
                <a:avLst/>
                <a:gdLst>
                  <a:gd name="connsiteX0" fmla="*/ 0 w 120782"/>
                  <a:gd name="connsiteY0" fmla="*/ 60391 h 120771"/>
                  <a:gd name="connsiteX1" fmla="*/ 60403 w 120782"/>
                  <a:gd name="connsiteY1" fmla="*/ 120772 h 120771"/>
                  <a:gd name="connsiteX2" fmla="*/ 120783 w 120782"/>
                  <a:gd name="connsiteY2" fmla="*/ 60391 h 120771"/>
                  <a:gd name="connsiteX3" fmla="*/ 60403 w 120782"/>
                  <a:gd name="connsiteY3" fmla="*/ 0 h 120771"/>
                  <a:gd name="connsiteX4" fmla="*/ 0 w 120782"/>
                  <a:gd name="connsiteY4" fmla="*/ 60391 h 120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782" h="120771">
                    <a:moveTo>
                      <a:pt x="0" y="60391"/>
                    </a:moveTo>
                    <a:cubicBezTo>
                      <a:pt x="0" y="93746"/>
                      <a:pt x="27042" y="120772"/>
                      <a:pt x="60403" y="120772"/>
                    </a:cubicBezTo>
                    <a:cubicBezTo>
                      <a:pt x="93768" y="120772"/>
                      <a:pt x="120783" y="93741"/>
                      <a:pt x="120783" y="60391"/>
                    </a:cubicBezTo>
                    <a:cubicBezTo>
                      <a:pt x="120783" y="27015"/>
                      <a:pt x="93768" y="0"/>
                      <a:pt x="60403" y="0"/>
                    </a:cubicBezTo>
                    <a:cubicBezTo>
                      <a:pt x="27042" y="-6"/>
                      <a:pt x="0" y="27015"/>
                      <a:pt x="0" y="60391"/>
                    </a:cubicBezTo>
                    <a:close/>
                  </a:path>
                </a:pathLst>
              </a:custGeom>
              <a:solidFill>
                <a:srgbClr val="A6A6A6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grpSp>
          <p:nvGrpSpPr>
            <p:cNvPr id="35" name="Graphic 608">
              <a:extLst>
                <a:ext uri="{FF2B5EF4-FFF2-40B4-BE49-F238E27FC236}">
                  <a16:creationId xmlns:a16="http://schemas.microsoft.com/office/drawing/2014/main" id="{109C922B-59E7-12DA-B7A3-CFF2054914F2}"/>
                </a:ext>
              </a:extLst>
            </p:cNvPr>
            <p:cNvGrpSpPr/>
            <p:nvPr/>
          </p:nvGrpSpPr>
          <p:grpSpPr>
            <a:xfrm>
              <a:off x="8448750" y="5086950"/>
              <a:ext cx="956401" cy="711009"/>
              <a:chOff x="6574340" y="2017320"/>
              <a:chExt cx="608668" cy="282010"/>
            </a:xfrm>
          </p:grpSpPr>
          <p:sp>
            <p:nvSpPr>
              <p:cNvPr id="36" name="Vrije vorm 35">
                <a:extLst>
                  <a:ext uri="{FF2B5EF4-FFF2-40B4-BE49-F238E27FC236}">
                    <a16:creationId xmlns:a16="http://schemas.microsoft.com/office/drawing/2014/main" id="{720E89D5-68A1-88AC-A443-CAF9FB3F643F}"/>
                  </a:ext>
                </a:extLst>
              </p:cNvPr>
              <p:cNvSpPr/>
              <p:nvPr/>
            </p:nvSpPr>
            <p:spPr>
              <a:xfrm>
                <a:off x="6585499" y="2017320"/>
                <a:ext cx="594566" cy="243192"/>
              </a:xfrm>
              <a:custGeom>
                <a:avLst/>
                <a:gdLst>
                  <a:gd name="connsiteX0" fmla="*/ 549043 w 594566"/>
                  <a:gd name="connsiteY0" fmla="*/ 0 h 243192"/>
                  <a:gd name="connsiteX1" fmla="*/ 186682 w 594566"/>
                  <a:gd name="connsiteY1" fmla="*/ 0 h 243192"/>
                  <a:gd name="connsiteX2" fmla="*/ 172359 w 594566"/>
                  <a:gd name="connsiteY2" fmla="*/ 14534 h 243192"/>
                  <a:gd name="connsiteX3" fmla="*/ 108819 w 594566"/>
                  <a:gd name="connsiteY3" fmla="*/ 99159 h 243192"/>
                  <a:gd name="connsiteX4" fmla="*/ 96556 w 594566"/>
                  <a:gd name="connsiteY4" fmla="*/ 110468 h 243192"/>
                  <a:gd name="connsiteX5" fmla="*/ 31656 w 594566"/>
                  <a:gd name="connsiteY5" fmla="*/ 142435 h 243192"/>
                  <a:gd name="connsiteX6" fmla="*/ 7323 w 594566"/>
                  <a:gd name="connsiteY6" fmla="*/ 168322 h 243192"/>
                  <a:gd name="connsiteX7" fmla="*/ 34859 w 594566"/>
                  <a:gd name="connsiteY7" fmla="*/ 170476 h 243192"/>
                  <a:gd name="connsiteX8" fmla="*/ 29707 w 594566"/>
                  <a:gd name="connsiteY8" fmla="*/ 205741 h 243192"/>
                  <a:gd name="connsiteX9" fmla="*/ 50 w 594566"/>
                  <a:gd name="connsiteY9" fmla="*/ 205741 h 243192"/>
                  <a:gd name="connsiteX10" fmla="*/ 0 w 594566"/>
                  <a:gd name="connsiteY10" fmla="*/ 209616 h 243192"/>
                  <a:gd name="connsiteX11" fmla="*/ 0 w 594566"/>
                  <a:gd name="connsiteY11" fmla="*/ 243193 h 243192"/>
                  <a:gd name="connsiteX12" fmla="*/ 46218 w 594566"/>
                  <a:gd name="connsiteY12" fmla="*/ 243193 h 243192"/>
                  <a:gd name="connsiteX13" fmla="*/ 43892 w 594566"/>
                  <a:gd name="connsiteY13" fmla="*/ 226249 h 243192"/>
                  <a:gd name="connsiteX14" fmla="*/ 108814 w 594566"/>
                  <a:gd name="connsiteY14" fmla="*/ 161327 h 243192"/>
                  <a:gd name="connsiteX15" fmla="*/ 173747 w 594566"/>
                  <a:gd name="connsiteY15" fmla="*/ 226249 h 243192"/>
                  <a:gd name="connsiteX16" fmla="*/ 171415 w 594566"/>
                  <a:gd name="connsiteY16" fmla="*/ 243193 h 243192"/>
                  <a:gd name="connsiteX17" fmla="*/ 397924 w 594566"/>
                  <a:gd name="connsiteY17" fmla="*/ 243193 h 243192"/>
                  <a:gd name="connsiteX18" fmla="*/ 395593 w 594566"/>
                  <a:gd name="connsiteY18" fmla="*/ 226249 h 243192"/>
                  <a:gd name="connsiteX19" fmla="*/ 460548 w 594566"/>
                  <a:gd name="connsiteY19" fmla="*/ 161327 h 243192"/>
                  <a:gd name="connsiteX20" fmla="*/ 525448 w 594566"/>
                  <a:gd name="connsiteY20" fmla="*/ 226249 h 243192"/>
                  <a:gd name="connsiteX21" fmla="*/ 523116 w 594566"/>
                  <a:gd name="connsiteY21" fmla="*/ 243193 h 243192"/>
                  <a:gd name="connsiteX22" fmla="*/ 570361 w 594566"/>
                  <a:gd name="connsiteY22" fmla="*/ 243193 h 243192"/>
                  <a:gd name="connsiteX23" fmla="*/ 594566 w 594566"/>
                  <a:gd name="connsiteY23" fmla="*/ 210255 h 243192"/>
                  <a:gd name="connsiteX24" fmla="*/ 594566 w 594566"/>
                  <a:gd name="connsiteY24" fmla="*/ 33915 h 243192"/>
                  <a:gd name="connsiteX25" fmla="*/ 549043 w 594566"/>
                  <a:gd name="connsiteY25" fmla="*/ 0 h 243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594566" h="243192">
                    <a:moveTo>
                      <a:pt x="549043" y="0"/>
                    </a:moveTo>
                    <a:lnTo>
                      <a:pt x="186682" y="0"/>
                    </a:lnTo>
                    <a:cubicBezTo>
                      <a:pt x="186682" y="0"/>
                      <a:pt x="178188" y="2665"/>
                      <a:pt x="172359" y="14534"/>
                    </a:cubicBezTo>
                    <a:lnTo>
                      <a:pt x="108819" y="99159"/>
                    </a:lnTo>
                    <a:cubicBezTo>
                      <a:pt x="108819" y="99159"/>
                      <a:pt x="103012" y="105949"/>
                      <a:pt x="96556" y="110468"/>
                    </a:cubicBezTo>
                    <a:lnTo>
                      <a:pt x="31656" y="142435"/>
                    </a:lnTo>
                    <a:cubicBezTo>
                      <a:pt x="31656" y="142435"/>
                      <a:pt x="16678" y="146715"/>
                      <a:pt x="7323" y="168322"/>
                    </a:cubicBezTo>
                    <a:lnTo>
                      <a:pt x="34859" y="170476"/>
                    </a:lnTo>
                    <a:lnTo>
                      <a:pt x="29707" y="205741"/>
                    </a:lnTo>
                    <a:lnTo>
                      <a:pt x="50" y="205741"/>
                    </a:lnTo>
                    <a:cubicBezTo>
                      <a:pt x="22" y="207018"/>
                      <a:pt x="0" y="208289"/>
                      <a:pt x="0" y="209616"/>
                    </a:cubicBezTo>
                    <a:lnTo>
                      <a:pt x="0" y="243193"/>
                    </a:lnTo>
                    <a:lnTo>
                      <a:pt x="46218" y="243193"/>
                    </a:lnTo>
                    <a:cubicBezTo>
                      <a:pt x="44747" y="237786"/>
                      <a:pt x="43892" y="232112"/>
                      <a:pt x="43892" y="226249"/>
                    </a:cubicBezTo>
                    <a:cubicBezTo>
                      <a:pt x="43892" y="190390"/>
                      <a:pt x="72966" y="161327"/>
                      <a:pt x="108814" y="161327"/>
                    </a:cubicBezTo>
                    <a:cubicBezTo>
                      <a:pt x="144689" y="161327"/>
                      <a:pt x="173747" y="190390"/>
                      <a:pt x="173747" y="226249"/>
                    </a:cubicBezTo>
                    <a:cubicBezTo>
                      <a:pt x="173747" y="232112"/>
                      <a:pt x="172858" y="237786"/>
                      <a:pt x="171415" y="243193"/>
                    </a:cubicBezTo>
                    <a:lnTo>
                      <a:pt x="397924" y="243193"/>
                    </a:lnTo>
                    <a:cubicBezTo>
                      <a:pt x="396426" y="237786"/>
                      <a:pt x="395593" y="232112"/>
                      <a:pt x="395593" y="226249"/>
                    </a:cubicBezTo>
                    <a:cubicBezTo>
                      <a:pt x="395593" y="190390"/>
                      <a:pt x="424684" y="161327"/>
                      <a:pt x="460548" y="161327"/>
                    </a:cubicBezTo>
                    <a:cubicBezTo>
                      <a:pt x="496412" y="161327"/>
                      <a:pt x="525448" y="190390"/>
                      <a:pt x="525448" y="226249"/>
                    </a:cubicBezTo>
                    <a:cubicBezTo>
                      <a:pt x="525448" y="232112"/>
                      <a:pt x="524615" y="237786"/>
                      <a:pt x="523116" y="243193"/>
                    </a:cubicBezTo>
                    <a:lnTo>
                      <a:pt x="570361" y="243193"/>
                    </a:lnTo>
                    <a:cubicBezTo>
                      <a:pt x="570361" y="243193"/>
                      <a:pt x="594566" y="242221"/>
                      <a:pt x="594566" y="210255"/>
                    </a:cubicBezTo>
                    <a:lnTo>
                      <a:pt x="594566" y="33915"/>
                    </a:lnTo>
                    <a:cubicBezTo>
                      <a:pt x="594566" y="33921"/>
                      <a:pt x="592624" y="0"/>
                      <a:pt x="54904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7" name="Vrije vorm 36">
                <a:extLst>
                  <a:ext uri="{FF2B5EF4-FFF2-40B4-BE49-F238E27FC236}">
                    <a16:creationId xmlns:a16="http://schemas.microsoft.com/office/drawing/2014/main" id="{A81C8D6C-B221-029B-718F-6FC6008C6DC0}"/>
                  </a:ext>
                </a:extLst>
              </p:cNvPr>
              <p:cNvSpPr/>
              <p:nvPr/>
            </p:nvSpPr>
            <p:spPr>
              <a:xfrm>
                <a:off x="6585544" y="2185642"/>
                <a:ext cx="34809" cy="37418"/>
              </a:xfrm>
              <a:custGeom>
                <a:avLst/>
                <a:gdLst>
                  <a:gd name="connsiteX0" fmla="*/ 34809 w 34809"/>
                  <a:gd name="connsiteY0" fmla="*/ 2154 h 37418"/>
                  <a:gd name="connsiteX1" fmla="*/ 7273 w 34809"/>
                  <a:gd name="connsiteY1" fmla="*/ 0 h 37418"/>
                  <a:gd name="connsiteX2" fmla="*/ 0 w 34809"/>
                  <a:gd name="connsiteY2" fmla="*/ 37419 h 37418"/>
                  <a:gd name="connsiteX3" fmla="*/ 29657 w 34809"/>
                  <a:gd name="connsiteY3" fmla="*/ 37419 h 37418"/>
                  <a:gd name="connsiteX4" fmla="*/ 34809 w 34809"/>
                  <a:gd name="connsiteY4" fmla="*/ 2154 h 37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809" h="37418">
                    <a:moveTo>
                      <a:pt x="34809" y="2154"/>
                    </a:moveTo>
                    <a:lnTo>
                      <a:pt x="7273" y="0"/>
                    </a:lnTo>
                    <a:cubicBezTo>
                      <a:pt x="3342" y="9083"/>
                      <a:pt x="411" y="21247"/>
                      <a:pt x="0" y="37419"/>
                    </a:cubicBezTo>
                    <a:lnTo>
                      <a:pt x="29657" y="37419"/>
                    </a:lnTo>
                    <a:lnTo>
                      <a:pt x="34809" y="2154"/>
                    </a:lnTo>
                    <a:close/>
                  </a:path>
                </a:pathLst>
              </a:custGeom>
              <a:solidFill>
                <a:srgbClr val="404042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8" name="Vrije vorm 37">
                <a:extLst>
                  <a:ext uri="{FF2B5EF4-FFF2-40B4-BE49-F238E27FC236}">
                    <a16:creationId xmlns:a16="http://schemas.microsoft.com/office/drawing/2014/main" id="{F3934AEA-2399-5FF1-1270-9399F6196913}"/>
                  </a:ext>
                </a:extLst>
              </p:cNvPr>
              <p:cNvSpPr/>
              <p:nvPr/>
            </p:nvSpPr>
            <p:spPr>
              <a:xfrm>
                <a:off x="6638563" y="2187808"/>
                <a:ext cx="111522" cy="111522"/>
              </a:xfrm>
              <a:custGeom>
                <a:avLst/>
                <a:gdLst>
                  <a:gd name="connsiteX0" fmla="*/ 111523 w 111522"/>
                  <a:gd name="connsiteY0" fmla="*/ 55761 h 111522"/>
                  <a:gd name="connsiteX1" fmla="*/ 55761 w 111522"/>
                  <a:gd name="connsiteY1" fmla="*/ 111523 h 111522"/>
                  <a:gd name="connsiteX2" fmla="*/ 0 w 111522"/>
                  <a:gd name="connsiteY2" fmla="*/ 55761 h 111522"/>
                  <a:gd name="connsiteX3" fmla="*/ 55761 w 111522"/>
                  <a:gd name="connsiteY3" fmla="*/ 0 h 111522"/>
                  <a:gd name="connsiteX4" fmla="*/ 111523 w 111522"/>
                  <a:gd name="connsiteY4" fmla="*/ 55761 h 111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22" h="111522">
                    <a:moveTo>
                      <a:pt x="111523" y="55761"/>
                    </a:moveTo>
                    <a:cubicBezTo>
                      <a:pt x="111523" y="86558"/>
                      <a:pt x="86558" y="111523"/>
                      <a:pt x="55761" y="111523"/>
                    </a:cubicBezTo>
                    <a:cubicBezTo>
                      <a:pt x="24965" y="111523"/>
                      <a:pt x="0" y="86558"/>
                      <a:pt x="0" y="55761"/>
                    </a:cubicBezTo>
                    <a:cubicBezTo>
                      <a:pt x="0" y="24965"/>
                      <a:pt x="24965" y="0"/>
                      <a:pt x="55761" y="0"/>
                    </a:cubicBezTo>
                    <a:cubicBezTo>
                      <a:pt x="86557" y="0"/>
                      <a:pt x="111523" y="24965"/>
                      <a:pt x="111523" y="55761"/>
                    </a:cubicBezTo>
                    <a:close/>
                  </a:path>
                </a:pathLst>
              </a:custGeom>
              <a:solidFill>
                <a:srgbClr val="000000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9" name="Vrije vorm 38">
                <a:extLst>
                  <a:ext uri="{FF2B5EF4-FFF2-40B4-BE49-F238E27FC236}">
                    <a16:creationId xmlns:a16="http://schemas.microsoft.com/office/drawing/2014/main" id="{39FD1477-CADA-DC74-C864-D909BD55F9FC}"/>
                  </a:ext>
                </a:extLst>
              </p:cNvPr>
              <p:cNvSpPr/>
              <p:nvPr/>
            </p:nvSpPr>
            <p:spPr>
              <a:xfrm>
                <a:off x="6668742" y="2217987"/>
                <a:ext cx="51164" cy="51164"/>
              </a:xfrm>
              <a:custGeom>
                <a:avLst/>
                <a:gdLst>
                  <a:gd name="connsiteX0" fmla="*/ 51165 w 51164"/>
                  <a:gd name="connsiteY0" fmla="*/ 25582 h 51164"/>
                  <a:gd name="connsiteX1" fmla="*/ 25583 w 51164"/>
                  <a:gd name="connsiteY1" fmla="*/ 51165 h 51164"/>
                  <a:gd name="connsiteX2" fmla="*/ 0 w 51164"/>
                  <a:gd name="connsiteY2" fmla="*/ 25582 h 51164"/>
                  <a:gd name="connsiteX3" fmla="*/ 25583 w 51164"/>
                  <a:gd name="connsiteY3" fmla="*/ 0 h 51164"/>
                  <a:gd name="connsiteX4" fmla="*/ 51165 w 51164"/>
                  <a:gd name="connsiteY4" fmla="*/ 25582 h 51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164" h="51164">
                    <a:moveTo>
                      <a:pt x="51165" y="25582"/>
                    </a:moveTo>
                    <a:cubicBezTo>
                      <a:pt x="51165" y="39711"/>
                      <a:pt x="39711" y="51165"/>
                      <a:pt x="25583" y="51165"/>
                    </a:cubicBezTo>
                    <a:cubicBezTo>
                      <a:pt x="11454" y="51165"/>
                      <a:pt x="0" y="39711"/>
                      <a:pt x="0" y="25582"/>
                    </a:cubicBezTo>
                    <a:cubicBezTo>
                      <a:pt x="0" y="11454"/>
                      <a:pt x="11454" y="0"/>
                      <a:pt x="25583" y="0"/>
                    </a:cubicBezTo>
                    <a:cubicBezTo>
                      <a:pt x="39711" y="0"/>
                      <a:pt x="51165" y="11454"/>
                      <a:pt x="51165" y="255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0" name="Vrije vorm 39">
                <a:extLst>
                  <a:ext uri="{FF2B5EF4-FFF2-40B4-BE49-F238E27FC236}">
                    <a16:creationId xmlns:a16="http://schemas.microsoft.com/office/drawing/2014/main" id="{E637592C-94FF-62F5-60A8-ABEA1F6F2E1F}"/>
                  </a:ext>
                </a:extLst>
              </p:cNvPr>
              <p:cNvSpPr/>
              <p:nvPr/>
            </p:nvSpPr>
            <p:spPr>
              <a:xfrm>
                <a:off x="6990286" y="2187808"/>
                <a:ext cx="111522" cy="111522"/>
              </a:xfrm>
              <a:custGeom>
                <a:avLst/>
                <a:gdLst>
                  <a:gd name="connsiteX0" fmla="*/ 111523 w 111522"/>
                  <a:gd name="connsiteY0" fmla="*/ 55761 h 111522"/>
                  <a:gd name="connsiteX1" fmla="*/ 55762 w 111522"/>
                  <a:gd name="connsiteY1" fmla="*/ 111523 h 111522"/>
                  <a:gd name="connsiteX2" fmla="*/ 1 w 111522"/>
                  <a:gd name="connsiteY2" fmla="*/ 55761 h 111522"/>
                  <a:gd name="connsiteX3" fmla="*/ 55762 w 111522"/>
                  <a:gd name="connsiteY3" fmla="*/ 0 h 111522"/>
                  <a:gd name="connsiteX4" fmla="*/ 111523 w 111522"/>
                  <a:gd name="connsiteY4" fmla="*/ 55761 h 111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22" h="111522">
                    <a:moveTo>
                      <a:pt x="111523" y="55761"/>
                    </a:moveTo>
                    <a:cubicBezTo>
                      <a:pt x="111523" y="86558"/>
                      <a:pt x="86558" y="111523"/>
                      <a:pt x="55762" y="111523"/>
                    </a:cubicBezTo>
                    <a:cubicBezTo>
                      <a:pt x="24966" y="111523"/>
                      <a:pt x="1" y="86558"/>
                      <a:pt x="1" y="55761"/>
                    </a:cubicBezTo>
                    <a:cubicBezTo>
                      <a:pt x="1" y="24965"/>
                      <a:pt x="24966" y="0"/>
                      <a:pt x="55762" y="0"/>
                    </a:cubicBezTo>
                    <a:cubicBezTo>
                      <a:pt x="86558" y="0"/>
                      <a:pt x="111523" y="24965"/>
                      <a:pt x="111523" y="55761"/>
                    </a:cubicBezTo>
                    <a:close/>
                  </a:path>
                </a:pathLst>
              </a:custGeom>
              <a:solidFill>
                <a:srgbClr val="000000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1" name="Vrije vorm 40">
                <a:extLst>
                  <a:ext uri="{FF2B5EF4-FFF2-40B4-BE49-F238E27FC236}">
                    <a16:creationId xmlns:a16="http://schemas.microsoft.com/office/drawing/2014/main" id="{CB04D98A-3AD6-17A4-ADC2-56FFE639BCD6}"/>
                  </a:ext>
                </a:extLst>
              </p:cNvPr>
              <p:cNvSpPr/>
              <p:nvPr/>
            </p:nvSpPr>
            <p:spPr>
              <a:xfrm>
                <a:off x="7020465" y="2217987"/>
                <a:ext cx="51164" cy="51164"/>
              </a:xfrm>
              <a:custGeom>
                <a:avLst/>
                <a:gdLst>
                  <a:gd name="connsiteX0" fmla="*/ 51165 w 51164"/>
                  <a:gd name="connsiteY0" fmla="*/ 25582 h 51164"/>
                  <a:gd name="connsiteX1" fmla="*/ 25582 w 51164"/>
                  <a:gd name="connsiteY1" fmla="*/ 51165 h 51164"/>
                  <a:gd name="connsiteX2" fmla="*/ 0 w 51164"/>
                  <a:gd name="connsiteY2" fmla="*/ 25582 h 51164"/>
                  <a:gd name="connsiteX3" fmla="*/ 25582 w 51164"/>
                  <a:gd name="connsiteY3" fmla="*/ 0 h 51164"/>
                  <a:gd name="connsiteX4" fmla="*/ 51165 w 51164"/>
                  <a:gd name="connsiteY4" fmla="*/ 25582 h 51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164" h="51164">
                    <a:moveTo>
                      <a:pt x="51165" y="25582"/>
                    </a:moveTo>
                    <a:cubicBezTo>
                      <a:pt x="51165" y="39711"/>
                      <a:pt x="39711" y="51165"/>
                      <a:pt x="25582" y="51165"/>
                    </a:cubicBezTo>
                    <a:cubicBezTo>
                      <a:pt x="11454" y="51165"/>
                      <a:pt x="0" y="39711"/>
                      <a:pt x="0" y="25582"/>
                    </a:cubicBezTo>
                    <a:cubicBezTo>
                      <a:pt x="0" y="11454"/>
                      <a:pt x="11454" y="0"/>
                      <a:pt x="25582" y="0"/>
                    </a:cubicBezTo>
                    <a:cubicBezTo>
                      <a:pt x="39711" y="0"/>
                      <a:pt x="51165" y="11454"/>
                      <a:pt x="51165" y="255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2" name="Vrije vorm 41">
                <a:extLst>
                  <a:ext uri="{FF2B5EF4-FFF2-40B4-BE49-F238E27FC236}">
                    <a16:creationId xmlns:a16="http://schemas.microsoft.com/office/drawing/2014/main" id="{80DCAEA7-A0FA-BF84-DB36-7C685D2BA7CA}"/>
                  </a:ext>
                </a:extLst>
              </p:cNvPr>
              <p:cNvSpPr/>
              <p:nvPr/>
            </p:nvSpPr>
            <p:spPr>
              <a:xfrm>
                <a:off x="6711118" y="2034758"/>
                <a:ext cx="196691" cy="95933"/>
              </a:xfrm>
              <a:custGeom>
                <a:avLst/>
                <a:gdLst>
                  <a:gd name="connsiteX0" fmla="*/ 196691 w 196691"/>
                  <a:gd name="connsiteY0" fmla="*/ 0 h 95933"/>
                  <a:gd name="connsiteX1" fmla="*/ 71723 w 196691"/>
                  <a:gd name="connsiteY1" fmla="*/ 0 h 95933"/>
                  <a:gd name="connsiteX2" fmla="*/ 0 w 196691"/>
                  <a:gd name="connsiteY2" fmla="*/ 95934 h 95933"/>
                  <a:gd name="connsiteX3" fmla="*/ 196691 w 196691"/>
                  <a:gd name="connsiteY3" fmla="*/ 95934 h 95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6691" h="95933">
                    <a:moveTo>
                      <a:pt x="196691" y="0"/>
                    </a:moveTo>
                    <a:lnTo>
                      <a:pt x="71723" y="0"/>
                    </a:lnTo>
                    <a:lnTo>
                      <a:pt x="0" y="95934"/>
                    </a:lnTo>
                    <a:lnTo>
                      <a:pt x="196691" y="95934"/>
                    </a:lnTo>
                    <a:close/>
                  </a:path>
                </a:pathLst>
              </a:custGeom>
              <a:solidFill>
                <a:srgbClr val="404042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3" name="Vrije vorm 42">
                <a:extLst>
                  <a:ext uri="{FF2B5EF4-FFF2-40B4-BE49-F238E27FC236}">
                    <a16:creationId xmlns:a16="http://schemas.microsoft.com/office/drawing/2014/main" id="{A9A6A399-CE38-DB8D-0971-D6287502230A}"/>
                  </a:ext>
                </a:extLst>
              </p:cNvPr>
              <p:cNvSpPr/>
              <p:nvPr/>
            </p:nvSpPr>
            <p:spPr>
              <a:xfrm>
                <a:off x="6719906" y="2150705"/>
                <a:ext cx="460159" cy="7755"/>
              </a:xfrm>
              <a:custGeom>
                <a:avLst/>
                <a:gdLst>
                  <a:gd name="connsiteX0" fmla="*/ 0 w 460159"/>
                  <a:gd name="connsiteY0" fmla="*/ 0 h 7755"/>
                  <a:gd name="connsiteX1" fmla="*/ 460159 w 460159"/>
                  <a:gd name="connsiteY1" fmla="*/ 0 h 7755"/>
                  <a:gd name="connsiteX2" fmla="*/ 460159 w 460159"/>
                  <a:gd name="connsiteY2" fmla="*/ 7756 h 7755"/>
                  <a:gd name="connsiteX3" fmla="*/ 0 w 460159"/>
                  <a:gd name="connsiteY3" fmla="*/ 7756 h 7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0159" h="7755">
                    <a:moveTo>
                      <a:pt x="0" y="0"/>
                    </a:moveTo>
                    <a:lnTo>
                      <a:pt x="460159" y="0"/>
                    </a:lnTo>
                    <a:lnTo>
                      <a:pt x="460159" y="7756"/>
                    </a:lnTo>
                    <a:lnTo>
                      <a:pt x="0" y="7756"/>
                    </a:lnTo>
                    <a:close/>
                  </a:path>
                </a:pathLst>
              </a:custGeom>
              <a:solidFill>
                <a:srgbClr val="F67270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4" name="Vrije vorm 43">
                <a:extLst>
                  <a:ext uri="{FF2B5EF4-FFF2-40B4-BE49-F238E27FC236}">
                    <a16:creationId xmlns:a16="http://schemas.microsoft.com/office/drawing/2014/main" id="{043553F5-3945-4DF7-E757-D41A86C4BEAB}"/>
                  </a:ext>
                </a:extLst>
              </p:cNvPr>
              <p:cNvSpPr/>
              <p:nvPr/>
            </p:nvSpPr>
            <p:spPr>
              <a:xfrm>
                <a:off x="6658488" y="2165567"/>
                <a:ext cx="521578" cy="7750"/>
              </a:xfrm>
              <a:custGeom>
                <a:avLst/>
                <a:gdLst>
                  <a:gd name="connsiteX0" fmla="*/ 0 w 521578"/>
                  <a:gd name="connsiteY0" fmla="*/ 0 h 7750"/>
                  <a:gd name="connsiteX1" fmla="*/ 521578 w 521578"/>
                  <a:gd name="connsiteY1" fmla="*/ 0 h 7750"/>
                  <a:gd name="connsiteX2" fmla="*/ 521578 w 521578"/>
                  <a:gd name="connsiteY2" fmla="*/ 7750 h 7750"/>
                  <a:gd name="connsiteX3" fmla="*/ 0 w 521578"/>
                  <a:gd name="connsiteY3" fmla="*/ 7750 h 7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1578" h="7750">
                    <a:moveTo>
                      <a:pt x="0" y="0"/>
                    </a:moveTo>
                    <a:lnTo>
                      <a:pt x="521578" y="0"/>
                    </a:lnTo>
                    <a:lnTo>
                      <a:pt x="521578" y="7750"/>
                    </a:lnTo>
                    <a:lnTo>
                      <a:pt x="0" y="7750"/>
                    </a:lnTo>
                    <a:close/>
                  </a:path>
                </a:pathLst>
              </a:custGeom>
              <a:solidFill>
                <a:srgbClr val="0D78BE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5" name="Vrije vorm 44">
                <a:extLst>
                  <a:ext uri="{FF2B5EF4-FFF2-40B4-BE49-F238E27FC236}">
                    <a16:creationId xmlns:a16="http://schemas.microsoft.com/office/drawing/2014/main" id="{C87DA942-497A-2BE4-1072-96A239C5A407}"/>
                  </a:ext>
                </a:extLst>
              </p:cNvPr>
              <p:cNvSpPr/>
              <p:nvPr/>
            </p:nvSpPr>
            <p:spPr>
              <a:xfrm>
                <a:off x="7135485" y="2248243"/>
                <a:ext cx="47522" cy="20913"/>
              </a:xfrm>
              <a:custGeom>
                <a:avLst/>
                <a:gdLst>
                  <a:gd name="connsiteX0" fmla="*/ 0 w 47522"/>
                  <a:gd name="connsiteY0" fmla="*/ 13163 h 20913"/>
                  <a:gd name="connsiteX1" fmla="*/ 7773 w 47522"/>
                  <a:gd name="connsiteY1" fmla="*/ 20913 h 20913"/>
                  <a:gd name="connsiteX2" fmla="*/ 39750 w 47522"/>
                  <a:gd name="connsiteY2" fmla="*/ 20913 h 20913"/>
                  <a:gd name="connsiteX3" fmla="*/ 47523 w 47522"/>
                  <a:gd name="connsiteY3" fmla="*/ 13163 h 20913"/>
                  <a:gd name="connsiteX4" fmla="*/ 47523 w 47522"/>
                  <a:gd name="connsiteY4" fmla="*/ 7750 h 20913"/>
                  <a:gd name="connsiteX5" fmla="*/ 39750 w 47522"/>
                  <a:gd name="connsiteY5" fmla="*/ 0 h 20913"/>
                  <a:gd name="connsiteX6" fmla="*/ 7773 w 47522"/>
                  <a:gd name="connsiteY6" fmla="*/ 0 h 20913"/>
                  <a:gd name="connsiteX7" fmla="*/ 0 w 47522"/>
                  <a:gd name="connsiteY7" fmla="*/ 7750 h 20913"/>
                  <a:gd name="connsiteX8" fmla="*/ 0 w 47522"/>
                  <a:gd name="connsiteY8" fmla="*/ 13163 h 20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522" h="20913">
                    <a:moveTo>
                      <a:pt x="0" y="13163"/>
                    </a:moveTo>
                    <a:cubicBezTo>
                      <a:pt x="0" y="17432"/>
                      <a:pt x="3498" y="20913"/>
                      <a:pt x="7773" y="20913"/>
                    </a:cubicBezTo>
                    <a:lnTo>
                      <a:pt x="39750" y="20913"/>
                    </a:lnTo>
                    <a:cubicBezTo>
                      <a:pt x="44025" y="20913"/>
                      <a:pt x="47523" y="17438"/>
                      <a:pt x="47523" y="13163"/>
                    </a:cubicBezTo>
                    <a:lnTo>
                      <a:pt x="47523" y="7750"/>
                    </a:lnTo>
                    <a:cubicBezTo>
                      <a:pt x="47523" y="3470"/>
                      <a:pt x="44025" y="0"/>
                      <a:pt x="39750" y="0"/>
                    </a:cubicBezTo>
                    <a:lnTo>
                      <a:pt x="7773" y="0"/>
                    </a:lnTo>
                    <a:cubicBezTo>
                      <a:pt x="3498" y="0"/>
                      <a:pt x="0" y="3470"/>
                      <a:pt x="0" y="7750"/>
                    </a:cubicBezTo>
                    <a:lnTo>
                      <a:pt x="0" y="13163"/>
                    </a:lnTo>
                    <a:close/>
                  </a:path>
                </a:pathLst>
              </a:custGeom>
              <a:solidFill>
                <a:srgbClr val="404042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6" name="Vrije vorm 45">
                <a:extLst>
                  <a:ext uri="{FF2B5EF4-FFF2-40B4-BE49-F238E27FC236}">
                    <a16:creationId xmlns:a16="http://schemas.microsoft.com/office/drawing/2014/main" id="{8E0D16A2-C630-7766-F456-909CB9FFDA83}"/>
                  </a:ext>
                </a:extLst>
              </p:cNvPr>
              <p:cNvSpPr/>
              <p:nvPr/>
            </p:nvSpPr>
            <p:spPr>
              <a:xfrm>
                <a:off x="6574340" y="2248243"/>
                <a:ext cx="47489" cy="20913"/>
              </a:xfrm>
              <a:custGeom>
                <a:avLst/>
                <a:gdLst>
                  <a:gd name="connsiteX0" fmla="*/ 0 w 47489"/>
                  <a:gd name="connsiteY0" fmla="*/ 13163 h 20913"/>
                  <a:gd name="connsiteX1" fmla="*/ 7750 w 47489"/>
                  <a:gd name="connsiteY1" fmla="*/ 20913 h 20913"/>
                  <a:gd name="connsiteX2" fmla="*/ 39739 w 47489"/>
                  <a:gd name="connsiteY2" fmla="*/ 20913 h 20913"/>
                  <a:gd name="connsiteX3" fmla="*/ 47489 w 47489"/>
                  <a:gd name="connsiteY3" fmla="*/ 13163 h 20913"/>
                  <a:gd name="connsiteX4" fmla="*/ 47489 w 47489"/>
                  <a:gd name="connsiteY4" fmla="*/ 7750 h 20913"/>
                  <a:gd name="connsiteX5" fmla="*/ 39739 w 47489"/>
                  <a:gd name="connsiteY5" fmla="*/ 0 h 20913"/>
                  <a:gd name="connsiteX6" fmla="*/ 7750 w 47489"/>
                  <a:gd name="connsiteY6" fmla="*/ 0 h 20913"/>
                  <a:gd name="connsiteX7" fmla="*/ 0 w 47489"/>
                  <a:gd name="connsiteY7" fmla="*/ 7750 h 20913"/>
                  <a:gd name="connsiteX8" fmla="*/ 0 w 47489"/>
                  <a:gd name="connsiteY8" fmla="*/ 13163 h 20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489" h="20913">
                    <a:moveTo>
                      <a:pt x="0" y="13163"/>
                    </a:moveTo>
                    <a:cubicBezTo>
                      <a:pt x="0" y="17432"/>
                      <a:pt x="3481" y="20913"/>
                      <a:pt x="7750" y="20913"/>
                    </a:cubicBezTo>
                    <a:lnTo>
                      <a:pt x="39739" y="20913"/>
                    </a:lnTo>
                    <a:cubicBezTo>
                      <a:pt x="44014" y="20913"/>
                      <a:pt x="47489" y="17438"/>
                      <a:pt x="47489" y="13163"/>
                    </a:cubicBezTo>
                    <a:lnTo>
                      <a:pt x="47489" y="7750"/>
                    </a:lnTo>
                    <a:cubicBezTo>
                      <a:pt x="47489" y="3470"/>
                      <a:pt x="44014" y="0"/>
                      <a:pt x="39739" y="0"/>
                    </a:cubicBezTo>
                    <a:lnTo>
                      <a:pt x="7750" y="0"/>
                    </a:lnTo>
                    <a:cubicBezTo>
                      <a:pt x="3481" y="0"/>
                      <a:pt x="0" y="3470"/>
                      <a:pt x="0" y="7750"/>
                    </a:cubicBezTo>
                    <a:lnTo>
                      <a:pt x="0" y="13163"/>
                    </a:lnTo>
                    <a:close/>
                  </a:path>
                </a:pathLst>
              </a:custGeom>
              <a:solidFill>
                <a:srgbClr val="404042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7" name="Vrije vorm 46">
                <a:extLst>
                  <a:ext uri="{FF2B5EF4-FFF2-40B4-BE49-F238E27FC236}">
                    <a16:creationId xmlns:a16="http://schemas.microsoft.com/office/drawing/2014/main" id="{1F9502CE-DA50-24B0-1CA2-8BBCB0409D07}"/>
                  </a:ext>
                </a:extLst>
              </p:cNvPr>
              <p:cNvSpPr/>
              <p:nvPr/>
            </p:nvSpPr>
            <p:spPr>
              <a:xfrm>
                <a:off x="6999413" y="2049648"/>
                <a:ext cx="102373" cy="66148"/>
              </a:xfrm>
              <a:custGeom>
                <a:avLst/>
                <a:gdLst>
                  <a:gd name="connsiteX0" fmla="*/ 5663 w 102373"/>
                  <a:gd name="connsiteY0" fmla="*/ 60519 h 66148"/>
                  <a:gd name="connsiteX1" fmla="*/ 5663 w 102373"/>
                  <a:gd name="connsiteY1" fmla="*/ 9954 h 66148"/>
                  <a:gd name="connsiteX2" fmla="*/ 51187 w 102373"/>
                  <a:gd name="connsiteY2" fmla="*/ 36325 h 66148"/>
                  <a:gd name="connsiteX3" fmla="*/ 96767 w 102373"/>
                  <a:gd name="connsiteY3" fmla="*/ 9954 h 66148"/>
                  <a:gd name="connsiteX4" fmla="*/ 96767 w 102373"/>
                  <a:gd name="connsiteY4" fmla="*/ 60519 h 66148"/>
                  <a:gd name="connsiteX5" fmla="*/ 5663 w 102373"/>
                  <a:gd name="connsiteY5" fmla="*/ 60519 h 66148"/>
                  <a:gd name="connsiteX6" fmla="*/ 5663 w 102373"/>
                  <a:gd name="connsiteY6" fmla="*/ 60519 h 66148"/>
                  <a:gd name="connsiteX7" fmla="*/ 92991 w 102373"/>
                  <a:gd name="connsiteY7" fmla="*/ 5635 h 66148"/>
                  <a:gd name="connsiteX8" fmla="*/ 9438 w 102373"/>
                  <a:gd name="connsiteY8" fmla="*/ 5635 h 66148"/>
                  <a:gd name="connsiteX9" fmla="*/ 51187 w 102373"/>
                  <a:gd name="connsiteY9" fmla="*/ 29829 h 66148"/>
                  <a:gd name="connsiteX10" fmla="*/ 92991 w 102373"/>
                  <a:gd name="connsiteY10" fmla="*/ 5635 h 66148"/>
                  <a:gd name="connsiteX11" fmla="*/ 92991 w 102373"/>
                  <a:gd name="connsiteY11" fmla="*/ 5635 h 66148"/>
                  <a:gd name="connsiteX12" fmla="*/ 97322 w 102373"/>
                  <a:gd name="connsiteY12" fmla="*/ 0 h 66148"/>
                  <a:gd name="connsiteX13" fmla="*/ 5108 w 102373"/>
                  <a:gd name="connsiteY13" fmla="*/ 0 h 66148"/>
                  <a:gd name="connsiteX14" fmla="*/ 0 w 102373"/>
                  <a:gd name="connsiteY14" fmla="*/ 5074 h 66148"/>
                  <a:gd name="connsiteX15" fmla="*/ 0 w 102373"/>
                  <a:gd name="connsiteY15" fmla="*/ 61086 h 66148"/>
                  <a:gd name="connsiteX16" fmla="*/ 5108 w 102373"/>
                  <a:gd name="connsiteY16" fmla="*/ 66149 h 66148"/>
                  <a:gd name="connsiteX17" fmla="*/ 97322 w 102373"/>
                  <a:gd name="connsiteY17" fmla="*/ 66149 h 66148"/>
                  <a:gd name="connsiteX18" fmla="*/ 102374 w 102373"/>
                  <a:gd name="connsiteY18" fmla="*/ 61086 h 66148"/>
                  <a:gd name="connsiteX19" fmla="*/ 102374 w 102373"/>
                  <a:gd name="connsiteY19" fmla="*/ 5074 h 66148"/>
                  <a:gd name="connsiteX20" fmla="*/ 97322 w 102373"/>
                  <a:gd name="connsiteY20" fmla="*/ 0 h 66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02373" h="66148">
                    <a:moveTo>
                      <a:pt x="5663" y="60519"/>
                    </a:moveTo>
                    <a:lnTo>
                      <a:pt x="5663" y="9954"/>
                    </a:lnTo>
                    <a:lnTo>
                      <a:pt x="51187" y="36325"/>
                    </a:lnTo>
                    <a:lnTo>
                      <a:pt x="96767" y="9954"/>
                    </a:lnTo>
                    <a:lnTo>
                      <a:pt x="96767" y="60519"/>
                    </a:lnTo>
                    <a:lnTo>
                      <a:pt x="5663" y="60519"/>
                    </a:lnTo>
                    <a:lnTo>
                      <a:pt x="5663" y="60519"/>
                    </a:lnTo>
                    <a:close/>
                    <a:moveTo>
                      <a:pt x="92991" y="5635"/>
                    </a:moveTo>
                    <a:lnTo>
                      <a:pt x="9438" y="5635"/>
                    </a:lnTo>
                    <a:lnTo>
                      <a:pt x="51187" y="29829"/>
                    </a:lnTo>
                    <a:lnTo>
                      <a:pt x="92991" y="5635"/>
                    </a:lnTo>
                    <a:lnTo>
                      <a:pt x="92991" y="5635"/>
                    </a:lnTo>
                    <a:close/>
                    <a:moveTo>
                      <a:pt x="97322" y="0"/>
                    </a:moveTo>
                    <a:lnTo>
                      <a:pt x="5108" y="0"/>
                    </a:lnTo>
                    <a:cubicBezTo>
                      <a:pt x="2276" y="0"/>
                      <a:pt x="0" y="2282"/>
                      <a:pt x="0" y="5074"/>
                    </a:cubicBezTo>
                    <a:lnTo>
                      <a:pt x="0" y="61086"/>
                    </a:lnTo>
                    <a:cubicBezTo>
                      <a:pt x="0" y="63872"/>
                      <a:pt x="2276" y="66149"/>
                      <a:pt x="5108" y="66149"/>
                    </a:cubicBezTo>
                    <a:lnTo>
                      <a:pt x="97322" y="66149"/>
                    </a:lnTo>
                    <a:cubicBezTo>
                      <a:pt x="100098" y="66149"/>
                      <a:pt x="102374" y="63878"/>
                      <a:pt x="102374" y="61086"/>
                    </a:cubicBezTo>
                    <a:lnTo>
                      <a:pt x="102374" y="5074"/>
                    </a:lnTo>
                    <a:cubicBezTo>
                      <a:pt x="102374" y="2282"/>
                      <a:pt x="100098" y="0"/>
                      <a:pt x="97322" y="0"/>
                    </a:cubicBezTo>
                    <a:close/>
                  </a:path>
                </a:pathLst>
              </a:custGeom>
              <a:solidFill>
                <a:srgbClr val="0D78BE"/>
              </a:solidFill>
              <a:ln w="5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</p:grpSp>
      <p:sp>
        <p:nvSpPr>
          <p:cNvPr id="2" name="Tekstvak 1">
            <a:extLst>
              <a:ext uri="{FF2B5EF4-FFF2-40B4-BE49-F238E27FC236}">
                <a16:creationId xmlns:a16="http://schemas.microsoft.com/office/drawing/2014/main" id="{AEDF23C1-C76E-4AA4-B441-4AB048B10C06}"/>
              </a:ext>
            </a:extLst>
          </p:cNvPr>
          <p:cNvSpPr txBox="1"/>
          <p:nvPr/>
        </p:nvSpPr>
        <p:spPr>
          <a:xfrm>
            <a:off x="1083985" y="2711904"/>
            <a:ext cx="18292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Nascent</a:t>
            </a:r>
            <a:endParaRPr lang="en-US" sz="24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67746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3" name="Groep 1032">
            <a:extLst>
              <a:ext uri="{FF2B5EF4-FFF2-40B4-BE49-F238E27FC236}">
                <a16:creationId xmlns:a16="http://schemas.microsoft.com/office/drawing/2014/main" id="{B449037B-8683-42F6-79CC-6C5D853196C7}"/>
              </a:ext>
            </a:extLst>
          </p:cNvPr>
          <p:cNvGrpSpPr/>
          <p:nvPr/>
        </p:nvGrpSpPr>
        <p:grpSpPr>
          <a:xfrm>
            <a:off x="3011904" y="554816"/>
            <a:ext cx="6168191" cy="6303184"/>
            <a:chOff x="4561092" y="354291"/>
            <a:chExt cx="5825202" cy="5543152"/>
          </a:xfrm>
        </p:grpSpPr>
        <p:sp>
          <p:nvSpPr>
            <p:cNvPr id="560" name="Vrije vorm 559">
              <a:extLst>
                <a:ext uri="{FF2B5EF4-FFF2-40B4-BE49-F238E27FC236}">
                  <a16:creationId xmlns:a16="http://schemas.microsoft.com/office/drawing/2014/main" id="{2C7BDF5D-3F8C-4AD7-973E-0BC54475C01D}"/>
                </a:ext>
              </a:extLst>
            </p:cNvPr>
            <p:cNvSpPr/>
            <p:nvPr/>
          </p:nvSpPr>
          <p:spPr>
            <a:xfrm flipV="1">
              <a:off x="6306137" y="354291"/>
              <a:ext cx="82377" cy="1771926"/>
            </a:xfrm>
            <a:custGeom>
              <a:avLst/>
              <a:gdLst>
                <a:gd name="connsiteX0" fmla="*/ 81156 w 82377"/>
                <a:gd name="connsiteY0" fmla="*/ -3570 h 1771926"/>
                <a:gd name="connsiteX1" fmla="*/ -1221 w 82377"/>
                <a:gd name="connsiteY1" fmla="*/ -3570 h 1771926"/>
                <a:gd name="connsiteX2" fmla="*/ -1221 w 82377"/>
                <a:gd name="connsiteY2" fmla="*/ 1768356 h 1771926"/>
                <a:gd name="connsiteX3" fmla="*/ 81156 w 82377"/>
                <a:gd name="connsiteY3" fmla="*/ 1768356 h 1771926"/>
                <a:gd name="connsiteX4" fmla="*/ 81156 w 82377"/>
                <a:gd name="connsiteY4" fmla="*/ -3570 h 17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77" h="1771926">
                  <a:moveTo>
                    <a:pt x="81156" y="-3570"/>
                  </a:moveTo>
                  <a:lnTo>
                    <a:pt x="-1221" y="-3570"/>
                  </a:lnTo>
                  <a:lnTo>
                    <a:pt x="-1221" y="1768356"/>
                  </a:lnTo>
                  <a:lnTo>
                    <a:pt x="81156" y="1768356"/>
                  </a:lnTo>
                  <a:lnTo>
                    <a:pt x="81156" y="-3570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1" name="Vrije vorm 560">
              <a:extLst>
                <a:ext uri="{FF2B5EF4-FFF2-40B4-BE49-F238E27FC236}">
                  <a16:creationId xmlns:a16="http://schemas.microsoft.com/office/drawing/2014/main" id="{DEF28636-E8B7-A662-7035-F4FEB928C018}"/>
                </a:ext>
              </a:extLst>
            </p:cNvPr>
            <p:cNvSpPr/>
            <p:nvPr/>
          </p:nvSpPr>
          <p:spPr>
            <a:xfrm flipV="1">
              <a:off x="5111252" y="367991"/>
              <a:ext cx="1182370" cy="1760700"/>
            </a:xfrm>
            <a:custGeom>
              <a:avLst/>
              <a:gdLst>
                <a:gd name="connsiteX0" fmla="*/ -780 w 1182370"/>
                <a:gd name="connsiteY0" fmla="*/ 1755945 h 1760700"/>
                <a:gd name="connsiteX1" fmla="*/ -780 w 1182370"/>
                <a:gd name="connsiteY1" fmla="*/ -2371 h 1760700"/>
                <a:gd name="connsiteX2" fmla="*/ 409 w 1182370"/>
                <a:gd name="connsiteY2" fmla="*/ -3563 h 1760700"/>
                <a:gd name="connsiteX3" fmla="*/ 1180399 w 1182370"/>
                <a:gd name="connsiteY3" fmla="*/ -3563 h 1760700"/>
                <a:gd name="connsiteX4" fmla="*/ 1181591 w 1182370"/>
                <a:gd name="connsiteY4" fmla="*/ -2371 h 1760700"/>
                <a:gd name="connsiteX5" fmla="*/ 1181591 w 1182370"/>
                <a:gd name="connsiteY5" fmla="*/ 1755945 h 1760700"/>
                <a:gd name="connsiteX6" fmla="*/ 1180399 w 1182370"/>
                <a:gd name="connsiteY6" fmla="*/ 1757137 h 1760700"/>
                <a:gd name="connsiteX7" fmla="*/ 409 w 1182370"/>
                <a:gd name="connsiteY7" fmla="*/ 1757137 h 1760700"/>
                <a:gd name="connsiteX8" fmla="*/ -780 w 1182370"/>
                <a:gd name="connsiteY8" fmla="*/ 1755945 h 1760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2370" h="1760700">
                  <a:moveTo>
                    <a:pt x="-780" y="1755945"/>
                  </a:moveTo>
                  <a:lnTo>
                    <a:pt x="-780" y="-2371"/>
                  </a:lnTo>
                  <a:lnTo>
                    <a:pt x="409" y="-3563"/>
                  </a:lnTo>
                  <a:lnTo>
                    <a:pt x="1180399" y="-3563"/>
                  </a:lnTo>
                  <a:lnTo>
                    <a:pt x="1181591" y="-2371"/>
                  </a:lnTo>
                  <a:lnTo>
                    <a:pt x="1181591" y="1755945"/>
                  </a:lnTo>
                  <a:lnTo>
                    <a:pt x="1180399" y="1757137"/>
                  </a:lnTo>
                  <a:lnTo>
                    <a:pt x="409" y="1757137"/>
                  </a:lnTo>
                  <a:lnTo>
                    <a:pt x="-780" y="1755945"/>
                  </a:lnTo>
                </a:path>
              </a:pathLst>
            </a:custGeom>
            <a:solidFill>
              <a:srgbClr val="F3F2F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2" name="Vrije vorm 561">
              <a:extLst>
                <a:ext uri="{FF2B5EF4-FFF2-40B4-BE49-F238E27FC236}">
                  <a16:creationId xmlns:a16="http://schemas.microsoft.com/office/drawing/2014/main" id="{9DCA552C-97D4-D8F1-4741-A9A9A1CD0EAF}"/>
                </a:ext>
              </a:extLst>
            </p:cNvPr>
            <p:cNvSpPr/>
            <p:nvPr/>
          </p:nvSpPr>
          <p:spPr>
            <a:xfrm flipV="1">
              <a:off x="5097557" y="354291"/>
              <a:ext cx="1209771" cy="1788101"/>
            </a:xfrm>
            <a:custGeom>
              <a:avLst/>
              <a:gdLst>
                <a:gd name="connsiteX0" fmla="*/ 27803 w 1209771"/>
                <a:gd name="connsiteY0" fmla="*/ 23838 h 1788101"/>
                <a:gd name="connsiteX1" fmla="*/ 1180400 w 1209771"/>
                <a:gd name="connsiteY1" fmla="*/ 23838 h 1788101"/>
                <a:gd name="connsiteX2" fmla="*/ 1181592 w 1209771"/>
                <a:gd name="connsiteY2" fmla="*/ 25030 h 1788101"/>
                <a:gd name="connsiteX3" fmla="*/ 1181592 w 1209771"/>
                <a:gd name="connsiteY3" fmla="*/ 1755944 h 1788101"/>
                <a:gd name="connsiteX4" fmla="*/ 1180400 w 1209771"/>
                <a:gd name="connsiteY4" fmla="*/ 1757137 h 1788101"/>
                <a:gd name="connsiteX5" fmla="*/ 27803 w 1209771"/>
                <a:gd name="connsiteY5" fmla="*/ 1757137 h 1788101"/>
                <a:gd name="connsiteX6" fmla="*/ 26615 w 1209771"/>
                <a:gd name="connsiteY6" fmla="*/ 1755944 h 1788101"/>
                <a:gd name="connsiteX7" fmla="*/ 26615 w 1209771"/>
                <a:gd name="connsiteY7" fmla="*/ 25030 h 1788101"/>
                <a:gd name="connsiteX8" fmla="*/ 1207800 w 1209771"/>
                <a:gd name="connsiteY8" fmla="*/ -3563 h 1788101"/>
                <a:gd name="connsiteX9" fmla="*/ 404 w 1209771"/>
                <a:gd name="connsiteY9" fmla="*/ -3563 h 1788101"/>
                <a:gd name="connsiteX10" fmla="*/ -780 w 1209771"/>
                <a:gd name="connsiteY10" fmla="*/ -2384 h 1788101"/>
                <a:gd name="connsiteX11" fmla="*/ -780 w 1209771"/>
                <a:gd name="connsiteY11" fmla="*/ 1783359 h 1788101"/>
                <a:gd name="connsiteX12" fmla="*/ 404 w 1209771"/>
                <a:gd name="connsiteY12" fmla="*/ 1784538 h 1788101"/>
                <a:gd name="connsiteX13" fmla="*/ 1207800 w 1209771"/>
                <a:gd name="connsiteY13" fmla="*/ 1784538 h 1788101"/>
                <a:gd name="connsiteX14" fmla="*/ 1208992 w 1209771"/>
                <a:gd name="connsiteY14" fmla="*/ 1783359 h 1788101"/>
                <a:gd name="connsiteX15" fmla="*/ 1208992 w 1209771"/>
                <a:gd name="connsiteY15" fmla="*/ -2384 h 1788101"/>
                <a:gd name="connsiteX16" fmla="*/ 1207800 w 1209771"/>
                <a:gd name="connsiteY16" fmla="*/ -3563 h 178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09771" h="1788101">
                  <a:moveTo>
                    <a:pt x="27803" y="23838"/>
                  </a:moveTo>
                  <a:lnTo>
                    <a:pt x="1180400" y="23838"/>
                  </a:lnTo>
                  <a:lnTo>
                    <a:pt x="1181592" y="25030"/>
                  </a:lnTo>
                  <a:lnTo>
                    <a:pt x="1181592" y="1755944"/>
                  </a:lnTo>
                  <a:lnTo>
                    <a:pt x="1180400" y="1757137"/>
                  </a:lnTo>
                  <a:lnTo>
                    <a:pt x="27803" y="1757137"/>
                  </a:lnTo>
                  <a:lnTo>
                    <a:pt x="26615" y="1755944"/>
                  </a:lnTo>
                  <a:lnTo>
                    <a:pt x="26615" y="25030"/>
                  </a:lnTo>
                  <a:close/>
                  <a:moveTo>
                    <a:pt x="1207800" y="-3563"/>
                  </a:moveTo>
                  <a:lnTo>
                    <a:pt x="404" y="-3563"/>
                  </a:lnTo>
                  <a:lnTo>
                    <a:pt x="-780" y="-2384"/>
                  </a:lnTo>
                  <a:lnTo>
                    <a:pt x="-780" y="1783359"/>
                  </a:lnTo>
                  <a:lnTo>
                    <a:pt x="404" y="1784538"/>
                  </a:lnTo>
                  <a:lnTo>
                    <a:pt x="1207800" y="1784538"/>
                  </a:lnTo>
                  <a:lnTo>
                    <a:pt x="1208992" y="1783359"/>
                  </a:lnTo>
                  <a:lnTo>
                    <a:pt x="1208992" y="-2384"/>
                  </a:lnTo>
                  <a:lnTo>
                    <a:pt x="1207800" y="-3563"/>
                  </a:lnTo>
                </a:path>
              </a:pathLst>
            </a:custGeom>
            <a:solidFill>
              <a:srgbClr val="E7E8E5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3" name="Vrije vorm 562">
              <a:extLst>
                <a:ext uri="{FF2B5EF4-FFF2-40B4-BE49-F238E27FC236}">
                  <a16:creationId xmlns:a16="http://schemas.microsoft.com/office/drawing/2014/main" id="{B21DCBA4-0F4F-96A7-0616-5CD7D3C43191}"/>
                </a:ext>
              </a:extLst>
            </p:cNvPr>
            <p:cNvSpPr/>
            <p:nvPr/>
          </p:nvSpPr>
          <p:spPr>
            <a:xfrm flipV="1">
              <a:off x="5230304" y="476606"/>
              <a:ext cx="946352" cy="1542304"/>
            </a:xfrm>
            <a:custGeom>
              <a:avLst/>
              <a:gdLst>
                <a:gd name="connsiteX0" fmla="*/ -781 w 946352"/>
                <a:gd name="connsiteY0" fmla="*/ 1537549 h 1542304"/>
                <a:gd name="connsiteX1" fmla="*/ -781 w 946352"/>
                <a:gd name="connsiteY1" fmla="*/ -2371 h 1542304"/>
                <a:gd name="connsiteX2" fmla="*/ 407 w 946352"/>
                <a:gd name="connsiteY2" fmla="*/ -3564 h 1542304"/>
                <a:gd name="connsiteX3" fmla="*/ 944380 w 946352"/>
                <a:gd name="connsiteY3" fmla="*/ -3564 h 1542304"/>
                <a:gd name="connsiteX4" fmla="*/ 945572 w 946352"/>
                <a:gd name="connsiteY4" fmla="*/ -2371 h 1542304"/>
                <a:gd name="connsiteX5" fmla="*/ 945572 w 946352"/>
                <a:gd name="connsiteY5" fmla="*/ 1537549 h 1542304"/>
                <a:gd name="connsiteX6" fmla="*/ 944380 w 946352"/>
                <a:gd name="connsiteY6" fmla="*/ 1538741 h 1542304"/>
                <a:gd name="connsiteX7" fmla="*/ 407 w 946352"/>
                <a:gd name="connsiteY7" fmla="*/ 1538741 h 1542304"/>
                <a:gd name="connsiteX8" fmla="*/ -781 w 946352"/>
                <a:gd name="connsiteY8" fmla="*/ 1537549 h 1542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46352" h="1542304">
                  <a:moveTo>
                    <a:pt x="-781" y="1537549"/>
                  </a:moveTo>
                  <a:lnTo>
                    <a:pt x="-781" y="-2371"/>
                  </a:lnTo>
                  <a:lnTo>
                    <a:pt x="407" y="-3564"/>
                  </a:lnTo>
                  <a:lnTo>
                    <a:pt x="944380" y="-3564"/>
                  </a:lnTo>
                  <a:lnTo>
                    <a:pt x="945572" y="-2371"/>
                  </a:lnTo>
                  <a:lnTo>
                    <a:pt x="945572" y="1537549"/>
                  </a:lnTo>
                  <a:lnTo>
                    <a:pt x="944380" y="1538741"/>
                  </a:lnTo>
                  <a:lnTo>
                    <a:pt x="407" y="1538741"/>
                  </a:lnTo>
                  <a:lnTo>
                    <a:pt x="-781" y="1537549"/>
                  </a:ln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4" name="Vrije vorm 563">
              <a:extLst>
                <a:ext uri="{FF2B5EF4-FFF2-40B4-BE49-F238E27FC236}">
                  <a16:creationId xmlns:a16="http://schemas.microsoft.com/office/drawing/2014/main" id="{CD46DC90-0962-194C-41B8-B784FD823E6D}"/>
                </a:ext>
              </a:extLst>
            </p:cNvPr>
            <p:cNvSpPr/>
            <p:nvPr/>
          </p:nvSpPr>
          <p:spPr>
            <a:xfrm flipV="1">
              <a:off x="5436757" y="913854"/>
              <a:ext cx="531363" cy="623117"/>
            </a:xfrm>
            <a:custGeom>
              <a:avLst/>
              <a:gdLst>
                <a:gd name="connsiteX0" fmla="*/ 529772 w 531363"/>
                <a:gd name="connsiteY0" fmla="*/ -3584 h 623117"/>
                <a:gd name="connsiteX1" fmla="*/ 33 w 531363"/>
                <a:gd name="connsiteY1" fmla="*/ -3584 h 623117"/>
                <a:gd name="connsiteX2" fmla="*/ -780 w 531363"/>
                <a:gd name="connsiteY2" fmla="*/ -2772 h 623117"/>
                <a:gd name="connsiteX3" fmla="*/ -780 w 531363"/>
                <a:gd name="connsiteY3" fmla="*/ 618722 h 623117"/>
                <a:gd name="connsiteX4" fmla="*/ 36 w 531363"/>
                <a:gd name="connsiteY4" fmla="*/ 619534 h 623117"/>
                <a:gd name="connsiteX5" fmla="*/ 529772 w 531363"/>
                <a:gd name="connsiteY5" fmla="*/ 619534 h 623117"/>
                <a:gd name="connsiteX6" fmla="*/ 530583 w 531363"/>
                <a:gd name="connsiteY6" fmla="*/ 618722 h 623117"/>
                <a:gd name="connsiteX7" fmla="*/ 530583 w 531363"/>
                <a:gd name="connsiteY7" fmla="*/ -2772 h 623117"/>
                <a:gd name="connsiteX8" fmla="*/ 529772 w 531363"/>
                <a:gd name="connsiteY8" fmla="*/ -3584 h 62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1363" h="623117">
                  <a:moveTo>
                    <a:pt x="529772" y="-3584"/>
                  </a:moveTo>
                  <a:lnTo>
                    <a:pt x="33" y="-3584"/>
                  </a:lnTo>
                  <a:lnTo>
                    <a:pt x="-780" y="-2772"/>
                  </a:lnTo>
                  <a:lnTo>
                    <a:pt x="-780" y="618722"/>
                  </a:lnTo>
                  <a:lnTo>
                    <a:pt x="36" y="619534"/>
                  </a:lnTo>
                  <a:lnTo>
                    <a:pt x="529772" y="619534"/>
                  </a:lnTo>
                  <a:lnTo>
                    <a:pt x="530583" y="618722"/>
                  </a:lnTo>
                  <a:lnTo>
                    <a:pt x="530583" y="-2772"/>
                  </a:lnTo>
                  <a:lnTo>
                    <a:pt x="529772" y="-3584"/>
                  </a:lnTo>
                </a:path>
              </a:pathLst>
            </a:custGeom>
            <a:solidFill>
              <a:srgbClr val="E7E8E5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5" name="Vrije vorm 564">
              <a:extLst>
                <a:ext uri="{FF2B5EF4-FFF2-40B4-BE49-F238E27FC236}">
                  <a16:creationId xmlns:a16="http://schemas.microsoft.com/office/drawing/2014/main" id="{61A8314E-03FA-BD37-35E8-DFE0931AF3A2}"/>
                </a:ext>
              </a:extLst>
            </p:cNvPr>
            <p:cNvSpPr/>
            <p:nvPr/>
          </p:nvSpPr>
          <p:spPr>
            <a:xfrm flipV="1">
              <a:off x="5445714" y="969554"/>
              <a:ext cx="480362" cy="500437"/>
            </a:xfrm>
            <a:custGeom>
              <a:avLst/>
              <a:gdLst>
                <a:gd name="connsiteX0" fmla="*/ 479580 w 480362"/>
                <a:gd name="connsiteY0" fmla="*/ 5697 h 500437"/>
                <a:gd name="connsiteX1" fmla="*/ 404139 w 480362"/>
                <a:gd name="connsiteY1" fmla="*/ -1940 h 500437"/>
                <a:gd name="connsiteX2" fmla="*/ 319335 w 480362"/>
                <a:gd name="connsiteY2" fmla="*/ 31969 h 500437"/>
                <a:gd name="connsiteX3" fmla="*/ 253438 w 480362"/>
                <a:gd name="connsiteY3" fmla="*/ 135648 h 500437"/>
                <a:gd name="connsiteX4" fmla="*/ 303838 w 480362"/>
                <a:gd name="connsiteY4" fmla="*/ 277397 h 500437"/>
                <a:gd name="connsiteX5" fmla="*/ 342049 w 480362"/>
                <a:gd name="connsiteY5" fmla="*/ 299800 h 500437"/>
                <a:gd name="connsiteX6" fmla="*/ 389849 w 480362"/>
                <a:gd name="connsiteY6" fmla="*/ 305318 h 500437"/>
                <a:gd name="connsiteX7" fmla="*/ 437650 w 480362"/>
                <a:gd name="connsiteY7" fmla="*/ 284438 h 500437"/>
                <a:gd name="connsiteX8" fmla="*/ 456491 w 480362"/>
                <a:gd name="connsiteY8" fmla="*/ 228723 h 500437"/>
                <a:gd name="connsiteX9" fmla="*/ 430245 w 480362"/>
                <a:gd name="connsiteY9" fmla="*/ 180911 h 500437"/>
                <a:gd name="connsiteX10" fmla="*/ 390217 w 480362"/>
                <a:gd name="connsiteY10" fmla="*/ 151404 h 500437"/>
                <a:gd name="connsiteX11" fmla="*/ 294725 w 480362"/>
                <a:gd name="connsiteY11" fmla="*/ 124117 h 500437"/>
                <a:gd name="connsiteX12" fmla="*/ 192953 w 480362"/>
                <a:gd name="connsiteY12" fmla="*/ 147294 h 500437"/>
                <a:gd name="connsiteX13" fmla="*/ 118057 w 480362"/>
                <a:gd name="connsiteY13" fmla="*/ 224968 h 500437"/>
                <a:gd name="connsiteX14" fmla="*/ 104625 w 480362"/>
                <a:gd name="connsiteY14" fmla="*/ 333747 h 500437"/>
                <a:gd name="connsiteX15" fmla="*/ 161935 w 480362"/>
                <a:gd name="connsiteY15" fmla="*/ 423371 h 500437"/>
                <a:gd name="connsiteX16" fmla="*/ 209971 w 480362"/>
                <a:gd name="connsiteY16" fmla="*/ 447626 h 500437"/>
                <a:gd name="connsiteX17" fmla="*/ 264057 w 480362"/>
                <a:gd name="connsiteY17" fmla="*/ 449325 h 500437"/>
                <a:gd name="connsiteX18" fmla="*/ 313149 w 480362"/>
                <a:gd name="connsiteY18" fmla="*/ 421620 h 500437"/>
                <a:gd name="connsiteX19" fmla="*/ 332391 w 480362"/>
                <a:gd name="connsiteY19" fmla="*/ 369127 h 500437"/>
                <a:gd name="connsiteX20" fmla="*/ 319587 w 480362"/>
                <a:gd name="connsiteY20" fmla="*/ 319120 h 500437"/>
                <a:gd name="connsiteX21" fmla="*/ 289286 w 480362"/>
                <a:gd name="connsiteY21" fmla="*/ 282687 h 500437"/>
                <a:gd name="connsiteX22" fmla="*/ 214014 w 480362"/>
                <a:gd name="connsiteY22" fmla="*/ 242664 h 500437"/>
                <a:gd name="connsiteX23" fmla="*/ 134818 w 480362"/>
                <a:gd name="connsiteY23" fmla="*/ 236550 h 500437"/>
                <a:gd name="connsiteX24" fmla="*/ 65895 w 480362"/>
                <a:gd name="connsiteY24" fmla="*/ 262961 h 500437"/>
                <a:gd name="connsiteX25" fmla="*/ 70 w 480362"/>
                <a:gd name="connsiteY25" fmla="*/ 367288 h 500437"/>
                <a:gd name="connsiteX26" fmla="*/ 24459 w 480362"/>
                <a:gd name="connsiteY26" fmla="*/ 456721 h 500437"/>
                <a:gd name="connsiteX27" fmla="*/ 69569 w 480362"/>
                <a:gd name="connsiteY27" fmla="*/ 492786 h 500437"/>
                <a:gd name="connsiteX28" fmla="*/ 89365 w 480362"/>
                <a:gd name="connsiteY28" fmla="*/ 496148 h 500437"/>
                <a:gd name="connsiteX29" fmla="*/ 73680 w 480362"/>
                <a:gd name="connsiteY29" fmla="*/ 484985 h 500437"/>
                <a:gd name="connsiteX30" fmla="*/ 38599 w 480362"/>
                <a:gd name="connsiteY30" fmla="*/ 447270 h 500437"/>
                <a:gd name="connsiteX31" fmla="*/ 24236 w 480362"/>
                <a:gd name="connsiteY31" fmla="*/ 370878 h 500437"/>
                <a:gd name="connsiteX32" fmla="*/ 82763 w 480362"/>
                <a:gd name="connsiteY32" fmla="*/ 288865 h 500437"/>
                <a:gd name="connsiteX33" fmla="*/ 203504 w 480362"/>
                <a:gd name="connsiteY33" fmla="*/ 277359 h 500437"/>
                <a:gd name="connsiteX34" fmla="*/ 263918 w 480362"/>
                <a:gd name="connsiteY34" fmla="*/ 311560 h 500437"/>
                <a:gd name="connsiteX35" fmla="*/ 292134 w 480362"/>
                <a:gd name="connsiteY35" fmla="*/ 368201 h 500437"/>
                <a:gd name="connsiteX36" fmla="*/ 255766 w 480362"/>
                <a:gd name="connsiteY36" fmla="*/ 408402 h 500437"/>
                <a:gd name="connsiteX37" fmla="*/ 221031 w 480362"/>
                <a:gd name="connsiteY37" fmla="*/ 406765 h 500437"/>
                <a:gd name="connsiteX38" fmla="*/ 188249 w 480362"/>
                <a:gd name="connsiteY38" fmla="*/ 389589 h 500437"/>
                <a:gd name="connsiteX39" fmla="*/ 146917 w 480362"/>
                <a:gd name="connsiteY39" fmla="*/ 323675 h 500437"/>
                <a:gd name="connsiteX40" fmla="*/ 157061 w 480362"/>
                <a:gd name="connsiteY40" fmla="*/ 244681 h 500437"/>
                <a:gd name="connsiteX41" fmla="*/ 214232 w 480362"/>
                <a:gd name="connsiteY41" fmla="*/ 185224 h 500437"/>
                <a:gd name="connsiteX42" fmla="*/ 292892 w 480362"/>
                <a:gd name="connsiteY42" fmla="*/ 166906 h 500437"/>
                <a:gd name="connsiteX43" fmla="*/ 370251 w 480362"/>
                <a:gd name="connsiteY43" fmla="*/ 188065 h 500437"/>
                <a:gd name="connsiteX44" fmla="*/ 401121 w 480362"/>
                <a:gd name="connsiteY44" fmla="*/ 209834 h 500437"/>
                <a:gd name="connsiteX45" fmla="*/ 416780 w 480362"/>
                <a:gd name="connsiteY45" fmla="*/ 235370 h 500437"/>
                <a:gd name="connsiteX46" fmla="*/ 410453 w 480362"/>
                <a:gd name="connsiteY46" fmla="*/ 255920 h 500437"/>
                <a:gd name="connsiteX47" fmla="*/ 384866 w 480362"/>
                <a:gd name="connsiteY47" fmla="*/ 267198 h 500437"/>
                <a:gd name="connsiteX48" fmla="*/ 354738 w 480362"/>
                <a:gd name="connsiteY48" fmla="*/ 264636 h 500437"/>
                <a:gd name="connsiteX49" fmla="*/ 326670 w 480362"/>
                <a:gd name="connsiteY49" fmla="*/ 249248 h 500437"/>
                <a:gd name="connsiteX50" fmla="*/ 290059 w 480362"/>
                <a:gd name="connsiteY50" fmla="*/ 198797 h 500437"/>
                <a:gd name="connsiteX51" fmla="*/ 283898 w 480362"/>
                <a:gd name="connsiteY51" fmla="*/ 140849 h 500437"/>
                <a:gd name="connsiteX52" fmla="*/ 334521 w 480362"/>
                <a:gd name="connsiteY52" fmla="*/ 51111 h 500437"/>
                <a:gd name="connsiteX53" fmla="*/ 407309 w 480362"/>
                <a:gd name="connsiteY53" fmla="*/ 14767 h 500437"/>
                <a:gd name="connsiteX54" fmla="*/ 479580 w 480362"/>
                <a:gd name="connsiteY54" fmla="*/ 5697 h 500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80362" h="500437">
                  <a:moveTo>
                    <a:pt x="479580" y="5697"/>
                  </a:moveTo>
                  <a:cubicBezTo>
                    <a:pt x="480265" y="3693"/>
                    <a:pt x="454044" y="-7801"/>
                    <a:pt x="404139" y="-1940"/>
                  </a:cubicBezTo>
                  <a:cubicBezTo>
                    <a:pt x="379566" y="1384"/>
                    <a:pt x="348988" y="10226"/>
                    <a:pt x="319335" y="31969"/>
                  </a:cubicBezTo>
                  <a:cubicBezTo>
                    <a:pt x="290317" y="53712"/>
                    <a:pt x="262764" y="88787"/>
                    <a:pt x="253438" y="135648"/>
                  </a:cubicBezTo>
                  <a:cubicBezTo>
                    <a:pt x="243750" y="182166"/>
                    <a:pt x="259292" y="240140"/>
                    <a:pt x="303838" y="277397"/>
                  </a:cubicBezTo>
                  <a:cubicBezTo>
                    <a:pt x="314907" y="286645"/>
                    <a:pt x="327776" y="294447"/>
                    <a:pt x="342049" y="299800"/>
                  </a:cubicBezTo>
                  <a:cubicBezTo>
                    <a:pt x="357214" y="305432"/>
                    <a:pt x="373593" y="307297"/>
                    <a:pt x="389849" y="305318"/>
                  </a:cubicBezTo>
                  <a:cubicBezTo>
                    <a:pt x="406015" y="303339"/>
                    <a:pt x="423145" y="297707"/>
                    <a:pt x="437650" y="284438"/>
                  </a:cubicBezTo>
                  <a:cubicBezTo>
                    <a:pt x="452282" y="271143"/>
                    <a:pt x="460295" y="248702"/>
                    <a:pt x="456491" y="228723"/>
                  </a:cubicBezTo>
                  <a:cubicBezTo>
                    <a:pt x="453030" y="208565"/>
                    <a:pt x="442050" y="193114"/>
                    <a:pt x="430245" y="180911"/>
                  </a:cubicBezTo>
                  <a:cubicBezTo>
                    <a:pt x="418073" y="168479"/>
                    <a:pt x="404278" y="159282"/>
                    <a:pt x="390217" y="151404"/>
                  </a:cubicBezTo>
                  <a:cubicBezTo>
                    <a:pt x="361647" y="135610"/>
                    <a:pt x="328964" y="125715"/>
                    <a:pt x="294725" y="124117"/>
                  </a:cubicBezTo>
                  <a:cubicBezTo>
                    <a:pt x="260634" y="122481"/>
                    <a:pt x="224593" y="129483"/>
                    <a:pt x="192953" y="147294"/>
                  </a:cubicBezTo>
                  <a:cubicBezTo>
                    <a:pt x="161613" y="164901"/>
                    <a:pt x="134818" y="191592"/>
                    <a:pt x="118057" y="224968"/>
                  </a:cubicBezTo>
                  <a:cubicBezTo>
                    <a:pt x="101074" y="257938"/>
                    <a:pt x="95665" y="297961"/>
                    <a:pt x="104625" y="333747"/>
                  </a:cubicBezTo>
                  <a:cubicBezTo>
                    <a:pt x="113243" y="369393"/>
                    <a:pt x="133495" y="401272"/>
                    <a:pt x="161935" y="423371"/>
                  </a:cubicBezTo>
                  <a:cubicBezTo>
                    <a:pt x="176208" y="434432"/>
                    <a:pt x="192345" y="442602"/>
                    <a:pt x="209971" y="447626"/>
                  </a:cubicBezTo>
                  <a:cubicBezTo>
                    <a:pt x="227722" y="452192"/>
                    <a:pt x="246013" y="453042"/>
                    <a:pt x="264057" y="449325"/>
                  </a:cubicBezTo>
                  <a:cubicBezTo>
                    <a:pt x="281912" y="445570"/>
                    <a:pt x="300153" y="436779"/>
                    <a:pt x="313149" y="421620"/>
                  </a:cubicBezTo>
                  <a:cubicBezTo>
                    <a:pt x="326329" y="406575"/>
                    <a:pt x="332217" y="386938"/>
                    <a:pt x="332391" y="369127"/>
                  </a:cubicBezTo>
                  <a:cubicBezTo>
                    <a:pt x="332668" y="351215"/>
                    <a:pt x="327789" y="333747"/>
                    <a:pt x="319587" y="319120"/>
                  </a:cubicBezTo>
                  <a:cubicBezTo>
                    <a:pt x="311535" y="304468"/>
                    <a:pt x="300698" y="292569"/>
                    <a:pt x="289286" y="282687"/>
                  </a:cubicBezTo>
                  <a:cubicBezTo>
                    <a:pt x="266295" y="263215"/>
                    <a:pt x="240497" y="250402"/>
                    <a:pt x="214014" y="242664"/>
                  </a:cubicBezTo>
                  <a:cubicBezTo>
                    <a:pt x="187546" y="235053"/>
                    <a:pt x="160394" y="233048"/>
                    <a:pt x="134818" y="236550"/>
                  </a:cubicBezTo>
                  <a:cubicBezTo>
                    <a:pt x="109321" y="240152"/>
                    <a:pt x="85304" y="249540"/>
                    <a:pt x="65895" y="262961"/>
                  </a:cubicBezTo>
                  <a:cubicBezTo>
                    <a:pt x="26727" y="289563"/>
                    <a:pt x="4102" y="329967"/>
                    <a:pt x="70" y="367288"/>
                  </a:cubicBezTo>
                  <a:cubicBezTo>
                    <a:pt x="-4368" y="405294"/>
                    <a:pt x="9535" y="436462"/>
                    <a:pt x="24459" y="456721"/>
                  </a:cubicBezTo>
                  <a:cubicBezTo>
                    <a:pt x="39807" y="477373"/>
                    <a:pt x="57444" y="487941"/>
                    <a:pt x="69569" y="492786"/>
                  </a:cubicBezTo>
                  <a:cubicBezTo>
                    <a:pt x="81986" y="497493"/>
                    <a:pt x="89053" y="497328"/>
                    <a:pt x="89365" y="496148"/>
                  </a:cubicBezTo>
                  <a:cubicBezTo>
                    <a:pt x="89885" y="494448"/>
                    <a:pt x="83749" y="491708"/>
                    <a:pt x="73680" y="484985"/>
                  </a:cubicBezTo>
                  <a:cubicBezTo>
                    <a:pt x="63824" y="478147"/>
                    <a:pt x="49887" y="466591"/>
                    <a:pt x="38599" y="447270"/>
                  </a:cubicBezTo>
                  <a:cubicBezTo>
                    <a:pt x="27569" y="428318"/>
                    <a:pt x="18460" y="400816"/>
                    <a:pt x="24236" y="370878"/>
                  </a:cubicBezTo>
                  <a:cubicBezTo>
                    <a:pt x="29486" y="341041"/>
                    <a:pt x="49882" y="308972"/>
                    <a:pt x="82763" y="288865"/>
                  </a:cubicBezTo>
                  <a:cubicBezTo>
                    <a:pt x="114962" y="268403"/>
                    <a:pt x="160127" y="263126"/>
                    <a:pt x="203504" y="277359"/>
                  </a:cubicBezTo>
                  <a:cubicBezTo>
                    <a:pt x="224994" y="284298"/>
                    <a:pt x="246415" y="295893"/>
                    <a:pt x="263918" y="311560"/>
                  </a:cubicBezTo>
                  <a:cubicBezTo>
                    <a:pt x="281292" y="327150"/>
                    <a:pt x="293119" y="347206"/>
                    <a:pt x="292134" y="368201"/>
                  </a:cubicBezTo>
                  <a:cubicBezTo>
                    <a:pt x="291580" y="389246"/>
                    <a:pt x="278321" y="404089"/>
                    <a:pt x="255766" y="408402"/>
                  </a:cubicBezTo>
                  <a:cubicBezTo>
                    <a:pt x="244776" y="410546"/>
                    <a:pt x="232443" y="409861"/>
                    <a:pt x="221031" y="406765"/>
                  </a:cubicBezTo>
                  <a:cubicBezTo>
                    <a:pt x="209700" y="403302"/>
                    <a:pt x="198175" y="397517"/>
                    <a:pt x="188249" y="389589"/>
                  </a:cubicBezTo>
                  <a:cubicBezTo>
                    <a:pt x="168194" y="373808"/>
                    <a:pt x="153029" y="349858"/>
                    <a:pt x="146917" y="323675"/>
                  </a:cubicBezTo>
                  <a:cubicBezTo>
                    <a:pt x="140627" y="297529"/>
                    <a:pt x="144377" y="269811"/>
                    <a:pt x="157061" y="244681"/>
                  </a:cubicBezTo>
                  <a:cubicBezTo>
                    <a:pt x="169547" y="219602"/>
                    <a:pt x="190354" y="198734"/>
                    <a:pt x="214232" y="185224"/>
                  </a:cubicBezTo>
                  <a:cubicBezTo>
                    <a:pt x="238000" y="171675"/>
                    <a:pt x="265671" y="165891"/>
                    <a:pt x="292892" y="166906"/>
                  </a:cubicBezTo>
                  <a:cubicBezTo>
                    <a:pt x="320153" y="167882"/>
                    <a:pt x="346902" y="175595"/>
                    <a:pt x="370251" y="188065"/>
                  </a:cubicBezTo>
                  <a:cubicBezTo>
                    <a:pt x="382048" y="194446"/>
                    <a:pt x="392918" y="201639"/>
                    <a:pt x="401121" y="209834"/>
                  </a:cubicBezTo>
                  <a:cubicBezTo>
                    <a:pt x="409528" y="218054"/>
                    <a:pt x="415373" y="227454"/>
                    <a:pt x="416780" y="235370"/>
                  </a:cubicBezTo>
                  <a:cubicBezTo>
                    <a:pt x="418314" y="243413"/>
                    <a:pt x="415867" y="250377"/>
                    <a:pt x="410453" y="255920"/>
                  </a:cubicBezTo>
                  <a:cubicBezTo>
                    <a:pt x="404747" y="261578"/>
                    <a:pt x="395073" y="265841"/>
                    <a:pt x="384866" y="267198"/>
                  </a:cubicBezTo>
                  <a:cubicBezTo>
                    <a:pt x="374609" y="268758"/>
                    <a:pt x="363985" y="267794"/>
                    <a:pt x="354738" y="264636"/>
                  </a:cubicBezTo>
                  <a:cubicBezTo>
                    <a:pt x="344576" y="261147"/>
                    <a:pt x="335095" y="255844"/>
                    <a:pt x="326670" y="249248"/>
                  </a:cubicBezTo>
                  <a:cubicBezTo>
                    <a:pt x="309812" y="236030"/>
                    <a:pt x="297151" y="217927"/>
                    <a:pt x="290059" y="198797"/>
                  </a:cubicBezTo>
                  <a:cubicBezTo>
                    <a:pt x="282848" y="179617"/>
                    <a:pt x="281159" y="159776"/>
                    <a:pt x="283898" y="140849"/>
                  </a:cubicBezTo>
                  <a:cubicBezTo>
                    <a:pt x="289520" y="102831"/>
                    <a:pt x="310916" y="71370"/>
                    <a:pt x="334521" y="51111"/>
                  </a:cubicBezTo>
                  <a:cubicBezTo>
                    <a:pt x="358596" y="30738"/>
                    <a:pt x="385183" y="20260"/>
                    <a:pt x="407309" y="14767"/>
                  </a:cubicBezTo>
                  <a:cubicBezTo>
                    <a:pt x="452244" y="4314"/>
                    <a:pt x="479225" y="9490"/>
                    <a:pt x="479580" y="569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6" name="Vrije vorm 565">
              <a:extLst>
                <a:ext uri="{FF2B5EF4-FFF2-40B4-BE49-F238E27FC236}">
                  <a16:creationId xmlns:a16="http://schemas.microsoft.com/office/drawing/2014/main" id="{056EAAB8-5066-924F-CB20-6A3ACFC59599}"/>
                </a:ext>
              </a:extLst>
            </p:cNvPr>
            <p:cNvSpPr/>
            <p:nvPr/>
          </p:nvSpPr>
          <p:spPr>
            <a:xfrm flipV="1">
              <a:off x="9469421" y="5193678"/>
              <a:ext cx="417748" cy="335228"/>
            </a:xfrm>
            <a:custGeom>
              <a:avLst/>
              <a:gdLst>
                <a:gd name="connsiteX0" fmla="*/ 30330 w 417748"/>
                <a:gd name="connsiteY0" fmla="*/ 4642 h 335228"/>
                <a:gd name="connsiteX1" fmla="*/ 6480 w 417748"/>
                <a:gd name="connsiteY1" fmla="*/ 108699 h 335228"/>
                <a:gd name="connsiteX2" fmla="*/ 56740 w 417748"/>
                <a:gd name="connsiteY2" fmla="*/ 143332 h 335228"/>
                <a:gd name="connsiteX3" fmla="*/ 111844 w 417748"/>
                <a:gd name="connsiteY3" fmla="*/ 171265 h 335228"/>
                <a:gd name="connsiteX4" fmla="*/ 169801 w 417748"/>
                <a:gd name="connsiteY4" fmla="*/ 270619 h 335228"/>
                <a:gd name="connsiteX5" fmla="*/ 279971 w 417748"/>
                <a:gd name="connsiteY5" fmla="*/ 335241 h 335228"/>
                <a:gd name="connsiteX6" fmla="*/ 393704 w 417748"/>
                <a:gd name="connsiteY6" fmla="*/ 245030 h 335228"/>
                <a:gd name="connsiteX7" fmla="*/ 414232 w 417748"/>
                <a:gd name="connsiteY7" fmla="*/ 95583 h 335228"/>
                <a:gd name="connsiteX8" fmla="*/ 392183 w 417748"/>
                <a:gd name="connsiteY8" fmla="*/ 17184 h 335228"/>
                <a:gd name="connsiteX9" fmla="*/ 317464 w 417748"/>
                <a:gd name="connsiteY9" fmla="*/ 351 h 335228"/>
                <a:gd name="connsiteX10" fmla="*/ 36479 w 417748"/>
                <a:gd name="connsiteY10" fmla="*/ 8790 h 335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7748" h="335228">
                  <a:moveTo>
                    <a:pt x="30330" y="4642"/>
                  </a:moveTo>
                  <a:cubicBezTo>
                    <a:pt x="14544" y="17883"/>
                    <a:pt x="-20692" y="59859"/>
                    <a:pt x="6480" y="108699"/>
                  </a:cubicBezTo>
                  <a:cubicBezTo>
                    <a:pt x="16446" y="126598"/>
                    <a:pt x="37595" y="135453"/>
                    <a:pt x="56740" y="143332"/>
                  </a:cubicBezTo>
                  <a:cubicBezTo>
                    <a:pt x="75886" y="151221"/>
                    <a:pt x="96008" y="158074"/>
                    <a:pt x="111844" y="171265"/>
                  </a:cubicBezTo>
                  <a:cubicBezTo>
                    <a:pt x="141729" y="196130"/>
                    <a:pt x="149971" y="237449"/>
                    <a:pt x="169801" y="270619"/>
                  </a:cubicBezTo>
                  <a:cubicBezTo>
                    <a:pt x="192573" y="308701"/>
                    <a:pt x="235074" y="337244"/>
                    <a:pt x="279971" y="335241"/>
                  </a:cubicBezTo>
                  <a:cubicBezTo>
                    <a:pt x="331386" y="332957"/>
                    <a:pt x="374267" y="291867"/>
                    <a:pt x="393704" y="245030"/>
                  </a:cubicBezTo>
                  <a:cubicBezTo>
                    <a:pt x="413141" y="198182"/>
                    <a:pt x="413826" y="146171"/>
                    <a:pt x="414232" y="95583"/>
                  </a:cubicBezTo>
                  <a:cubicBezTo>
                    <a:pt x="414447" y="67610"/>
                    <a:pt x="413179" y="36073"/>
                    <a:pt x="392183" y="17184"/>
                  </a:cubicBezTo>
                  <a:cubicBezTo>
                    <a:pt x="372834" y="-229"/>
                    <a:pt x="343697" y="-447"/>
                    <a:pt x="317464" y="351"/>
                  </a:cubicBezTo>
                  <a:cubicBezTo>
                    <a:pt x="223802" y="3155"/>
                    <a:pt x="130141" y="5970"/>
                    <a:pt x="36479" y="8790"/>
                  </a:cubicBezTo>
                </a:path>
              </a:pathLst>
            </a:custGeom>
            <a:solidFill>
              <a:srgbClr val="F3F2F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7" name="Vrije vorm 566">
              <a:extLst>
                <a:ext uri="{FF2B5EF4-FFF2-40B4-BE49-F238E27FC236}">
                  <a16:creationId xmlns:a16="http://schemas.microsoft.com/office/drawing/2014/main" id="{2458A56C-B982-5572-40F1-770412FBB76C}"/>
                </a:ext>
              </a:extLst>
            </p:cNvPr>
            <p:cNvSpPr/>
            <p:nvPr/>
          </p:nvSpPr>
          <p:spPr>
            <a:xfrm flipV="1">
              <a:off x="9301724" y="4768466"/>
              <a:ext cx="738946" cy="850417"/>
            </a:xfrm>
            <a:custGeom>
              <a:avLst/>
              <a:gdLst>
                <a:gd name="connsiteX0" fmla="*/ 702171 w 738946"/>
                <a:gd name="connsiteY0" fmla="*/ 634471 h 850417"/>
                <a:gd name="connsiteX1" fmla="*/ 627807 w 738946"/>
                <a:gd name="connsiteY1" fmla="*/ 634471 h 850417"/>
                <a:gd name="connsiteX2" fmla="*/ 646040 w 738946"/>
                <a:gd name="connsiteY2" fmla="*/ 843173 h 850417"/>
                <a:gd name="connsiteX3" fmla="*/ 727200 w 738946"/>
                <a:gd name="connsiteY3" fmla="*/ 843173 h 850417"/>
                <a:gd name="connsiteX4" fmla="*/ 638711 w 738946"/>
                <a:gd name="connsiteY4" fmla="*/ 105252 h 850417"/>
                <a:gd name="connsiteX5" fmla="*/ 581591 w 738946"/>
                <a:gd name="connsiteY5" fmla="*/ 105252 h 850417"/>
                <a:gd name="connsiteX6" fmla="*/ 598696 w 738946"/>
                <a:gd name="connsiteY6" fmla="*/ 301027 h 850417"/>
                <a:gd name="connsiteX7" fmla="*/ 662180 w 738946"/>
                <a:gd name="connsiteY7" fmla="*/ 301027 h 850417"/>
                <a:gd name="connsiteX8" fmla="*/ 80634 w 738946"/>
                <a:gd name="connsiteY8" fmla="*/ 843173 h 850417"/>
                <a:gd name="connsiteX9" fmla="*/ 115122 w 738946"/>
                <a:gd name="connsiteY9" fmla="*/ 634471 h 850417"/>
                <a:gd name="connsiteX10" fmla="*/ 40948 w 738946"/>
                <a:gd name="connsiteY10" fmla="*/ 634471 h 850417"/>
                <a:gd name="connsiteX11" fmla="*/ 5167 w 738946"/>
                <a:gd name="connsiteY11" fmla="*/ 843173 h 850417"/>
                <a:gd name="connsiteX12" fmla="*/ 529708 w 738946"/>
                <a:gd name="connsiteY12" fmla="*/ 634471 h 850417"/>
                <a:gd name="connsiteX13" fmla="*/ 536795 w 738946"/>
                <a:gd name="connsiteY13" fmla="*/ 843173 h 850417"/>
                <a:gd name="connsiteX14" fmla="*/ 638673 w 738946"/>
                <a:gd name="connsiteY14" fmla="*/ 843173 h 850417"/>
                <a:gd name="connsiteX15" fmla="*/ 620453 w 738946"/>
                <a:gd name="connsiteY15" fmla="*/ 634471 h 850417"/>
                <a:gd name="connsiteX16" fmla="*/ 511741 w 738946"/>
                <a:gd name="connsiteY16" fmla="*/ 105252 h 850417"/>
                <a:gd name="connsiteX17" fmla="*/ 518385 w 738946"/>
                <a:gd name="connsiteY17" fmla="*/ 301027 h 850417"/>
                <a:gd name="connsiteX18" fmla="*/ 591329 w 738946"/>
                <a:gd name="connsiteY18" fmla="*/ 301027 h 850417"/>
                <a:gd name="connsiteX19" fmla="*/ 574237 w 738946"/>
                <a:gd name="connsiteY19" fmla="*/ 105252 h 850417"/>
                <a:gd name="connsiteX20" fmla="*/ 168831 w 738946"/>
                <a:gd name="connsiteY20" fmla="*/ 301027 h 850417"/>
                <a:gd name="connsiteX21" fmla="*/ 200199 w 738946"/>
                <a:gd name="connsiteY21" fmla="*/ 105252 h 850417"/>
                <a:gd name="connsiteX22" fmla="*/ 131681 w 738946"/>
                <a:gd name="connsiteY22" fmla="*/ 105252 h 850417"/>
                <a:gd name="connsiteX23" fmla="*/ 98119 w 738946"/>
                <a:gd name="connsiteY23" fmla="*/ 301027 h 850417"/>
                <a:gd name="connsiteX24" fmla="*/ 160158 w 738946"/>
                <a:gd name="connsiteY24" fmla="*/ 355070 h 850417"/>
                <a:gd name="connsiteX25" fmla="*/ 88850 w 738946"/>
                <a:gd name="connsiteY25" fmla="*/ 355070 h 850417"/>
                <a:gd name="connsiteX26" fmla="*/ 50217 w 738946"/>
                <a:gd name="connsiteY26" fmla="*/ 580427 h 850417"/>
                <a:gd name="connsiteX27" fmla="*/ 123870 w 738946"/>
                <a:gd name="connsiteY27" fmla="*/ 580427 h 850417"/>
                <a:gd name="connsiteX28" fmla="*/ 160158 w 738946"/>
                <a:gd name="connsiteY28" fmla="*/ 355070 h 850417"/>
                <a:gd name="connsiteX29" fmla="*/ 258841 w 738946"/>
                <a:gd name="connsiteY29" fmla="*/ 580427 h 850417"/>
                <a:gd name="connsiteX30" fmla="*/ 276731 w 738946"/>
                <a:gd name="connsiteY30" fmla="*/ 355070 h 850417"/>
                <a:gd name="connsiteX31" fmla="*/ 167576 w 738946"/>
                <a:gd name="connsiteY31" fmla="*/ 355070 h 850417"/>
                <a:gd name="connsiteX32" fmla="*/ 156469 w 738946"/>
                <a:gd name="connsiteY32" fmla="*/ 424217 h 850417"/>
                <a:gd name="connsiteX33" fmla="*/ 131300 w 738946"/>
                <a:gd name="connsiteY33" fmla="*/ 580427 h 850417"/>
                <a:gd name="connsiteX34" fmla="*/ 254543 w 738946"/>
                <a:gd name="connsiteY34" fmla="*/ 634471 h 850417"/>
                <a:gd name="connsiteX35" fmla="*/ 122552 w 738946"/>
                <a:gd name="connsiteY35" fmla="*/ 634471 h 850417"/>
                <a:gd name="connsiteX36" fmla="*/ 109441 w 738946"/>
                <a:gd name="connsiteY36" fmla="*/ 715123 h 850417"/>
                <a:gd name="connsiteX37" fmla="*/ 87620 w 738946"/>
                <a:gd name="connsiteY37" fmla="*/ 843173 h 850417"/>
                <a:gd name="connsiteX38" fmla="*/ 237958 w 738946"/>
                <a:gd name="connsiteY38" fmla="*/ 843173 h 850417"/>
                <a:gd name="connsiteX39" fmla="*/ 386648 w 738946"/>
                <a:gd name="connsiteY39" fmla="*/ 634471 h 850417"/>
                <a:gd name="connsiteX40" fmla="*/ 261897 w 738946"/>
                <a:gd name="connsiteY40" fmla="*/ 634471 h 850417"/>
                <a:gd name="connsiteX41" fmla="*/ 245312 w 738946"/>
                <a:gd name="connsiteY41" fmla="*/ 843173 h 850417"/>
                <a:gd name="connsiteX42" fmla="*/ 381728 w 738946"/>
                <a:gd name="connsiteY42" fmla="*/ 843173 h 850417"/>
                <a:gd name="connsiteX43" fmla="*/ 393989 w 738946"/>
                <a:gd name="connsiteY43" fmla="*/ 634471 h 850417"/>
                <a:gd name="connsiteX44" fmla="*/ 389070 w 738946"/>
                <a:gd name="connsiteY44" fmla="*/ 843173 h 850417"/>
                <a:gd name="connsiteX45" fmla="*/ 529441 w 738946"/>
                <a:gd name="connsiteY45" fmla="*/ 843173 h 850417"/>
                <a:gd name="connsiteX46" fmla="*/ 522366 w 738946"/>
                <a:gd name="connsiteY46" fmla="*/ 634471 h 850417"/>
                <a:gd name="connsiteX47" fmla="*/ 400557 w 738946"/>
                <a:gd name="connsiteY47" fmla="*/ 355070 h 850417"/>
                <a:gd name="connsiteX48" fmla="*/ 395257 w 738946"/>
                <a:gd name="connsiteY48" fmla="*/ 580427 h 850417"/>
                <a:gd name="connsiteX49" fmla="*/ 520528 w 738946"/>
                <a:gd name="connsiteY49" fmla="*/ 580427 h 850417"/>
                <a:gd name="connsiteX50" fmla="*/ 512870 w 738946"/>
                <a:gd name="connsiteY50" fmla="*/ 355070 h 850417"/>
                <a:gd name="connsiteX51" fmla="*/ 284085 w 738946"/>
                <a:gd name="connsiteY51" fmla="*/ 355070 h 850417"/>
                <a:gd name="connsiteX52" fmla="*/ 266182 w 738946"/>
                <a:gd name="connsiteY52" fmla="*/ 580427 h 850417"/>
                <a:gd name="connsiteX53" fmla="*/ 387916 w 738946"/>
                <a:gd name="connsiteY53" fmla="*/ 580427 h 850417"/>
                <a:gd name="connsiteX54" fmla="*/ 393216 w 738946"/>
                <a:gd name="connsiteY54" fmla="*/ 355070 h 850417"/>
                <a:gd name="connsiteX55" fmla="*/ 296587 w 738946"/>
                <a:gd name="connsiteY55" fmla="*/ 105252 h 850417"/>
                <a:gd name="connsiteX56" fmla="*/ 207617 w 738946"/>
                <a:gd name="connsiteY56" fmla="*/ 105252 h 850417"/>
                <a:gd name="connsiteX57" fmla="*/ 176248 w 738946"/>
                <a:gd name="connsiteY57" fmla="*/ 301027 h 850417"/>
                <a:gd name="connsiteX58" fmla="*/ 281030 w 738946"/>
                <a:gd name="connsiteY58" fmla="*/ 301027 h 850417"/>
                <a:gd name="connsiteX59" fmla="*/ 288384 w 738946"/>
                <a:gd name="connsiteY59" fmla="*/ 301027 h 850417"/>
                <a:gd name="connsiteX60" fmla="*/ 394496 w 738946"/>
                <a:gd name="connsiteY60" fmla="*/ 301027 h 850417"/>
                <a:gd name="connsiteX61" fmla="*/ 399099 w 738946"/>
                <a:gd name="connsiteY61" fmla="*/ 105252 h 850417"/>
                <a:gd name="connsiteX62" fmla="*/ 303928 w 738946"/>
                <a:gd name="connsiteY62" fmla="*/ 105252 h 850417"/>
                <a:gd name="connsiteX63" fmla="*/ 406440 w 738946"/>
                <a:gd name="connsiteY63" fmla="*/ 105252 h 850417"/>
                <a:gd name="connsiteX64" fmla="*/ 401838 w 738946"/>
                <a:gd name="connsiteY64" fmla="*/ 301027 h 850417"/>
                <a:gd name="connsiteX65" fmla="*/ 511044 w 738946"/>
                <a:gd name="connsiteY65" fmla="*/ 301027 h 850417"/>
                <a:gd name="connsiteX66" fmla="*/ 504388 w 738946"/>
                <a:gd name="connsiteY66" fmla="*/ 105252 h 850417"/>
                <a:gd name="connsiteX67" fmla="*/ 623090 w 738946"/>
                <a:gd name="connsiteY67" fmla="*/ 580427 h 850417"/>
                <a:gd name="connsiteX68" fmla="*/ 695692 w 738946"/>
                <a:gd name="connsiteY68" fmla="*/ 580427 h 850417"/>
                <a:gd name="connsiteX69" fmla="*/ 668659 w 738946"/>
                <a:gd name="connsiteY69" fmla="*/ 355070 h 850417"/>
                <a:gd name="connsiteX70" fmla="*/ 603412 w 738946"/>
                <a:gd name="connsiteY70" fmla="*/ 355070 h 850417"/>
                <a:gd name="connsiteX71" fmla="*/ 596046 w 738946"/>
                <a:gd name="connsiteY71" fmla="*/ 355070 h 850417"/>
                <a:gd name="connsiteX72" fmla="*/ 520224 w 738946"/>
                <a:gd name="connsiteY72" fmla="*/ 355070 h 850417"/>
                <a:gd name="connsiteX73" fmla="*/ 527870 w 738946"/>
                <a:gd name="connsiteY73" fmla="*/ 580427 h 850417"/>
                <a:gd name="connsiteX74" fmla="*/ 615737 w 738946"/>
                <a:gd name="connsiteY74" fmla="*/ 580427 h 850417"/>
                <a:gd name="connsiteX75" fmla="*/ 735454 w 738946"/>
                <a:gd name="connsiteY75" fmla="*/ 850379 h 850417"/>
                <a:gd name="connsiteX76" fmla="*/ -3493 w 738946"/>
                <a:gd name="connsiteY76" fmla="*/ 850379 h 850417"/>
                <a:gd name="connsiteX77" fmla="*/ 129614 w 738946"/>
                <a:gd name="connsiteY77" fmla="*/ 73881 h 850417"/>
                <a:gd name="connsiteX78" fmla="*/ 192706 w 738946"/>
                <a:gd name="connsiteY78" fmla="*/ 4744 h 850417"/>
                <a:gd name="connsiteX79" fmla="*/ 195292 w 738946"/>
                <a:gd name="connsiteY79" fmla="*/ 4055 h 850417"/>
                <a:gd name="connsiteX80" fmla="*/ 201873 w 738946"/>
                <a:gd name="connsiteY80" fmla="*/ 2395 h 850417"/>
                <a:gd name="connsiteX81" fmla="*/ 216898 w 738946"/>
                <a:gd name="connsiteY81" fmla="*/ 695 h 850417"/>
                <a:gd name="connsiteX82" fmla="*/ 217025 w 738946"/>
                <a:gd name="connsiteY82" fmla="*/ -38 h 850417"/>
                <a:gd name="connsiteX83" fmla="*/ 220626 w 738946"/>
                <a:gd name="connsiteY83" fmla="*/ 517 h 850417"/>
                <a:gd name="connsiteX84" fmla="*/ 220651 w 738946"/>
                <a:gd name="connsiteY84" fmla="*/ 517 h 850417"/>
                <a:gd name="connsiteX85" fmla="*/ 549982 w 738946"/>
                <a:gd name="connsiteY85" fmla="*/ 517 h 850417"/>
                <a:gd name="connsiteX86" fmla="*/ 568075 w 738946"/>
                <a:gd name="connsiteY86" fmla="*/ 2280 h 850417"/>
                <a:gd name="connsiteX87" fmla="*/ 642845 w 738946"/>
                <a:gd name="connsiteY87" fmla="*/ 78181 h 850417"/>
                <a:gd name="connsiteX88" fmla="*/ 707002 w 738946"/>
                <a:gd name="connsiteY88" fmla="*/ 613192 h 850417"/>
                <a:gd name="connsiteX89" fmla="*/ 709905 w 738946"/>
                <a:gd name="connsiteY89" fmla="*/ 634471 h 850417"/>
                <a:gd name="connsiteX90" fmla="*/ 709563 w 738946"/>
                <a:gd name="connsiteY90" fmla="*/ 634471 h 850417"/>
                <a:gd name="connsiteX91" fmla="*/ 734972 w 738946"/>
                <a:gd name="connsiteY91" fmla="*/ 846355 h 850417"/>
                <a:gd name="connsiteX92" fmla="*/ 735454 w 738946"/>
                <a:gd name="connsiteY92" fmla="*/ 850379 h 850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738946" h="850417">
                  <a:moveTo>
                    <a:pt x="702171" y="634471"/>
                  </a:moveTo>
                  <a:lnTo>
                    <a:pt x="627807" y="634471"/>
                  </a:lnTo>
                  <a:lnTo>
                    <a:pt x="646040" y="843173"/>
                  </a:lnTo>
                  <a:lnTo>
                    <a:pt x="727200" y="843173"/>
                  </a:lnTo>
                  <a:close/>
                  <a:moveTo>
                    <a:pt x="638711" y="105252"/>
                  </a:moveTo>
                  <a:lnTo>
                    <a:pt x="581591" y="105252"/>
                  </a:lnTo>
                  <a:lnTo>
                    <a:pt x="598696" y="301027"/>
                  </a:lnTo>
                  <a:lnTo>
                    <a:pt x="662180" y="301027"/>
                  </a:lnTo>
                  <a:close/>
                  <a:moveTo>
                    <a:pt x="80634" y="843173"/>
                  </a:moveTo>
                  <a:cubicBezTo>
                    <a:pt x="83563" y="828090"/>
                    <a:pt x="97054" y="745960"/>
                    <a:pt x="115122" y="634471"/>
                  </a:cubicBezTo>
                  <a:lnTo>
                    <a:pt x="40948" y="634471"/>
                  </a:lnTo>
                  <a:lnTo>
                    <a:pt x="5167" y="843173"/>
                  </a:lnTo>
                  <a:close/>
                  <a:moveTo>
                    <a:pt x="529708" y="634471"/>
                  </a:moveTo>
                  <a:lnTo>
                    <a:pt x="536795" y="843173"/>
                  </a:lnTo>
                  <a:lnTo>
                    <a:pt x="638673" y="843173"/>
                  </a:lnTo>
                  <a:lnTo>
                    <a:pt x="620453" y="634471"/>
                  </a:lnTo>
                  <a:close/>
                  <a:moveTo>
                    <a:pt x="511741" y="105252"/>
                  </a:moveTo>
                  <a:lnTo>
                    <a:pt x="518385" y="301027"/>
                  </a:lnTo>
                  <a:lnTo>
                    <a:pt x="591329" y="301027"/>
                  </a:lnTo>
                  <a:lnTo>
                    <a:pt x="574237" y="105252"/>
                  </a:lnTo>
                  <a:close/>
                  <a:moveTo>
                    <a:pt x="168831" y="301027"/>
                  </a:moveTo>
                  <a:cubicBezTo>
                    <a:pt x="179697" y="233273"/>
                    <a:pt x="190398" y="166470"/>
                    <a:pt x="200199" y="105252"/>
                  </a:cubicBezTo>
                  <a:lnTo>
                    <a:pt x="131681" y="105252"/>
                  </a:lnTo>
                  <a:lnTo>
                    <a:pt x="98119" y="301027"/>
                  </a:lnTo>
                  <a:close/>
                  <a:moveTo>
                    <a:pt x="160158" y="355070"/>
                  </a:moveTo>
                  <a:lnTo>
                    <a:pt x="88850" y="355070"/>
                  </a:lnTo>
                  <a:lnTo>
                    <a:pt x="50217" y="580427"/>
                  </a:lnTo>
                  <a:lnTo>
                    <a:pt x="123870" y="580427"/>
                  </a:lnTo>
                  <a:cubicBezTo>
                    <a:pt x="135117" y="510786"/>
                    <a:pt x="147593" y="433259"/>
                    <a:pt x="160158" y="355070"/>
                  </a:cubicBezTo>
                  <a:close/>
                  <a:moveTo>
                    <a:pt x="258841" y="580427"/>
                  </a:moveTo>
                  <a:lnTo>
                    <a:pt x="276731" y="355070"/>
                  </a:lnTo>
                  <a:lnTo>
                    <a:pt x="167576" y="355070"/>
                  </a:lnTo>
                  <a:cubicBezTo>
                    <a:pt x="163911" y="377938"/>
                    <a:pt x="160184" y="401066"/>
                    <a:pt x="156469" y="424217"/>
                  </a:cubicBezTo>
                  <a:cubicBezTo>
                    <a:pt x="147910" y="477406"/>
                    <a:pt x="139352" y="530587"/>
                    <a:pt x="131300" y="580427"/>
                  </a:cubicBezTo>
                  <a:close/>
                  <a:moveTo>
                    <a:pt x="254543" y="634471"/>
                  </a:moveTo>
                  <a:lnTo>
                    <a:pt x="122552" y="634471"/>
                  </a:lnTo>
                  <a:cubicBezTo>
                    <a:pt x="117873" y="663290"/>
                    <a:pt x="113448" y="690574"/>
                    <a:pt x="109441" y="715123"/>
                  </a:cubicBezTo>
                  <a:cubicBezTo>
                    <a:pt x="95672" y="799507"/>
                    <a:pt x="90499" y="831236"/>
                    <a:pt x="87620" y="843173"/>
                  </a:cubicBezTo>
                  <a:lnTo>
                    <a:pt x="237958" y="843173"/>
                  </a:lnTo>
                  <a:close/>
                  <a:moveTo>
                    <a:pt x="386648" y="634471"/>
                  </a:moveTo>
                  <a:lnTo>
                    <a:pt x="261897" y="634471"/>
                  </a:lnTo>
                  <a:lnTo>
                    <a:pt x="245312" y="843173"/>
                  </a:lnTo>
                  <a:lnTo>
                    <a:pt x="381728" y="843173"/>
                  </a:lnTo>
                  <a:close/>
                  <a:moveTo>
                    <a:pt x="393989" y="634471"/>
                  </a:moveTo>
                  <a:lnTo>
                    <a:pt x="389070" y="843173"/>
                  </a:lnTo>
                  <a:lnTo>
                    <a:pt x="529441" y="843173"/>
                  </a:lnTo>
                  <a:lnTo>
                    <a:pt x="522366" y="634471"/>
                  </a:lnTo>
                  <a:close/>
                  <a:moveTo>
                    <a:pt x="400557" y="355070"/>
                  </a:moveTo>
                  <a:lnTo>
                    <a:pt x="395257" y="580427"/>
                  </a:lnTo>
                  <a:lnTo>
                    <a:pt x="520528" y="580427"/>
                  </a:lnTo>
                  <a:lnTo>
                    <a:pt x="512870" y="355070"/>
                  </a:lnTo>
                  <a:close/>
                  <a:moveTo>
                    <a:pt x="284085" y="355070"/>
                  </a:moveTo>
                  <a:lnTo>
                    <a:pt x="266182" y="580427"/>
                  </a:lnTo>
                  <a:lnTo>
                    <a:pt x="387916" y="580427"/>
                  </a:lnTo>
                  <a:lnTo>
                    <a:pt x="393216" y="355070"/>
                  </a:lnTo>
                  <a:close/>
                  <a:moveTo>
                    <a:pt x="296587" y="105252"/>
                  </a:moveTo>
                  <a:lnTo>
                    <a:pt x="207617" y="105252"/>
                  </a:lnTo>
                  <a:cubicBezTo>
                    <a:pt x="199160" y="158095"/>
                    <a:pt x="188167" y="226801"/>
                    <a:pt x="176248" y="301027"/>
                  </a:cubicBezTo>
                  <a:lnTo>
                    <a:pt x="281030" y="301027"/>
                  </a:lnTo>
                  <a:close/>
                  <a:moveTo>
                    <a:pt x="288384" y="301027"/>
                  </a:moveTo>
                  <a:lnTo>
                    <a:pt x="394496" y="301027"/>
                  </a:lnTo>
                  <a:lnTo>
                    <a:pt x="399099" y="105252"/>
                  </a:lnTo>
                  <a:lnTo>
                    <a:pt x="303928" y="105252"/>
                  </a:lnTo>
                  <a:close/>
                  <a:moveTo>
                    <a:pt x="406440" y="105252"/>
                  </a:moveTo>
                  <a:lnTo>
                    <a:pt x="401838" y="301027"/>
                  </a:lnTo>
                  <a:lnTo>
                    <a:pt x="511044" y="301027"/>
                  </a:lnTo>
                  <a:lnTo>
                    <a:pt x="504388" y="105252"/>
                  </a:lnTo>
                  <a:close/>
                  <a:moveTo>
                    <a:pt x="623090" y="580427"/>
                  </a:moveTo>
                  <a:lnTo>
                    <a:pt x="695692" y="580427"/>
                  </a:lnTo>
                  <a:lnTo>
                    <a:pt x="668659" y="355070"/>
                  </a:lnTo>
                  <a:lnTo>
                    <a:pt x="603412" y="355070"/>
                  </a:lnTo>
                  <a:close/>
                  <a:moveTo>
                    <a:pt x="596046" y="355070"/>
                  </a:moveTo>
                  <a:lnTo>
                    <a:pt x="520224" y="355070"/>
                  </a:lnTo>
                  <a:lnTo>
                    <a:pt x="527870" y="580427"/>
                  </a:lnTo>
                  <a:lnTo>
                    <a:pt x="615737" y="580427"/>
                  </a:lnTo>
                  <a:close/>
                  <a:moveTo>
                    <a:pt x="735454" y="850379"/>
                  </a:moveTo>
                  <a:lnTo>
                    <a:pt x="-3493" y="850379"/>
                  </a:lnTo>
                  <a:lnTo>
                    <a:pt x="129614" y="73881"/>
                  </a:lnTo>
                  <a:cubicBezTo>
                    <a:pt x="135434" y="39955"/>
                    <a:pt x="160513" y="13827"/>
                    <a:pt x="192706" y="4744"/>
                  </a:cubicBezTo>
                  <a:lnTo>
                    <a:pt x="195292" y="4055"/>
                  </a:lnTo>
                  <a:cubicBezTo>
                    <a:pt x="197486" y="3500"/>
                    <a:pt x="199616" y="2776"/>
                    <a:pt x="201873" y="2395"/>
                  </a:cubicBezTo>
                  <a:cubicBezTo>
                    <a:pt x="206742" y="1404"/>
                    <a:pt x="211775" y="898"/>
                    <a:pt x="216898" y="695"/>
                  </a:cubicBezTo>
                  <a:lnTo>
                    <a:pt x="217025" y="-38"/>
                  </a:lnTo>
                  <a:lnTo>
                    <a:pt x="220626" y="517"/>
                  </a:lnTo>
                  <a:lnTo>
                    <a:pt x="220651" y="517"/>
                  </a:lnTo>
                  <a:lnTo>
                    <a:pt x="549982" y="517"/>
                  </a:lnTo>
                  <a:cubicBezTo>
                    <a:pt x="556182" y="517"/>
                    <a:pt x="562230" y="1141"/>
                    <a:pt x="568075" y="2280"/>
                  </a:cubicBezTo>
                  <a:cubicBezTo>
                    <a:pt x="606975" y="8168"/>
                    <a:pt x="638103" y="38702"/>
                    <a:pt x="642845" y="78181"/>
                  </a:cubicBezTo>
                  <a:lnTo>
                    <a:pt x="707002" y="613192"/>
                  </a:lnTo>
                  <a:lnTo>
                    <a:pt x="709905" y="634471"/>
                  </a:lnTo>
                  <a:lnTo>
                    <a:pt x="709563" y="634471"/>
                  </a:lnTo>
                  <a:lnTo>
                    <a:pt x="734972" y="846355"/>
                  </a:lnTo>
                  <a:lnTo>
                    <a:pt x="735454" y="850379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8" name="Vrije vorm 567">
              <a:extLst>
                <a:ext uri="{FF2B5EF4-FFF2-40B4-BE49-F238E27FC236}">
                  <a16:creationId xmlns:a16="http://schemas.microsoft.com/office/drawing/2014/main" id="{1E628E75-4817-D6AF-8DFF-3A11800ABDF5}"/>
                </a:ext>
              </a:extLst>
            </p:cNvPr>
            <p:cNvSpPr/>
            <p:nvPr/>
          </p:nvSpPr>
          <p:spPr>
            <a:xfrm flipV="1">
              <a:off x="4561092" y="5616490"/>
              <a:ext cx="5825202" cy="2230"/>
            </a:xfrm>
            <a:custGeom>
              <a:avLst/>
              <a:gdLst>
                <a:gd name="connsiteX0" fmla="*/ 5823212 w 5825202"/>
                <a:gd name="connsiteY0" fmla="*/ 1455 h 2230"/>
                <a:gd name="connsiteX1" fmla="*/ 2910750 w 5825202"/>
                <a:gd name="connsiteY1" fmla="*/ 340 h 2230"/>
                <a:gd name="connsiteX2" fmla="*/ -1991 w 5825202"/>
                <a:gd name="connsiteY2" fmla="*/ 1455 h 2230"/>
                <a:gd name="connsiteX3" fmla="*/ 2910750 w 5825202"/>
                <a:gd name="connsiteY3" fmla="*/ 2570 h 2230"/>
                <a:gd name="connsiteX4" fmla="*/ 5823212 w 5825202"/>
                <a:gd name="connsiteY4" fmla="*/ 1455 h 2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25202" h="2230">
                  <a:moveTo>
                    <a:pt x="5823212" y="1455"/>
                  </a:moveTo>
                  <a:cubicBezTo>
                    <a:pt x="5823212" y="836"/>
                    <a:pt x="4519100" y="340"/>
                    <a:pt x="2910750" y="340"/>
                  </a:cubicBezTo>
                  <a:cubicBezTo>
                    <a:pt x="1301855" y="340"/>
                    <a:pt x="-1991" y="836"/>
                    <a:pt x="-1991" y="1455"/>
                  </a:cubicBezTo>
                  <a:cubicBezTo>
                    <a:pt x="-1991" y="2064"/>
                    <a:pt x="1301855" y="2570"/>
                    <a:pt x="2910750" y="2570"/>
                  </a:cubicBezTo>
                  <a:cubicBezTo>
                    <a:pt x="4519100" y="2570"/>
                    <a:pt x="5823212" y="2064"/>
                    <a:pt x="5823212" y="1455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47" name="Vrije vorm 746">
              <a:extLst>
                <a:ext uri="{FF2B5EF4-FFF2-40B4-BE49-F238E27FC236}">
                  <a16:creationId xmlns:a16="http://schemas.microsoft.com/office/drawing/2014/main" id="{063D7D84-BC20-3430-AACB-5ED0F8F38275}"/>
                </a:ext>
              </a:extLst>
            </p:cNvPr>
            <p:cNvSpPr/>
            <p:nvPr/>
          </p:nvSpPr>
          <p:spPr>
            <a:xfrm flipV="1">
              <a:off x="4806340" y="1672441"/>
              <a:ext cx="613939" cy="585974"/>
            </a:xfrm>
            <a:custGeom>
              <a:avLst/>
              <a:gdLst>
                <a:gd name="connsiteX0" fmla="*/ 613562 w 613939"/>
                <a:gd name="connsiteY0" fmla="*/ 120470 h 585974"/>
                <a:gd name="connsiteX1" fmla="*/ 570036 w 613939"/>
                <a:gd name="connsiteY1" fmla="*/ 196888 h 585974"/>
                <a:gd name="connsiteX2" fmla="*/ 577693 w 613939"/>
                <a:gd name="connsiteY2" fmla="*/ 356131 h 585974"/>
                <a:gd name="connsiteX3" fmla="*/ 226429 w 613939"/>
                <a:gd name="connsiteY3" fmla="*/ 575440 h 585974"/>
                <a:gd name="connsiteX4" fmla="*/ 7231 w 613939"/>
                <a:gd name="connsiteY4" fmla="*/ 223998 h 585974"/>
                <a:gd name="connsiteX5" fmla="*/ 358496 w 613939"/>
                <a:gd name="connsiteY5" fmla="*/ 4689 h 585974"/>
                <a:gd name="connsiteX6" fmla="*/ 519224 w 613939"/>
                <a:gd name="connsiteY6" fmla="*/ 104880 h 585974"/>
                <a:gd name="connsiteX7" fmla="*/ 519156 w 613939"/>
                <a:gd name="connsiteY7" fmla="*/ 104727 h 585974"/>
                <a:gd name="connsiteX8" fmla="*/ 613562 w 613939"/>
                <a:gd name="connsiteY8" fmla="*/ 120470 h 585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3939" h="585974">
                  <a:moveTo>
                    <a:pt x="613562" y="120470"/>
                  </a:moveTo>
                  <a:lnTo>
                    <a:pt x="570036" y="196888"/>
                  </a:lnTo>
                  <a:cubicBezTo>
                    <a:pt x="586741" y="246565"/>
                    <a:pt x="590373" y="301329"/>
                    <a:pt x="577693" y="356131"/>
                  </a:cubicBezTo>
                  <a:cubicBezTo>
                    <a:pt x="541220" y="513737"/>
                    <a:pt x="383958" y="611924"/>
                    <a:pt x="226429" y="575440"/>
                  </a:cubicBezTo>
                  <a:cubicBezTo>
                    <a:pt x="68899" y="538956"/>
                    <a:pt x="-29237" y="381604"/>
                    <a:pt x="7231" y="223998"/>
                  </a:cubicBezTo>
                  <a:cubicBezTo>
                    <a:pt x="43699" y="66392"/>
                    <a:pt x="200961" y="-31795"/>
                    <a:pt x="358496" y="4689"/>
                  </a:cubicBezTo>
                  <a:cubicBezTo>
                    <a:pt x="424270" y="19924"/>
                    <a:pt x="479632" y="56281"/>
                    <a:pt x="519224" y="104880"/>
                  </a:cubicBezTo>
                  <a:lnTo>
                    <a:pt x="519156" y="104727"/>
                  </a:lnTo>
                  <a:lnTo>
                    <a:pt x="613562" y="120470"/>
                  </a:ln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48" name="Vrije vorm 747">
              <a:extLst>
                <a:ext uri="{FF2B5EF4-FFF2-40B4-BE49-F238E27FC236}">
                  <a16:creationId xmlns:a16="http://schemas.microsoft.com/office/drawing/2014/main" id="{729757CB-5EF4-E510-8DFB-878456A7E83F}"/>
                </a:ext>
              </a:extLst>
            </p:cNvPr>
            <p:cNvSpPr/>
            <p:nvPr/>
          </p:nvSpPr>
          <p:spPr>
            <a:xfrm flipV="1">
              <a:off x="4803409" y="1669452"/>
              <a:ext cx="616880" cy="591181"/>
            </a:xfrm>
            <a:custGeom>
              <a:avLst/>
              <a:gdLst>
                <a:gd name="connsiteX0" fmla="*/ 616494 w 616880"/>
                <a:gd name="connsiteY0" fmla="*/ 122689 h 591181"/>
                <a:gd name="connsiteX1" fmla="*/ 610719 w 616880"/>
                <a:gd name="connsiteY1" fmla="*/ 121496 h 591181"/>
                <a:gd name="connsiteX2" fmla="*/ 592934 w 616880"/>
                <a:gd name="connsiteY2" fmla="*/ 118198 h 591181"/>
                <a:gd name="connsiteX3" fmla="*/ 522325 w 616880"/>
                <a:gd name="connsiteY3" fmla="*/ 105551 h 591181"/>
                <a:gd name="connsiteX4" fmla="*/ 520686 w 616880"/>
                <a:gd name="connsiteY4" fmla="*/ 106692 h 591181"/>
                <a:gd name="connsiteX5" fmla="*/ 520800 w 616880"/>
                <a:gd name="connsiteY5" fmla="*/ 107542 h 591181"/>
                <a:gd name="connsiteX6" fmla="*/ 520865 w 616880"/>
                <a:gd name="connsiteY6" fmla="*/ 107695 h 591181"/>
                <a:gd name="connsiteX7" fmla="*/ 523257 w 616880"/>
                <a:gd name="connsiteY7" fmla="*/ 106198 h 591181"/>
                <a:gd name="connsiteX8" fmla="*/ 407762 w 616880"/>
                <a:gd name="connsiteY8" fmla="*/ 19428 h 591181"/>
                <a:gd name="connsiteX9" fmla="*/ 316066 w 616880"/>
                <a:gd name="connsiteY9" fmla="*/ -2099 h 591181"/>
                <a:gd name="connsiteX10" fmla="*/ 210238 w 616880"/>
                <a:gd name="connsiteY10" fmla="*/ 9330 h 591181"/>
                <a:gd name="connsiteX11" fmla="*/ 106862 w 616880"/>
                <a:gd name="connsiteY11" fmla="*/ 64665 h 591181"/>
                <a:gd name="connsiteX12" fmla="*/ 28722 w 616880"/>
                <a:gd name="connsiteY12" fmla="*/ 164234 h 591181"/>
                <a:gd name="connsiteX13" fmla="*/ 34452 w 616880"/>
                <a:gd name="connsiteY13" fmla="*/ 431660 h 591181"/>
                <a:gd name="connsiteX14" fmla="*/ 130051 w 616880"/>
                <a:gd name="connsiteY14" fmla="*/ 537686 h 591181"/>
                <a:gd name="connsiteX15" fmla="*/ 257528 w 616880"/>
                <a:gd name="connsiteY15" fmla="*/ 585904 h 591181"/>
                <a:gd name="connsiteX16" fmla="*/ 385171 w 616880"/>
                <a:gd name="connsiteY16" fmla="*/ 573942 h 591181"/>
                <a:gd name="connsiteX17" fmla="*/ 488478 w 616880"/>
                <a:gd name="connsiteY17" fmla="*/ 515740 h 591181"/>
                <a:gd name="connsiteX18" fmla="*/ 586049 w 616880"/>
                <a:gd name="connsiteY18" fmla="*/ 342100 h 591181"/>
                <a:gd name="connsiteX19" fmla="*/ 574261 w 616880"/>
                <a:gd name="connsiteY19" fmla="*/ 198676 h 591181"/>
                <a:gd name="connsiteX20" fmla="*/ 574157 w 616880"/>
                <a:gd name="connsiteY20" fmla="*/ 199792 h 591181"/>
                <a:gd name="connsiteX21" fmla="*/ 606034 w 616880"/>
                <a:gd name="connsiteY21" fmla="*/ 142123 h 591181"/>
                <a:gd name="connsiteX22" fmla="*/ 614003 w 616880"/>
                <a:gd name="connsiteY22" fmla="*/ 127509 h 591181"/>
                <a:gd name="connsiteX23" fmla="*/ 616494 w 616880"/>
                <a:gd name="connsiteY23" fmla="*/ 122689 h 591181"/>
                <a:gd name="connsiteX24" fmla="*/ 613335 w 616880"/>
                <a:gd name="connsiteY24" fmla="*/ 127788 h 591181"/>
                <a:gd name="connsiteX25" fmla="*/ 604642 w 616880"/>
                <a:gd name="connsiteY25" fmla="*/ 142428 h 591181"/>
                <a:gd name="connsiteX26" fmla="*/ 571774 w 616880"/>
                <a:gd name="connsiteY26" fmla="*/ 198435 h 591181"/>
                <a:gd name="connsiteX27" fmla="*/ 571671 w 616880"/>
                <a:gd name="connsiteY27" fmla="*/ 199551 h 591181"/>
                <a:gd name="connsiteX28" fmla="*/ 581809 w 616880"/>
                <a:gd name="connsiteY28" fmla="*/ 341376 h 591181"/>
                <a:gd name="connsiteX29" fmla="*/ 484867 w 616880"/>
                <a:gd name="connsiteY29" fmla="*/ 511567 h 591181"/>
                <a:gd name="connsiteX30" fmla="*/ 383349 w 616880"/>
                <a:gd name="connsiteY30" fmla="*/ 568233 h 591181"/>
                <a:gd name="connsiteX31" fmla="*/ 258340 w 616880"/>
                <a:gd name="connsiteY31" fmla="*/ 579638 h 591181"/>
                <a:gd name="connsiteX32" fmla="*/ 133701 w 616880"/>
                <a:gd name="connsiteY32" fmla="*/ 532270 h 591181"/>
                <a:gd name="connsiteX33" fmla="*/ 40277 w 616880"/>
                <a:gd name="connsiteY33" fmla="*/ 428552 h 591181"/>
                <a:gd name="connsiteX34" fmla="*/ 34428 w 616880"/>
                <a:gd name="connsiteY34" fmla="*/ 166962 h 591181"/>
                <a:gd name="connsiteX35" fmla="*/ 211847 w 616880"/>
                <a:gd name="connsiteY35" fmla="*/ 14646 h 591181"/>
                <a:gd name="connsiteX36" fmla="*/ 315708 w 616880"/>
                <a:gd name="connsiteY36" fmla="*/ 2899 h 591181"/>
                <a:gd name="connsiteX37" fmla="*/ 406097 w 616880"/>
                <a:gd name="connsiteY37" fmla="*/ 23475 h 591181"/>
                <a:gd name="connsiteX38" fmla="*/ 521052 w 616880"/>
                <a:gd name="connsiteY38" fmla="*/ 107999 h 591181"/>
                <a:gd name="connsiteX39" fmla="*/ 523054 w 616880"/>
                <a:gd name="connsiteY39" fmla="*/ 108215 h 591181"/>
                <a:gd name="connsiteX40" fmla="*/ 523450 w 616880"/>
                <a:gd name="connsiteY40" fmla="*/ 106502 h 591181"/>
                <a:gd name="connsiteX41" fmla="*/ 523380 w 616880"/>
                <a:gd name="connsiteY41" fmla="*/ 106363 h 591181"/>
                <a:gd name="connsiteX42" fmla="*/ 521855 w 616880"/>
                <a:gd name="connsiteY42" fmla="*/ 108354 h 591181"/>
                <a:gd name="connsiteX43" fmla="*/ 591775 w 616880"/>
                <a:gd name="connsiteY43" fmla="*/ 119124 h 591181"/>
                <a:gd name="connsiteX44" fmla="*/ 610061 w 616880"/>
                <a:gd name="connsiteY44" fmla="*/ 121852 h 591181"/>
                <a:gd name="connsiteX45" fmla="*/ 616494 w 616880"/>
                <a:gd name="connsiteY45" fmla="*/ 122689 h 59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16880" h="591181">
                  <a:moveTo>
                    <a:pt x="616494" y="122689"/>
                  </a:moveTo>
                  <a:cubicBezTo>
                    <a:pt x="616608" y="122638"/>
                    <a:pt x="614666" y="122232"/>
                    <a:pt x="610719" y="121496"/>
                  </a:cubicBezTo>
                  <a:cubicBezTo>
                    <a:pt x="606405" y="120697"/>
                    <a:pt x="600516" y="119606"/>
                    <a:pt x="592934" y="118198"/>
                  </a:cubicBezTo>
                  <a:cubicBezTo>
                    <a:pt x="576570" y="115268"/>
                    <a:pt x="552939" y="111031"/>
                    <a:pt x="522325" y="105551"/>
                  </a:cubicBezTo>
                  <a:lnTo>
                    <a:pt x="520686" y="106692"/>
                  </a:lnTo>
                  <a:lnTo>
                    <a:pt x="520800" y="107542"/>
                  </a:lnTo>
                  <a:lnTo>
                    <a:pt x="520865" y="107695"/>
                  </a:lnTo>
                  <a:lnTo>
                    <a:pt x="523257" y="106198"/>
                  </a:lnTo>
                  <a:cubicBezTo>
                    <a:pt x="499547" y="76767"/>
                    <a:pt x="462140" y="42085"/>
                    <a:pt x="407762" y="19428"/>
                  </a:cubicBezTo>
                  <a:cubicBezTo>
                    <a:pt x="380793" y="7922"/>
                    <a:pt x="349650" y="400"/>
                    <a:pt x="316066" y="-2099"/>
                  </a:cubicBezTo>
                  <a:cubicBezTo>
                    <a:pt x="282519" y="-4624"/>
                    <a:pt x="246289" y="-1491"/>
                    <a:pt x="210238" y="9330"/>
                  </a:cubicBezTo>
                  <a:cubicBezTo>
                    <a:pt x="174231" y="20075"/>
                    <a:pt x="138481" y="38507"/>
                    <a:pt x="106862" y="64665"/>
                  </a:cubicBezTo>
                  <a:cubicBezTo>
                    <a:pt x="75254" y="90747"/>
                    <a:pt x="47849" y="124617"/>
                    <a:pt x="28722" y="164234"/>
                  </a:cubicBezTo>
                  <a:cubicBezTo>
                    <a:pt x="-10163" y="242910"/>
                    <a:pt x="-11851" y="346349"/>
                    <a:pt x="34452" y="431660"/>
                  </a:cubicBezTo>
                  <a:cubicBezTo>
                    <a:pt x="57680" y="474791"/>
                    <a:pt x="90667" y="511833"/>
                    <a:pt x="130051" y="537686"/>
                  </a:cubicBezTo>
                  <a:cubicBezTo>
                    <a:pt x="169125" y="563933"/>
                    <a:pt x="213373" y="580043"/>
                    <a:pt x="257528" y="585904"/>
                  </a:cubicBezTo>
                  <a:cubicBezTo>
                    <a:pt x="301766" y="591613"/>
                    <a:pt x="345703" y="586678"/>
                    <a:pt x="385171" y="573942"/>
                  </a:cubicBezTo>
                  <a:cubicBezTo>
                    <a:pt x="424721" y="561206"/>
                    <a:pt x="459820" y="540642"/>
                    <a:pt x="488478" y="515740"/>
                  </a:cubicBezTo>
                  <a:cubicBezTo>
                    <a:pt x="546129" y="465632"/>
                    <a:pt x="576732" y="399832"/>
                    <a:pt x="586049" y="342100"/>
                  </a:cubicBezTo>
                  <a:cubicBezTo>
                    <a:pt x="595816" y="283834"/>
                    <a:pt x="586430" y="233840"/>
                    <a:pt x="574261" y="198676"/>
                  </a:cubicBezTo>
                  <a:lnTo>
                    <a:pt x="574157" y="199792"/>
                  </a:lnTo>
                  <a:cubicBezTo>
                    <a:pt x="587946" y="174852"/>
                    <a:pt x="598619" y="155545"/>
                    <a:pt x="606034" y="142123"/>
                  </a:cubicBezTo>
                  <a:cubicBezTo>
                    <a:pt x="609422" y="135920"/>
                    <a:pt x="612056" y="131074"/>
                    <a:pt x="614003" y="127509"/>
                  </a:cubicBezTo>
                  <a:cubicBezTo>
                    <a:pt x="615761" y="124262"/>
                    <a:pt x="616603" y="122638"/>
                    <a:pt x="616494" y="122689"/>
                  </a:cubicBezTo>
                  <a:cubicBezTo>
                    <a:pt x="616385" y="122740"/>
                    <a:pt x="615320" y="124465"/>
                    <a:pt x="613335" y="127788"/>
                  </a:cubicBezTo>
                  <a:cubicBezTo>
                    <a:pt x="611215" y="131353"/>
                    <a:pt x="608336" y="136199"/>
                    <a:pt x="604642" y="142428"/>
                  </a:cubicBezTo>
                  <a:cubicBezTo>
                    <a:pt x="597000" y="155456"/>
                    <a:pt x="585994" y="174205"/>
                    <a:pt x="571774" y="198435"/>
                  </a:cubicBezTo>
                  <a:lnTo>
                    <a:pt x="571671" y="199551"/>
                  </a:lnTo>
                  <a:cubicBezTo>
                    <a:pt x="583186" y="234576"/>
                    <a:pt x="591893" y="284037"/>
                    <a:pt x="581809" y="341376"/>
                  </a:cubicBezTo>
                  <a:cubicBezTo>
                    <a:pt x="572161" y="398208"/>
                    <a:pt x="541651" y="462638"/>
                    <a:pt x="484867" y="511567"/>
                  </a:cubicBezTo>
                  <a:cubicBezTo>
                    <a:pt x="456637" y="535860"/>
                    <a:pt x="422135" y="555890"/>
                    <a:pt x="383349" y="568233"/>
                  </a:cubicBezTo>
                  <a:cubicBezTo>
                    <a:pt x="344638" y="580589"/>
                    <a:pt x="301633" y="585321"/>
                    <a:pt x="258340" y="579638"/>
                  </a:cubicBezTo>
                  <a:cubicBezTo>
                    <a:pt x="215131" y="573802"/>
                    <a:pt x="171879" y="557971"/>
                    <a:pt x="133701" y="532270"/>
                  </a:cubicBezTo>
                  <a:cubicBezTo>
                    <a:pt x="95213" y="506962"/>
                    <a:pt x="62990" y="470719"/>
                    <a:pt x="40277" y="428552"/>
                  </a:cubicBezTo>
                  <a:cubicBezTo>
                    <a:pt x="-4983" y="345144"/>
                    <a:pt x="-3462" y="244065"/>
                    <a:pt x="34428" y="166962"/>
                  </a:cubicBezTo>
                  <a:cubicBezTo>
                    <a:pt x="71718" y="88844"/>
                    <a:pt x="141349" y="35551"/>
                    <a:pt x="211847" y="14646"/>
                  </a:cubicBezTo>
                  <a:cubicBezTo>
                    <a:pt x="247167" y="3875"/>
                    <a:pt x="282718" y="615"/>
                    <a:pt x="315708" y="2899"/>
                  </a:cubicBezTo>
                  <a:cubicBezTo>
                    <a:pt x="348734" y="5157"/>
                    <a:pt x="379452" y="12349"/>
                    <a:pt x="406097" y="23475"/>
                  </a:cubicBezTo>
                  <a:cubicBezTo>
                    <a:pt x="459836" y="45370"/>
                    <a:pt x="497136" y="79190"/>
                    <a:pt x="521052" y="107999"/>
                  </a:cubicBezTo>
                  <a:lnTo>
                    <a:pt x="523054" y="108215"/>
                  </a:lnTo>
                  <a:lnTo>
                    <a:pt x="523450" y="106502"/>
                  </a:lnTo>
                  <a:lnTo>
                    <a:pt x="523380" y="106363"/>
                  </a:lnTo>
                  <a:lnTo>
                    <a:pt x="521855" y="108354"/>
                  </a:lnTo>
                  <a:cubicBezTo>
                    <a:pt x="552171" y="113023"/>
                    <a:pt x="575573" y="116625"/>
                    <a:pt x="591775" y="119124"/>
                  </a:cubicBezTo>
                  <a:cubicBezTo>
                    <a:pt x="599570" y="120291"/>
                    <a:pt x="605623" y="121192"/>
                    <a:pt x="610061" y="121852"/>
                  </a:cubicBezTo>
                  <a:cubicBezTo>
                    <a:pt x="614206" y="122461"/>
                    <a:pt x="616494" y="122689"/>
                    <a:pt x="616494" y="122689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49" name="Vrije vorm 748">
              <a:extLst>
                <a:ext uri="{FF2B5EF4-FFF2-40B4-BE49-F238E27FC236}">
                  <a16:creationId xmlns:a16="http://schemas.microsoft.com/office/drawing/2014/main" id="{A92C6401-52CF-604F-FB85-705A1325898D}"/>
                </a:ext>
              </a:extLst>
            </p:cNvPr>
            <p:cNvSpPr/>
            <p:nvPr/>
          </p:nvSpPr>
          <p:spPr>
            <a:xfrm flipV="1">
              <a:off x="4957863" y="1935452"/>
              <a:ext cx="59483" cy="59520"/>
            </a:xfrm>
            <a:custGeom>
              <a:avLst/>
              <a:gdLst>
                <a:gd name="connsiteX0" fmla="*/ 59192 w 59483"/>
                <a:gd name="connsiteY0" fmla="*/ 26838 h 59520"/>
                <a:gd name="connsiteX1" fmla="*/ 29450 w 59483"/>
                <a:gd name="connsiteY1" fmla="*/ -2923 h 59520"/>
                <a:gd name="connsiteX2" fmla="*/ -292 w 59483"/>
                <a:gd name="connsiteY2" fmla="*/ 26838 h 59520"/>
                <a:gd name="connsiteX3" fmla="*/ 29450 w 59483"/>
                <a:gd name="connsiteY3" fmla="*/ 56598 h 59520"/>
                <a:gd name="connsiteX4" fmla="*/ 59192 w 59483"/>
                <a:gd name="connsiteY4" fmla="*/ 26838 h 5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83" h="59520">
                  <a:moveTo>
                    <a:pt x="59192" y="26838"/>
                  </a:moveTo>
                  <a:cubicBezTo>
                    <a:pt x="59192" y="10410"/>
                    <a:pt x="45879" y="-2923"/>
                    <a:pt x="29450" y="-2923"/>
                  </a:cubicBezTo>
                  <a:cubicBezTo>
                    <a:pt x="13022" y="-2923"/>
                    <a:pt x="-292" y="10410"/>
                    <a:pt x="-292" y="26838"/>
                  </a:cubicBezTo>
                  <a:cubicBezTo>
                    <a:pt x="-292" y="43278"/>
                    <a:pt x="13022" y="56598"/>
                    <a:pt x="29450" y="56598"/>
                  </a:cubicBezTo>
                  <a:cubicBezTo>
                    <a:pt x="45879" y="56598"/>
                    <a:pt x="59192" y="43278"/>
                    <a:pt x="59192" y="26838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0" name="Vrije vorm 749">
              <a:extLst>
                <a:ext uri="{FF2B5EF4-FFF2-40B4-BE49-F238E27FC236}">
                  <a16:creationId xmlns:a16="http://schemas.microsoft.com/office/drawing/2014/main" id="{BB1902D3-1A3B-B401-60CC-A03AB957ACC6}"/>
                </a:ext>
              </a:extLst>
            </p:cNvPr>
            <p:cNvSpPr/>
            <p:nvPr/>
          </p:nvSpPr>
          <p:spPr>
            <a:xfrm flipV="1">
              <a:off x="5076885" y="1935452"/>
              <a:ext cx="59488" cy="59520"/>
            </a:xfrm>
            <a:custGeom>
              <a:avLst/>
              <a:gdLst>
                <a:gd name="connsiteX0" fmla="*/ 59116 w 59488"/>
                <a:gd name="connsiteY0" fmla="*/ 26838 h 59520"/>
                <a:gd name="connsiteX1" fmla="*/ 29374 w 59488"/>
                <a:gd name="connsiteY1" fmla="*/ -2923 h 59520"/>
                <a:gd name="connsiteX2" fmla="*/ -373 w 59488"/>
                <a:gd name="connsiteY2" fmla="*/ 26838 h 59520"/>
                <a:gd name="connsiteX3" fmla="*/ 29374 w 59488"/>
                <a:gd name="connsiteY3" fmla="*/ 56598 h 59520"/>
                <a:gd name="connsiteX4" fmla="*/ 59116 w 59488"/>
                <a:gd name="connsiteY4" fmla="*/ 26838 h 5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88" h="59520">
                  <a:moveTo>
                    <a:pt x="59116" y="26838"/>
                  </a:moveTo>
                  <a:cubicBezTo>
                    <a:pt x="59116" y="10410"/>
                    <a:pt x="45797" y="-2923"/>
                    <a:pt x="29374" y="-2923"/>
                  </a:cubicBezTo>
                  <a:cubicBezTo>
                    <a:pt x="12945" y="-2923"/>
                    <a:pt x="-373" y="10410"/>
                    <a:pt x="-373" y="26838"/>
                  </a:cubicBezTo>
                  <a:cubicBezTo>
                    <a:pt x="-373" y="43278"/>
                    <a:pt x="12945" y="56598"/>
                    <a:pt x="29374" y="56598"/>
                  </a:cubicBezTo>
                  <a:cubicBezTo>
                    <a:pt x="45797" y="56598"/>
                    <a:pt x="59116" y="43278"/>
                    <a:pt x="59116" y="26838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1" name="Vrije vorm 750">
              <a:extLst>
                <a:ext uri="{FF2B5EF4-FFF2-40B4-BE49-F238E27FC236}">
                  <a16:creationId xmlns:a16="http://schemas.microsoft.com/office/drawing/2014/main" id="{CFD2FDCF-80D3-CAAD-3F7F-023EE9D8EB5B}"/>
                </a:ext>
              </a:extLst>
            </p:cNvPr>
            <p:cNvSpPr/>
            <p:nvPr/>
          </p:nvSpPr>
          <p:spPr>
            <a:xfrm flipV="1">
              <a:off x="5199589" y="1935449"/>
              <a:ext cx="59495" cy="59523"/>
            </a:xfrm>
            <a:custGeom>
              <a:avLst/>
              <a:gdLst>
                <a:gd name="connsiteX0" fmla="*/ 55047 w 59495"/>
                <a:gd name="connsiteY0" fmla="*/ 41717 h 59523"/>
                <a:gd name="connsiteX1" fmla="*/ 44161 w 59495"/>
                <a:gd name="connsiteY1" fmla="*/ 1072 h 59523"/>
                <a:gd name="connsiteX2" fmla="*/ 3532 w 59495"/>
                <a:gd name="connsiteY2" fmla="*/ 11957 h 59523"/>
                <a:gd name="connsiteX3" fmla="*/ 14419 w 59495"/>
                <a:gd name="connsiteY3" fmla="*/ 52614 h 59523"/>
                <a:gd name="connsiteX4" fmla="*/ 55047 w 59495"/>
                <a:gd name="connsiteY4" fmla="*/ 41717 h 59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95" h="59523">
                  <a:moveTo>
                    <a:pt x="55047" y="41717"/>
                  </a:moveTo>
                  <a:cubicBezTo>
                    <a:pt x="63263" y="27484"/>
                    <a:pt x="58389" y="9293"/>
                    <a:pt x="44161" y="1072"/>
                  </a:cubicBezTo>
                  <a:cubicBezTo>
                    <a:pt x="29936" y="-7148"/>
                    <a:pt x="11743" y="-2277"/>
                    <a:pt x="3532" y="11957"/>
                  </a:cubicBezTo>
                  <a:cubicBezTo>
                    <a:pt x="-4680" y="26190"/>
                    <a:pt x="194" y="44394"/>
                    <a:pt x="14419" y="52614"/>
                  </a:cubicBezTo>
                  <a:cubicBezTo>
                    <a:pt x="28648" y="60822"/>
                    <a:pt x="46835" y="55950"/>
                    <a:pt x="55047" y="41717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2" name="Vrije vorm 751">
              <a:extLst>
                <a:ext uri="{FF2B5EF4-FFF2-40B4-BE49-F238E27FC236}">
                  <a16:creationId xmlns:a16="http://schemas.microsoft.com/office/drawing/2014/main" id="{00E955C2-3665-2DFD-0C8C-9ECB4D5A900D}"/>
                </a:ext>
              </a:extLst>
            </p:cNvPr>
            <p:cNvSpPr/>
            <p:nvPr/>
          </p:nvSpPr>
          <p:spPr>
            <a:xfrm flipV="1">
              <a:off x="6952781" y="2467308"/>
              <a:ext cx="388667" cy="514605"/>
            </a:xfrm>
            <a:custGeom>
              <a:avLst/>
              <a:gdLst>
                <a:gd name="connsiteX0" fmla="*/ 100856 w 388667"/>
                <a:gd name="connsiteY0" fmla="*/ 438619 h 514605"/>
                <a:gd name="connsiteX1" fmla="*/ 83612 w 388667"/>
                <a:gd name="connsiteY1" fmla="*/ 353207 h 514605"/>
                <a:gd name="connsiteX2" fmla="*/ 56542 w 388667"/>
                <a:gd name="connsiteY2" fmla="*/ 274886 h 514605"/>
                <a:gd name="connsiteX3" fmla="*/ 55882 w 388667"/>
                <a:gd name="connsiteY3" fmla="*/ 188078 h 514605"/>
                <a:gd name="connsiteX4" fmla="*/ -1567 w 388667"/>
                <a:gd name="connsiteY4" fmla="*/ 101055 h 514605"/>
                <a:gd name="connsiteX5" fmla="*/ 108666 w 388667"/>
                <a:gd name="connsiteY5" fmla="*/ -2244 h 514605"/>
                <a:gd name="connsiteX6" fmla="*/ 208490 w 388667"/>
                <a:gd name="connsiteY6" fmla="*/ 161375 h 514605"/>
                <a:gd name="connsiteX7" fmla="*/ 352273 w 388667"/>
                <a:gd name="connsiteY7" fmla="*/ 316685 h 514605"/>
                <a:gd name="connsiteX8" fmla="*/ 386900 w 388667"/>
                <a:gd name="connsiteY8" fmla="*/ 464523 h 514605"/>
                <a:gd name="connsiteX9" fmla="*/ 378024 w 388667"/>
                <a:gd name="connsiteY9" fmla="*/ 473213 h 514605"/>
                <a:gd name="connsiteX10" fmla="*/ 378240 w 388667"/>
                <a:gd name="connsiteY10" fmla="*/ 500334 h 514605"/>
                <a:gd name="connsiteX11" fmla="*/ 339923 w 388667"/>
                <a:gd name="connsiteY11" fmla="*/ 496478 h 514605"/>
                <a:gd name="connsiteX12" fmla="*/ 304497 w 388667"/>
                <a:gd name="connsiteY12" fmla="*/ 497493 h 514605"/>
                <a:gd name="connsiteX13" fmla="*/ 225784 w 388667"/>
                <a:gd name="connsiteY13" fmla="*/ 380849 h 514605"/>
                <a:gd name="connsiteX14" fmla="*/ 164176 w 388667"/>
                <a:gd name="connsiteY14" fmla="*/ 333442 h 514605"/>
                <a:gd name="connsiteX15" fmla="*/ 131907 w 388667"/>
                <a:gd name="connsiteY15" fmla="*/ 326986 h 514605"/>
                <a:gd name="connsiteX16" fmla="*/ 149519 w 388667"/>
                <a:gd name="connsiteY16" fmla="*/ 377284 h 514605"/>
                <a:gd name="connsiteX17" fmla="*/ 139781 w 388667"/>
                <a:gd name="connsiteY17" fmla="*/ 439913 h 514605"/>
                <a:gd name="connsiteX18" fmla="*/ 100856 w 388667"/>
                <a:gd name="connsiteY18" fmla="*/ 438619 h 514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8667" h="514605">
                  <a:moveTo>
                    <a:pt x="100856" y="438619"/>
                  </a:moveTo>
                  <a:cubicBezTo>
                    <a:pt x="100856" y="438619"/>
                    <a:pt x="94668" y="380252"/>
                    <a:pt x="83612" y="353207"/>
                  </a:cubicBezTo>
                  <a:cubicBezTo>
                    <a:pt x="72556" y="326161"/>
                    <a:pt x="55895" y="316710"/>
                    <a:pt x="56542" y="274886"/>
                  </a:cubicBezTo>
                  <a:cubicBezTo>
                    <a:pt x="57176" y="233074"/>
                    <a:pt x="55882" y="188078"/>
                    <a:pt x="55882" y="188078"/>
                  </a:cubicBezTo>
                  <a:cubicBezTo>
                    <a:pt x="55882" y="188078"/>
                    <a:pt x="-5713" y="101410"/>
                    <a:pt x="-1567" y="101055"/>
                  </a:cubicBezTo>
                  <a:cubicBezTo>
                    <a:pt x="2566" y="100699"/>
                    <a:pt x="108666" y="-2244"/>
                    <a:pt x="108666" y="-2244"/>
                  </a:cubicBezTo>
                  <a:lnTo>
                    <a:pt x="208490" y="161375"/>
                  </a:lnTo>
                  <a:lnTo>
                    <a:pt x="352273" y="316685"/>
                  </a:lnTo>
                  <a:lnTo>
                    <a:pt x="386900" y="464523"/>
                  </a:lnTo>
                  <a:lnTo>
                    <a:pt x="378024" y="473213"/>
                  </a:lnTo>
                  <a:lnTo>
                    <a:pt x="378240" y="500334"/>
                  </a:lnTo>
                  <a:cubicBezTo>
                    <a:pt x="378240" y="500334"/>
                    <a:pt x="356089" y="524767"/>
                    <a:pt x="339923" y="496478"/>
                  </a:cubicBezTo>
                  <a:cubicBezTo>
                    <a:pt x="339923" y="496478"/>
                    <a:pt x="332797" y="531528"/>
                    <a:pt x="304497" y="497493"/>
                  </a:cubicBezTo>
                  <a:cubicBezTo>
                    <a:pt x="276184" y="463457"/>
                    <a:pt x="230590" y="383360"/>
                    <a:pt x="225784" y="380849"/>
                  </a:cubicBezTo>
                  <a:cubicBezTo>
                    <a:pt x="220979" y="378324"/>
                    <a:pt x="164176" y="333442"/>
                    <a:pt x="164176" y="333442"/>
                  </a:cubicBezTo>
                  <a:lnTo>
                    <a:pt x="131907" y="326986"/>
                  </a:lnTo>
                  <a:cubicBezTo>
                    <a:pt x="131907" y="326986"/>
                    <a:pt x="150584" y="350454"/>
                    <a:pt x="149519" y="377284"/>
                  </a:cubicBezTo>
                  <a:cubicBezTo>
                    <a:pt x="148441" y="404101"/>
                    <a:pt x="159763" y="424436"/>
                    <a:pt x="139781" y="439913"/>
                  </a:cubicBezTo>
                  <a:cubicBezTo>
                    <a:pt x="119799" y="455389"/>
                    <a:pt x="100856" y="438619"/>
                    <a:pt x="100856" y="438619"/>
                  </a:cubicBezTo>
                </a:path>
              </a:pathLst>
            </a:custGeom>
            <a:solidFill>
              <a:srgbClr val="F9A78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3" name="Vrije vorm 752">
              <a:extLst>
                <a:ext uri="{FF2B5EF4-FFF2-40B4-BE49-F238E27FC236}">
                  <a16:creationId xmlns:a16="http://schemas.microsoft.com/office/drawing/2014/main" id="{C17702AE-A594-D539-E9E5-22A86F663E40}"/>
                </a:ext>
              </a:extLst>
            </p:cNvPr>
            <p:cNvSpPr/>
            <p:nvPr/>
          </p:nvSpPr>
          <p:spPr>
            <a:xfrm flipV="1">
              <a:off x="7104672" y="2572770"/>
              <a:ext cx="206137" cy="167947"/>
            </a:xfrm>
            <a:custGeom>
              <a:avLst/>
              <a:gdLst>
                <a:gd name="connsiteX0" fmla="*/ -1792 w 206137"/>
                <a:gd name="connsiteY0" fmla="*/ -2285 h 167947"/>
                <a:gd name="connsiteX1" fmla="*/ 6918 w 206137"/>
                <a:gd name="connsiteY1" fmla="*/ 5250 h 167947"/>
                <a:gd name="connsiteX2" fmla="*/ 33152 w 206137"/>
                <a:gd name="connsiteY2" fmla="*/ 22528 h 167947"/>
                <a:gd name="connsiteX3" fmla="*/ 133052 w 206137"/>
                <a:gd name="connsiteY3" fmla="*/ 58745 h 167947"/>
                <a:gd name="connsiteX4" fmla="*/ 134041 w 206137"/>
                <a:gd name="connsiteY4" fmla="*/ 58986 h 167947"/>
                <a:gd name="connsiteX5" fmla="*/ 134662 w 206137"/>
                <a:gd name="connsiteY5" fmla="*/ 59760 h 167947"/>
                <a:gd name="connsiteX6" fmla="*/ 149738 w 206137"/>
                <a:gd name="connsiteY6" fmla="*/ 78586 h 167947"/>
                <a:gd name="connsiteX7" fmla="*/ 157218 w 206137"/>
                <a:gd name="connsiteY7" fmla="*/ 87948 h 167947"/>
                <a:gd name="connsiteX8" fmla="*/ 157840 w 206137"/>
                <a:gd name="connsiteY8" fmla="*/ 88721 h 167947"/>
                <a:gd name="connsiteX9" fmla="*/ 157852 w 206137"/>
                <a:gd name="connsiteY9" fmla="*/ 89635 h 167947"/>
                <a:gd name="connsiteX10" fmla="*/ 158727 w 206137"/>
                <a:gd name="connsiteY10" fmla="*/ 136470 h 167947"/>
                <a:gd name="connsiteX11" fmla="*/ 164002 w 206137"/>
                <a:gd name="connsiteY11" fmla="*/ 154839 h 167947"/>
                <a:gd name="connsiteX12" fmla="*/ 179445 w 206137"/>
                <a:gd name="connsiteY12" fmla="*/ 160687 h 167947"/>
                <a:gd name="connsiteX13" fmla="*/ 177518 w 206137"/>
                <a:gd name="connsiteY13" fmla="*/ 162362 h 167947"/>
                <a:gd name="connsiteX14" fmla="*/ 204296 w 206137"/>
                <a:gd name="connsiteY14" fmla="*/ 92337 h 167947"/>
                <a:gd name="connsiteX15" fmla="*/ 197969 w 206137"/>
                <a:gd name="connsiteY15" fmla="*/ 111746 h 167947"/>
                <a:gd name="connsiteX16" fmla="*/ 182133 w 206137"/>
                <a:gd name="connsiteY16" fmla="*/ 163770 h 167947"/>
                <a:gd name="connsiteX17" fmla="*/ 181689 w 206137"/>
                <a:gd name="connsiteY17" fmla="*/ 165267 h 167947"/>
                <a:gd name="connsiteX18" fmla="*/ 180193 w 206137"/>
                <a:gd name="connsiteY18" fmla="*/ 165457 h 167947"/>
                <a:gd name="connsiteX19" fmla="*/ 160046 w 206137"/>
                <a:gd name="connsiteY19" fmla="*/ 158251 h 167947"/>
                <a:gd name="connsiteX20" fmla="*/ 153186 w 206137"/>
                <a:gd name="connsiteY20" fmla="*/ 136521 h 167947"/>
                <a:gd name="connsiteX21" fmla="*/ 152007 w 206137"/>
                <a:gd name="connsiteY21" fmla="*/ 89914 h 167947"/>
                <a:gd name="connsiteX22" fmla="*/ 152641 w 206137"/>
                <a:gd name="connsiteY22" fmla="*/ 91601 h 167947"/>
                <a:gd name="connsiteX23" fmla="*/ 145160 w 206137"/>
                <a:gd name="connsiteY23" fmla="*/ 82252 h 167947"/>
                <a:gd name="connsiteX24" fmla="*/ 130123 w 206137"/>
                <a:gd name="connsiteY24" fmla="*/ 63401 h 167947"/>
                <a:gd name="connsiteX25" fmla="*/ 131720 w 206137"/>
                <a:gd name="connsiteY25" fmla="*/ 64403 h 167947"/>
                <a:gd name="connsiteX26" fmla="*/ 31250 w 206137"/>
                <a:gd name="connsiteY26" fmla="*/ 25902 h 167947"/>
                <a:gd name="connsiteX27" fmla="*/ 5498 w 206137"/>
                <a:gd name="connsiteY27" fmla="*/ 6798 h 167947"/>
                <a:gd name="connsiteX28" fmla="*/ -1792 w 206137"/>
                <a:gd name="connsiteY28" fmla="*/ -2285 h 167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06137" h="167947">
                  <a:moveTo>
                    <a:pt x="-1792" y="-2285"/>
                  </a:moveTo>
                  <a:cubicBezTo>
                    <a:pt x="-1450" y="-2577"/>
                    <a:pt x="1416" y="379"/>
                    <a:pt x="6918" y="5250"/>
                  </a:cubicBezTo>
                  <a:cubicBezTo>
                    <a:pt x="12649" y="9919"/>
                    <a:pt x="21347" y="16185"/>
                    <a:pt x="33152" y="22528"/>
                  </a:cubicBezTo>
                  <a:cubicBezTo>
                    <a:pt x="56735" y="35125"/>
                    <a:pt x="92047" y="48521"/>
                    <a:pt x="133052" y="58745"/>
                  </a:cubicBezTo>
                  <a:lnTo>
                    <a:pt x="134041" y="58986"/>
                  </a:lnTo>
                  <a:lnTo>
                    <a:pt x="134662" y="59760"/>
                  </a:lnTo>
                  <a:cubicBezTo>
                    <a:pt x="139505" y="65799"/>
                    <a:pt x="144577" y="72129"/>
                    <a:pt x="149738" y="78586"/>
                  </a:cubicBezTo>
                  <a:cubicBezTo>
                    <a:pt x="152261" y="81732"/>
                    <a:pt x="154759" y="84852"/>
                    <a:pt x="157218" y="87948"/>
                  </a:cubicBezTo>
                  <a:lnTo>
                    <a:pt x="157840" y="88721"/>
                  </a:lnTo>
                  <a:lnTo>
                    <a:pt x="157852" y="89635"/>
                  </a:lnTo>
                  <a:cubicBezTo>
                    <a:pt x="158157" y="105936"/>
                    <a:pt x="158448" y="121628"/>
                    <a:pt x="158727" y="136470"/>
                  </a:cubicBezTo>
                  <a:cubicBezTo>
                    <a:pt x="158714" y="143460"/>
                    <a:pt x="160210" y="150234"/>
                    <a:pt x="164002" y="154839"/>
                  </a:cubicBezTo>
                  <a:cubicBezTo>
                    <a:pt x="167679" y="159495"/>
                    <a:pt x="174133" y="161182"/>
                    <a:pt x="179445" y="160687"/>
                  </a:cubicBezTo>
                  <a:lnTo>
                    <a:pt x="177518" y="162362"/>
                  </a:lnTo>
                  <a:cubicBezTo>
                    <a:pt x="191173" y="119091"/>
                    <a:pt x="202648" y="91550"/>
                    <a:pt x="204296" y="92337"/>
                  </a:cubicBezTo>
                  <a:cubicBezTo>
                    <a:pt x="204664" y="92565"/>
                    <a:pt x="201811" y="99251"/>
                    <a:pt x="197969" y="111746"/>
                  </a:cubicBezTo>
                  <a:cubicBezTo>
                    <a:pt x="194014" y="124153"/>
                    <a:pt x="188523" y="142052"/>
                    <a:pt x="182133" y="163770"/>
                  </a:cubicBezTo>
                  <a:lnTo>
                    <a:pt x="181689" y="165267"/>
                  </a:lnTo>
                  <a:lnTo>
                    <a:pt x="180193" y="165457"/>
                  </a:lnTo>
                  <a:cubicBezTo>
                    <a:pt x="173219" y="166294"/>
                    <a:pt x="165308" y="164366"/>
                    <a:pt x="160046" y="158251"/>
                  </a:cubicBezTo>
                  <a:cubicBezTo>
                    <a:pt x="154923" y="152226"/>
                    <a:pt x="153300" y="144145"/>
                    <a:pt x="153186" y="136521"/>
                  </a:cubicBezTo>
                  <a:cubicBezTo>
                    <a:pt x="152819" y="121742"/>
                    <a:pt x="152413" y="106139"/>
                    <a:pt x="152007" y="89914"/>
                  </a:cubicBezTo>
                  <a:lnTo>
                    <a:pt x="152641" y="91601"/>
                  </a:lnTo>
                  <a:cubicBezTo>
                    <a:pt x="150169" y="88519"/>
                    <a:pt x="147671" y="85398"/>
                    <a:pt x="145160" y="82252"/>
                  </a:cubicBezTo>
                  <a:cubicBezTo>
                    <a:pt x="140013" y="75795"/>
                    <a:pt x="134941" y="69439"/>
                    <a:pt x="130123" y="63401"/>
                  </a:cubicBezTo>
                  <a:lnTo>
                    <a:pt x="131720" y="64403"/>
                  </a:lnTo>
                  <a:cubicBezTo>
                    <a:pt x="90158" y="53836"/>
                    <a:pt x="54821" y="39666"/>
                    <a:pt x="31250" y="25902"/>
                  </a:cubicBezTo>
                  <a:cubicBezTo>
                    <a:pt x="19496" y="19001"/>
                    <a:pt x="10912" y="12062"/>
                    <a:pt x="5498" y="6798"/>
                  </a:cubicBezTo>
                  <a:cubicBezTo>
                    <a:pt x="300" y="1305"/>
                    <a:pt x="-2033" y="-2120"/>
                    <a:pt x="-1792" y="-2285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4" name="Vrije vorm 753">
              <a:extLst>
                <a:ext uri="{FF2B5EF4-FFF2-40B4-BE49-F238E27FC236}">
                  <a16:creationId xmlns:a16="http://schemas.microsoft.com/office/drawing/2014/main" id="{5B9CE72B-9274-0C2C-56B5-5E0765FC1ACF}"/>
                </a:ext>
              </a:extLst>
            </p:cNvPr>
            <p:cNvSpPr/>
            <p:nvPr/>
          </p:nvSpPr>
          <p:spPr>
            <a:xfrm flipV="1">
              <a:off x="7218887" y="2481806"/>
              <a:ext cx="73001" cy="133318"/>
            </a:xfrm>
            <a:custGeom>
              <a:avLst/>
              <a:gdLst>
                <a:gd name="connsiteX0" fmla="*/ -1749 w 73001"/>
                <a:gd name="connsiteY0" fmla="*/ -2386 h 133318"/>
                <a:gd name="connsiteX1" fmla="*/ 37239 w 73001"/>
                <a:gd name="connsiteY1" fmla="*/ 62843 h 133318"/>
                <a:gd name="connsiteX2" fmla="*/ 71067 w 73001"/>
                <a:gd name="connsiteY2" fmla="*/ 130902 h 133318"/>
                <a:gd name="connsiteX3" fmla="*/ 32079 w 73001"/>
                <a:gd name="connsiteY3" fmla="*/ 65660 h 133318"/>
                <a:gd name="connsiteX4" fmla="*/ -1749 w 73001"/>
                <a:gd name="connsiteY4" fmla="*/ -2386 h 13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001" h="133318">
                  <a:moveTo>
                    <a:pt x="-1749" y="-2386"/>
                  </a:moveTo>
                  <a:cubicBezTo>
                    <a:pt x="-329" y="-3173"/>
                    <a:pt x="17130" y="26042"/>
                    <a:pt x="37239" y="62843"/>
                  </a:cubicBezTo>
                  <a:cubicBezTo>
                    <a:pt x="57349" y="99657"/>
                    <a:pt x="72488" y="130115"/>
                    <a:pt x="71067" y="130902"/>
                  </a:cubicBezTo>
                  <a:cubicBezTo>
                    <a:pt x="69648" y="131676"/>
                    <a:pt x="52201" y="102473"/>
                    <a:pt x="32079" y="65660"/>
                  </a:cubicBezTo>
                  <a:cubicBezTo>
                    <a:pt x="11982" y="28859"/>
                    <a:pt x="-3170" y="-1612"/>
                    <a:pt x="-1749" y="-2386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5" name="Vrije vorm 754">
              <a:extLst>
                <a:ext uri="{FF2B5EF4-FFF2-40B4-BE49-F238E27FC236}">
                  <a16:creationId xmlns:a16="http://schemas.microsoft.com/office/drawing/2014/main" id="{1D0A643C-E30A-1445-E3BE-70EB58373F38}"/>
                </a:ext>
              </a:extLst>
            </p:cNvPr>
            <p:cNvSpPr/>
            <p:nvPr/>
          </p:nvSpPr>
          <p:spPr>
            <a:xfrm flipV="1">
              <a:off x="7293829" y="2504100"/>
              <a:ext cx="40996" cy="68159"/>
            </a:xfrm>
            <a:custGeom>
              <a:avLst/>
              <a:gdLst>
                <a:gd name="connsiteX0" fmla="*/ -1239 w 40996"/>
                <a:gd name="connsiteY0" fmla="*/ -2408 h 68159"/>
                <a:gd name="connsiteX1" fmla="*/ 2755 w 40996"/>
                <a:gd name="connsiteY1" fmla="*/ 9364 h 68159"/>
                <a:gd name="connsiteX2" fmla="*/ 11656 w 40996"/>
                <a:gd name="connsiteY2" fmla="*/ 36854 h 68159"/>
                <a:gd name="connsiteX3" fmla="*/ 29026 w 40996"/>
                <a:gd name="connsiteY3" fmla="*/ 58736 h 68159"/>
                <a:gd name="connsiteX4" fmla="*/ 39106 w 40996"/>
                <a:gd name="connsiteY4" fmla="*/ 65409 h 68159"/>
                <a:gd name="connsiteX5" fmla="*/ 26782 w 40996"/>
                <a:gd name="connsiteY5" fmla="*/ 62225 h 68159"/>
                <a:gd name="connsiteX6" fmla="*/ 6356 w 40996"/>
                <a:gd name="connsiteY6" fmla="*/ 39378 h 68159"/>
                <a:gd name="connsiteX7" fmla="*/ -1341 w 40996"/>
                <a:gd name="connsiteY7" fmla="*/ 10087 h 68159"/>
                <a:gd name="connsiteX8" fmla="*/ -1239 w 40996"/>
                <a:gd name="connsiteY8" fmla="*/ -2408 h 6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96" h="68159">
                  <a:moveTo>
                    <a:pt x="-1239" y="-2408"/>
                  </a:moveTo>
                  <a:cubicBezTo>
                    <a:pt x="-415" y="-2535"/>
                    <a:pt x="942" y="2032"/>
                    <a:pt x="2755" y="9364"/>
                  </a:cubicBezTo>
                  <a:cubicBezTo>
                    <a:pt x="4619" y="16658"/>
                    <a:pt x="6926" y="26781"/>
                    <a:pt x="11656" y="36854"/>
                  </a:cubicBezTo>
                  <a:cubicBezTo>
                    <a:pt x="16385" y="46875"/>
                    <a:pt x="23207" y="54487"/>
                    <a:pt x="29026" y="58736"/>
                  </a:cubicBezTo>
                  <a:cubicBezTo>
                    <a:pt x="34833" y="63075"/>
                    <a:pt x="39334" y="64508"/>
                    <a:pt x="39106" y="65409"/>
                  </a:cubicBezTo>
                  <a:cubicBezTo>
                    <a:pt x="39005" y="66081"/>
                    <a:pt x="33870" y="66094"/>
                    <a:pt x="26782" y="62225"/>
                  </a:cubicBezTo>
                  <a:cubicBezTo>
                    <a:pt x="19732" y="58483"/>
                    <a:pt x="11529" y="50377"/>
                    <a:pt x="6356" y="39378"/>
                  </a:cubicBezTo>
                  <a:cubicBezTo>
                    <a:pt x="1221" y="28405"/>
                    <a:pt x="-491" y="17673"/>
                    <a:pt x="-1341" y="10087"/>
                  </a:cubicBezTo>
                  <a:cubicBezTo>
                    <a:pt x="-2127" y="2463"/>
                    <a:pt x="-2025" y="-2281"/>
                    <a:pt x="-1239" y="-2408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6" name="Vrije vorm 755">
              <a:extLst>
                <a:ext uri="{FF2B5EF4-FFF2-40B4-BE49-F238E27FC236}">
                  <a16:creationId xmlns:a16="http://schemas.microsoft.com/office/drawing/2014/main" id="{90014DA8-6816-0F25-A927-B000C3C1DE67}"/>
                </a:ext>
              </a:extLst>
            </p:cNvPr>
            <p:cNvSpPr/>
            <p:nvPr/>
          </p:nvSpPr>
          <p:spPr>
            <a:xfrm flipV="1">
              <a:off x="7173282" y="2615043"/>
              <a:ext cx="71907" cy="36664"/>
            </a:xfrm>
            <a:custGeom>
              <a:avLst/>
              <a:gdLst>
                <a:gd name="connsiteX0" fmla="*/ -1808 w 71907"/>
                <a:gd name="connsiteY0" fmla="*/ 32103 h 36664"/>
                <a:gd name="connsiteX1" fmla="*/ 37523 w 71907"/>
                <a:gd name="connsiteY1" fmla="*/ 22120 h 36664"/>
                <a:gd name="connsiteX2" fmla="*/ 69982 w 71907"/>
                <a:gd name="connsiteY2" fmla="*/ -2275 h 36664"/>
                <a:gd name="connsiteX3" fmla="*/ 63972 w 71907"/>
                <a:gd name="connsiteY3" fmla="*/ 8762 h 36664"/>
                <a:gd name="connsiteX4" fmla="*/ 40071 w 71907"/>
                <a:gd name="connsiteY4" fmla="*/ 27422 h 36664"/>
                <a:gd name="connsiteX5" fmla="*/ 10554 w 71907"/>
                <a:gd name="connsiteY5" fmla="*/ 34336 h 36664"/>
                <a:gd name="connsiteX6" fmla="*/ -1808 w 71907"/>
                <a:gd name="connsiteY6" fmla="*/ 32103 h 36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907" h="36664">
                  <a:moveTo>
                    <a:pt x="-1808" y="32103"/>
                  </a:moveTo>
                  <a:cubicBezTo>
                    <a:pt x="-1758" y="30327"/>
                    <a:pt x="17287" y="32065"/>
                    <a:pt x="37523" y="22120"/>
                  </a:cubicBezTo>
                  <a:cubicBezTo>
                    <a:pt x="57974" y="12580"/>
                    <a:pt x="68561" y="-3340"/>
                    <a:pt x="69982" y="-2275"/>
                  </a:cubicBezTo>
                  <a:cubicBezTo>
                    <a:pt x="70590" y="-1907"/>
                    <a:pt x="68828" y="2635"/>
                    <a:pt x="63972" y="8762"/>
                  </a:cubicBezTo>
                  <a:cubicBezTo>
                    <a:pt x="59153" y="14863"/>
                    <a:pt x="50887" y="22221"/>
                    <a:pt x="40071" y="27422"/>
                  </a:cubicBezTo>
                  <a:cubicBezTo>
                    <a:pt x="29230" y="32585"/>
                    <a:pt x="18314" y="34425"/>
                    <a:pt x="10554" y="34336"/>
                  </a:cubicBezTo>
                  <a:cubicBezTo>
                    <a:pt x="2731" y="34298"/>
                    <a:pt x="-1910" y="32814"/>
                    <a:pt x="-1808" y="32103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7" name="Vrije vorm 756">
              <a:extLst>
                <a:ext uri="{FF2B5EF4-FFF2-40B4-BE49-F238E27FC236}">
                  <a16:creationId xmlns:a16="http://schemas.microsoft.com/office/drawing/2014/main" id="{04162B91-F17B-CDB7-2B31-E01969AFF46D}"/>
                </a:ext>
              </a:extLst>
            </p:cNvPr>
            <p:cNvSpPr/>
            <p:nvPr/>
          </p:nvSpPr>
          <p:spPr>
            <a:xfrm flipV="1">
              <a:off x="6152046" y="4481874"/>
              <a:ext cx="139040" cy="744101"/>
            </a:xfrm>
            <a:custGeom>
              <a:avLst/>
              <a:gdLst>
                <a:gd name="connsiteX0" fmla="*/ -1135 w 139040"/>
                <a:gd name="connsiteY0" fmla="*/ -342 h 744101"/>
                <a:gd name="connsiteX1" fmla="*/ 137906 w 139040"/>
                <a:gd name="connsiteY1" fmla="*/ -342 h 744101"/>
                <a:gd name="connsiteX2" fmla="*/ 137906 w 139040"/>
                <a:gd name="connsiteY2" fmla="*/ 743760 h 744101"/>
                <a:gd name="connsiteX3" fmla="*/ -1135 w 139040"/>
                <a:gd name="connsiteY3" fmla="*/ 743760 h 744101"/>
                <a:gd name="connsiteX4" fmla="*/ -1135 w 139040"/>
                <a:gd name="connsiteY4" fmla="*/ -342 h 744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040" h="744101">
                  <a:moveTo>
                    <a:pt x="-1135" y="-342"/>
                  </a:moveTo>
                  <a:lnTo>
                    <a:pt x="137906" y="-342"/>
                  </a:lnTo>
                  <a:lnTo>
                    <a:pt x="137906" y="743760"/>
                  </a:lnTo>
                  <a:lnTo>
                    <a:pt x="-1135" y="743760"/>
                  </a:lnTo>
                  <a:lnTo>
                    <a:pt x="-1135" y="-342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8" name="Vrije vorm 757">
              <a:extLst>
                <a:ext uri="{FF2B5EF4-FFF2-40B4-BE49-F238E27FC236}">
                  <a16:creationId xmlns:a16="http://schemas.microsoft.com/office/drawing/2014/main" id="{E159E2DA-4E2C-665B-617D-336D8F368A32}"/>
                </a:ext>
              </a:extLst>
            </p:cNvPr>
            <p:cNvSpPr/>
            <p:nvPr/>
          </p:nvSpPr>
          <p:spPr>
            <a:xfrm flipV="1">
              <a:off x="5664067" y="4362046"/>
              <a:ext cx="1054931" cy="133642"/>
            </a:xfrm>
            <a:custGeom>
              <a:avLst/>
              <a:gdLst>
                <a:gd name="connsiteX0" fmla="*/ 1053817 w 1054931"/>
                <a:gd name="connsiteY0" fmla="*/ 132921 h 133642"/>
                <a:gd name="connsiteX1" fmla="*/ 625905 w 1054931"/>
                <a:gd name="connsiteY1" fmla="*/ -722 h 133642"/>
                <a:gd name="connsiteX2" fmla="*/ 486864 w 1054931"/>
                <a:gd name="connsiteY2" fmla="*/ -722 h 133642"/>
                <a:gd name="connsiteX3" fmla="*/ -1114 w 1054931"/>
                <a:gd name="connsiteY3" fmla="*/ 132921 h 133642"/>
                <a:gd name="connsiteX4" fmla="*/ 1053817 w 1054931"/>
                <a:gd name="connsiteY4" fmla="*/ 132921 h 133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4931" h="133642">
                  <a:moveTo>
                    <a:pt x="1053817" y="132921"/>
                  </a:moveTo>
                  <a:cubicBezTo>
                    <a:pt x="1051547" y="132921"/>
                    <a:pt x="625905" y="-722"/>
                    <a:pt x="625905" y="-722"/>
                  </a:cubicBezTo>
                  <a:lnTo>
                    <a:pt x="486864" y="-722"/>
                  </a:lnTo>
                  <a:lnTo>
                    <a:pt x="-1114" y="132921"/>
                  </a:lnTo>
                  <a:lnTo>
                    <a:pt x="1053817" y="132921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9" name="Vrije vorm 758">
              <a:extLst>
                <a:ext uri="{FF2B5EF4-FFF2-40B4-BE49-F238E27FC236}">
                  <a16:creationId xmlns:a16="http://schemas.microsoft.com/office/drawing/2014/main" id="{D55C25AC-A3E1-EBBA-DE31-10F78D7717D5}"/>
                </a:ext>
              </a:extLst>
            </p:cNvPr>
            <p:cNvSpPr/>
            <p:nvPr/>
          </p:nvSpPr>
          <p:spPr>
            <a:xfrm flipV="1">
              <a:off x="6152046" y="5132949"/>
              <a:ext cx="660056" cy="357011"/>
            </a:xfrm>
            <a:custGeom>
              <a:avLst/>
              <a:gdLst>
                <a:gd name="connsiteX0" fmla="*/ 658743 w 660056"/>
                <a:gd name="connsiteY0" fmla="*/ 67 h 357011"/>
                <a:gd name="connsiteX1" fmla="*/ 505705 w 660056"/>
                <a:gd name="connsiteY1" fmla="*/ 244127 h 357011"/>
                <a:gd name="connsiteX2" fmla="*/ 34696 w 660056"/>
                <a:gd name="connsiteY2" fmla="*/ 357078 h 357011"/>
                <a:gd name="connsiteX3" fmla="*/ -1313 w 660056"/>
                <a:gd name="connsiteY3" fmla="*/ 264052 h 357011"/>
                <a:gd name="connsiteX4" fmla="*/ 505705 w 660056"/>
                <a:gd name="connsiteY4" fmla="*/ 158385 h 357011"/>
                <a:gd name="connsiteX5" fmla="*/ 615710 w 660056"/>
                <a:gd name="connsiteY5" fmla="*/ 67 h 357011"/>
                <a:gd name="connsiteX6" fmla="*/ 658743 w 660056"/>
                <a:gd name="connsiteY6" fmla="*/ 67 h 35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0056" h="357011">
                  <a:moveTo>
                    <a:pt x="658743" y="67"/>
                  </a:moveTo>
                  <a:cubicBezTo>
                    <a:pt x="658743" y="67"/>
                    <a:pt x="594409" y="196590"/>
                    <a:pt x="505705" y="244127"/>
                  </a:cubicBezTo>
                  <a:cubicBezTo>
                    <a:pt x="363177" y="320517"/>
                    <a:pt x="34696" y="357078"/>
                    <a:pt x="34696" y="357078"/>
                  </a:cubicBezTo>
                  <a:lnTo>
                    <a:pt x="-1313" y="264052"/>
                  </a:lnTo>
                  <a:cubicBezTo>
                    <a:pt x="-1313" y="264052"/>
                    <a:pt x="436780" y="246826"/>
                    <a:pt x="505705" y="158385"/>
                  </a:cubicBezTo>
                  <a:cubicBezTo>
                    <a:pt x="569367" y="76701"/>
                    <a:pt x="615710" y="67"/>
                    <a:pt x="615710" y="67"/>
                  </a:cubicBezTo>
                  <a:lnTo>
                    <a:pt x="658743" y="67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0" name="Vrije vorm 759">
              <a:extLst>
                <a:ext uri="{FF2B5EF4-FFF2-40B4-BE49-F238E27FC236}">
                  <a16:creationId xmlns:a16="http://schemas.microsoft.com/office/drawing/2014/main" id="{E80891FA-D47F-C5CD-FE19-CBEF3C7D137F}"/>
                </a:ext>
              </a:extLst>
            </p:cNvPr>
            <p:cNvSpPr/>
            <p:nvPr/>
          </p:nvSpPr>
          <p:spPr>
            <a:xfrm flipV="1">
              <a:off x="6664655" y="5433372"/>
              <a:ext cx="186068" cy="186161"/>
            </a:xfrm>
            <a:custGeom>
              <a:avLst/>
              <a:gdLst>
                <a:gd name="connsiteX0" fmla="*/ -1501 w 186068"/>
                <a:gd name="connsiteY0" fmla="*/ 93334 h 186161"/>
                <a:gd name="connsiteX1" fmla="*/ 91539 w 186068"/>
                <a:gd name="connsiteY1" fmla="*/ 259 h 186161"/>
                <a:gd name="connsiteX2" fmla="*/ 184567 w 186068"/>
                <a:gd name="connsiteY2" fmla="*/ 93334 h 186161"/>
                <a:gd name="connsiteX3" fmla="*/ 91539 w 186068"/>
                <a:gd name="connsiteY3" fmla="*/ 186420 h 186161"/>
                <a:gd name="connsiteX4" fmla="*/ -1501 w 186068"/>
                <a:gd name="connsiteY4" fmla="*/ 93334 h 1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068" h="186161">
                  <a:moveTo>
                    <a:pt x="-1501" y="93334"/>
                  </a:moveTo>
                  <a:cubicBezTo>
                    <a:pt x="-1501" y="41934"/>
                    <a:pt x="40150" y="259"/>
                    <a:pt x="91539" y="259"/>
                  </a:cubicBezTo>
                  <a:cubicBezTo>
                    <a:pt x="142915" y="259"/>
                    <a:pt x="184567" y="41934"/>
                    <a:pt x="184567" y="93334"/>
                  </a:cubicBezTo>
                  <a:cubicBezTo>
                    <a:pt x="184567" y="144747"/>
                    <a:pt x="142915" y="186420"/>
                    <a:pt x="91539" y="186420"/>
                  </a:cubicBezTo>
                  <a:cubicBezTo>
                    <a:pt x="40150" y="186420"/>
                    <a:pt x="-1501" y="144747"/>
                    <a:pt x="-1501" y="9333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1" name="Vrije vorm 760">
              <a:extLst>
                <a:ext uri="{FF2B5EF4-FFF2-40B4-BE49-F238E27FC236}">
                  <a16:creationId xmlns:a16="http://schemas.microsoft.com/office/drawing/2014/main" id="{732D09B3-9A5B-3B94-8E7C-DA6822943C67}"/>
                </a:ext>
              </a:extLst>
            </p:cNvPr>
            <p:cNvSpPr/>
            <p:nvPr/>
          </p:nvSpPr>
          <p:spPr>
            <a:xfrm flipV="1">
              <a:off x="5624644" y="5129135"/>
              <a:ext cx="660065" cy="357010"/>
            </a:xfrm>
            <a:custGeom>
              <a:avLst/>
              <a:gdLst>
                <a:gd name="connsiteX0" fmla="*/ -953 w 660065"/>
                <a:gd name="connsiteY0" fmla="*/ 63 h 357010"/>
                <a:gd name="connsiteX1" fmla="*/ 152085 w 660065"/>
                <a:gd name="connsiteY1" fmla="*/ 244122 h 357010"/>
                <a:gd name="connsiteX2" fmla="*/ 623091 w 660065"/>
                <a:gd name="connsiteY2" fmla="*/ 357073 h 357010"/>
                <a:gd name="connsiteX3" fmla="*/ 659113 w 660065"/>
                <a:gd name="connsiteY3" fmla="*/ 264052 h 357010"/>
                <a:gd name="connsiteX4" fmla="*/ 152085 w 660065"/>
                <a:gd name="connsiteY4" fmla="*/ 158381 h 357010"/>
                <a:gd name="connsiteX5" fmla="*/ 42087 w 660065"/>
                <a:gd name="connsiteY5" fmla="*/ 63 h 357010"/>
                <a:gd name="connsiteX6" fmla="*/ -953 w 660065"/>
                <a:gd name="connsiteY6" fmla="*/ 63 h 357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0065" h="357010">
                  <a:moveTo>
                    <a:pt x="-953" y="63"/>
                  </a:moveTo>
                  <a:cubicBezTo>
                    <a:pt x="-953" y="63"/>
                    <a:pt x="63379" y="196591"/>
                    <a:pt x="152085" y="244122"/>
                  </a:cubicBezTo>
                  <a:cubicBezTo>
                    <a:pt x="294622" y="320519"/>
                    <a:pt x="623091" y="357073"/>
                    <a:pt x="623091" y="357073"/>
                  </a:cubicBezTo>
                  <a:lnTo>
                    <a:pt x="659113" y="264052"/>
                  </a:lnTo>
                  <a:cubicBezTo>
                    <a:pt x="659113" y="264052"/>
                    <a:pt x="221007" y="246828"/>
                    <a:pt x="152085" y="158381"/>
                  </a:cubicBezTo>
                  <a:cubicBezTo>
                    <a:pt x="88431" y="76697"/>
                    <a:pt x="42087" y="63"/>
                    <a:pt x="42087" y="63"/>
                  </a:cubicBezTo>
                  <a:lnTo>
                    <a:pt x="-953" y="63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2" name="Vrije vorm 761">
              <a:extLst>
                <a:ext uri="{FF2B5EF4-FFF2-40B4-BE49-F238E27FC236}">
                  <a16:creationId xmlns:a16="http://schemas.microsoft.com/office/drawing/2014/main" id="{D96AF6D9-2FAC-4F82-92B3-1BE4D02E4279}"/>
                </a:ext>
              </a:extLst>
            </p:cNvPr>
            <p:cNvSpPr/>
            <p:nvPr/>
          </p:nvSpPr>
          <p:spPr>
            <a:xfrm flipV="1">
              <a:off x="5556963" y="5433372"/>
              <a:ext cx="186073" cy="186161"/>
            </a:xfrm>
            <a:custGeom>
              <a:avLst/>
              <a:gdLst>
                <a:gd name="connsiteX0" fmla="*/ 185329 w 186073"/>
                <a:gd name="connsiteY0" fmla="*/ 93334 h 186161"/>
                <a:gd name="connsiteX1" fmla="*/ 92295 w 186073"/>
                <a:gd name="connsiteY1" fmla="*/ 259 h 186161"/>
                <a:gd name="connsiteX2" fmla="*/ -744 w 186073"/>
                <a:gd name="connsiteY2" fmla="*/ 93334 h 186161"/>
                <a:gd name="connsiteX3" fmla="*/ 92295 w 186073"/>
                <a:gd name="connsiteY3" fmla="*/ 186420 h 186161"/>
                <a:gd name="connsiteX4" fmla="*/ 185329 w 186073"/>
                <a:gd name="connsiteY4" fmla="*/ 93334 h 1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073" h="186161">
                  <a:moveTo>
                    <a:pt x="185329" y="93334"/>
                  </a:moveTo>
                  <a:cubicBezTo>
                    <a:pt x="185329" y="41934"/>
                    <a:pt x="143675" y="259"/>
                    <a:pt x="92295" y="259"/>
                  </a:cubicBezTo>
                  <a:cubicBezTo>
                    <a:pt x="40908" y="259"/>
                    <a:pt x="-744" y="41934"/>
                    <a:pt x="-744" y="93334"/>
                  </a:cubicBezTo>
                  <a:cubicBezTo>
                    <a:pt x="-744" y="144747"/>
                    <a:pt x="40908" y="186420"/>
                    <a:pt x="92295" y="186420"/>
                  </a:cubicBezTo>
                  <a:cubicBezTo>
                    <a:pt x="143675" y="186420"/>
                    <a:pt x="185329" y="144747"/>
                    <a:pt x="185329" y="9333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3" name="Vrije vorm 762">
              <a:extLst>
                <a:ext uri="{FF2B5EF4-FFF2-40B4-BE49-F238E27FC236}">
                  <a16:creationId xmlns:a16="http://schemas.microsoft.com/office/drawing/2014/main" id="{7289912F-2B6D-B720-B67A-C920A3C1CE75}"/>
                </a:ext>
              </a:extLst>
            </p:cNvPr>
            <p:cNvSpPr/>
            <p:nvPr/>
          </p:nvSpPr>
          <p:spPr>
            <a:xfrm flipV="1">
              <a:off x="6191656" y="5182870"/>
              <a:ext cx="77837" cy="264202"/>
            </a:xfrm>
            <a:custGeom>
              <a:avLst/>
              <a:gdLst>
                <a:gd name="connsiteX0" fmla="*/ 76697 w 77837"/>
                <a:gd name="connsiteY0" fmla="*/ 264272 h 264202"/>
                <a:gd name="connsiteX1" fmla="*/ 56308 w 77837"/>
                <a:gd name="connsiteY1" fmla="*/ 11422 h 264202"/>
                <a:gd name="connsiteX2" fmla="*/ -1141 w 77837"/>
                <a:gd name="connsiteY2" fmla="*/ 70 h 264202"/>
                <a:gd name="connsiteX3" fmla="*/ -1141 w 77837"/>
                <a:gd name="connsiteY3" fmla="*/ 264272 h 264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37" h="264202">
                  <a:moveTo>
                    <a:pt x="76697" y="264272"/>
                  </a:moveTo>
                  <a:lnTo>
                    <a:pt x="56308" y="11422"/>
                  </a:lnTo>
                  <a:lnTo>
                    <a:pt x="-1141" y="70"/>
                  </a:lnTo>
                  <a:lnTo>
                    <a:pt x="-1141" y="264272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4" name="Vrije vorm 763">
              <a:extLst>
                <a:ext uri="{FF2B5EF4-FFF2-40B4-BE49-F238E27FC236}">
                  <a16:creationId xmlns:a16="http://schemas.microsoft.com/office/drawing/2014/main" id="{00DAA388-6173-817A-931C-EFD589696A6A}"/>
                </a:ext>
              </a:extLst>
            </p:cNvPr>
            <p:cNvSpPr/>
            <p:nvPr/>
          </p:nvSpPr>
          <p:spPr>
            <a:xfrm flipV="1">
              <a:off x="6122655" y="5433372"/>
              <a:ext cx="186068" cy="186161"/>
            </a:xfrm>
            <a:custGeom>
              <a:avLst/>
              <a:gdLst>
                <a:gd name="connsiteX0" fmla="*/ 184937 w 186068"/>
                <a:gd name="connsiteY0" fmla="*/ 93334 h 186161"/>
                <a:gd name="connsiteX1" fmla="*/ 91897 w 186068"/>
                <a:gd name="connsiteY1" fmla="*/ 259 h 186161"/>
                <a:gd name="connsiteX2" fmla="*/ -1131 w 186068"/>
                <a:gd name="connsiteY2" fmla="*/ 93334 h 186161"/>
                <a:gd name="connsiteX3" fmla="*/ 91897 w 186068"/>
                <a:gd name="connsiteY3" fmla="*/ 186420 h 186161"/>
                <a:gd name="connsiteX4" fmla="*/ 184937 w 186068"/>
                <a:gd name="connsiteY4" fmla="*/ 93334 h 1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068" h="186161">
                  <a:moveTo>
                    <a:pt x="184937" y="93334"/>
                  </a:moveTo>
                  <a:cubicBezTo>
                    <a:pt x="184937" y="41934"/>
                    <a:pt x="143286" y="259"/>
                    <a:pt x="91897" y="259"/>
                  </a:cubicBezTo>
                  <a:cubicBezTo>
                    <a:pt x="40520" y="259"/>
                    <a:pt x="-1131" y="41934"/>
                    <a:pt x="-1131" y="93334"/>
                  </a:cubicBezTo>
                  <a:cubicBezTo>
                    <a:pt x="-1131" y="144747"/>
                    <a:pt x="40520" y="186420"/>
                    <a:pt x="91897" y="186420"/>
                  </a:cubicBezTo>
                  <a:cubicBezTo>
                    <a:pt x="143286" y="186420"/>
                    <a:pt x="184937" y="144747"/>
                    <a:pt x="184937" y="9333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5" name="Vrije vorm 764">
              <a:extLst>
                <a:ext uri="{FF2B5EF4-FFF2-40B4-BE49-F238E27FC236}">
                  <a16:creationId xmlns:a16="http://schemas.microsoft.com/office/drawing/2014/main" id="{7EAD3C3D-1B64-241E-239B-20DF4772BE6C}"/>
                </a:ext>
              </a:extLst>
            </p:cNvPr>
            <p:cNvSpPr/>
            <p:nvPr/>
          </p:nvSpPr>
          <p:spPr>
            <a:xfrm flipV="1">
              <a:off x="6155292" y="4495689"/>
              <a:ext cx="132536" cy="5873"/>
            </a:xfrm>
            <a:custGeom>
              <a:avLst/>
              <a:gdLst>
                <a:gd name="connsiteX0" fmla="*/ -1135 w 132536"/>
                <a:gd name="connsiteY0" fmla="*/ 2271 h 5873"/>
                <a:gd name="connsiteX1" fmla="*/ 65139 w 132536"/>
                <a:gd name="connsiteY1" fmla="*/ -659 h 5873"/>
                <a:gd name="connsiteX2" fmla="*/ 131401 w 132536"/>
                <a:gd name="connsiteY2" fmla="*/ 2271 h 5873"/>
                <a:gd name="connsiteX3" fmla="*/ 65139 w 132536"/>
                <a:gd name="connsiteY3" fmla="*/ 5214 h 5873"/>
                <a:gd name="connsiteX4" fmla="*/ -1135 w 132536"/>
                <a:gd name="connsiteY4" fmla="*/ 2271 h 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536" h="5873">
                  <a:moveTo>
                    <a:pt x="-1135" y="2271"/>
                  </a:moveTo>
                  <a:cubicBezTo>
                    <a:pt x="-1135" y="647"/>
                    <a:pt x="28547" y="-659"/>
                    <a:pt x="65139" y="-659"/>
                  </a:cubicBezTo>
                  <a:cubicBezTo>
                    <a:pt x="101744" y="-659"/>
                    <a:pt x="131401" y="647"/>
                    <a:pt x="131401" y="2271"/>
                  </a:cubicBezTo>
                  <a:cubicBezTo>
                    <a:pt x="131401" y="3895"/>
                    <a:pt x="101744" y="5214"/>
                    <a:pt x="65139" y="5214"/>
                  </a:cubicBezTo>
                  <a:cubicBezTo>
                    <a:pt x="28547" y="5214"/>
                    <a:pt x="-1135" y="3895"/>
                    <a:pt x="-1135" y="2271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6" name="Vrije vorm 765">
              <a:extLst>
                <a:ext uri="{FF2B5EF4-FFF2-40B4-BE49-F238E27FC236}">
                  <a16:creationId xmlns:a16="http://schemas.microsoft.com/office/drawing/2014/main" id="{C7EEB8B4-81A2-C9F9-04A1-B5C6E2EBAECF}"/>
                </a:ext>
              </a:extLst>
            </p:cNvPr>
            <p:cNvSpPr/>
            <p:nvPr/>
          </p:nvSpPr>
          <p:spPr>
            <a:xfrm flipV="1">
              <a:off x="6152631" y="5148597"/>
              <a:ext cx="133961" cy="18674"/>
            </a:xfrm>
            <a:custGeom>
              <a:avLst/>
              <a:gdLst>
                <a:gd name="connsiteX0" fmla="*/ -1110 w 133961"/>
                <a:gd name="connsiteY0" fmla="*/ 18444 h 18674"/>
                <a:gd name="connsiteX1" fmla="*/ 65405 w 133961"/>
                <a:gd name="connsiteY1" fmla="*/ 1 h 18674"/>
                <a:gd name="connsiteX2" fmla="*/ 132808 w 133961"/>
                <a:gd name="connsiteY2" fmla="*/ 14946 h 18674"/>
                <a:gd name="connsiteX3" fmla="*/ 65570 w 133961"/>
                <a:gd name="connsiteY3" fmla="*/ 5873 h 18674"/>
                <a:gd name="connsiteX4" fmla="*/ -1110 w 133961"/>
                <a:gd name="connsiteY4" fmla="*/ 18444 h 1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961" h="18674">
                  <a:moveTo>
                    <a:pt x="-1110" y="18444"/>
                  </a:moveTo>
                  <a:cubicBezTo>
                    <a:pt x="-2061" y="17394"/>
                    <a:pt x="26175" y="823"/>
                    <a:pt x="65405" y="1"/>
                  </a:cubicBezTo>
                  <a:cubicBezTo>
                    <a:pt x="104647" y="-1228"/>
                    <a:pt x="133708" y="13851"/>
                    <a:pt x="132808" y="14946"/>
                  </a:cubicBezTo>
                  <a:cubicBezTo>
                    <a:pt x="132250" y="16760"/>
                    <a:pt x="103265" y="4644"/>
                    <a:pt x="65570" y="5873"/>
                  </a:cubicBezTo>
                  <a:cubicBezTo>
                    <a:pt x="27862" y="6611"/>
                    <a:pt x="-464" y="20223"/>
                    <a:pt x="-1110" y="1844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7" name="Vrije vorm 766">
              <a:extLst>
                <a:ext uri="{FF2B5EF4-FFF2-40B4-BE49-F238E27FC236}">
                  <a16:creationId xmlns:a16="http://schemas.microsoft.com/office/drawing/2014/main" id="{FE623B8C-3353-6D62-9001-8875F2C8C12C}"/>
                </a:ext>
              </a:extLst>
            </p:cNvPr>
            <p:cNvSpPr/>
            <p:nvPr/>
          </p:nvSpPr>
          <p:spPr>
            <a:xfrm flipV="1">
              <a:off x="5395223" y="2336876"/>
              <a:ext cx="1236403" cy="1879653"/>
            </a:xfrm>
            <a:custGeom>
              <a:avLst/>
              <a:gdLst>
                <a:gd name="connsiteX0" fmla="*/ 943509 w 1236403"/>
                <a:gd name="connsiteY0" fmla="*/ 1877902 h 1879653"/>
                <a:gd name="connsiteX1" fmla="*/ 290918 w 1236403"/>
                <a:gd name="connsiteY1" fmla="*/ 1877902 h 1879653"/>
                <a:gd name="connsiteX2" fmla="*/ -993 w 1236403"/>
                <a:gd name="connsiteY2" fmla="*/ 1585854 h 1879653"/>
                <a:gd name="connsiteX3" fmla="*/ -993 w 1236403"/>
                <a:gd name="connsiteY3" fmla="*/ 144260 h 1879653"/>
                <a:gd name="connsiteX4" fmla="*/ 144948 w 1236403"/>
                <a:gd name="connsiteY4" fmla="*/ -1751 h 1879653"/>
                <a:gd name="connsiteX5" fmla="*/ 1089485 w 1236403"/>
                <a:gd name="connsiteY5" fmla="*/ -1751 h 1879653"/>
                <a:gd name="connsiteX6" fmla="*/ 1235411 w 1236403"/>
                <a:gd name="connsiteY6" fmla="*/ 144260 h 1879653"/>
                <a:gd name="connsiteX7" fmla="*/ 1235411 w 1236403"/>
                <a:gd name="connsiteY7" fmla="*/ 1585854 h 1879653"/>
                <a:gd name="connsiteX8" fmla="*/ 943509 w 1236403"/>
                <a:gd name="connsiteY8" fmla="*/ 1877902 h 187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36403" h="1879653">
                  <a:moveTo>
                    <a:pt x="943509" y="1877902"/>
                  </a:moveTo>
                  <a:lnTo>
                    <a:pt x="290918" y="1877902"/>
                  </a:lnTo>
                  <a:cubicBezTo>
                    <a:pt x="129702" y="1877902"/>
                    <a:pt x="-993" y="1747152"/>
                    <a:pt x="-993" y="1585854"/>
                  </a:cubicBezTo>
                  <a:lnTo>
                    <a:pt x="-993" y="144260"/>
                  </a:lnTo>
                  <a:cubicBezTo>
                    <a:pt x="-993" y="63618"/>
                    <a:pt x="64345" y="-1751"/>
                    <a:pt x="144948" y="-1751"/>
                  </a:cubicBezTo>
                  <a:lnTo>
                    <a:pt x="1089485" y="-1751"/>
                  </a:lnTo>
                  <a:cubicBezTo>
                    <a:pt x="1170074" y="-1751"/>
                    <a:pt x="1235411" y="63618"/>
                    <a:pt x="1235411" y="144260"/>
                  </a:cubicBezTo>
                  <a:lnTo>
                    <a:pt x="1235411" y="1585854"/>
                  </a:lnTo>
                  <a:cubicBezTo>
                    <a:pt x="1235411" y="1747152"/>
                    <a:pt x="1104725" y="1877902"/>
                    <a:pt x="943509" y="1877902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8" name="Vrije vorm 767">
              <a:extLst>
                <a:ext uri="{FF2B5EF4-FFF2-40B4-BE49-F238E27FC236}">
                  <a16:creationId xmlns:a16="http://schemas.microsoft.com/office/drawing/2014/main" id="{20CAB2AE-4A2F-89C4-DA73-983C631FBC5A}"/>
                </a:ext>
              </a:extLst>
            </p:cNvPr>
            <p:cNvSpPr/>
            <p:nvPr/>
          </p:nvSpPr>
          <p:spPr>
            <a:xfrm flipV="1">
              <a:off x="5395223" y="4183876"/>
              <a:ext cx="1474354" cy="178169"/>
            </a:xfrm>
            <a:custGeom>
              <a:avLst/>
              <a:gdLst>
                <a:gd name="connsiteX0" fmla="*/ 1396736 w 1474354"/>
                <a:gd name="connsiteY0" fmla="*/ -861 h 178169"/>
                <a:gd name="connsiteX1" fmla="*/ 75477 w 1474354"/>
                <a:gd name="connsiteY1" fmla="*/ -861 h 178169"/>
                <a:gd name="connsiteX2" fmla="*/ -1074 w 1474354"/>
                <a:gd name="connsiteY2" fmla="*/ 75722 h 178169"/>
                <a:gd name="connsiteX3" fmla="*/ -1074 w 1474354"/>
                <a:gd name="connsiteY3" fmla="*/ 100725 h 178169"/>
                <a:gd name="connsiteX4" fmla="*/ 75477 w 1474354"/>
                <a:gd name="connsiteY4" fmla="*/ 177309 h 178169"/>
                <a:gd name="connsiteX5" fmla="*/ 1396736 w 1474354"/>
                <a:gd name="connsiteY5" fmla="*/ 177309 h 178169"/>
                <a:gd name="connsiteX6" fmla="*/ 1473281 w 1474354"/>
                <a:gd name="connsiteY6" fmla="*/ 100725 h 178169"/>
                <a:gd name="connsiteX7" fmla="*/ 1473281 w 1474354"/>
                <a:gd name="connsiteY7" fmla="*/ 75722 h 178169"/>
                <a:gd name="connsiteX8" fmla="*/ 1396736 w 1474354"/>
                <a:gd name="connsiteY8" fmla="*/ -861 h 178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4354" h="178169">
                  <a:moveTo>
                    <a:pt x="1396736" y="-861"/>
                  </a:moveTo>
                  <a:lnTo>
                    <a:pt x="75477" y="-861"/>
                  </a:lnTo>
                  <a:cubicBezTo>
                    <a:pt x="33199" y="-861"/>
                    <a:pt x="-1074" y="33428"/>
                    <a:pt x="-1074" y="75722"/>
                  </a:cubicBezTo>
                  <a:lnTo>
                    <a:pt x="-1074" y="100725"/>
                  </a:lnTo>
                  <a:cubicBezTo>
                    <a:pt x="-1074" y="143019"/>
                    <a:pt x="33199" y="177309"/>
                    <a:pt x="75477" y="177309"/>
                  </a:cubicBezTo>
                  <a:lnTo>
                    <a:pt x="1396736" y="177309"/>
                  </a:lnTo>
                  <a:cubicBezTo>
                    <a:pt x="1439009" y="177309"/>
                    <a:pt x="1473281" y="143019"/>
                    <a:pt x="1473281" y="100725"/>
                  </a:cubicBezTo>
                  <a:lnTo>
                    <a:pt x="1473281" y="75722"/>
                  </a:lnTo>
                  <a:cubicBezTo>
                    <a:pt x="1473281" y="33428"/>
                    <a:pt x="1439009" y="-861"/>
                    <a:pt x="1396736" y="-861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9" name="Vrije vorm 768">
              <a:extLst>
                <a:ext uri="{FF2B5EF4-FFF2-40B4-BE49-F238E27FC236}">
                  <a16:creationId xmlns:a16="http://schemas.microsoft.com/office/drawing/2014/main" id="{91ED7766-6318-B24E-B410-AACCE32522A7}"/>
                </a:ext>
              </a:extLst>
            </p:cNvPr>
            <p:cNvSpPr/>
            <p:nvPr/>
          </p:nvSpPr>
          <p:spPr>
            <a:xfrm flipV="1">
              <a:off x="5442691" y="4179677"/>
              <a:ext cx="1215218" cy="6495"/>
            </a:xfrm>
            <a:custGeom>
              <a:avLst/>
              <a:gdLst>
                <a:gd name="connsiteX0" fmla="*/ 1214201 w 1215218"/>
                <a:gd name="connsiteY0" fmla="*/ 2306 h 6495"/>
                <a:gd name="connsiteX1" fmla="*/ 606624 w 1215218"/>
                <a:gd name="connsiteY1" fmla="*/ 5554 h 6495"/>
                <a:gd name="connsiteX2" fmla="*/ -1018 w 1215218"/>
                <a:gd name="connsiteY2" fmla="*/ 2306 h 6495"/>
                <a:gd name="connsiteX3" fmla="*/ 606624 w 1215218"/>
                <a:gd name="connsiteY3" fmla="*/ -941 h 6495"/>
                <a:gd name="connsiteX4" fmla="*/ 1214201 w 1215218"/>
                <a:gd name="connsiteY4" fmla="*/ 2306 h 6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5218" h="6495">
                  <a:moveTo>
                    <a:pt x="1214201" y="2306"/>
                  </a:moveTo>
                  <a:cubicBezTo>
                    <a:pt x="1214201" y="4095"/>
                    <a:pt x="942142" y="5554"/>
                    <a:pt x="606624" y="5554"/>
                  </a:cubicBezTo>
                  <a:cubicBezTo>
                    <a:pt x="270981" y="5554"/>
                    <a:pt x="-1018" y="4095"/>
                    <a:pt x="-1018" y="2306"/>
                  </a:cubicBezTo>
                  <a:cubicBezTo>
                    <a:pt x="-1018" y="517"/>
                    <a:pt x="270981" y="-941"/>
                    <a:pt x="606624" y="-941"/>
                  </a:cubicBezTo>
                  <a:cubicBezTo>
                    <a:pt x="942142" y="-941"/>
                    <a:pt x="1214201" y="517"/>
                    <a:pt x="1214201" y="2306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0" name="Vrije vorm 769">
              <a:extLst>
                <a:ext uri="{FF2B5EF4-FFF2-40B4-BE49-F238E27FC236}">
                  <a16:creationId xmlns:a16="http://schemas.microsoft.com/office/drawing/2014/main" id="{F5273404-1DF3-0021-E799-75138B6B2204}"/>
                </a:ext>
              </a:extLst>
            </p:cNvPr>
            <p:cNvSpPr/>
            <p:nvPr/>
          </p:nvSpPr>
          <p:spPr>
            <a:xfrm flipV="1">
              <a:off x="6656059" y="5066658"/>
              <a:ext cx="490071" cy="526511"/>
            </a:xfrm>
            <a:custGeom>
              <a:avLst/>
              <a:gdLst>
                <a:gd name="connsiteX0" fmla="*/ 335301 w 490071"/>
                <a:gd name="connsiteY0" fmla="*/ 465541 h 526511"/>
                <a:gd name="connsiteX1" fmla="*/ 265717 w 490071"/>
                <a:gd name="connsiteY1" fmla="*/ 208151 h 526511"/>
                <a:gd name="connsiteX2" fmla="*/ 488251 w 490071"/>
                <a:gd name="connsiteY2" fmla="*/ 83 h 526511"/>
                <a:gd name="connsiteX3" fmla="*/ -1599 w 490071"/>
                <a:gd name="connsiteY3" fmla="*/ 120972 h 526511"/>
                <a:gd name="connsiteX4" fmla="*/ 90820 w 490071"/>
                <a:gd name="connsiteY4" fmla="*/ 526595 h 526511"/>
                <a:gd name="connsiteX5" fmla="*/ 335301 w 490071"/>
                <a:gd name="connsiteY5" fmla="*/ 465541 h 526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0071" h="526511">
                  <a:moveTo>
                    <a:pt x="335301" y="465541"/>
                  </a:moveTo>
                  <a:lnTo>
                    <a:pt x="265717" y="208151"/>
                  </a:lnTo>
                  <a:cubicBezTo>
                    <a:pt x="265717" y="208151"/>
                    <a:pt x="496606" y="48932"/>
                    <a:pt x="488251" y="83"/>
                  </a:cubicBezTo>
                  <a:lnTo>
                    <a:pt x="-1599" y="120972"/>
                  </a:lnTo>
                  <a:lnTo>
                    <a:pt x="90820" y="526595"/>
                  </a:lnTo>
                  <a:lnTo>
                    <a:pt x="335301" y="465541"/>
                  </a:lnTo>
                </a:path>
              </a:pathLst>
            </a:custGeom>
            <a:solidFill>
              <a:srgbClr val="A24027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1" name="Vrije vorm 770">
              <a:extLst>
                <a:ext uri="{FF2B5EF4-FFF2-40B4-BE49-F238E27FC236}">
                  <a16:creationId xmlns:a16="http://schemas.microsoft.com/office/drawing/2014/main" id="{AE47727F-9374-A5F3-569C-4C18F854A71E}"/>
                </a:ext>
              </a:extLst>
            </p:cNvPr>
            <p:cNvSpPr/>
            <p:nvPr/>
          </p:nvSpPr>
          <p:spPr>
            <a:xfrm flipV="1">
              <a:off x="6757695" y="5325661"/>
              <a:ext cx="39574" cy="40175"/>
            </a:xfrm>
            <a:custGeom>
              <a:avLst/>
              <a:gdLst>
                <a:gd name="connsiteX0" fmla="*/ 17796 w 39574"/>
                <a:gd name="connsiteY0" fmla="*/ 40048 h 40175"/>
                <a:gd name="connsiteX1" fmla="*/ -1514 w 39574"/>
                <a:gd name="connsiteY1" fmla="*/ 19965 h 40175"/>
                <a:gd name="connsiteX2" fmla="*/ 17657 w 39574"/>
                <a:gd name="connsiteY2" fmla="*/ 99 h 40175"/>
                <a:gd name="connsiteX3" fmla="*/ 37994 w 39574"/>
                <a:gd name="connsiteY3" fmla="*/ 21475 h 40175"/>
                <a:gd name="connsiteX4" fmla="*/ 15818 w 39574"/>
                <a:gd name="connsiteY4" fmla="*/ 39870 h 40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74" h="40175">
                  <a:moveTo>
                    <a:pt x="17796" y="40048"/>
                  </a:moveTo>
                  <a:cubicBezTo>
                    <a:pt x="7691" y="39716"/>
                    <a:pt x="-1413" y="30371"/>
                    <a:pt x="-1514" y="19965"/>
                  </a:cubicBezTo>
                  <a:cubicBezTo>
                    <a:pt x="-1616" y="9578"/>
                    <a:pt x="7552" y="-41"/>
                    <a:pt x="17657" y="99"/>
                  </a:cubicBezTo>
                  <a:cubicBezTo>
                    <a:pt x="27762" y="252"/>
                    <a:pt x="39022" y="11139"/>
                    <a:pt x="37994" y="21475"/>
                  </a:cubicBezTo>
                  <a:cubicBezTo>
                    <a:pt x="36955" y="31827"/>
                    <a:pt x="25594" y="42496"/>
                    <a:pt x="15818" y="39870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1024" name="Groep 1023">
              <a:extLst>
                <a:ext uri="{FF2B5EF4-FFF2-40B4-BE49-F238E27FC236}">
                  <a16:creationId xmlns:a16="http://schemas.microsoft.com/office/drawing/2014/main" id="{2BE09080-C708-3E9C-C28B-8864CF97EA04}"/>
                </a:ext>
              </a:extLst>
            </p:cNvPr>
            <p:cNvGrpSpPr/>
            <p:nvPr/>
          </p:nvGrpSpPr>
          <p:grpSpPr>
            <a:xfrm>
              <a:off x="5584441" y="1786165"/>
              <a:ext cx="858874" cy="869636"/>
              <a:chOff x="2313721" y="3183866"/>
              <a:chExt cx="585803" cy="809698"/>
            </a:xfrm>
          </p:grpSpPr>
          <p:sp>
            <p:nvSpPr>
              <p:cNvPr id="309" name="Vrije vorm 308">
                <a:extLst>
                  <a:ext uri="{FF2B5EF4-FFF2-40B4-BE49-F238E27FC236}">
                    <a16:creationId xmlns:a16="http://schemas.microsoft.com/office/drawing/2014/main" id="{E20E3417-8959-A692-230B-6478E131AE82}"/>
                  </a:ext>
                </a:extLst>
              </p:cNvPr>
              <p:cNvSpPr/>
              <p:nvPr/>
            </p:nvSpPr>
            <p:spPr>
              <a:xfrm flipV="1">
                <a:off x="2537891" y="3696037"/>
                <a:ext cx="193296" cy="297527"/>
              </a:xfrm>
              <a:custGeom>
                <a:avLst/>
                <a:gdLst>
                  <a:gd name="connsiteX0" fmla="*/ 66547 w 71754"/>
                  <a:gd name="connsiteY0" fmla="*/ 110596 h 148616"/>
                  <a:gd name="connsiteX1" fmla="*/ 63780 w 71754"/>
                  <a:gd name="connsiteY1" fmla="*/ -3788 h 148616"/>
                  <a:gd name="connsiteX2" fmla="*/ -5207 w 71754"/>
                  <a:gd name="connsiteY2" fmla="*/ 27038 h 148616"/>
                  <a:gd name="connsiteX3" fmla="*/ -3031 w 71754"/>
                  <a:gd name="connsiteY3" fmla="*/ 144829 h 148616"/>
                  <a:gd name="connsiteX4" fmla="*/ 66547 w 71754"/>
                  <a:gd name="connsiteY4" fmla="*/ 11059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66547" y="110596"/>
                    </a:moveTo>
                    <a:lnTo>
                      <a:pt x="63780" y="-3788"/>
                    </a:lnTo>
                    <a:lnTo>
                      <a:pt x="-5207" y="27038"/>
                    </a:lnTo>
                    <a:lnTo>
                      <a:pt x="-3031" y="144829"/>
                    </a:lnTo>
                    <a:lnTo>
                      <a:pt x="66547" y="11059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2" name="Vrije vorm 321">
                <a:extLst>
                  <a:ext uri="{FF2B5EF4-FFF2-40B4-BE49-F238E27FC236}">
                    <a16:creationId xmlns:a16="http://schemas.microsoft.com/office/drawing/2014/main" id="{4F50029B-6D90-A82A-A7E2-C560113ADB33}"/>
                  </a:ext>
                </a:extLst>
              </p:cNvPr>
              <p:cNvSpPr/>
              <p:nvPr/>
            </p:nvSpPr>
            <p:spPr>
              <a:xfrm flipV="1">
                <a:off x="2313721" y="3183866"/>
                <a:ext cx="585803" cy="607746"/>
              </a:xfrm>
              <a:custGeom>
                <a:avLst/>
                <a:gdLst>
                  <a:gd name="connsiteX0" fmla="*/ 92306 w 217458"/>
                  <a:gd name="connsiteY0" fmla="*/ 294432 h 303572"/>
                  <a:gd name="connsiteX1" fmla="*/ 28511 w 217458"/>
                  <a:gd name="connsiteY1" fmla="*/ 234490 h 303572"/>
                  <a:gd name="connsiteX2" fmla="*/ 31858 w 217458"/>
                  <a:gd name="connsiteY2" fmla="*/ 158369 h 303572"/>
                  <a:gd name="connsiteX3" fmla="*/ 5007 w 217458"/>
                  <a:gd name="connsiteY3" fmla="*/ 165682 h 303572"/>
                  <a:gd name="connsiteX4" fmla="*/ 33091 w 217458"/>
                  <a:gd name="connsiteY4" fmla="*/ 91974 h 303572"/>
                  <a:gd name="connsiteX5" fmla="*/ 38988 w 217458"/>
                  <a:gd name="connsiteY5" fmla="*/ 51785 h 303572"/>
                  <a:gd name="connsiteX6" fmla="*/ 127531 w 217458"/>
                  <a:gd name="connsiteY6" fmla="*/ -3402 h 303572"/>
                  <a:gd name="connsiteX7" fmla="*/ 211306 w 217458"/>
                  <a:gd name="connsiteY7" fmla="*/ 60351 h 303572"/>
                  <a:gd name="connsiteX8" fmla="*/ 212260 w 217458"/>
                  <a:gd name="connsiteY8" fmla="*/ 246857 h 303572"/>
                  <a:gd name="connsiteX9" fmla="*/ 92306 w 217458"/>
                  <a:gd name="connsiteY9" fmla="*/ 294432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8" h="303572">
                    <a:moveTo>
                      <a:pt x="92306" y="294432"/>
                    </a:moveTo>
                    <a:cubicBezTo>
                      <a:pt x="26769" y="279495"/>
                      <a:pt x="28511" y="234490"/>
                      <a:pt x="28511" y="234490"/>
                    </a:cubicBezTo>
                    <a:cubicBezTo>
                      <a:pt x="28511" y="234490"/>
                      <a:pt x="30563" y="199739"/>
                      <a:pt x="31858" y="158369"/>
                    </a:cubicBezTo>
                    <a:cubicBezTo>
                      <a:pt x="25795" y="166707"/>
                      <a:pt x="15536" y="170187"/>
                      <a:pt x="5007" y="165682"/>
                    </a:cubicBezTo>
                    <a:cubicBezTo>
                      <a:pt x="-17305" y="156142"/>
                      <a:pt x="-828" y="85894"/>
                      <a:pt x="33091" y="91974"/>
                    </a:cubicBezTo>
                    <a:cubicBezTo>
                      <a:pt x="34552" y="72356"/>
                      <a:pt x="36469" y="57078"/>
                      <a:pt x="38988" y="51785"/>
                    </a:cubicBezTo>
                    <a:cubicBezTo>
                      <a:pt x="48511" y="31805"/>
                      <a:pt x="90399" y="1362"/>
                      <a:pt x="127531" y="-3402"/>
                    </a:cubicBezTo>
                    <a:cubicBezTo>
                      <a:pt x="164662" y="-8156"/>
                      <a:pt x="211306" y="16578"/>
                      <a:pt x="211306" y="60351"/>
                    </a:cubicBezTo>
                    <a:cubicBezTo>
                      <a:pt x="211306" y="104124"/>
                      <a:pt x="212260" y="246857"/>
                      <a:pt x="212260" y="246857"/>
                    </a:cubicBezTo>
                    <a:cubicBezTo>
                      <a:pt x="212260" y="246857"/>
                      <a:pt x="200829" y="319177"/>
                      <a:pt x="92306" y="29443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3" name="Vrije vorm 322">
                <a:extLst>
                  <a:ext uri="{FF2B5EF4-FFF2-40B4-BE49-F238E27FC236}">
                    <a16:creationId xmlns:a16="http://schemas.microsoft.com/office/drawing/2014/main" id="{9B3BE788-FE35-88B3-A8C8-08C9785C95E7}"/>
                  </a:ext>
                </a:extLst>
              </p:cNvPr>
              <p:cNvSpPr/>
              <p:nvPr/>
            </p:nvSpPr>
            <p:spPr>
              <a:xfrm flipV="1">
                <a:off x="2739254" y="3447551"/>
                <a:ext cx="91147" cy="165726"/>
              </a:xfrm>
              <a:custGeom>
                <a:avLst/>
                <a:gdLst>
                  <a:gd name="connsiteX0" fmla="*/ -5254 w 33835"/>
                  <a:gd name="connsiteY0" fmla="*/ 78822 h 82781"/>
                  <a:gd name="connsiteX1" fmla="*/ 8612 w 33835"/>
                  <a:gd name="connsiteY1" fmla="*/ 43014 h 82781"/>
                  <a:gd name="connsiteX2" fmla="*/ 27256 w 33835"/>
                  <a:gd name="connsiteY2" fmla="*/ 10593 h 82781"/>
                  <a:gd name="connsiteX3" fmla="*/ 28582 w 33835"/>
                  <a:gd name="connsiteY3" fmla="*/ 9174 h 82781"/>
                  <a:gd name="connsiteX4" fmla="*/ 27245 w 33835"/>
                  <a:gd name="connsiteY4" fmla="*/ 8108 h 82781"/>
                  <a:gd name="connsiteX5" fmla="*/ 10923 w 33835"/>
                  <a:gd name="connsiteY5" fmla="*/ -3959 h 82781"/>
                  <a:gd name="connsiteX6" fmla="*/ 25069 w 33835"/>
                  <a:gd name="connsiteY6" fmla="*/ 10604 h 82781"/>
                  <a:gd name="connsiteX7" fmla="*/ 25048 w 33835"/>
                  <a:gd name="connsiteY7" fmla="*/ 8128 h 82781"/>
                  <a:gd name="connsiteX8" fmla="*/ 12716 w 33835"/>
                  <a:gd name="connsiteY8" fmla="*/ 23645 h 82781"/>
                  <a:gd name="connsiteX9" fmla="*/ 4404 w 33835"/>
                  <a:gd name="connsiteY9" fmla="*/ 41326 h 82781"/>
                  <a:gd name="connsiteX10" fmla="*/ -5254 w 33835"/>
                  <a:gd name="connsiteY10" fmla="*/ 78822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5" h="82781">
                    <a:moveTo>
                      <a:pt x="-5254" y="78822"/>
                    </a:moveTo>
                    <a:cubicBezTo>
                      <a:pt x="-746" y="66723"/>
                      <a:pt x="3752" y="54760"/>
                      <a:pt x="8612" y="43014"/>
                    </a:cubicBezTo>
                    <a:cubicBezTo>
                      <a:pt x="13752" y="31486"/>
                      <a:pt x="18882" y="19646"/>
                      <a:pt x="27256" y="10593"/>
                    </a:cubicBezTo>
                    <a:lnTo>
                      <a:pt x="28582" y="9174"/>
                    </a:lnTo>
                    <a:lnTo>
                      <a:pt x="27245" y="8108"/>
                    </a:lnTo>
                    <a:cubicBezTo>
                      <a:pt x="21960" y="3913"/>
                      <a:pt x="16540" y="-137"/>
                      <a:pt x="10923" y="-3959"/>
                    </a:cubicBezTo>
                    <a:cubicBezTo>
                      <a:pt x="15473" y="1095"/>
                      <a:pt x="20198" y="5922"/>
                      <a:pt x="25069" y="10604"/>
                    </a:cubicBezTo>
                    <a:lnTo>
                      <a:pt x="25048" y="8128"/>
                    </a:lnTo>
                    <a:cubicBezTo>
                      <a:pt x="19732" y="12385"/>
                      <a:pt x="16042" y="18020"/>
                      <a:pt x="12716" y="23645"/>
                    </a:cubicBezTo>
                    <a:cubicBezTo>
                      <a:pt x="9317" y="29259"/>
                      <a:pt x="6653" y="35235"/>
                      <a:pt x="4404" y="41326"/>
                    </a:cubicBezTo>
                    <a:cubicBezTo>
                      <a:pt x="-342" y="53403"/>
                      <a:pt x="-3513" y="66019"/>
                      <a:pt x="-5254" y="7882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4" name="Vrije vorm 323">
                <a:extLst>
                  <a:ext uri="{FF2B5EF4-FFF2-40B4-BE49-F238E27FC236}">
                    <a16:creationId xmlns:a16="http://schemas.microsoft.com/office/drawing/2014/main" id="{C1A60963-48A5-24A8-A23E-C12511E59772}"/>
                  </a:ext>
                </a:extLst>
              </p:cNvPr>
              <p:cNvSpPr/>
              <p:nvPr/>
            </p:nvSpPr>
            <p:spPr>
              <a:xfrm flipV="1">
                <a:off x="2592091" y="3425343"/>
                <a:ext cx="51143" cy="69177"/>
              </a:xfrm>
              <a:custGeom>
                <a:avLst/>
                <a:gdLst>
                  <a:gd name="connsiteX0" fmla="*/ 13787 w 18985"/>
                  <a:gd name="connsiteY0" fmla="*/ 13279 h 34554"/>
                  <a:gd name="connsiteX1" fmla="*/ 4294 w 18985"/>
                  <a:gd name="connsiteY1" fmla="*/ -3998 h 34554"/>
                  <a:gd name="connsiteX2" fmla="*/ -5199 w 18985"/>
                  <a:gd name="connsiteY2" fmla="*/ 13279 h 34554"/>
                  <a:gd name="connsiteX3" fmla="*/ 4294 w 18985"/>
                  <a:gd name="connsiteY3" fmla="*/ 30556 h 34554"/>
                  <a:gd name="connsiteX4" fmla="*/ 13787 w 18985"/>
                  <a:gd name="connsiteY4" fmla="*/ 13279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13787" y="13279"/>
                    </a:moveTo>
                    <a:cubicBezTo>
                      <a:pt x="13787" y="3739"/>
                      <a:pt x="9538" y="-3998"/>
                      <a:pt x="4294" y="-3998"/>
                    </a:cubicBezTo>
                    <a:cubicBezTo>
                      <a:pt x="-950" y="-3998"/>
                      <a:pt x="-5199" y="3739"/>
                      <a:pt x="-5199" y="13279"/>
                    </a:cubicBezTo>
                    <a:cubicBezTo>
                      <a:pt x="-5199" y="22819"/>
                      <a:pt x="-950" y="30556"/>
                      <a:pt x="4294" y="30556"/>
                    </a:cubicBezTo>
                    <a:cubicBezTo>
                      <a:pt x="9538" y="30556"/>
                      <a:pt x="13787" y="22819"/>
                      <a:pt x="13787" y="13279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5" name="Vrije vorm 324">
                <a:extLst>
                  <a:ext uri="{FF2B5EF4-FFF2-40B4-BE49-F238E27FC236}">
                    <a16:creationId xmlns:a16="http://schemas.microsoft.com/office/drawing/2014/main" id="{1E16C501-F03C-3EFE-81E0-D3C29C0A5CA0}"/>
                  </a:ext>
                </a:extLst>
              </p:cNvPr>
              <p:cNvSpPr/>
              <p:nvPr/>
            </p:nvSpPr>
            <p:spPr>
              <a:xfrm flipV="1">
                <a:off x="2826682" y="3425939"/>
                <a:ext cx="51143" cy="69177"/>
              </a:xfrm>
              <a:custGeom>
                <a:avLst/>
                <a:gdLst>
                  <a:gd name="connsiteX0" fmla="*/ 13720 w 18985"/>
                  <a:gd name="connsiteY0" fmla="*/ 13284 h 34554"/>
                  <a:gd name="connsiteX1" fmla="*/ 4227 w 18985"/>
                  <a:gd name="connsiteY1" fmla="*/ -3994 h 34554"/>
                  <a:gd name="connsiteX2" fmla="*/ -5265 w 18985"/>
                  <a:gd name="connsiteY2" fmla="*/ 13284 h 34554"/>
                  <a:gd name="connsiteX3" fmla="*/ 4227 w 18985"/>
                  <a:gd name="connsiteY3" fmla="*/ 30560 h 34554"/>
                  <a:gd name="connsiteX4" fmla="*/ 13720 w 18985"/>
                  <a:gd name="connsiteY4" fmla="*/ 13284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13720" y="13284"/>
                    </a:moveTo>
                    <a:cubicBezTo>
                      <a:pt x="13720" y="3744"/>
                      <a:pt x="9461" y="-3994"/>
                      <a:pt x="4227" y="-3994"/>
                    </a:cubicBezTo>
                    <a:cubicBezTo>
                      <a:pt x="-1016" y="-3994"/>
                      <a:pt x="-5265" y="3744"/>
                      <a:pt x="-5265" y="13284"/>
                    </a:cubicBezTo>
                    <a:cubicBezTo>
                      <a:pt x="-5265" y="22833"/>
                      <a:pt x="-1016" y="30560"/>
                      <a:pt x="4227" y="30560"/>
                    </a:cubicBezTo>
                    <a:cubicBezTo>
                      <a:pt x="9461" y="30560"/>
                      <a:pt x="13720" y="22833"/>
                      <a:pt x="13720" y="13284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6" name="Vrije vorm 325">
                <a:extLst>
                  <a:ext uri="{FF2B5EF4-FFF2-40B4-BE49-F238E27FC236}">
                    <a16:creationId xmlns:a16="http://schemas.microsoft.com/office/drawing/2014/main" id="{13365F96-16B4-AC06-041A-69E1204FF4F3}"/>
                  </a:ext>
                </a:extLst>
              </p:cNvPr>
              <p:cNvSpPr/>
              <p:nvPr/>
            </p:nvSpPr>
            <p:spPr>
              <a:xfrm rot="11623917" flipV="1">
                <a:off x="2512902" y="3349552"/>
                <a:ext cx="120537" cy="62312"/>
              </a:xfrm>
              <a:custGeom>
                <a:avLst/>
                <a:gdLst>
                  <a:gd name="connsiteX0" fmla="*/ -5188 w 44745"/>
                  <a:gd name="connsiteY0" fmla="*/ -664 h 31125"/>
                  <a:gd name="connsiteX1" fmla="*/ 21062 w 44745"/>
                  <a:gd name="connsiteY1" fmla="*/ 8254 h 31125"/>
                  <a:gd name="connsiteX2" fmla="*/ 30907 w 44745"/>
                  <a:gd name="connsiteY2" fmla="*/ 15515 h 31125"/>
                  <a:gd name="connsiteX3" fmla="*/ 38762 w 44745"/>
                  <a:gd name="connsiteY3" fmla="*/ 27085 h 31125"/>
                  <a:gd name="connsiteX4" fmla="*/ 37291 w 44745"/>
                  <a:gd name="connsiteY4" fmla="*/ 11309 h 31125"/>
                  <a:gd name="connsiteX5" fmla="*/ 25497 w 44745"/>
                  <a:gd name="connsiteY5" fmla="*/ -478 h 31125"/>
                  <a:gd name="connsiteX6" fmla="*/ 9911 w 44745"/>
                  <a:gd name="connsiteY6" fmla="*/ -4041 h 31125"/>
                  <a:gd name="connsiteX7" fmla="*/ -5188 w 44745"/>
                  <a:gd name="connsiteY7" fmla="*/ -664 h 31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745" h="31125">
                    <a:moveTo>
                      <a:pt x="-5188" y="-664"/>
                    </a:moveTo>
                    <a:cubicBezTo>
                      <a:pt x="4709" y="2412"/>
                      <a:pt x="13538" y="4442"/>
                      <a:pt x="21062" y="8254"/>
                    </a:cubicBezTo>
                    <a:cubicBezTo>
                      <a:pt x="24803" y="10118"/>
                      <a:pt x="27953" y="12532"/>
                      <a:pt x="30907" y="15515"/>
                    </a:cubicBezTo>
                    <a:cubicBezTo>
                      <a:pt x="34005" y="18488"/>
                      <a:pt x="35923" y="22538"/>
                      <a:pt x="38762" y="27085"/>
                    </a:cubicBezTo>
                    <a:cubicBezTo>
                      <a:pt x="39985" y="22123"/>
                      <a:pt x="40016" y="16302"/>
                      <a:pt x="37291" y="11309"/>
                    </a:cubicBezTo>
                    <a:cubicBezTo>
                      <a:pt x="34855" y="6203"/>
                      <a:pt x="30409" y="2122"/>
                      <a:pt x="25497" y="-478"/>
                    </a:cubicBezTo>
                    <a:cubicBezTo>
                      <a:pt x="20492" y="-2881"/>
                      <a:pt x="15155" y="-4062"/>
                      <a:pt x="9911" y="-4041"/>
                    </a:cubicBezTo>
                    <a:cubicBezTo>
                      <a:pt x="4688" y="-4041"/>
                      <a:pt x="-504" y="-3150"/>
                      <a:pt x="-5188" y="-664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7" name="Vrije vorm 326">
                <a:extLst>
                  <a:ext uri="{FF2B5EF4-FFF2-40B4-BE49-F238E27FC236}">
                    <a16:creationId xmlns:a16="http://schemas.microsoft.com/office/drawing/2014/main" id="{6B5225BF-FD70-AAE8-B5C8-9A494B2CA399}"/>
                  </a:ext>
                </a:extLst>
              </p:cNvPr>
              <p:cNvSpPr/>
              <p:nvPr/>
            </p:nvSpPr>
            <p:spPr>
              <a:xfrm rot="10800000" flipV="1">
                <a:off x="2752446" y="3356953"/>
                <a:ext cx="103636" cy="47992"/>
              </a:xfrm>
              <a:custGeom>
                <a:avLst/>
                <a:gdLst>
                  <a:gd name="connsiteX0" fmla="*/ 33202 w 38471"/>
                  <a:gd name="connsiteY0" fmla="*/ 3017 h 23972"/>
                  <a:gd name="connsiteX1" fmla="*/ 21658 w 38471"/>
                  <a:gd name="connsiteY1" fmla="*/ -3260 h 23972"/>
                  <a:gd name="connsiteX2" fmla="*/ 7771 w 38471"/>
                  <a:gd name="connsiteY2" fmla="*/ -2825 h 23972"/>
                  <a:gd name="connsiteX3" fmla="*/ -3110 w 38471"/>
                  <a:gd name="connsiteY3" fmla="*/ 6683 h 23972"/>
                  <a:gd name="connsiteX4" fmla="*/ -4841 w 38471"/>
                  <a:gd name="connsiteY4" fmla="*/ 19931 h 23972"/>
                  <a:gd name="connsiteX5" fmla="*/ 2486 w 38471"/>
                  <a:gd name="connsiteY5" fmla="*/ 10599 h 23972"/>
                  <a:gd name="connsiteX6" fmla="*/ 10662 w 38471"/>
                  <a:gd name="connsiteY6" fmla="*/ 5420 h 23972"/>
                  <a:gd name="connsiteX7" fmla="*/ 33202 w 38471"/>
                  <a:gd name="connsiteY7" fmla="*/ 3017 h 23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71" h="23972">
                    <a:moveTo>
                      <a:pt x="33202" y="3017"/>
                    </a:moveTo>
                    <a:cubicBezTo>
                      <a:pt x="30042" y="-194"/>
                      <a:pt x="26000" y="-2162"/>
                      <a:pt x="21658" y="-3260"/>
                    </a:cubicBezTo>
                    <a:cubicBezTo>
                      <a:pt x="17305" y="-4379"/>
                      <a:pt x="12466" y="-4348"/>
                      <a:pt x="7771" y="-2825"/>
                    </a:cubicBezTo>
                    <a:cubicBezTo>
                      <a:pt x="3087" y="-1261"/>
                      <a:pt x="-1089" y="2364"/>
                      <a:pt x="-3110" y="6683"/>
                    </a:cubicBezTo>
                    <a:cubicBezTo>
                      <a:pt x="-5421" y="10910"/>
                      <a:pt x="-5660" y="15633"/>
                      <a:pt x="-4841" y="19931"/>
                    </a:cubicBezTo>
                    <a:cubicBezTo>
                      <a:pt x="-2095" y="16337"/>
                      <a:pt x="-136" y="12991"/>
                      <a:pt x="2486" y="10599"/>
                    </a:cubicBezTo>
                    <a:cubicBezTo>
                      <a:pt x="4973" y="8154"/>
                      <a:pt x="7533" y="6352"/>
                      <a:pt x="10662" y="5420"/>
                    </a:cubicBezTo>
                    <a:cubicBezTo>
                      <a:pt x="16860" y="3213"/>
                      <a:pt x="24445" y="3358"/>
                      <a:pt x="33202" y="3017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8" name="Vrije vorm 327">
                <a:extLst>
                  <a:ext uri="{FF2B5EF4-FFF2-40B4-BE49-F238E27FC236}">
                    <a16:creationId xmlns:a16="http://schemas.microsoft.com/office/drawing/2014/main" id="{2FF90951-77DE-8EC2-21E3-F644EEA5BA1D}"/>
                  </a:ext>
                </a:extLst>
              </p:cNvPr>
              <p:cNvSpPr/>
              <p:nvPr/>
            </p:nvSpPr>
            <p:spPr>
              <a:xfrm flipV="1">
                <a:off x="2585766" y="3630657"/>
                <a:ext cx="207729" cy="51473"/>
              </a:xfrm>
              <a:custGeom>
                <a:avLst/>
                <a:gdLst>
                  <a:gd name="connsiteX0" fmla="*/ -5224 w 77112"/>
                  <a:gd name="connsiteY0" fmla="*/ 21821 h 25711"/>
                  <a:gd name="connsiteX1" fmla="*/ 71888 w 77112"/>
                  <a:gd name="connsiteY1" fmla="*/ 17802 h 25711"/>
                  <a:gd name="connsiteX2" fmla="*/ -5224 w 77112"/>
                  <a:gd name="connsiteY2" fmla="*/ 21821 h 25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7112" h="25711">
                    <a:moveTo>
                      <a:pt x="-5224" y="21821"/>
                    </a:moveTo>
                    <a:lnTo>
                      <a:pt x="71888" y="17802"/>
                    </a:lnTo>
                    <a:cubicBezTo>
                      <a:pt x="71888" y="17802"/>
                      <a:pt x="31720" y="-33584"/>
                      <a:pt x="-5224" y="21821"/>
                    </a:cubicBezTo>
                  </a:path>
                </a:pathLst>
              </a:custGeom>
              <a:solidFill>
                <a:srgbClr val="FFFFF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0" name="Vrije vorm 329">
                <a:extLst>
                  <a:ext uri="{FF2B5EF4-FFF2-40B4-BE49-F238E27FC236}">
                    <a16:creationId xmlns:a16="http://schemas.microsoft.com/office/drawing/2014/main" id="{2EAD1A8D-3396-09FD-3A17-067E07548853}"/>
                  </a:ext>
                </a:extLst>
              </p:cNvPr>
              <p:cNvSpPr/>
              <p:nvPr/>
            </p:nvSpPr>
            <p:spPr>
              <a:xfrm flipV="1">
                <a:off x="2334709" y="3473947"/>
                <a:ext cx="74984" cy="103388"/>
              </a:xfrm>
              <a:custGeom>
                <a:avLst/>
                <a:gdLst>
                  <a:gd name="connsiteX0" fmla="*/ 305 w 27835"/>
                  <a:gd name="connsiteY0" fmla="*/ 46583 h 51643"/>
                  <a:gd name="connsiteX1" fmla="*/ 22710 w 27835"/>
                  <a:gd name="connsiteY1" fmla="*/ 13769 h 51643"/>
                  <a:gd name="connsiteX2" fmla="*/ 16886 w 27835"/>
                  <a:gd name="connsiteY2" fmla="*/ -3726 h 51643"/>
                  <a:gd name="connsiteX3" fmla="*/ 305 w 27835"/>
                  <a:gd name="connsiteY3" fmla="*/ 4658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35" h="51643">
                    <a:moveTo>
                      <a:pt x="305" y="46583"/>
                    </a:moveTo>
                    <a:cubicBezTo>
                      <a:pt x="11942" y="52466"/>
                      <a:pt x="22233" y="33749"/>
                      <a:pt x="22710" y="13769"/>
                    </a:cubicBezTo>
                    <a:cubicBezTo>
                      <a:pt x="13186" y="15188"/>
                      <a:pt x="11580" y="4115"/>
                      <a:pt x="16886" y="-3726"/>
                    </a:cubicBezTo>
                    <a:cubicBezTo>
                      <a:pt x="-2017" y="-7724"/>
                      <a:pt x="-12028" y="40337"/>
                      <a:pt x="305" y="4658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772" name="Vrije vorm 771">
              <a:extLst>
                <a:ext uri="{FF2B5EF4-FFF2-40B4-BE49-F238E27FC236}">
                  <a16:creationId xmlns:a16="http://schemas.microsoft.com/office/drawing/2014/main" id="{31146C67-0AB8-D659-0ECB-484889E4F3DE}"/>
                </a:ext>
              </a:extLst>
            </p:cNvPr>
            <p:cNvSpPr/>
            <p:nvPr/>
          </p:nvSpPr>
          <p:spPr>
            <a:xfrm flipV="1">
              <a:off x="6656059" y="5431771"/>
              <a:ext cx="491048" cy="161399"/>
            </a:xfrm>
            <a:custGeom>
              <a:avLst/>
              <a:gdLst>
                <a:gd name="connsiteX0" fmla="*/ -1600 w 491048"/>
                <a:gd name="connsiteY0" fmla="*/ 121135 h 161399"/>
                <a:gd name="connsiteX1" fmla="*/ 9266 w 491048"/>
                <a:gd name="connsiteY1" fmla="*/ 161645 h 161399"/>
                <a:gd name="connsiteX2" fmla="*/ 474874 w 491048"/>
                <a:gd name="connsiteY2" fmla="*/ 30588 h 161399"/>
                <a:gd name="connsiteX3" fmla="*/ 488250 w 491048"/>
                <a:gd name="connsiteY3" fmla="*/ 246 h 161399"/>
                <a:gd name="connsiteX4" fmla="*/ -1600 w 491048"/>
                <a:gd name="connsiteY4" fmla="*/ 121135 h 161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048" h="161399">
                  <a:moveTo>
                    <a:pt x="-1600" y="121135"/>
                  </a:moveTo>
                  <a:lnTo>
                    <a:pt x="9266" y="161645"/>
                  </a:lnTo>
                  <a:lnTo>
                    <a:pt x="474874" y="30588"/>
                  </a:lnTo>
                  <a:cubicBezTo>
                    <a:pt x="474874" y="30588"/>
                    <a:pt x="494400" y="15444"/>
                    <a:pt x="488250" y="246"/>
                  </a:cubicBezTo>
                  <a:lnTo>
                    <a:pt x="-1600" y="121135"/>
                  </a:ln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3" name="Vrije vorm 772">
              <a:extLst>
                <a:ext uri="{FF2B5EF4-FFF2-40B4-BE49-F238E27FC236}">
                  <a16:creationId xmlns:a16="http://schemas.microsoft.com/office/drawing/2014/main" id="{24CEC7FD-272E-8316-5158-9F634D65B458}"/>
                </a:ext>
              </a:extLst>
            </p:cNvPr>
            <p:cNvSpPr/>
            <p:nvPr/>
          </p:nvSpPr>
          <p:spPr>
            <a:xfrm flipV="1">
              <a:off x="6880806" y="5379360"/>
              <a:ext cx="51170" cy="23213"/>
            </a:xfrm>
            <a:custGeom>
              <a:avLst/>
              <a:gdLst>
                <a:gd name="connsiteX0" fmla="*/ 49512 w 51170"/>
                <a:gd name="connsiteY0" fmla="*/ 18205 h 23213"/>
                <a:gd name="connsiteX1" fmla="*/ 23025 w 51170"/>
                <a:gd name="connsiteY1" fmla="*/ 12601 h 23213"/>
                <a:gd name="connsiteX2" fmla="*/ -1243 w 51170"/>
                <a:gd name="connsiteY2" fmla="*/ 306 h 23213"/>
                <a:gd name="connsiteX3" fmla="*/ 20249 w 51170"/>
                <a:gd name="connsiteY3" fmla="*/ 20930 h 23213"/>
                <a:gd name="connsiteX4" fmla="*/ 49512 w 51170"/>
                <a:gd name="connsiteY4" fmla="*/ 18205 h 23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170" h="23213">
                  <a:moveTo>
                    <a:pt x="49512" y="18205"/>
                  </a:moveTo>
                  <a:cubicBezTo>
                    <a:pt x="48853" y="15772"/>
                    <a:pt x="36630" y="17610"/>
                    <a:pt x="23025" y="12601"/>
                  </a:cubicBezTo>
                  <a:cubicBezTo>
                    <a:pt x="9281" y="7958"/>
                    <a:pt x="735" y="-1215"/>
                    <a:pt x="-1243" y="306"/>
                  </a:cubicBezTo>
                  <a:cubicBezTo>
                    <a:pt x="-3335" y="1322"/>
                    <a:pt x="3664" y="15162"/>
                    <a:pt x="20249" y="20930"/>
                  </a:cubicBezTo>
                  <a:cubicBezTo>
                    <a:pt x="36782" y="26842"/>
                    <a:pt x="50552" y="20337"/>
                    <a:pt x="49512" y="18205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4" name="Vrije vorm 773">
              <a:extLst>
                <a:ext uri="{FF2B5EF4-FFF2-40B4-BE49-F238E27FC236}">
                  <a16:creationId xmlns:a16="http://schemas.microsoft.com/office/drawing/2014/main" id="{088571DB-1BE4-F0A5-2DA9-7778B1E3126B}"/>
                </a:ext>
              </a:extLst>
            </p:cNvPr>
            <p:cNvSpPr/>
            <p:nvPr/>
          </p:nvSpPr>
          <p:spPr>
            <a:xfrm flipV="1">
              <a:off x="6937605" y="5416979"/>
              <a:ext cx="40607" cy="32788"/>
            </a:xfrm>
            <a:custGeom>
              <a:avLst/>
              <a:gdLst>
                <a:gd name="connsiteX0" fmla="*/ 38957 w 40607"/>
                <a:gd name="connsiteY0" fmla="*/ 30892 h 32788"/>
                <a:gd name="connsiteX1" fmla="*/ 17060 w 40607"/>
                <a:gd name="connsiteY1" fmla="*/ 18346 h 32788"/>
                <a:gd name="connsiteX2" fmla="*/ -755 w 40607"/>
                <a:gd name="connsiteY2" fmla="*/ 209 h 32788"/>
                <a:gd name="connsiteX3" fmla="*/ 11912 w 40607"/>
                <a:gd name="connsiteY3" fmla="*/ 25388 h 32788"/>
                <a:gd name="connsiteX4" fmla="*/ 38957 w 40607"/>
                <a:gd name="connsiteY4" fmla="*/ 30892 h 3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07" h="32788">
                  <a:moveTo>
                    <a:pt x="38957" y="30892"/>
                  </a:moveTo>
                  <a:cubicBezTo>
                    <a:pt x="38944" y="28380"/>
                    <a:pt x="27609" y="26745"/>
                    <a:pt x="17060" y="18346"/>
                  </a:cubicBezTo>
                  <a:cubicBezTo>
                    <a:pt x="6270" y="10254"/>
                    <a:pt x="1604" y="-505"/>
                    <a:pt x="-755" y="209"/>
                  </a:cubicBezTo>
                  <a:cubicBezTo>
                    <a:pt x="-3100" y="373"/>
                    <a:pt x="-1388" y="15189"/>
                    <a:pt x="11912" y="25388"/>
                  </a:cubicBezTo>
                  <a:cubicBezTo>
                    <a:pt x="25136" y="35699"/>
                    <a:pt x="39451" y="33252"/>
                    <a:pt x="38957" y="30892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5" name="Vrije vorm 774">
              <a:extLst>
                <a:ext uri="{FF2B5EF4-FFF2-40B4-BE49-F238E27FC236}">
                  <a16:creationId xmlns:a16="http://schemas.microsoft.com/office/drawing/2014/main" id="{34E35096-4414-C05E-C622-6F5E1504DCC8}"/>
                </a:ext>
              </a:extLst>
            </p:cNvPr>
            <p:cNvSpPr/>
            <p:nvPr/>
          </p:nvSpPr>
          <p:spPr>
            <a:xfrm flipV="1">
              <a:off x="6991234" y="5451393"/>
              <a:ext cx="30237" cy="38134"/>
            </a:xfrm>
            <a:custGeom>
              <a:avLst/>
              <a:gdLst>
                <a:gd name="connsiteX0" fmla="*/ -276 w 30237"/>
                <a:gd name="connsiteY0" fmla="*/ 218 h 38134"/>
                <a:gd name="connsiteX1" fmla="*/ 6254 w 30237"/>
                <a:gd name="connsiteY1" fmla="*/ 25311 h 38134"/>
                <a:gd name="connsiteX2" fmla="*/ 28506 w 30237"/>
                <a:gd name="connsiteY2" fmla="*/ 37581 h 38134"/>
                <a:gd name="connsiteX3" fmla="*/ 12961 w 30237"/>
                <a:gd name="connsiteY3" fmla="*/ 19831 h 38134"/>
                <a:gd name="connsiteX4" fmla="*/ -276 w 30237"/>
                <a:gd name="connsiteY4" fmla="*/ 218 h 38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37" h="38134">
                  <a:moveTo>
                    <a:pt x="-276" y="218"/>
                  </a:moveTo>
                  <a:cubicBezTo>
                    <a:pt x="-2571" y="232"/>
                    <a:pt x="-3027" y="13349"/>
                    <a:pt x="6254" y="25311"/>
                  </a:cubicBezTo>
                  <a:cubicBezTo>
                    <a:pt x="15459" y="37337"/>
                    <a:pt x="27974" y="39874"/>
                    <a:pt x="28506" y="37581"/>
                  </a:cubicBezTo>
                  <a:cubicBezTo>
                    <a:pt x="29381" y="35216"/>
                    <a:pt x="20442" y="29775"/>
                    <a:pt x="12961" y="19831"/>
                  </a:cubicBezTo>
                  <a:cubicBezTo>
                    <a:pt x="5265" y="10078"/>
                    <a:pt x="2159" y="-135"/>
                    <a:pt x="-276" y="218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6" name="Vrije vorm 775">
              <a:extLst>
                <a:ext uri="{FF2B5EF4-FFF2-40B4-BE49-F238E27FC236}">
                  <a16:creationId xmlns:a16="http://schemas.microsoft.com/office/drawing/2014/main" id="{C40ABA11-0921-C8F0-82D4-801B5913BA9F}"/>
                </a:ext>
              </a:extLst>
            </p:cNvPr>
            <p:cNvSpPr/>
            <p:nvPr/>
          </p:nvSpPr>
          <p:spPr>
            <a:xfrm flipV="1">
              <a:off x="6889888" y="5308067"/>
              <a:ext cx="51739" cy="16358"/>
            </a:xfrm>
            <a:custGeom>
              <a:avLst/>
              <a:gdLst>
                <a:gd name="connsiteX0" fmla="*/ 49946 w 51739"/>
                <a:gd name="connsiteY0" fmla="*/ 465 h 16358"/>
                <a:gd name="connsiteX1" fmla="*/ 24499 w 51739"/>
                <a:gd name="connsiteY1" fmla="*/ 6956 h 16358"/>
                <a:gd name="connsiteX2" fmla="*/ -1557 w 51739"/>
                <a:gd name="connsiteY2" fmla="*/ 9989 h 16358"/>
                <a:gd name="connsiteX3" fmla="*/ 26020 w 51739"/>
                <a:gd name="connsiteY3" fmla="*/ 15633 h 16358"/>
                <a:gd name="connsiteX4" fmla="*/ 49946 w 51739"/>
                <a:gd name="connsiteY4" fmla="*/ 465 h 16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739" h="16358">
                  <a:moveTo>
                    <a:pt x="49946" y="465"/>
                  </a:moveTo>
                  <a:cubicBezTo>
                    <a:pt x="48425" y="-1528"/>
                    <a:pt x="38243" y="4572"/>
                    <a:pt x="24499" y="6956"/>
                  </a:cubicBezTo>
                  <a:cubicBezTo>
                    <a:pt x="10805" y="9647"/>
                    <a:pt x="-796" y="7565"/>
                    <a:pt x="-1557" y="9989"/>
                  </a:cubicBezTo>
                  <a:cubicBezTo>
                    <a:pt x="-2521" y="12109"/>
                    <a:pt x="9880" y="18690"/>
                    <a:pt x="26020" y="15633"/>
                  </a:cubicBezTo>
                  <a:cubicBezTo>
                    <a:pt x="42187" y="12719"/>
                    <a:pt x="51582" y="2110"/>
                    <a:pt x="49946" y="465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7" name="Vrije vorm 776">
              <a:extLst>
                <a:ext uri="{FF2B5EF4-FFF2-40B4-BE49-F238E27FC236}">
                  <a16:creationId xmlns:a16="http://schemas.microsoft.com/office/drawing/2014/main" id="{7E3295EF-41AD-FC39-1D13-F84041C4B1F7}"/>
                </a:ext>
              </a:extLst>
            </p:cNvPr>
            <p:cNvSpPr/>
            <p:nvPr/>
          </p:nvSpPr>
          <p:spPr>
            <a:xfrm flipV="1">
              <a:off x="6339952" y="5290861"/>
              <a:ext cx="388288" cy="606281"/>
            </a:xfrm>
            <a:custGeom>
              <a:avLst/>
              <a:gdLst>
                <a:gd name="connsiteX0" fmla="*/ 220526 w 388288"/>
                <a:gd name="connsiteY0" fmla="*/ 606601 h 606281"/>
                <a:gd name="connsiteX1" fmla="*/ 272219 w 388288"/>
                <a:gd name="connsiteY1" fmla="*/ 287776 h 606281"/>
                <a:gd name="connsiteX2" fmla="*/ 383784 w 388288"/>
                <a:gd name="connsiteY2" fmla="*/ 47750 h 606281"/>
                <a:gd name="connsiteX3" fmla="*/ 366616 w 388288"/>
                <a:gd name="connsiteY3" fmla="*/ 2677 h 606281"/>
                <a:gd name="connsiteX4" fmla="*/ 337302 w 388288"/>
                <a:gd name="connsiteY4" fmla="*/ 5635 h 606281"/>
                <a:gd name="connsiteX5" fmla="*/ 77275 w 388288"/>
                <a:gd name="connsiteY5" fmla="*/ 200994 h 606281"/>
                <a:gd name="connsiteX6" fmla="*/ -1349 w 388288"/>
                <a:gd name="connsiteY6" fmla="*/ 537048 h 606281"/>
                <a:gd name="connsiteX7" fmla="*/ 220526 w 388288"/>
                <a:gd name="connsiteY7" fmla="*/ 606601 h 60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8288" h="606281">
                  <a:moveTo>
                    <a:pt x="220526" y="606601"/>
                  </a:moveTo>
                  <a:lnTo>
                    <a:pt x="272219" y="287776"/>
                  </a:lnTo>
                  <a:lnTo>
                    <a:pt x="383784" y="47750"/>
                  </a:lnTo>
                  <a:cubicBezTo>
                    <a:pt x="391822" y="30446"/>
                    <a:pt x="383936" y="9758"/>
                    <a:pt x="366616" y="2677"/>
                  </a:cubicBezTo>
                  <a:cubicBezTo>
                    <a:pt x="356929" y="-1283"/>
                    <a:pt x="346050" y="-227"/>
                    <a:pt x="337302" y="5635"/>
                  </a:cubicBezTo>
                  <a:cubicBezTo>
                    <a:pt x="281602" y="42864"/>
                    <a:pt x="81472" y="184245"/>
                    <a:pt x="77275" y="200994"/>
                  </a:cubicBezTo>
                  <a:cubicBezTo>
                    <a:pt x="70632" y="227553"/>
                    <a:pt x="-1349" y="537048"/>
                    <a:pt x="-1349" y="537048"/>
                  </a:cubicBezTo>
                  <a:lnTo>
                    <a:pt x="220526" y="606601"/>
                  </a:lnTo>
                </a:path>
              </a:pathLst>
            </a:custGeom>
            <a:solidFill>
              <a:srgbClr val="A24027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8" name="Vrije vorm 777">
              <a:extLst>
                <a:ext uri="{FF2B5EF4-FFF2-40B4-BE49-F238E27FC236}">
                  <a16:creationId xmlns:a16="http://schemas.microsoft.com/office/drawing/2014/main" id="{5A960B85-6B4C-C29D-0112-43A82AE1D834}"/>
                </a:ext>
              </a:extLst>
            </p:cNvPr>
            <p:cNvSpPr/>
            <p:nvPr/>
          </p:nvSpPr>
          <p:spPr>
            <a:xfrm flipV="1">
              <a:off x="6412224" y="5671568"/>
              <a:ext cx="295692" cy="225875"/>
            </a:xfrm>
            <a:custGeom>
              <a:avLst/>
              <a:gdLst>
                <a:gd name="connsiteX0" fmla="*/ 294327 w 295692"/>
                <a:gd name="connsiteY0" fmla="*/ 3147 h 225875"/>
                <a:gd name="connsiteX1" fmla="*/ -1366 w 295692"/>
                <a:gd name="connsiteY1" fmla="*/ 226365 h 225875"/>
                <a:gd name="connsiteX2" fmla="*/ 1119 w 295692"/>
                <a:gd name="connsiteY2" fmla="*/ 212916 h 225875"/>
                <a:gd name="connsiteX3" fmla="*/ 18286 w 295692"/>
                <a:gd name="connsiteY3" fmla="*/ 183372 h 225875"/>
                <a:gd name="connsiteX4" fmla="*/ 264074 w 295692"/>
                <a:gd name="connsiteY4" fmla="*/ 5902 h 225875"/>
                <a:gd name="connsiteX5" fmla="*/ 294327 w 295692"/>
                <a:gd name="connsiteY5" fmla="*/ 3147 h 22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5692" h="225875">
                  <a:moveTo>
                    <a:pt x="294327" y="3147"/>
                  </a:moveTo>
                  <a:lnTo>
                    <a:pt x="-1366" y="226365"/>
                  </a:lnTo>
                  <a:lnTo>
                    <a:pt x="1119" y="212916"/>
                  </a:lnTo>
                  <a:cubicBezTo>
                    <a:pt x="4808" y="199447"/>
                    <a:pt x="9310" y="190796"/>
                    <a:pt x="18286" y="183372"/>
                  </a:cubicBezTo>
                  <a:cubicBezTo>
                    <a:pt x="42263" y="163522"/>
                    <a:pt x="109641" y="110187"/>
                    <a:pt x="264074" y="5902"/>
                  </a:cubicBezTo>
                  <a:cubicBezTo>
                    <a:pt x="273063" y="-163"/>
                    <a:pt x="284462" y="-1204"/>
                    <a:pt x="294327" y="3147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9" name="Vrije vorm 778">
              <a:extLst>
                <a:ext uri="{FF2B5EF4-FFF2-40B4-BE49-F238E27FC236}">
                  <a16:creationId xmlns:a16="http://schemas.microsoft.com/office/drawing/2014/main" id="{55FE1EC7-EF98-016C-1C03-7DD9AB866202}"/>
                </a:ext>
              </a:extLst>
            </p:cNvPr>
            <p:cNvSpPr/>
            <p:nvPr/>
          </p:nvSpPr>
          <p:spPr>
            <a:xfrm flipV="1">
              <a:off x="6611093" y="5723707"/>
              <a:ext cx="57343" cy="46176"/>
            </a:xfrm>
            <a:custGeom>
              <a:avLst/>
              <a:gdLst>
                <a:gd name="connsiteX0" fmla="*/ -795 w 57343"/>
                <a:gd name="connsiteY0" fmla="*/ 468 h 46176"/>
                <a:gd name="connsiteX1" fmla="*/ 21686 w 57343"/>
                <a:gd name="connsiteY1" fmla="*/ 30457 h 46176"/>
                <a:gd name="connsiteX2" fmla="*/ 55920 w 57343"/>
                <a:gd name="connsiteY2" fmla="*/ 44426 h 46176"/>
                <a:gd name="connsiteX3" fmla="*/ 44267 w 57343"/>
                <a:gd name="connsiteY3" fmla="*/ 46581 h 46176"/>
                <a:gd name="connsiteX4" fmla="*/ 17540 w 57343"/>
                <a:gd name="connsiteY4" fmla="*/ 36131 h 46176"/>
                <a:gd name="connsiteX5" fmla="*/ 397 w 57343"/>
                <a:gd name="connsiteY5" fmla="*/ 12583 h 46176"/>
                <a:gd name="connsiteX6" fmla="*/ -795 w 57343"/>
                <a:gd name="connsiteY6" fmla="*/ 468 h 46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343" h="46176">
                  <a:moveTo>
                    <a:pt x="-795" y="468"/>
                  </a:moveTo>
                  <a:cubicBezTo>
                    <a:pt x="1107" y="-78"/>
                    <a:pt x="4987" y="17924"/>
                    <a:pt x="21686" y="30457"/>
                  </a:cubicBezTo>
                  <a:cubicBezTo>
                    <a:pt x="38017" y="43509"/>
                    <a:pt x="55894" y="42385"/>
                    <a:pt x="55920" y="44426"/>
                  </a:cubicBezTo>
                  <a:cubicBezTo>
                    <a:pt x="56047" y="45248"/>
                    <a:pt x="51672" y="46948"/>
                    <a:pt x="44267" y="46581"/>
                  </a:cubicBezTo>
                  <a:cubicBezTo>
                    <a:pt x="36914" y="46264"/>
                    <a:pt x="26656" y="43182"/>
                    <a:pt x="17540" y="36131"/>
                  </a:cubicBezTo>
                  <a:cubicBezTo>
                    <a:pt x="8436" y="29065"/>
                    <a:pt x="2718" y="19778"/>
                    <a:pt x="397" y="12583"/>
                  </a:cubicBezTo>
                  <a:cubicBezTo>
                    <a:pt x="-1999" y="5353"/>
                    <a:pt x="-1606" y="572"/>
                    <a:pt x="-795" y="468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0" name="Vrije vorm 779">
              <a:extLst>
                <a:ext uri="{FF2B5EF4-FFF2-40B4-BE49-F238E27FC236}">
                  <a16:creationId xmlns:a16="http://schemas.microsoft.com/office/drawing/2014/main" id="{C93A96C8-D7D6-F0E1-5AAF-9631A00EFE20}"/>
                </a:ext>
              </a:extLst>
            </p:cNvPr>
            <p:cNvSpPr/>
            <p:nvPr/>
          </p:nvSpPr>
          <p:spPr>
            <a:xfrm flipV="1">
              <a:off x="6641279" y="5776840"/>
              <a:ext cx="54506" cy="31305"/>
            </a:xfrm>
            <a:custGeom>
              <a:avLst/>
              <a:gdLst>
                <a:gd name="connsiteX0" fmla="*/ -1153 w 54506"/>
                <a:gd name="connsiteY0" fmla="*/ 565 h 31305"/>
                <a:gd name="connsiteX1" fmla="*/ 23648 w 54506"/>
                <a:gd name="connsiteY1" fmla="*/ 19568 h 31305"/>
                <a:gd name="connsiteX2" fmla="*/ 53051 w 54506"/>
                <a:gd name="connsiteY2" fmla="*/ 29474 h 31305"/>
                <a:gd name="connsiteX3" fmla="*/ 20478 w 54506"/>
                <a:gd name="connsiteY3" fmla="*/ 25871 h 31305"/>
                <a:gd name="connsiteX4" fmla="*/ -1153 w 54506"/>
                <a:gd name="connsiteY4" fmla="*/ 565 h 31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6" h="31305">
                  <a:moveTo>
                    <a:pt x="-1153" y="565"/>
                  </a:moveTo>
                  <a:cubicBezTo>
                    <a:pt x="571" y="-526"/>
                    <a:pt x="8559" y="11739"/>
                    <a:pt x="23648" y="19568"/>
                  </a:cubicBezTo>
                  <a:cubicBezTo>
                    <a:pt x="38571" y="27749"/>
                    <a:pt x="52911" y="27393"/>
                    <a:pt x="53051" y="29474"/>
                  </a:cubicBezTo>
                  <a:cubicBezTo>
                    <a:pt x="53634" y="31263"/>
                    <a:pt x="37531" y="35093"/>
                    <a:pt x="20478" y="25871"/>
                  </a:cubicBezTo>
                  <a:cubicBezTo>
                    <a:pt x="3323" y="16838"/>
                    <a:pt x="-2916" y="1095"/>
                    <a:pt x="-1153" y="565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1" name="Vrije vorm 780">
              <a:extLst>
                <a:ext uri="{FF2B5EF4-FFF2-40B4-BE49-F238E27FC236}">
                  <a16:creationId xmlns:a16="http://schemas.microsoft.com/office/drawing/2014/main" id="{29054B15-6F63-3BF0-B5C8-F06174AA64F2}"/>
                </a:ext>
              </a:extLst>
            </p:cNvPr>
            <p:cNvSpPr/>
            <p:nvPr/>
          </p:nvSpPr>
          <p:spPr>
            <a:xfrm flipV="1">
              <a:off x="6560551" y="5670669"/>
              <a:ext cx="80257" cy="52788"/>
            </a:xfrm>
            <a:custGeom>
              <a:avLst/>
              <a:gdLst>
                <a:gd name="connsiteX0" fmla="*/ -1222 w 80257"/>
                <a:gd name="connsiteY0" fmla="*/ 467 h 52788"/>
                <a:gd name="connsiteX1" fmla="*/ 35129 w 80257"/>
                <a:gd name="connsiteY1" fmla="*/ 32474 h 52788"/>
                <a:gd name="connsiteX2" fmla="*/ 78860 w 80257"/>
                <a:gd name="connsiteY2" fmla="*/ 52424 h 52788"/>
                <a:gd name="connsiteX3" fmla="*/ 31452 w 80257"/>
                <a:gd name="connsiteY3" fmla="*/ 38475 h 52788"/>
                <a:gd name="connsiteX4" fmla="*/ -1222 w 80257"/>
                <a:gd name="connsiteY4" fmla="*/ 467 h 5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257" h="52788">
                  <a:moveTo>
                    <a:pt x="-1222" y="467"/>
                  </a:moveTo>
                  <a:cubicBezTo>
                    <a:pt x="502" y="-752"/>
                    <a:pt x="12700" y="18173"/>
                    <a:pt x="35129" y="32474"/>
                  </a:cubicBezTo>
                  <a:cubicBezTo>
                    <a:pt x="57344" y="47122"/>
                    <a:pt x="79190" y="50294"/>
                    <a:pt x="78860" y="52424"/>
                  </a:cubicBezTo>
                  <a:cubicBezTo>
                    <a:pt x="79050" y="54214"/>
                    <a:pt x="55315" y="54124"/>
                    <a:pt x="31452" y="38475"/>
                  </a:cubicBezTo>
                  <a:cubicBezTo>
                    <a:pt x="7438" y="23074"/>
                    <a:pt x="-2883" y="1077"/>
                    <a:pt x="-1222" y="467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2" name="Vrije vorm 781">
              <a:extLst>
                <a:ext uri="{FF2B5EF4-FFF2-40B4-BE49-F238E27FC236}">
                  <a16:creationId xmlns:a16="http://schemas.microsoft.com/office/drawing/2014/main" id="{BA157B54-EBA0-6796-0FCE-98919058688F}"/>
                </a:ext>
              </a:extLst>
            </p:cNvPr>
            <p:cNvSpPr/>
            <p:nvPr/>
          </p:nvSpPr>
          <p:spPr>
            <a:xfrm flipV="1">
              <a:off x="6537054" y="5604276"/>
              <a:ext cx="79901" cy="23742"/>
            </a:xfrm>
            <a:custGeom>
              <a:avLst/>
              <a:gdLst>
                <a:gd name="connsiteX0" fmla="*/ -1304 w 79901"/>
                <a:gd name="connsiteY0" fmla="*/ 528 h 23742"/>
                <a:gd name="connsiteX1" fmla="*/ 37596 w 79901"/>
                <a:gd name="connsiteY1" fmla="*/ 14622 h 23742"/>
                <a:gd name="connsiteX2" fmla="*/ 78512 w 79901"/>
                <a:gd name="connsiteY2" fmla="*/ 19860 h 23742"/>
                <a:gd name="connsiteX3" fmla="*/ 36011 w 79901"/>
                <a:gd name="connsiteY3" fmla="*/ 21535 h 23742"/>
                <a:gd name="connsiteX4" fmla="*/ -1304 w 79901"/>
                <a:gd name="connsiteY4" fmla="*/ 528 h 23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901" h="23742">
                  <a:moveTo>
                    <a:pt x="-1304" y="528"/>
                  </a:moveTo>
                  <a:cubicBezTo>
                    <a:pt x="-125" y="-1211"/>
                    <a:pt x="15559" y="9458"/>
                    <a:pt x="37596" y="14622"/>
                  </a:cubicBezTo>
                  <a:cubicBezTo>
                    <a:pt x="59556" y="20113"/>
                    <a:pt x="78220" y="17753"/>
                    <a:pt x="78512" y="19860"/>
                  </a:cubicBezTo>
                  <a:cubicBezTo>
                    <a:pt x="79082" y="21584"/>
                    <a:pt x="59632" y="27371"/>
                    <a:pt x="36011" y="21535"/>
                  </a:cubicBezTo>
                  <a:cubicBezTo>
                    <a:pt x="12351" y="15915"/>
                    <a:pt x="-2560" y="1807"/>
                    <a:pt x="-1304" y="528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3" name="Vrije vorm 782">
              <a:extLst>
                <a:ext uri="{FF2B5EF4-FFF2-40B4-BE49-F238E27FC236}">
                  <a16:creationId xmlns:a16="http://schemas.microsoft.com/office/drawing/2014/main" id="{9AFC3DE3-FEC4-A77F-6D49-A0601BADBB2F}"/>
                </a:ext>
              </a:extLst>
            </p:cNvPr>
            <p:cNvSpPr/>
            <p:nvPr/>
          </p:nvSpPr>
          <p:spPr>
            <a:xfrm flipV="1">
              <a:off x="6519570" y="5510981"/>
              <a:ext cx="83083" cy="23796"/>
            </a:xfrm>
            <a:custGeom>
              <a:avLst/>
              <a:gdLst>
                <a:gd name="connsiteX0" fmla="*/ -1295 w 83083"/>
                <a:gd name="connsiteY0" fmla="*/ 390 h 23796"/>
                <a:gd name="connsiteX1" fmla="*/ 38822 w 83083"/>
                <a:gd name="connsiteY1" fmla="*/ 16187 h 23796"/>
                <a:gd name="connsiteX2" fmla="*/ 81691 w 83083"/>
                <a:gd name="connsiteY2" fmla="*/ 13626 h 23796"/>
                <a:gd name="connsiteX3" fmla="*/ 70077 w 83083"/>
                <a:gd name="connsiteY3" fmla="*/ 20549 h 23796"/>
                <a:gd name="connsiteX4" fmla="*/ 37770 w 83083"/>
                <a:gd name="connsiteY4" fmla="*/ 23200 h 23796"/>
                <a:gd name="connsiteX5" fmla="*/ 7758 w 83083"/>
                <a:gd name="connsiteY5" fmla="*/ 10618 h 23796"/>
                <a:gd name="connsiteX6" fmla="*/ -1295 w 83083"/>
                <a:gd name="connsiteY6" fmla="*/ 390 h 23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083" h="23796">
                  <a:moveTo>
                    <a:pt x="-1295" y="390"/>
                  </a:moveTo>
                  <a:cubicBezTo>
                    <a:pt x="11" y="-1255"/>
                    <a:pt x="15188" y="12685"/>
                    <a:pt x="38822" y="16187"/>
                  </a:cubicBezTo>
                  <a:cubicBezTo>
                    <a:pt x="62380" y="20206"/>
                    <a:pt x="80943" y="11643"/>
                    <a:pt x="81691" y="13626"/>
                  </a:cubicBezTo>
                  <a:cubicBezTo>
                    <a:pt x="82084" y="14385"/>
                    <a:pt x="77963" y="17710"/>
                    <a:pt x="70077" y="20549"/>
                  </a:cubicBezTo>
                  <a:cubicBezTo>
                    <a:pt x="62228" y="23403"/>
                    <a:pt x="50475" y="25207"/>
                    <a:pt x="37770" y="23200"/>
                  </a:cubicBezTo>
                  <a:cubicBezTo>
                    <a:pt x="25065" y="21149"/>
                    <a:pt x="14390" y="15781"/>
                    <a:pt x="7758" y="10618"/>
                  </a:cubicBezTo>
                  <a:cubicBezTo>
                    <a:pt x="1064" y="5454"/>
                    <a:pt x="-1878" y="1000"/>
                    <a:pt x="-1295" y="390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4" name="Vrije vorm 783">
              <a:extLst>
                <a:ext uri="{FF2B5EF4-FFF2-40B4-BE49-F238E27FC236}">
                  <a16:creationId xmlns:a16="http://schemas.microsoft.com/office/drawing/2014/main" id="{E96FC41E-96B2-7EF7-8FDF-4625C644CF96}"/>
                </a:ext>
              </a:extLst>
            </p:cNvPr>
            <p:cNvSpPr/>
            <p:nvPr/>
          </p:nvSpPr>
          <p:spPr>
            <a:xfrm flipV="1">
              <a:off x="6503902" y="5442308"/>
              <a:ext cx="93958" cy="58929"/>
            </a:xfrm>
            <a:custGeom>
              <a:avLst/>
              <a:gdLst>
                <a:gd name="connsiteX0" fmla="*/ 50668 w 93958"/>
                <a:gd name="connsiteY0" fmla="*/ 224 h 58929"/>
                <a:gd name="connsiteX1" fmla="*/ 48868 w 93958"/>
                <a:gd name="connsiteY1" fmla="*/ 12324 h 58929"/>
                <a:gd name="connsiteX2" fmla="*/ 33767 w 93958"/>
                <a:gd name="connsiteY2" fmla="*/ 41957 h 58929"/>
                <a:gd name="connsiteX3" fmla="*/ 15078 w 93958"/>
                <a:gd name="connsiteY3" fmla="*/ 56610 h 58929"/>
                <a:gd name="connsiteX4" fmla="*/ 1295 w 93958"/>
                <a:gd name="connsiteY4" fmla="*/ 50887 h 58929"/>
                <a:gd name="connsiteX5" fmla="*/ -923 w 93958"/>
                <a:gd name="connsiteY5" fmla="*/ 35590 h 58929"/>
                <a:gd name="connsiteX6" fmla="*/ 46104 w 93958"/>
                <a:gd name="connsiteY6" fmla="*/ 729 h 58929"/>
                <a:gd name="connsiteX7" fmla="*/ 91863 w 93958"/>
                <a:gd name="connsiteY7" fmla="*/ 38598 h 58929"/>
                <a:gd name="connsiteX8" fmla="*/ 89860 w 93958"/>
                <a:gd name="connsiteY8" fmla="*/ 54163 h 58929"/>
                <a:gd name="connsiteX9" fmla="*/ 75558 w 93958"/>
                <a:gd name="connsiteY9" fmla="*/ 58399 h 58929"/>
                <a:gd name="connsiteX10" fmla="*/ 57249 w 93958"/>
                <a:gd name="connsiteY10" fmla="*/ 43542 h 58929"/>
                <a:gd name="connsiteX11" fmla="*/ 40753 w 93958"/>
                <a:gd name="connsiteY11" fmla="*/ 14747 h 58929"/>
                <a:gd name="connsiteX12" fmla="*/ 38040 w 93958"/>
                <a:gd name="connsiteY12" fmla="*/ 2844 h 58929"/>
                <a:gd name="connsiteX13" fmla="*/ 60875 w 93958"/>
                <a:gd name="connsiteY13" fmla="*/ 40193 h 58929"/>
                <a:gd name="connsiteX14" fmla="*/ 77155 w 93958"/>
                <a:gd name="connsiteY14" fmla="*/ 52740 h 58929"/>
                <a:gd name="connsiteX15" fmla="*/ 84953 w 93958"/>
                <a:gd name="connsiteY15" fmla="*/ 50480 h 58929"/>
                <a:gd name="connsiteX16" fmla="*/ 85689 w 93958"/>
                <a:gd name="connsiteY16" fmla="*/ 40168 h 58929"/>
                <a:gd name="connsiteX17" fmla="*/ 45660 w 93958"/>
                <a:gd name="connsiteY17" fmla="*/ 7806 h 58929"/>
                <a:gd name="connsiteX18" fmla="*/ 5315 w 93958"/>
                <a:gd name="connsiteY18" fmla="*/ 36819 h 58929"/>
                <a:gd name="connsiteX19" fmla="*/ 6431 w 93958"/>
                <a:gd name="connsiteY19" fmla="*/ 47552 h 58929"/>
                <a:gd name="connsiteX20" fmla="*/ 13987 w 93958"/>
                <a:gd name="connsiteY20" fmla="*/ 50823 h 58929"/>
                <a:gd name="connsiteX21" fmla="*/ 30039 w 93958"/>
                <a:gd name="connsiteY21" fmla="*/ 38722 h 58929"/>
                <a:gd name="connsiteX22" fmla="*/ 50668 w 93958"/>
                <a:gd name="connsiteY22" fmla="*/ 224 h 58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3958" h="58929">
                  <a:moveTo>
                    <a:pt x="50668" y="224"/>
                  </a:moveTo>
                  <a:cubicBezTo>
                    <a:pt x="51061" y="298"/>
                    <a:pt x="50973" y="4698"/>
                    <a:pt x="48868" y="12324"/>
                  </a:cubicBezTo>
                  <a:cubicBezTo>
                    <a:pt x="46750" y="19871"/>
                    <a:pt x="42490" y="30768"/>
                    <a:pt x="33767" y="41957"/>
                  </a:cubicBezTo>
                  <a:cubicBezTo>
                    <a:pt x="29342" y="47210"/>
                    <a:pt x="24460" y="54108"/>
                    <a:pt x="15078" y="56610"/>
                  </a:cubicBezTo>
                  <a:cubicBezTo>
                    <a:pt x="10399" y="57878"/>
                    <a:pt x="4174" y="55798"/>
                    <a:pt x="1295" y="50887"/>
                  </a:cubicBezTo>
                  <a:cubicBezTo>
                    <a:pt x="-1583" y="46080"/>
                    <a:pt x="-1760" y="40649"/>
                    <a:pt x="-923" y="35590"/>
                  </a:cubicBezTo>
                  <a:cubicBezTo>
                    <a:pt x="3121" y="15496"/>
                    <a:pt x="23548" y="-702"/>
                    <a:pt x="46104" y="729"/>
                  </a:cubicBezTo>
                  <a:cubicBezTo>
                    <a:pt x="68686" y="2558"/>
                    <a:pt x="86323" y="19480"/>
                    <a:pt x="91863" y="38598"/>
                  </a:cubicBezTo>
                  <a:cubicBezTo>
                    <a:pt x="92941" y="43479"/>
                    <a:pt x="93245" y="49261"/>
                    <a:pt x="89860" y="54163"/>
                  </a:cubicBezTo>
                  <a:cubicBezTo>
                    <a:pt x="86500" y="59108"/>
                    <a:pt x="79831" y="60034"/>
                    <a:pt x="75558" y="58399"/>
                  </a:cubicBezTo>
                  <a:cubicBezTo>
                    <a:pt x="66657" y="55188"/>
                    <a:pt x="61877" y="48627"/>
                    <a:pt x="57249" y="43542"/>
                  </a:cubicBezTo>
                  <a:cubicBezTo>
                    <a:pt x="48234" y="32656"/>
                    <a:pt x="43365" y="22116"/>
                    <a:pt x="40753" y="14747"/>
                  </a:cubicBezTo>
                  <a:cubicBezTo>
                    <a:pt x="38129" y="7315"/>
                    <a:pt x="37660" y="2935"/>
                    <a:pt x="38040" y="2844"/>
                  </a:cubicBezTo>
                  <a:cubicBezTo>
                    <a:pt x="39282" y="2225"/>
                    <a:pt x="42959" y="19970"/>
                    <a:pt x="60875" y="40193"/>
                  </a:cubicBezTo>
                  <a:cubicBezTo>
                    <a:pt x="65465" y="44940"/>
                    <a:pt x="70676" y="50813"/>
                    <a:pt x="77155" y="52740"/>
                  </a:cubicBezTo>
                  <a:cubicBezTo>
                    <a:pt x="80312" y="53701"/>
                    <a:pt x="83318" y="52929"/>
                    <a:pt x="84953" y="50480"/>
                  </a:cubicBezTo>
                  <a:cubicBezTo>
                    <a:pt x="86614" y="48146"/>
                    <a:pt x="86703" y="44038"/>
                    <a:pt x="85689" y="40168"/>
                  </a:cubicBezTo>
                  <a:cubicBezTo>
                    <a:pt x="80921" y="24475"/>
                    <a:pt x="64768" y="9049"/>
                    <a:pt x="45660" y="7806"/>
                  </a:cubicBezTo>
                  <a:cubicBezTo>
                    <a:pt x="26654" y="6413"/>
                    <a:pt x="8725" y="20684"/>
                    <a:pt x="5315" y="36819"/>
                  </a:cubicBezTo>
                  <a:cubicBezTo>
                    <a:pt x="4541" y="40714"/>
                    <a:pt x="4820" y="44836"/>
                    <a:pt x="6431" y="47552"/>
                  </a:cubicBezTo>
                  <a:cubicBezTo>
                    <a:pt x="8003" y="50228"/>
                    <a:pt x="10919" y="51457"/>
                    <a:pt x="13987" y="50823"/>
                  </a:cubicBezTo>
                  <a:cubicBezTo>
                    <a:pt x="20454" y="49519"/>
                    <a:pt x="25716" y="43633"/>
                    <a:pt x="30039" y="38722"/>
                  </a:cubicBezTo>
                  <a:cubicBezTo>
                    <a:pt x="47346" y="17954"/>
                    <a:pt x="49362" y="-361"/>
                    <a:pt x="50668" y="224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5" name="Vrije vorm 784">
              <a:extLst>
                <a:ext uri="{FF2B5EF4-FFF2-40B4-BE49-F238E27FC236}">
                  <a16:creationId xmlns:a16="http://schemas.microsoft.com/office/drawing/2014/main" id="{652C8ABB-D67E-8DB2-85FF-85C07DFB379E}"/>
                </a:ext>
              </a:extLst>
            </p:cNvPr>
            <p:cNvSpPr/>
            <p:nvPr/>
          </p:nvSpPr>
          <p:spPr>
            <a:xfrm flipV="1">
              <a:off x="6000719" y="3745055"/>
              <a:ext cx="1326303" cy="1594695"/>
            </a:xfrm>
            <a:custGeom>
              <a:avLst/>
              <a:gdLst>
                <a:gd name="connsiteX0" fmla="*/ 671527 w 1326303"/>
                <a:gd name="connsiteY0" fmla="*/ 1564809 h 1594695"/>
                <a:gd name="connsiteX1" fmla="*/ 671527 w 1326303"/>
                <a:gd name="connsiteY1" fmla="*/ 1564809 h 1594695"/>
                <a:gd name="connsiteX2" fmla="*/ 1226168 w 1326303"/>
                <a:gd name="connsiteY2" fmla="*/ 1241326 h 1594695"/>
                <a:gd name="connsiteX3" fmla="*/ 1318828 w 1326303"/>
                <a:gd name="connsiteY3" fmla="*/ 989783 h 1594695"/>
                <a:gd name="connsiteX4" fmla="*/ 955745 w 1326303"/>
                <a:gd name="connsiteY4" fmla="*/ -620 h 1594695"/>
                <a:gd name="connsiteX5" fmla="*/ 646231 w 1326303"/>
                <a:gd name="connsiteY5" fmla="*/ 38373 h 1594695"/>
                <a:gd name="connsiteX6" fmla="*/ 862489 w 1326303"/>
                <a:gd name="connsiteY6" fmla="*/ 964475 h 1594695"/>
                <a:gd name="connsiteX7" fmla="*/ 425359 w 1326303"/>
                <a:gd name="connsiteY7" fmla="*/ 1170147 h 1594695"/>
                <a:gd name="connsiteX8" fmla="*/ -1437 w 1326303"/>
                <a:gd name="connsiteY8" fmla="*/ 1594075 h 1594695"/>
                <a:gd name="connsiteX9" fmla="*/ 671527 w 1326303"/>
                <a:gd name="connsiteY9" fmla="*/ 1564809 h 1594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26303" h="1594695">
                  <a:moveTo>
                    <a:pt x="671527" y="1564809"/>
                  </a:moveTo>
                  <a:cubicBezTo>
                    <a:pt x="671527" y="1564809"/>
                    <a:pt x="657072" y="1572560"/>
                    <a:pt x="671527" y="1564809"/>
                  </a:cubicBezTo>
                  <a:cubicBezTo>
                    <a:pt x="764846" y="1514752"/>
                    <a:pt x="1128576" y="1304932"/>
                    <a:pt x="1226168" y="1241326"/>
                  </a:cubicBezTo>
                  <a:cubicBezTo>
                    <a:pt x="1297628" y="1194744"/>
                    <a:pt x="1341600" y="1068535"/>
                    <a:pt x="1318828" y="989783"/>
                  </a:cubicBezTo>
                  <a:cubicBezTo>
                    <a:pt x="1224329" y="662926"/>
                    <a:pt x="955745" y="-620"/>
                    <a:pt x="955745" y="-620"/>
                  </a:cubicBezTo>
                  <a:lnTo>
                    <a:pt x="646231" y="38373"/>
                  </a:lnTo>
                  <a:lnTo>
                    <a:pt x="862489" y="964475"/>
                  </a:lnTo>
                  <a:lnTo>
                    <a:pt x="425359" y="1170147"/>
                  </a:lnTo>
                  <a:lnTo>
                    <a:pt x="-1437" y="1594075"/>
                  </a:lnTo>
                  <a:lnTo>
                    <a:pt x="671527" y="1564809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6" name="Vrije vorm 785">
              <a:extLst>
                <a:ext uri="{FF2B5EF4-FFF2-40B4-BE49-F238E27FC236}">
                  <a16:creationId xmlns:a16="http://schemas.microsoft.com/office/drawing/2014/main" id="{E13B52B9-3124-94E1-2AA1-F633648B2555}"/>
                </a:ext>
              </a:extLst>
            </p:cNvPr>
            <p:cNvSpPr/>
            <p:nvPr/>
          </p:nvSpPr>
          <p:spPr>
            <a:xfrm flipV="1">
              <a:off x="5757681" y="3723540"/>
              <a:ext cx="916002" cy="1910352"/>
            </a:xfrm>
            <a:custGeom>
              <a:avLst/>
              <a:gdLst>
                <a:gd name="connsiteX0" fmla="*/ 404012 w 916002"/>
                <a:gd name="connsiteY0" fmla="*/ 1839322 h 1910352"/>
                <a:gd name="connsiteX1" fmla="*/ 800783 w 916002"/>
                <a:gd name="connsiteY1" fmla="*/ 1290821 h 1910352"/>
                <a:gd name="connsiteX2" fmla="*/ 914871 w 916002"/>
                <a:gd name="connsiteY2" fmla="*/ 48356 h 1910352"/>
                <a:gd name="connsiteX3" fmla="*/ 590840 w 916002"/>
                <a:gd name="connsiteY3" fmla="*/ -499 h 1910352"/>
                <a:gd name="connsiteX4" fmla="*/ 341972 w 916002"/>
                <a:gd name="connsiteY4" fmla="*/ 1151876 h 1910352"/>
                <a:gd name="connsiteX5" fmla="*/ 37616 w 916002"/>
                <a:gd name="connsiteY5" fmla="*/ 1506705 h 1910352"/>
                <a:gd name="connsiteX6" fmla="*/ -1131 w 916002"/>
                <a:gd name="connsiteY6" fmla="*/ 1703193 h 1910352"/>
                <a:gd name="connsiteX7" fmla="*/ 41489 w 916002"/>
                <a:gd name="connsiteY7" fmla="*/ 1909854 h 1910352"/>
                <a:gd name="connsiteX8" fmla="*/ 404012 w 916002"/>
                <a:gd name="connsiteY8" fmla="*/ 1839322 h 1910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6002" h="1910352">
                  <a:moveTo>
                    <a:pt x="404012" y="1839322"/>
                  </a:moveTo>
                  <a:cubicBezTo>
                    <a:pt x="404012" y="1839322"/>
                    <a:pt x="792656" y="1384530"/>
                    <a:pt x="800783" y="1290821"/>
                  </a:cubicBezTo>
                  <a:cubicBezTo>
                    <a:pt x="811726" y="1164612"/>
                    <a:pt x="914871" y="48356"/>
                    <a:pt x="914871" y="48356"/>
                  </a:cubicBezTo>
                  <a:lnTo>
                    <a:pt x="590840" y="-499"/>
                  </a:lnTo>
                  <a:lnTo>
                    <a:pt x="341972" y="1151876"/>
                  </a:lnTo>
                  <a:lnTo>
                    <a:pt x="37616" y="1506705"/>
                  </a:lnTo>
                  <a:lnTo>
                    <a:pt x="-1131" y="1703193"/>
                  </a:lnTo>
                  <a:lnTo>
                    <a:pt x="41489" y="1909854"/>
                  </a:lnTo>
                  <a:lnTo>
                    <a:pt x="404012" y="1839322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7" name="Vrije vorm 786">
              <a:extLst>
                <a:ext uri="{FF2B5EF4-FFF2-40B4-BE49-F238E27FC236}">
                  <a16:creationId xmlns:a16="http://schemas.microsoft.com/office/drawing/2014/main" id="{E5D072F4-9BA2-7A7F-91EE-56E5A5BD721B}"/>
                </a:ext>
              </a:extLst>
            </p:cNvPr>
            <p:cNvSpPr/>
            <p:nvPr/>
          </p:nvSpPr>
          <p:spPr>
            <a:xfrm flipV="1">
              <a:off x="6268220" y="3930199"/>
              <a:ext cx="405528" cy="1654839"/>
            </a:xfrm>
            <a:custGeom>
              <a:avLst/>
              <a:gdLst>
                <a:gd name="connsiteX0" fmla="*/ -1299 w 405528"/>
                <a:gd name="connsiteY0" fmla="*/ 1654408 h 1654839"/>
                <a:gd name="connsiteX1" fmla="*/ 1262 w 405528"/>
                <a:gd name="connsiteY1" fmla="*/ 1650654 h 1654839"/>
                <a:gd name="connsiteX2" fmla="*/ 9262 w 405528"/>
                <a:gd name="connsiteY2" fmla="*/ 1640023 h 1654839"/>
                <a:gd name="connsiteX3" fmla="*/ 40415 w 405528"/>
                <a:gd name="connsiteY3" fmla="*/ 1599492 h 1654839"/>
                <a:gd name="connsiteX4" fmla="*/ 154706 w 405528"/>
                <a:gd name="connsiteY4" fmla="*/ 1450208 h 1654839"/>
                <a:gd name="connsiteX5" fmla="*/ 231872 w 405528"/>
                <a:gd name="connsiteY5" fmla="*/ 1345869 h 1654839"/>
                <a:gd name="connsiteX6" fmla="*/ 272192 w 405528"/>
                <a:gd name="connsiteY6" fmla="*/ 1286132 h 1654839"/>
                <a:gd name="connsiteX7" fmla="*/ 283375 w 405528"/>
                <a:gd name="connsiteY7" fmla="*/ 1251361 h 1654839"/>
                <a:gd name="connsiteX8" fmla="*/ 289182 w 405528"/>
                <a:gd name="connsiteY8" fmla="*/ 1213101 h 1654839"/>
                <a:gd name="connsiteX9" fmla="*/ 319638 w 405528"/>
                <a:gd name="connsiteY9" fmla="*/ 873100 h 1654839"/>
                <a:gd name="connsiteX10" fmla="*/ 334637 w 405528"/>
                <a:gd name="connsiteY10" fmla="*/ 696835 h 1654839"/>
                <a:gd name="connsiteX11" fmla="*/ 350436 w 405528"/>
                <a:gd name="connsiteY11" fmla="*/ 532834 h 1654839"/>
                <a:gd name="connsiteX12" fmla="*/ 377544 w 405528"/>
                <a:gd name="connsiteY12" fmla="*/ 255197 h 1654839"/>
                <a:gd name="connsiteX13" fmla="*/ 396373 w 405528"/>
                <a:gd name="connsiteY13" fmla="*/ 68085 h 1654839"/>
                <a:gd name="connsiteX14" fmla="*/ 401825 w 405528"/>
                <a:gd name="connsiteY14" fmla="*/ 17252 h 1654839"/>
                <a:gd name="connsiteX15" fmla="*/ 403410 w 405528"/>
                <a:gd name="connsiteY15" fmla="*/ 4046 h 1654839"/>
                <a:gd name="connsiteX16" fmla="*/ 404158 w 405528"/>
                <a:gd name="connsiteY16" fmla="*/ -428 h 1654839"/>
                <a:gd name="connsiteX17" fmla="*/ 404069 w 405528"/>
                <a:gd name="connsiteY17" fmla="*/ 4111 h 1654839"/>
                <a:gd name="connsiteX18" fmla="*/ 403131 w 405528"/>
                <a:gd name="connsiteY18" fmla="*/ 17381 h 1654839"/>
                <a:gd name="connsiteX19" fmla="*/ 398883 w 405528"/>
                <a:gd name="connsiteY19" fmla="*/ 68337 h 1654839"/>
                <a:gd name="connsiteX20" fmla="*/ 382109 w 405528"/>
                <a:gd name="connsiteY20" fmla="*/ 255643 h 1654839"/>
                <a:gd name="connsiteX21" fmla="*/ 356382 w 405528"/>
                <a:gd name="connsiteY21" fmla="*/ 533379 h 1654839"/>
                <a:gd name="connsiteX22" fmla="*/ 340964 w 405528"/>
                <a:gd name="connsiteY22" fmla="*/ 697395 h 1654839"/>
                <a:gd name="connsiteX23" fmla="*/ 326104 w 405528"/>
                <a:gd name="connsiteY23" fmla="*/ 873621 h 1654839"/>
                <a:gd name="connsiteX24" fmla="*/ 295104 w 405528"/>
                <a:gd name="connsiteY24" fmla="*/ 1213875 h 1654839"/>
                <a:gd name="connsiteX25" fmla="*/ 289119 w 405528"/>
                <a:gd name="connsiteY25" fmla="*/ 1252439 h 1654839"/>
                <a:gd name="connsiteX26" fmla="*/ 284935 w 405528"/>
                <a:gd name="connsiteY26" fmla="*/ 1271277 h 1654839"/>
                <a:gd name="connsiteX27" fmla="*/ 277086 w 405528"/>
                <a:gd name="connsiteY27" fmla="*/ 1289050 h 1654839"/>
                <a:gd name="connsiteX28" fmla="*/ 236234 w 405528"/>
                <a:gd name="connsiteY28" fmla="*/ 1349015 h 1654839"/>
                <a:gd name="connsiteX29" fmla="*/ 158345 w 405528"/>
                <a:gd name="connsiteY29" fmla="*/ 1452986 h 1654839"/>
                <a:gd name="connsiteX30" fmla="*/ 42406 w 405528"/>
                <a:gd name="connsiteY30" fmla="*/ 1601053 h 1654839"/>
                <a:gd name="connsiteX31" fmla="*/ 10290 w 405528"/>
                <a:gd name="connsiteY31" fmla="*/ 1640835 h 1654839"/>
                <a:gd name="connsiteX32" fmla="*/ 1782 w 405528"/>
                <a:gd name="connsiteY32" fmla="*/ 1651059 h 1654839"/>
                <a:gd name="connsiteX33" fmla="*/ -1299 w 405528"/>
                <a:gd name="connsiteY33" fmla="*/ 1654408 h 1654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05528" h="1654839">
                  <a:moveTo>
                    <a:pt x="-1299" y="1654408"/>
                  </a:moveTo>
                  <a:cubicBezTo>
                    <a:pt x="-1388" y="1654332"/>
                    <a:pt x="-513" y="1653064"/>
                    <a:pt x="1262" y="1650654"/>
                  </a:cubicBezTo>
                  <a:cubicBezTo>
                    <a:pt x="3265" y="1648002"/>
                    <a:pt x="5902" y="1644488"/>
                    <a:pt x="9262" y="1640023"/>
                  </a:cubicBezTo>
                  <a:cubicBezTo>
                    <a:pt x="16616" y="1630458"/>
                    <a:pt x="27077" y="1616859"/>
                    <a:pt x="40415" y="1599492"/>
                  </a:cubicBezTo>
                  <a:cubicBezTo>
                    <a:pt x="67486" y="1564302"/>
                    <a:pt x="106867" y="1513547"/>
                    <a:pt x="154706" y="1450208"/>
                  </a:cubicBezTo>
                  <a:cubicBezTo>
                    <a:pt x="178619" y="1418545"/>
                    <a:pt x="204713" y="1383774"/>
                    <a:pt x="231872" y="1345869"/>
                  </a:cubicBezTo>
                  <a:cubicBezTo>
                    <a:pt x="245299" y="1326853"/>
                    <a:pt x="259462" y="1307228"/>
                    <a:pt x="272192" y="1286132"/>
                  </a:cubicBezTo>
                  <a:cubicBezTo>
                    <a:pt x="278963" y="1275946"/>
                    <a:pt x="280966" y="1263996"/>
                    <a:pt x="283375" y="1251361"/>
                  </a:cubicBezTo>
                  <a:cubicBezTo>
                    <a:pt x="285784" y="1238904"/>
                    <a:pt x="287407" y="1226053"/>
                    <a:pt x="289182" y="1213101"/>
                  </a:cubicBezTo>
                  <a:cubicBezTo>
                    <a:pt x="301709" y="1109041"/>
                    <a:pt x="309558" y="993805"/>
                    <a:pt x="319638" y="873100"/>
                  </a:cubicBezTo>
                  <a:cubicBezTo>
                    <a:pt x="324773" y="812720"/>
                    <a:pt x="329794" y="753766"/>
                    <a:pt x="334637" y="696835"/>
                  </a:cubicBezTo>
                  <a:cubicBezTo>
                    <a:pt x="340115" y="639962"/>
                    <a:pt x="345402" y="585112"/>
                    <a:pt x="350436" y="532834"/>
                  </a:cubicBezTo>
                  <a:cubicBezTo>
                    <a:pt x="360630" y="428406"/>
                    <a:pt x="369810" y="334343"/>
                    <a:pt x="377544" y="255197"/>
                  </a:cubicBezTo>
                  <a:cubicBezTo>
                    <a:pt x="385468" y="176482"/>
                    <a:pt x="391897" y="112647"/>
                    <a:pt x="396373" y="68085"/>
                  </a:cubicBezTo>
                  <a:cubicBezTo>
                    <a:pt x="398706" y="46306"/>
                    <a:pt x="400544" y="29254"/>
                    <a:pt x="401825" y="17252"/>
                  </a:cubicBezTo>
                  <a:cubicBezTo>
                    <a:pt x="402484" y="11712"/>
                    <a:pt x="403004" y="7347"/>
                    <a:pt x="403410" y="4046"/>
                  </a:cubicBezTo>
                  <a:cubicBezTo>
                    <a:pt x="403803" y="1078"/>
                    <a:pt x="404056" y="-443"/>
                    <a:pt x="404158" y="-428"/>
                  </a:cubicBezTo>
                  <a:cubicBezTo>
                    <a:pt x="404272" y="-418"/>
                    <a:pt x="404234" y="1117"/>
                    <a:pt x="404069" y="4111"/>
                  </a:cubicBezTo>
                  <a:cubicBezTo>
                    <a:pt x="403828" y="7421"/>
                    <a:pt x="403524" y="11811"/>
                    <a:pt x="403131" y="17381"/>
                  </a:cubicBezTo>
                  <a:cubicBezTo>
                    <a:pt x="402129" y="29418"/>
                    <a:pt x="400709" y="46509"/>
                    <a:pt x="398883" y="68337"/>
                  </a:cubicBezTo>
                  <a:cubicBezTo>
                    <a:pt x="394889" y="112955"/>
                    <a:pt x="389171" y="176838"/>
                    <a:pt x="382109" y="255643"/>
                  </a:cubicBezTo>
                  <a:cubicBezTo>
                    <a:pt x="374767" y="334814"/>
                    <a:pt x="366057" y="428916"/>
                    <a:pt x="356382" y="533379"/>
                  </a:cubicBezTo>
                  <a:cubicBezTo>
                    <a:pt x="351463" y="585658"/>
                    <a:pt x="346315" y="640523"/>
                    <a:pt x="340964" y="697395"/>
                  </a:cubicBezTo>
                  <a:cubicBezTo>
                    <a:pt x="336159" y="754312"/>
                    <a:pt x="331189" y="813250"/>
                    <a:pt x="326104" y="873621"/>
                  </a:cubicBezTo>
                  <a:cubicBezTo>
                    <a:pt x="316012" y="994338"/>
                    <a:pt x="307998" y="1109485"/>
                    <a:pt x="295104" y="1213875"/>
                  </a:cubicBezTo>
                  <a:cubicBezTo>
                    <a:pt x="293278" y="1226903"/>
                    <a:pt x="291617" y="1239792"/>
                    <a:pt x="289119" y="1252439"/>
                  </a:cubicBezTo>
                  <a:cubicBezTo>
                    <a:pt x="288117" y="1258782"/>
                    <a:pt x="286520" y="1265061"/>
                    <a:pt x="284935" y="1271277"/>
                  </a:cubicBezTo>
                  <a:cubicBezTo>
                    <a:pt x="283286" y="1277455"/>
                    <a:pt x="280548" y="1284077"/>
                    <a:pt x="277086" y="1289050"/>
                  </a:cubicBezTo>
                  <a:cubicBezTo>
                    <a:pt x="264027" y="1310476"/>
                    <a:pt x="249813" y="1329986"/>
                    <a:pt x="236234" y="1349015"/>
                  </a:cubicBezTo>
                  <a:cubicBezTo>
                    <a:pt x="208834" y="1386856"/>
                    <a:pt x="182512" y="1421488"/>
                    <a:pt x="158345" y="1452986"/>
                  </a:cubicBezTo>
                  <a:cubicBezTo>
                    <a:pt x="110024" y="1515996"/>
                    <a:pt x="70085" y="1566332"/>
                    <a:pt x="42406" y="1601053"/>
                  </a:cubicBezTo>
                  <a:cubicBezTo>
                    <a:pt x="28649" y="1618090"/>
                    <a:pt x="17872" y="1631448"/>
                    <a:pt x="10290" y="1640835"/>
                  </a:cubicBezTo>
                  <a:cubicBezTo>
                    <a:pt x="6714" y="1645123"/>
                    <a:pt x="3912" y="1648510"/>
                    <a:pt x="1782" y="1651059"/>
                  </a:cubicBezTo>
                  <a:cubicBezTo>
                    <a:pt x="-171" y="1653343"/>
                    <a:pt x="-1211" y="1654472"/>
                    <a:pt x="-1299" y="1654408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8" name="Vrije vorm 787">
              <a:extLst>
                <a:ext uri="{FF2B5EF4-FFF2-40B4-BE49-F238E27FC236}">
                  <a16:creationId xmlns:a16="http://schemas.microsoft.com/office/drawing/2014/main" id="{08D09536-4507-764F-3358-9D21B848F987}"/>
                </a:ext>
              </a:extLst>
            </p:cNvPr>
            <p:cNvSpPr/>
            <p:nvPr/>
          </p:nvSpPr>
          <p:spPr>
            <a:xfrm flipV="1">
              <a:off x="6855969" y="4272917"/>
              <a:ext cx="121157" cy="114245"/>
            </a:xfrm>
            <a:custGeom>
              <a:avLst/>
              <a:gdLst>
                <a:gd name="connsiteX0" fmla="*/ 119506 w 121157"/>
                <a:gd name="connsiteY0" fmla="*/ 113385 h 114245"/>
                <a:gd name="connsiteX1" fmla="*/ 56756 w 121157"/>
                <a:gd name="connsiteY1" fmla="*/ 58672 h 114245"/>
                <a:gd name="connsiteX2" fmla="*/ -1568 w 121157"/>
                <a:gd name="connsiteY2" fmla="*/ -760 h 114245"/>
                <a:gd name="connsiteX3" fmla="*/ 61194 w 121157"/>
                <a:gd name="connsiteY3" fmla="*/ 53953 h 114245"/>
                <a:gd name="connsiteX4" fmla="*/ 119506 w 121157"/>
                <a:gd name="connsiteY4" fmla="*/ 113385 h 114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157" h="114245">
                  <a:moveTo>
                    <a:pt x="119506" y="113385"/>
                  </a:moveTo>
                  <a:cubicBezTo>
                    <a:pt x="118276" y="114692"/>
                    <a:pt x="90179" y="90196"/>
                    <a:pt x="56756" y="58672"/>
                  </a:cubicBezTo>
                  <a:cubicBezTo>
                    <a:pt x="23308" y="27148"/>
                    <a:pt x="-2798" y="547"/>
                    <a:pt x="-1568" y="-760"/>
                  </a:cubicBezTo>
                  <a:cubicBezTo>
                    <a:pt x="-338" y="-2067"/>
                    <a:pt x="27759" y="22429"/>
                    <a:pt x="61194" y="53953"/>
                  </a:cubicBezTo>
                  <a:cubicBezTo>
                    <a:pt x="94629" y="85477"/>
                    <a:pt x="120736" y="112091"/>
                    <a:pt x="119506" y="113385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9" name="Vrije vorm 788">
              <a:extLst>
                <a:ext uri="{FF2B5EF4-FFF2-40B4-BE49-F238E27FC236}">
                  <a16:creationId xmlns:a16="http://schemas.microsoft.com/office/drawing/2014/main" id="{03D145F5-2DAF-A0B7-C718-A157555B0F3D}"/>
                </a:ext>
              </a:extLst>
            </p:cNvPr>
            <p:cNvSpPr/>
            <p:nvPr/>
          </p:nvSpPr>
          <p:spPr>
            <a:xfrm flipV="1">
              <a:off x="6394283" y="2615604"/>
              <a:ext cx="790602" cy="773337"/>
            </a:xfrm>
            <a:custGeom>
              <a:avLst/>
              <a:gdLst>
                <a:gd name="connsiteX0" fmla="*/ -1523 w 790602"/>
                <a:gd name="connsiteY0" fmla="*/ 771341 h 773337"/>
                <a:gd name="connsiteX1" fmla="*/ 142919 w 790602"/>
                <a:gd name="connsiteY1" fmla="*/ 702420 h 773337"/>
                <a:gd name="connsiteX2" fmla="*/ 432374 w 790602"/>
                <a:gd name="connsiteY2" fmla="*/ 313974 h 773337"/>
                <a:gd name="connsiteX3" fmla="*/ 607601 w 790602"/>
                <a:gd name="connsiteY3" fmla="*/ 600111 h 773337"/>
                <a:gd name="connsiteX4" fmla="*/ 789079 w 790602"/>
                <a:gd name="connsiteY4" fmla="*/ 508863 h 773337"/>
                <a:gd name="connsiteX5" fmla="*/ 554069 w 790602"/>
                <a:gd name="connsiteY5" fmla="*/ 28459 h 773337"/>
                <a:gd name="connsiteX6" fmla="*/ 360140 w 790602"/>
                <a:gd name="connsiteY6" fmla="*/ 28459 h 773337"/>
                <a:gd name="connsiteX7" fmla="*/ 101280 w 790602"/>
                <a:gd name="connsiteY7" fmla="*/ 358729 h 773337"/>
                <a:gd name="connsiteX8" fmla="*/ -1523 w 790602"/>
                <a:gd name="connsiteY8" fmla="*/ 771341 h 77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90602" h="773337">
                  <a:moveTo>
                    <a:pt x="-1523" y="771341"/>
                  </a:moveTo>
                  <a:cubicBezTo>
                    <a:pt x="-1523" y="771341"/>
                    <a:pt x="99163" y="762144"/>
                    <a:pt x="142919" y="702420"/>
                  </a:cubicBezTo>
                  <a:cubicBezTo>
                    <a:pt x="194206" y="632370"/>
                    <a:pt x="432374" y="313974"/>
                    <a:pt x="432374" y="313974"/>
                  </a:cubicBezTo>
                  <a:lnTo>
                    <a:pt x="607601" y="600111"/>
                  </a:lnTo>
                  <a:lnTo>
                    <a:pt x="789079" y="508863"/>
                  </a:lnTo>
                  <a:cubicBezTo>
                    <a:pt x="789079" y="508863"/>
                    <a:pt x="620280" y="67010"/>
                    <a:pt x="554069" y="28459"/>
                  </a:cubicBezTo>
                  <a:cubicBezTo>
                    <a:pt x="487858" y="-10093"/>
                    <a:pt x="399915" y="-14152"/>
                    <a:pt x="360140" y="28459"/>
                  </a:cubicBezTo>
                  <a:cubicBezTo>
                    <a:pt x="320378" y="71070"/>
                    <a:pt x="101280" y="358729"/>
                    <a:pt x="101280" y="358729"/>
                  </a:cubicBezTo>
                  <a:lnTo>
                    <a:pt x="-1523" y="771341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0" name="Vrije vorm 789">
              <a:extLst>
                <a:ext uri="{FF2B5EF4-FFF2-40B4-BE49-F238E27FC236}">
                  <a16:creationId xmlns:a16="http://schemas.microsoft.com/office/drawing/2014/main" id="{591E0ECA-8655-2A4C-4FE2-1A8EC0E26174}"/>
                </a:ext>
              </a:extLst>
            </p:cNvPr>
            <p:cNvSpPr/>
            <p:nvPr/>
          </p:nvSpPr>
          <p:spPr>
            <a:xfrm flipV="1">
              <a:off x="5830246" y="2496867"/>
              <a:ext cx="821919" cy="1278354"/>
            </a:xfrm>
            <a:custGeom>
              <a:avLst/>
              <a:gdLst>
                <a:gd name="connsiteX0" fmla="*/ 820771 w 821919"/>
                <a:gd name="connsiteY0" fmla="*/ 7320 h 1278354"/>
                <a:gd name="connsiteX1" fmla="*/ 412855 w 821919"/>
                <a:gd name="connsiteY1" fmla="*/ 1168562 h 1278354"/>
                <a:gd name="connsiteX2" fmla="*/ 357573 w 821919"/>
                <a:gd name="connsiteY2" fmla="*/ 1236823 h 1278354"/>
                <a:gd name="connsiteX3" fmla="*/ 51090 w 821919"/>
                <a:gd name="connsiteY3" fmla="*/ 1276478 h 1278354"/>
                <a:gd name="connsiteX4" fmla="*/ -1148 w 821919"/>
                <a:gd name="connsiteY4" fmla="*/ 1129617 h 1278354"/>
                <a:gd name="connsiteX5" fmla="*/ 169324 w 821919"/>
                <a:gd name="connsiteY5" fmla="*/ -1877 h 1278354"/>
                <a:gd name="connsiteX6" fmla="*/ 820771 w 821919"/>
                <a:gd name="connsiteY6" fmla="*/ 7320 h 127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1919" h="1278354">
                  <a:moveTo>
                    <a:pt x="820771" y="7320"/>
                  </a:moveTo>
                  <a:lnTo>
                    <a:pt x="412855" y="1168562"/>
                  </a:lnTo>
                  <a:lnTo>
                    <a:pt x="357573" y="1236823"/>
                  </a:lnTo>
                  <a:lnTo>
                    <a:pt x="51090" y="1276478"/>
                  </a:lnTo>
                  <a:lnTo>
                    <a:pt x="-1148" y="1129617"/>
                  </a:lnTo>
                  <a:lnTo>
                    <a:pt x="169324" y="-1877"/>
                  </a:lnTo>
                  <a:lnTo>
                    <a:pt x="820771" y="7320"/>
                  </a:lnTo>
                </a:path>
              </a:pathLst>
            </a:custGeom>
            <a:solidFill>
              <a:srgbClr val="FAFAF9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1" name="Vrije vorm 790">
              <a:extLst>
                <a:ext uri="{FF2B5EF4-FFF2-40B4-BE49-F238E27FC236}">
                  <a16:creationId xmlns:a16="http://schemas.microsoft.com/office/drawing/2014/main" id="{CF659232-E1B1-2416-0359-2A41A5F5EC80}"/>
                </a:ext>
              </a:extLst>
            </p:cNvPr>
            <p:cNvSpPr/>
            <p:nvPr/>
          </p:nvSpPr>
          <p:spPr>
            <a:xfrm flipV="1">
              <a:off x="6148656" y="2795384"/>
              <a:ext cx="133317" cy="710395"/>
            </a:xfrm>
            <a:custGeom>
              <a:avLst/>
              <a:gdLst>
                <a:gd name="connsiteX0" fmla="*/ 131930 w 133317"/>
                <a:gd name="connsiteY0" fmla="*/ -1864 h 710395"/>
                <a:gd name="connsiteX1" fmla="*/ 132158 w 133317"/>
                <a:gd name="connsiteY1" fmla="*/ 5507 h 710395"/>
                <a:gd name="connsiteX2" fmla="*/ 131524 w 133317"/>
                <a:gd name="connsiteY2" fmla="*/ 26616 h 710395"/>
                <a:gd name="connsiteX3" fmla="*/ 129534 w 133317"/>
                <a:gd name="connsiteY3" fmla="*/ 59966 h 710395"/>
                <a:gd name="connsiteX4" fmla="*/ 125616 w 133317"/>
                <a:gd name="connsiteY4" fmla="*/ 104036 h 710395"/>
                <a:gd name="connsiteX5" fmla="*/ 85232 w 133317"/>
                <a:gd name="connsiteY5" fmla="*/ 356924 h 710395"/>
                <a:gd name="connsiteX6" fmla="*/ 27161 w 133317"/>
                <a:gd name="connsiteY6" fmla="*/ 606323 h 710395"/>
                <a:gd name="connsiteX7" fmla="*/ 7204 w 133317"/>
                <a:gd name="connsiteY7" fmla="*/ 681295 h 710395"/>
                <a:gd name="connsiteX8" fmla="*/ 1384 w 133317"/>
                <a:gd name="connsiteY8" fmla="*/ 701567 h 710395"/>
                <a:gd name="connsiteX9" fmla="*/ -1075 w 133317"/>
                <a:gd name="connsiteY9" fmla="*/ 708531 h 710395"/>
                <a:gd name="connsiteX10" fmla="*/ 116 w 133317"/>
                <a:gd name="connsiteY10" fmla="*/ 701250 h 710395"/>
                <a:gd name="connsiteX11" fmla="*/ 4757 w 133317"/>
                <a:gd name="connsiteY11" fmla="*/ 680661 h 710395"/>
                <a:gd name="connsiteX12" fmla="*/ 22724 w 133317"/>
                <a:gd name="connsiteY12" fmla="*/ 605206 h 710395"/>
                <a:gd name="connsiteX13" fmla="*/ 78880 w 133317"/>
                <a:gd name="connsiteY13" fmla="*/ 355617 h 710395"/>
                <a:gd name="connsiteX14" fmla="*/ 121064 w 133317"/>
                <a:gd name="connsiteY14" fmla="*/ 103528 h 710395"/>
                <a:gd name="connsiteX15" fmla="*/ 125920 w 133317"/>
                <a:gd name="connsiteY15" fmla="*/ 59649 h 710395"/>
                <a:gd name="connsiteX16" fmla="*/ 129014 w 133317"/>
                <a:gd name="connsiteY16" fmla="*/ 26451 h 710395"/>
                <a:gd name="connsiteX17" fmla="*/ 130852 w 133317"/>
                <a:gd name="connsiteY17" fmla="*/ 5443 h 710395"/>
                <a:gd name="connsiteX18" fmla="*/ 131930 w 133317"/>
                <a:gd name="connsiteY18" fmla="*/ -1864 h 710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3317" h="710395">
                  <a:moveTo>
                    <a:pt x="131930" y="-1864"/>
                  </a:moveTo>
                  <a:cubicBezTo>
                    <a:pt x="132158" y="-1851"/>
                    <a:pt x="132234" y="686"/>
                    <a:pt x="132158" y="5507"/>
                  </a:cubicBezTo>
                  <a:cubicBezTo>
                    <a:pt x="131993" y="11038"/>
                    <a:pt x="131791" y="18027"/>
                    <a:pt x="131524" y="26616"/>
                  </a:cubicBezTo>
                  <a:cubicBezTo>
                    <a:pt x="131309" y="35787"/>
                    <a:pt x="130535" y="46976"/>
                    <a:pt x="129534" y="59966"/>
                  </a:cubicBezTo>
                  <a:cubicBezTo>
                    <a:pt x="128671" y="72969"/>
                    <a:pt x="127429" y="87748"/>
                    <a:pt x="125616" y="104036"/>
                  </a:cubicBezTo>
                  <a:cubicBezTo>
                    <a:pt x="119149" y="169316"/>
                    <a:pt x="105240" y="258927"/>
                    <a:pt x="85232" y="356924"/>
                  </a:cubicBezTo>
                  <a:cubicBezTo>
                    <a:pt x="65136" y="454933"/>
                    <a:pt x="43530" y="542882"/>
                    <a:pt x="27161" y="606323"/>
                  </a:cubicBezTo>
                  <a:cubicBezTo>
                    <a:pt x="19008" y="638050"/>
                    <a:pt x="12111" y="663636"/>
                    <a:pt x="7204" y="681295"/>
                  </a:cubicBezTo>
                  <a:cubicBezTo>
                    <a:pt x="4833" y="689541"/>
                    <a:pt x="2906" y="696251"/>
                    <a:pt x="1384" y="701567"/>
                  </a:cubicBezTo>
                  <a:cubicBezTo>
                    <a:pt x="-10" y="706184"/>
                    <a:pt x="-860" y="708582"/>
                    <a:pt x="-1075" y="708531"/>
                  </a:cubicBezTo>
                  <a:cubicBezTo>
                    <a:pt x="-1291" y="708480"/>
                    <a:pt x="-873" y="705969"/>
                    <a:pt x="116" y="701250"/>
                  </a:cubicBezTo>
                  <a:cubicBezTo>
                    <a:pt x="1334" y="695845"/>
                    <a:pt x="2868" y="689033"/>
                    <a:pt x="4757" y="680661"/>
                  </a:cubicBezTo>
                  <a:cubicBezTo>
                    <a:pt x="9207" y="662000"/>
                    <a:pt x="15294" y="636439"/>
                    <a:pt x="22724" y="605206"/>
                  </a:cubicBezTo>
                  <a:cubicBezTo>
                    <a:pt x="37939" y="541525"/>
                    <a:pt x="58809" y="453487"/>
                    <a:pt x="78880" y="355617"/>
                  </a:cubicBezTo>
                  <a:cubicBezTo>
                    <a:pt x="98862" y="257773"/>
                    <a:pt x="113444" y="168517"/>
                    <a:pt x="121064" y="103528"/>
                  </a:cubicBezTo>
                  <a:cubicBezTo>
                    <a:pt x="123156" y="87304"/>
                    <a:pt x="124715" y="72588"/>
                    <a:pt x="125920" y="59649"/>
                  </a:cubicBezTo>
                  <a:cubicBezTo>
                    <a:pt x="127264" y="46722"/>
                    <a:pt x="128405" y="35584"/>
                    <a:pt x="129014" y="26451"/>
                  </a:cubicBezTo>
                  <a:cubicBezTo>
                    <a:pt x="129762" y="17901"/>
                    <a:pt x="130370" y="10949"/>
                    <a:pt x="130852" y="5443"/>
                  </a:cubicBezTo>
                  <a:cubicBezTo>
                    <a:pt x="131347" y="648"/>
                    <a:pt x="131714" y="-1876"/>
                    <a:pt x="131930" y="-186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2" name="Vrije vorm 791">
              <a:extLst>
                <a:ext uri="{FF2B5EF4-FFF2-40B4-BE49-F238E27FC236}">
                  <a16:creationId xmlns:a16="http://schemas.microsoft.com/office/drawing/2014/main" id="{F319D02A-C227-55A4-A97C-1D0FAC475857}"/>
                </a:ext>
              </a:extLst>
            </p:cNvPr>
            <p:cNvSpPr/>
            <p:nvPr/>
          </p:nvSpPr>
          <p:spPr>
            <a:xfrm flipV="1">
              <a:off x="6188182" y="2526614"/>
              <a:ext cx="472695" cy="1079482"/>
            </a:xfrm>
            <a:custGeom>
              <a:avLst/>
              <a:gdLst>
                <a:gd name="connsiteX0" fmla="*/ 471421 w 472695"/>
                <a:gd name="connsiteY0" fmla="*/ -49 h 1079482"/>
                <a:gd name="connsiteX1" fmla="*/ 333154 w 472695"/>
                <a:gd name="connsiteY1" fmla="*/ 839536 h 1079482"/>
                <a:gd name="connsiteX2" fmla="*/ 311257 w 472695"/>
                <a:gd name="connsiteY2" fmla="*/ 903967 h 1079482"/>
                <a:gd name="connsiteX3" fmla="*/ 204193 w 472695"/>
                <a:gd name="connsiteY3" fmla="*/ 995962 h 1079482"/>
                <a:gd name="connsiteX4" fmla="*/ 61577 w 472695"/>
                <a:gd name="connsiteY4" fmla="*/ 1030823 h 1079482"/>
                <a:gd name="connsiteX5" fmla="*/ 1313 w 472695"/>
                <a:gd name="connsiteY5" fmla="*/ 1077544 h 1079482"/>
                <a:gd name="connsiteX6" fmla="*/ -1274 w 472695"/>
                <a:gd name="connsiteY6" fmla="*/ 1049420 h 1079482"/>
                <a:gd name="connsiteX7" fmla="*/ 61577 w 472695"/>
                <a:gd name="connsiteY7" fmla="*/ 844724 h 1079482"/>
                <a:gd name="connsiteX8" fmla="*/ 319942 w 472695"/>
                <a:gd name="connsiteY8" fmla="*/ -1939 h 1079482"/>
                <a:gd name="connsiteX9" fmla="*/ 471421 w 472695"/>
                <a:gd name="connsiteY9" fmla="*/ -49 h 1079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2695" h="1079482">
                  <a:moveTo>
                    <a:pt x="471421" y="-49"/>
                  </a:moveTo>
                  <a:cubicBezTo>
                    <a:pt x="471421" y="11977"/>
                    <a:pt x="333154" y="839536"/>
                    <a:pt x="333154" y="839536"/>
                  </a:cubicBezTo>
                  <a:lnTo>
                    <a:pt x="311257" y="903967"/>
                  </a:lnTo>
                  <a:cubicBezTo>
                    <a:pt x="292289" y="949977"/>
                    <a:pt x="252514" y="984152"/>
                    <a:pt x="204193" y="995962"/>
                  </a:cubicBezTo>
                  <a:lnTo>
                    <a:pt x="61577" y="1030823"/>
                  </a:lnTo>
                  <a:lnTo>
                    <a:pt x="1313" y="1077544"/>
                  </a:lnTo>
                  <a:lnTo>
                    <a:pt x="-1274" y="1049420"/>
                  </a:lnTo>
                  <a:lnTo>
                    <a:pt x="61577" y="844724"/>
                  </a:lnTo>
                  <a:lnTo>
                    <a:pt x="319942" y="-1939"/>
                  </a:lnTo>
                  <a:lnTo>
                    <a:pt x="471421" y="-49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3" name="Vrije vorm 792">
              <a:extLst>
                <a:ext uri="{FF2B5EF4-FFF2-40B4-BE49-F238E27FC236}">
                  <a16:creationId xmlns:a16="http://schemas.microsoft.com/office/drawing/2014/main" id="{8E7FA365-A147-FB53-7B2C-7B6FC5D443F2}"/>
                </a:ext>
              </a:extLst>
            </p:cNvPr>
            <p:cNvSpPr/>
            <p:nvPr/>
          </p:nvSpPr>
          <p:spPr>
            <a:xfrm flipV="1">
              <a:off x="5589438" y="2494292"/>
              <a:ext cx="466624" cy="1087499"/>
            </a:xfrm>
            <a:custGeom>
              <a:avLst/>
              <a:gdLst>
                <a:gd name="connsiteX0" fmla="*/ 453160 w 466624"/>
                <a:gd name="connsiteY0" fmla="*/ -1964 h 1087499"/>
                <a:gd name="connsiteX1" fmla="*/ 460527 w 466624"/>
                <a:gd name="connsiteY1" fmla="*/ 341664 h 1087499"/>
                <a:gd name="connsiteX2" fmla="*/ 397105 w 466624"/>
                <a:gd name="connsiteY2" fmla="*/ 752056 h 1087499"/>
                <a:gd name="connsiteX3" fmla="*/ 308414 w 466624"/>
                <a:gd name="connsiteY3" fmla="*/ 1031406 h 1087499"/>
                <a:gd name="connsiteX4" fmla="*/ 282840 w 466624"/>
                <a:gd name="connsiteY4" fmla="*/ 1085536 h 1087499"/>
                <a:gd name="connsiteX5" fmla="*/ 229549 w 466624"/>
                <a:gd name="connsiteY5" fmla="*/ 1000567 h 1087499"/>
                <a:gd name="connsiteX6" fmla="*/ -862 w 466624"/>
                <a:gd name="connsiteY6" fmla="*/ 909358 h 1087499"/>
                <a:gd name="connsiteX7" fmla="*/ 86040 w 466624"/>
                <a:gd name="connsiteY7" fmla="*/ -1964 h 1087499"/>
                <a:gd name="connsiteX8" fmla="*/ 453160 w 466624"/>
                <a:gd name="connsiteY8" fmla="*/ -1964 h 108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624" h="1087499">
                  <a:moveTo>
                    <a:pt x="453160" y="-1964"/>
                  </a:moveTo>
                  <a:cubicBezTo>
                    <a:pt x="453160" y="22075"/>
                    <a:pt x="475666" y="200092"/>
                    <a:pt x="460527" y="341664"/>
                  </a:cubicBezTo>
                  <a:cubicBezTo>
                    <a:pt x="449356" y="446130"/>
                    <a:pt x="419421" y="624946"/>
                    <a:pt x="397105" y="752056"/>
                  </a:cubicBezTo>
                  <a:cubicBezTo>
                    <a:pt x="380140" y="848733"/>
                    <a:pt x="350319" y="942670"/>
                    <a:pt x="308414" y="1031406"/>
                  </a:cubicBezTo>
                  <a:lnTo>
                    <a:pt x="282840" y="1085536"/>
                  </a:lnTo>
                  <a:lnTo>
                    <a:pt x="229549" y="1000567"/>
                  </a:lnTo>
                  <a:lnTo>
                    <a:pt x="-862" y="909358"/>
                  </a:lnTo>
                  <a:lnTo>
                    <a:pt x="86040" y="-1964"/>
                  </a:lnTo>
                  <a:lnTo>
                    <a:pt x="453160" y="-1964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4" name="Vrije vorm 793">
              <a:extLst>
                <a:ext uri="{FF2B5EF4-FFF2-40B4-BE49-F238E27FC236}">
                  <a16:creationId xmlns:a16="http://schemas.microsoft.com/office/drawing/2014/main" id="{818920BD-D3FB-0531-C048-9E7BF4A16054}"/>
                </a:ext>
              </a:extLst>
            </p:cNvPr>
            <p:cNvSpPr/>
            <p:nvPr/>
          </p:nvSpPr>
          <p:spPr>
            <a:xfrm flipV="1">
              <a:off x="5462784" y="3566429"/>
              <a:ext cx="556624" cy="641473"/>
            </a:xfrm>
            <a:custGeom>
              <a:avLst/>
              <a:gdLst>
                <a:gd name="connsiteX0" fmla="*/ 125848 w 556624"/>
                <a:gd name="connsiteY0" fmla="*/ 597936 h 641473"/>
                <a:gd name="connsiteX1" fmla="*/ -807 w 556624"/>
                <a:gd name="connsiteY1" fmla="*/ 140226 h 641473"/>
                <a:gd name="connsiteX2" fmla="*/ 513761 w 556624"/>
                <a:gd name="connsiteY2" fmla="*/ -1206 h 641473"/>
                <a:gd name="connsiteX3" fmla="*/ 555818 w 556624"/>
                <a:gd name="connsiteY3" fmla="*/ 640268 h 641473"/>
                <a:gd name="connsiteX4" fmla="*/ 125848 w 556624"/>
                <a:gd name="connsiteY4" fmla="*/ 597936 h 641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624" h="641473">
                  <a:moveTo>
                    <a:pt x="125848" y="597936"/>
                  </a:moveTo>
                  <a:lnTo>
                    <a:pt x="-807" y="140226"/>
                  </a:lnTo>
                  <a:lnTo>
                    <a:pt x="513761" y="-1206"/>
                  </a:lnTo>
                  <a:lnTo>
                    <a:pt x="555818" y="640268"/>
                  </a:lnTo>
                  <a:lnTo>
                    <a:pt x="125848" y="597936"/>
                  </a:ln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5" name="Vrije vorm 794">
              <a:extLst>
                <a:ext uri="{FF2B5EF4-FFF2-40B4-BE49-F238E27FC236}">
                  <a16:creationId xmlns:a16="http://schemas.microsoft.com/office/drawing/2014/main" id="{1D89FFD1-F38B-8933-345F-9B77346488D0}"/>
                </a:ext>
              </a:extLst>
            </p:cNvPr>
            <p:cNvSpPr/>
            <p:nvPr/>
          </p:nvSpPr>
          <p:spPr>
            <a:xfrm flipV="1">
              <a:off x="5459169" y="3566429"/>
              <a:ext cx="560340" cy="645545"/>
            </a:xfrm>
            <a:custGeom>
              <a:avLst/>
              <a:gdLst>
                <a:gd name="connsiteX0" fmla="*/ 129469 w 560340"/>
                <a:gd name="connsiteY0" fmla="*/ 602010 h 645545"/>
                <a:gd name="connsiteX1" fmla="*/ 128637 w 560340"/>
                <a:gd name="connsiteY1" fmla="*/ 599904 h 645545"/>
                <a:gd name="connsiteX2" fmla="*/ 126640 w 560340"/>
                <a:gd name="connsiteY2" fmla="*/ 593587 h 645545"/>
                <a:gd name="connsiteX3" fmla="*/ 119326 w 560340"/>
                <a:gd name="connsiteY3" fmla="*/ 568850 h 645545"/>
                <a:gd name="connsiteX4" fmla="*/ 92570 w 560340"/>
                <a:gd name="connsiteY4" fmla="*/ 475255 h 645545"/>
                <a:gd name="connsiteX5" fmla="*/ -13 w 560340"/>
                <a:gd name="connsiteY5" fmla="*/ 145087 h 645545"/>
                <a:gd name="connsiteX6" fmla="*/ -805 w 560340"/>
                <a:gd name="connsiteY6" fmla="*/ 142258 h 645545"/>
                <a:gd name="connsiteX7" fmla="*/ 2037 w 560340"/>
                <a:gd name="connsiteY7" fmla="*/ 141471 h 645545"/>
                <a:gd name="connsiteX8" fmla="*/ 340122 w 560340"/>
                <a:gd name="connsiteY8" fmla="*/ 48232 h 645545"/>
                <a:gd name="connsiteX9" fmla="*/ 516540 w 560340"/>
                <a:gd name="connsiteY9" fmla="*/ -176 h 645545"/>
                <a:gd name="connsiteX10" fmla="*/ 520293 w 560340"/>
                <a:gd name="connsiteY10" fmla="*/ -1204 h 645545"/>
                <a:gd name="connsiteX11" fmla="*/ 520534 w 560340"/>
                <a:gd name="connsiteY11" fmla="*/ 2665 h 645545"/>
                <a:gd name="connsiteX12" fmla="*/ 549481 w 560340"/>
                <a:gd name="connsiteY12" fmla="*/ 461314 h 645545"/>
                <a:gd name="connsiteX13" fmla="*/ 557354 w 560340"/>
                <a:gd name="connsiteY13" fmla="*/ 595731 h 645545"/>
                <a:gd name="connsiteX14" fmla="*/ 559180 w 560340"/>
                <a:gd name="connsiteY14" fmla="*/ 631808 h 645545"/>
                <a:gd name="connsiteX15" fmla="*/ 559510 w 560340"/>
                <a:gd name="connsiteY15" fmla="*/ 641158 h 645545"/>
                <a:gd name="connsiteX16" fmla="*/ 559434 w 560340"/>
                <a:gd name="connsiteY16" fmla="*/ 644342 h 645545"/>
                <a:gd name="connsiteX17" fmla="*/ 558939 w 560340"/>
                <a:gd name="connsiteY17" fmla="*/ 641196 h 645545"/>
                <a:gd name="connsiteX18" fmla="*/ 558052 w 560340"/>
                <a:gd name="connsiteY18" fmla="*/ 631885 h 645545"/>
                <a:gd name="connsiteX19" fmla="*/ 555161 w 560340"/>
                <a:gd name="connsiteY19" fmla="*/ 595870 h 645545"/>
                <a:gd name="connsiteX20" fmla="*/ 545410 w 560340"/>
                <a:gd name="connsiteY20" fmla="*/ 461580 h 645545"/>
                <a:gd name="connsiteX21" fmla="*/ 514219 w 560340"/>
                <a:gd name="connsiteY21" fmla="*/ 3071 h 645545"/>
                <a:gd name="connsiteX22" fmla="*/ 518213 w 560340"/>
                <a:gd name="connsiteY22" fmla="*/ 5913 h 645545"/>
                <a:gd name="connsiteX23" fmla="*/ 341841 w 560340"/>
                <a:gd name="connsiteY23" fmla="*/ 54473 h 645545"/>
                <a:gd name="connsiteX24" fmla="*/ 3588 w 560340"/>
                <a:gd name="connsiteY24" fmla="*/ 147129 h 645545"/>
                <a:gd name="connsiteX25" fmla="*/ 5638 w 560340"/>
                <a:gd name="connsiteY25" fmla="*/ 143526 h 645545"/>
                <a:gd name="connsiteX26" fmla="*/ 95958 w 560340"/>
                <a:gd name="connsiteY26" fmla="*/ 474329 h 645545"/>
                <a:gd name="connsiteX27" fmla="*/ 121123 w 560340"/>
                <a:gd name="connsiteY27" fmla="*/ 568355 h 645545"/>
                <a:gd name="connsiteX28" fmla="*/ 127562 w 560340"/>
                <a:gd name="connsiteY28" fmla="*/ 593333 h 645545"/>
                <a:gd name="connsiteX29" fmla="*/ 129102 w 560340"/>
                <a:gd name="connsiteY29" fmla="*/ 599777 h 645545"/>
                <a:gd name="connsiteX30" fmla="*/ 129469 w 560340"/>
                <a:gd name="connsiteY30" fmla="*/ 602010 h 645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60340" h="645545">
                  <a:moveTo>
                    <a:pt x="129469" y="602010"/>
                  </a:moveTo>
                  <a:cubicBezTo>
                    <a:pt x="129389" y="602023"/>
                    <a:pt x="129113" y="601312"/>
                    <a:pt x="128637" y="599904"/>
                  </a:cubicBezTo>
                  <a:cubicBezTo>
                    <a:pt x="128102" y="598217"/>
                    <a:pt x="127453" y="596149"/>
                    <a:pt x="126640" y="593587"/>
                  </a:cubicBezTo>
                  <a:cubicBezTo>
                    <a:pt x="124873" y="587599"/>
                    <a:pt x="122436" y="579366"/>
                    <a:pt x="119326" y="568850"/>
                  </a:cubicBezTo>
                  <a:cubicBezTo>
                    <a:pt x="113010" y="546764"/>
                    <a:pt x="103967" y="515139"/>
                    <a:pt x="92570" y="475255"/>
                  </a:cubicBezTo>
                  <a:cubicBezTo>
                    <a:pt x="69900" y="394410"/>
                    <a:pt x="37876" y="280214"/>
                    <a:pt x="-13" y="145087"/>
                  </a:cubicBezTo>
                  <a:lnTo>
                    <a:pt x="-805" y="142258"/>
                  </a:lnTo>
                  <a:lnTo>
                    <a:pt x="2037" y="141471"/>
                  </a:lnTo>
                  <a:cubicBezTo>
                    <a:pt x="103749" y="113423"/>
                    <a:pt x="218754" y="81697"/>
                    <a:pt x="340122" y="48232"/>
                  </a:cubicBezTo>
                  <a:cubicBezTo>
                    <a:pt x="400956" y="31538"/>
                    <a:pt x="460193" y="15275"/>
                    <a:pt x="516540" y="-176"/>
                  </a:cubicBezTo>
                  <a:lnTo>
                    <a:pt x="520293" y="-1204"/>
                  </a:lnTo>
                  <a:lnTo>
                    <a:pt x="520534" y="2665"/>
                  </a:lnTo>
                  <a:cubicBezTo>
                    <a:pt x="532123" y="186252"/>
                    <a:pt x="542228" y="346509"/>
                    <a:pt x="549481" y="461314"/>
                  </a:cubicBezTo>
                  <a:cubicBezTo>
                    <a:pt x="552815" y="518247"/>
                    <a:pt x="555478" y="563877"/>
                    <a:pt x="557354" y="595731"/>
                  </a:cubicBezTo>
                  <a:cubicBezTo>
                    <a:pt x="558128" y="611144"/>
                    <a:pt x="558749" y="623195"/>
                    <a:pt x="559180" y="631808"/>
                  </a:cubicBezTo>
                  <a:cubicBezTo>
                    <a:pt x="559320" y="635665"/>
                    <a:pt x="559421" y="638735"/>
                    <a:pt x="559510" y="641158"/>
                  </a:cubicBezTo>
                  <a:cubicBezTo>
                    <a:pt x="559560" y="643251"/>
                    <a:pt x="559535" y="644329"/>
                    <a:pt x="559434" y="644342"/>
                  </a:cubicBezTo>
                  <a:cubicBezTo>
                    <a:pt x="559345" y="644342"/>
                    <a:pt x="559180" y="643276"/>
                    <a:pt x="558939" y="641196"/>
                  </a:cubicBezTo>
                  <a:cubicBezTo>
                    <a:pt x="558711" y="638786"/>
                    <a:pt x="558419" y="635728"/>
                    <a:pt x="558052" y="631885"/>
                  </a:cubicBezTo>
                  <a:cubicBezTo>
                    <a:pt x="557367" y="623296"/>
                    <a:pt x="556391" y="611258"/>
                    <a:pt x="555161" y="595870"/>
                  </a:cubicBezTo>
                  <a:cubicBezTo>
                    <a:pt x="552853" y="564055"/>
                    <a:pt x="549544" y="518462"/>
                    <a:pt x="545410" y="461580"/>
                  </a:cubicBezTo>
                  <a:cubicBezTo>
                    <a:pt x="537600" y="346813"/>
                    <a:pt x="526709" y="186607"/>
                    <a:pt x="514219" y="3071"/>
                  </a:cubicBezTo>
                  <a:lnTo>
                    <a:pt x="518213" y="5913"/>
                  </a:lnTo>
                  <a:cubicBezTo>
                    <a:pt x="461879" y="21427"/>
                    <a:pt x="402655" y="37728"/>
                    <a:pt x="341841" y="54473"/>
                  </a:cubicBezTo>
                  <a:cubicBezTo>
                    <a:pt x="220412" y="87748"/>
                    <a:pt x="105353" y="119259"/>
                    <a:pt x="3588" y="147129"/>
                  </a:cubicBezTo>
                  <a:lnTo>
                    <a:pt x="5638" y="143526"/>
                  </a:lnTo>
                  <a:cubicBezTo>
                    <a:pt x="42601" y="278907"/>
                    <a:pt x="73844" y="393319"/>
                    <a:pt x="95958" y="474329"/>
                  </a:cubicBezTo>
                  <a:cubicBezTo>
                    <a:pt x="106675" y="514390"/>
                    <a:pt x="115184" y="546168"/>
                    <a:pt x="121123" y="568355"/>
                  </a:cubicBezTo>
                  <a:cubicBezTo>
                    <a:pt x="123857" y="578973"/>
                    <a:pt x="126001" y="587295"/>
                    <a:pt x="127562" y="593333"/>
                  </a:cubicBezTo>
                  <a:cubicBezTo>
                    <a:pt x="128186" y="595946"/>
                    <a:pt x="128687" y="598052"/>
                    <a:pt x="129102" y="599777"/>
                  </a:cubicBezTo>
                  <a:cubicBezTo>
                    <a:pt x="129419" y="601236"/>
                    <a:pt x="129542" y="601985"/>
                    <a:pt x="129469" y="602010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6" name="Vrije vorm 795">
              <a:extLst>
                <a:ext uri="{FF2B5EF4-FFF2-40B4-BE49-F238E27FC236}">
                  <a16:creationId xmlns:a16="http://schemas.microsoft.com/office/drawing/2014/main" id="{A3D1B2F7-5FC8-1618-08F6-D9046E561FCD}"/>
                </a:ext>
              </a:extLst>
            </p:cNvPr>
            <p:cNvSpPr/>
            <p:nvPr/>
          </p:nvSpPr>
          <p:spPr>
            <a:xfrm flipV="1">
              <a:off x="5454076" y="2665433"/>
              <a:ext cx="691097" cy="999334"/>
            </a:xfrm>
            <a:custGeom>
              <a:avLst/>
              <a:gdLst>
                <a:gd name="connsiteX0" fmla="*/ 654686 w 691097"/>
                <a:gd name="connsiteY0" fmla="*/ 269469 h 999334"/>
                <a:gd name="connsiteX1" fmla="*/ 250739 w 691097"/>
                <a:gd name="connsiteY1" fmla="*/ 300371 h 999334"/>
                <a:gd name="connsiteX2" fmla="*/ 238931 w 691097"/>
                <a:gd name="connsiteY2" fmla="*/ 740004 h 999334"/>
                <a:gd name="connsiteX3" fmla="*/ 147245 w 691097"/>
                <a:gd name="connsiteY3" fmla="*/ 997484 h 999334"/>
                <a:gd name="connsiteX4" fmla="*/ 1612 w 691097"/>
                <a:gd name="connsiteY4" fmla="*/ 773392 h 999334"/>
                <a:gd name="connsiteX5" fmla="*/ 23910 w 691097"/>
                <a:gd name="connsiteY5" fmla="*/ 126819 h 999334"/>
                <a:gd name="connsiteX6" fmla="*/ 27405 w 691097"/>
                <a:gd name="connsiteY6" fmla="*/ 115529 h 999334"/>
                <a:gd name="connsiteX7" fmla="*/ 220091 w 691097"/>
                <a:gd name="connsiteY7" fmla="*/ -215 h 999334"/>
                <a:gd name="connsiteX8" fmla="*/ 690251 w 691097"/>
                <a:gd name="connsiteY8" fmla="*/ 62985 h 999334"/>
                <a:gd name="connsiteX9" fmla="*/ 654686 w 691097"/>
                <a:gd name="connsiteY9" fmla="*/ 269469 h 9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1097" h="999334">
                  <a:moveTo>
                    <a:pt x="654686" y="269469"/>
                  </a:moveTo>
                  <a:lnTo>
                    <a:pt x="250739" y="300371"/>
                  </a:lnTo>
                  <a:lnTo>
                    <a:pt x="238931" y="740004"/>
                  </a:lnTo>
                  <a:lnTo>
                    <a:pt x="147245" y="997484"/>
                  </a:lnTo>
                  <a:cubicBezTo>
                    <a:pt x="147245" y="997484"/>
                    <a:pt x="4980" y="945650"/>
                    <a:pt x="1612" y="773392"/>
                  </a:cubicBezTo>
                  <a:cubicBezTo>
                    <a:pt x="-1762" y="601134"/>
                    <a:pt x="-6408" y="234976"/>
                    <a:pt x="23910" y="126819"/>
                  </a:cubicBezTo>
                  <a:cubicBezTo>
                    <a:pt x="24989" y="122950"/>
                    <a:pt x="26158" y="119195"/>
                    <a:pt x="27405" y="115529"/>
                  </a:cubicBezTo>
                  <a:cubicBezTo>
                    <a:pt x="54538" y="35863"/>
                    <a:pt x="136714" y="-11429"/>
                    <a:pt x="220091" y="-215"/>
                  </a:cubicBezTo>
                  <a:lnTo>
                    <a:pt x="690251" y="62985"/>
                  </a:lnTo>
                  <a:lnTo>
                    <a:pt x="654686" y="269469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7" name="Vrije vorm 796">
              <a:extLst>
                <a:ext uri="{FF2B5EF4-FFF2-40B4-BE49-F238E27FC236}">
                  <a16:creationId xmlns:a16="http://schemas.microsoft.com/office/drawing/2014/main" id="{E41C5606-2095-E85B-623C-B0BF757FCAEE}"/>
                </a:ext>
              </a:extLst>
            </p:cNvPr>
            <p:cNvSpPr/>
            <p:nvPr/>
          </p:nvSpPr>
          <p:spPr>
            <a:xfrm flipV="1">
              <a:off x="5688022" y="2946204"/>
              <a:ext cx="421586" cy="449273"/>
            </a:xfrm>
            <a:custGeom>
              <a:avLst/>
              <a:gdLst>
                <a:gd name="connsiteX0" fmla="*/ -605 w 421586"/>
                <a:gd name="connsiteY0" fmla="*/ 447428 h 449273"/>
                <a:gd name="connsiteX1" fmla="*/ -912 w 421586"/>
                <a:gd name="connsiteY1" fmla="*/ 439056 h 449273"/>
                <a:gd name="connsiteX2" fmla="*/ -526 w 421586"/>
                <a:gd name="connsiteY2" fmla="*/ 415093 h 449273"/>
                <a:gd name="connsiteX3" fmla="*/ 2110 w 421586"/>
                <a:gd name="connsiteY3" fmla="*/ 327029 h 449273"/>
                <a:gd name="connsiteX4" fmla="*/ 13248 w 421586"/>
                <a:gd name="connsiteY4" fmla="*/ 36579 h 449273"/>
                <a:gd name="connsiteX5" fmla="*/ 13485 w 421586"/>
                <a:gd name="connsiteY5" fmla="*/ 30947 h 449273"/>
                <a:gd name="connsiteX6" fmla="*/ 13605 w 421586"/>
                <a:gd name="connsiteY6" fmla="*/ 28067 h 449273"/>
                <a:gd name="connsiteX7" fmla="*/ 16463 w 421586"/>
                <a:gd name="connsiteY7" fmla="*/ 27851 h 449273"/>
                <a:gd name="connsiteX8" fmla="*/ 302400 w 421586"/>
                <a:gd name="connsiteY8" fmla="*/ 5626 h 449273"/>
                <a:gd name="connsiteX9" fmla="*/ 388910 w 421586"/>
                <a:gd name="connsiteY9" fmla="*/ -361 h 449273"/>
                <a:gd name="connsiteX10" fmla="*/ 412431 w 421586"/>
                <a:gd name="connsiteY10" fmla="*/ -1668 h 449273"/>
                <a:gd name="connsiteX11" fmla="*/ 420672 w 421586"/>
                <a:gd name="connsiteY11" fmla="*/ -1681 h 449273"/>
                <a:gd name="connsiteX12" fmla="*/ 412545 w 421586"/>
                <a:gd name="connsiteY12" fmla="*/ -374 h 449273"/>
                <a:gd name="connsiteX13" fmla="*/ 389113 w 421586"/>
                <a:gd name="connsiteY13" fmla="*/ 2138 h 449273"/>
                <a:gd name="connsiteX14" fmla="*/ 302768 w 421586"/>
                <a:gd name="connsiteY14" fmla="*/ 10168 h 449273"/>
                <a:gd name="connsiteX15" fmla="*/ 16988 w 421586"/>
                <a:gd name="connsiteY15" fmla="*/ 34309 h 449273"/>
                <a:gd name="connsiteX16" fmla="*/ 19960 w 421586"/>
                <a:gd name="connsiteY16" fmla="*/ 31213 h 449273"/>
                <a:gd name="connsiteX17" fmla="*/ 19726 w 421586"/>
                <a:gd name="connsiteY17" fmla="*/ 36846 h 449273"/>
                <a:gd name="connsiteX18" fmla="*/ 6691 w 421586"/>
                <a:gd name="connsiteY18" fmla="*/ 327219 h 449273"/>
                <a:gd name="connsiteX19" fmla="*/ 1996 w 421586"/>
                <a:gd name="connsiteY19" fmla="*/ 415207 h 449273"/>
                <a:gd name="connsiteX20" fmla="*/ 390 w 421586"/>
                <a:gd name="connsiteY20" fmla="*/ 439106 h 449273"/>
                <a:gd name="connsiteX21" fmla="*/ -605 w 421586"/>
                <a:gd name="connsiteY21" fmla="*/ 447428 h 449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21586" h="449273">
                  <a:moveTo>
                    <a:pt x="-605" y="447428"/>
                  </a:moveTo>
                  <a:cubicBezTo>
                    <a:pt x="-833" y="447416"/>
                    <a:pt x="-932" y="444536"/>
                    <a:pt x="-912" y="439056"/>
                  </a:cubicBezTo>
                  <a:cubicBezTo>
                    <a:pt x="-813" y="432916"/>
                    <a:pt x="-685" y="424962"/>
                    <a:pt x="-526" y="415093"/>
                  </a:cubicBezTo>
                  <a:cubicBezTo>
                    <a:pt x="123" y="393514"/>
                    <a:pt x="1014" y="363627"/>
                    <a:pt x="2110" y="327029"/>
                  </a:cubicBezTo>
                  <a:cubicBezTo>
                    <a:pt x="4987" y="252006"/>
                    <a:pt x="8915" y="149659"/>
                    <a:pt x="13248" y="36579"/>
                  </a:cubicBezTo>
                  <a:cubicBezTo>
                    <a:pt x="13327" y="34651"/>
                    <a:pt x="13412" y="32723"/>
                    <a:pt x="13485" y="30947"/>
                  </a:cubicBezTo>
                  <a:lnTo>
                    <a:pt x="13605" y="28067"/>
                  </a:lnTo>
                  <a:lnTo>
                    <a:pt x="16463" y="27851"/>
                  </a:lnTo>
                  <a:cubicBezTo>
                    <a:pt x="127996" y="19174"/>
                    <a:pt x="228670" y="11360"/>
                    <a:pt x="302400" y="5626"/>
                  </a:cubicBezTo>
                  <a:cubicBezTo>
                    <a:pt x="338371" y="3140"/>
                    <a:pt x="367711" y="1097"/>
                    <a:pt x="388910" y="-361"/>
                  </a:cubicBezTo>
                  <a:cubicBezTo>
                    <a:pt x="398585" y="-894"/>
                    <a:pt x="406395" y="-1326"/>
                    <a:pt x="412431" y="-1668"/>
                  </a:cubicBezTo>
                  <a:cubicBezTo>
                    <a:pt x="417819" y="-1896"/>
                    <a:pt x="420647" y="-1909"/>
                    <a:pt x="420672" y="-1681"/>
                  </a:cubicBezTo>
                  <a:cubicBezTo>
                    <a:pt x="420685" y="-1465"/>
                    <a:pt x="417883" y="-1021"/>
                    <a:pt x="412545" y="-374"/>
                  </a:cubicBezTo>
                  <a:cubicBezTo>
                    <a:pt x="406522" y="273"/>
                    <a:pt x="398750" y="1097"/>
                    <a:pt x="389113" y="2138"/>
                  </a:cubicBezTo>
                  <a:cubicBezTo>
                    <a:pt x="367964" y="4104"/>
                    <a:pt x="338663" y="6819"/>
                    <a:pt x="302768" y="10168"/>
                  </a:cubicBezTo>
                  <a:cubicBezTo>
                    <a:pt x="229076" y="16396"/>
                    <a:pt x="128461" y="24896"/>
                    <a:pt x="16988" y="34309"/>
                  </a:cubicBezTo>
                  <a:lnTo>
                    <a:pt x="19960" y="31213"/>
                  </a:lnTo>
                  <a:cubicBezTo>
                    <a:pt x="19885" y="32989"/>
                    <a:pt x="19806" y="34917"/>
                    <a:pt x="19726" y="36846"/>
                  </a:cubicBezTo>
                  <a:cubicBezTo>
                    <a:pt x="14649" y="149900"/>
                    <a:pt x="10058" y="252209"/>
                    <a:pt x="6691" y="327219"/>
                  </a:cubicBezTo>
                  <a:cubicBezTo>
                    <a:pt x="4739" y="363779"/>
                    <a:pt x="3149" y="393641"/>
                    <a:pt x="1996" y="415207"/>
                  </a:cubicBezTo>
                  <a:cubicBezTo>
                    <a:pt x="1336" y="425051"/>
                    <a:pt x="806" y="432979"/>
                    <a:pt x="390" y="439106"/>
                  </a:cubicBezTo>
                  <a:cubicBezTo>
                    <a:pt x="-46" y="444574"/>
                    <a:pt x="-382" y="447441"/>
                    <a:pt x="-605" y="447428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8" name="Vrije vorm 797">
              <a:extLst>
                <a:ext uri="{FF2B5EF4-FFF2-40B4-BE49-F238E27FC236}">
                  <a16:creationId xmlns:a16="http://schemas.microsoft.com/office/drawing/2014/main" id="{17B85EE9-5285-A336-123B-F8CA5430B758}"/>
                </a:ext>
              </a:extLst>
            </p:cNvPr>
            <p:cNvSpPr/>
            <p:nvPr/>
          </p:nvSpPr>
          <p:spPr>
            <a:xfrm flipV="1">
              <a:off x="5602222" y="2693108"/>
              <a:ext cx="82096" cy="174967"/>
            </a:xfrm>
            <a:custGeom>
              <a:avLst/>
              <a:gdLst>
                <a:gd name="connsiteX0" fmla="*/ -680 w 82096"/>
                <a:gd name="connsiteY0" fmla="*/ 172742 h 174967"/>
                <a:gd name="connsiteX1" fmla="*/ 53459 w 82096"/>
                <a:gd name="connsiteY1" fmla="*/ 91542 h 174967"/>
                <a:gd name="connsiteX2" fmla="*/ 80740 w 82096"/>
                <a:gd name="connsiteY2" fmla="*/ -2192 h 174967"/>
                <a:gd name="connsiteX3" fmla="*/ 79531 w 82096"/>
                <a:gd name="connsiteY3" fmla="*/ 26896 h 174967"/>
                <a:gd name="connsiteX4" fmla="*/ 59338 w 82096"/>
                <a:gd name="connsiteY4" fmla="*/ 94282 h 174967"/>
                <a:gd name="connsiteX5" fmla="*/ 20795 w 82096"/>
                <a:gd name="connsiteY5" fmla="*/ 153092 h 174967"/>
                <a:gd name="connsiteX6" fmla="*/ -680 w 82096"/>
                <a:gd name="connsiteY6" fmla="*/ 172742 h 174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096" h="174967">
                  <a:moveTo>
                    <a:pt x="-680" y="172742"/>
                  </a:moveTo>
                  <a:cubicBezTo>
                    <a:pt x="-2335" y="171334"/>
                    <a:pt x="30849" y="140889"/>
                    <a:pt x="53459" y="91542"/>
                  </a:cubicBezTo>
                  <a:cubicBezTo>
                    <a:pt x="76668" y="42448"/>
                    <a:pt x="78594" y="-2547"/>
                    <a:pt x="80740" y="-2192"/>
                  </a:cubicBezTo>
                  <a:cubicBezTo>
                    <a:pt x="81478" y="-2167"/>
                    <a:pt x="82013" y="9022"/>
                    <a:pt x="79531" y="26896"/>
                  </a:cubicBezTo>
                  <a:cubicBezTo>
                    <a:pt x="77094" y="44745"/>
                    <a:pt x="70963" y="69202"/>
                    <a:pt x="59338" y="94282"/>
                  </a:cubicBezTo>
                  <a:cubicBezTo>
                    <a:pt x="47639" y="119311"/>
                    <a:pt x="32875" y="139747"/>
                    <a:pt x="20795" y="153092"/>
                  </a:cubicBezTo>
                  <a:cubicBezTo>
                    <a:pt x="8710" y="166501"/>
                    <a:pt x="-186" y="173288"/>
                    <a:pt x="-680" y="172742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9" name="Vrije vorm 798">
              <a:extLst>
                <a:ext uri="{FF2B5EF4-FFF2-40B4-BE49-F238E27FC236}">
                  <a16:creationId xmlns:a16="http://schemas.microsoft.com/office/drawing/2014/main" id="{6B499BEA-BE1B-A3FD-A3DE-FB876AACCF4B}"/>
                </a:ext>
              </a:extLst>
            </p:cNvPr>
            <p:cNvSpPr/>
            <p:nvPr/>
          </p:nvSpPr>
          <p:spPr>
            <a:xfrm flipV="1">
              <a:off x="5814225" y="2593848"/>
              <a:ext cx="213655" cy="670830"/>
            </a:xfrm>
            <a:custGeom>
              <a:avLst/>
              <a:gdLst>
                <a:gd name="connsiteX0" fmla="*/ -808 w 213655"/>
                <a:gd name="connsiteY0" fmla="*/ 668769 h 670830"/>
                <a:gd name="connsiteX1" fmla="*/ -620 w 213655"/>
                <a:gd name="connsiteY1" fmla="*/ 661666 h 670830"/>
                <a:gd name="connsiteX2" fmla="*/ 1217 w 213655"/>
                <a:gd name="connsiteY2" fmla="*/ 641356 h 670830"/>
                <a:gd name="connsiteX3" fmla="*/ 12069 w 213655"/>
                <a:gd name="connsiteY3" fmla="*/ 566726 h 670830"/>
                <a:gd name="connsiteX4" fmla="*/ 82723 w 213655"/>
                <a:gd name="connsiteY4" fmla="*/ 324761 h 670830"/>
                <a:gd name="connsiteX5" fmla="*/ 83712 w 213655"/>
                <a:gd name="connsiteY5" fmla="*/ 322338 h 670830"/>
                <a:gd name="connsiteX6" fmla="*/ 86286 w 213655"/>
                <a:gd name="connsiteY6" fmla="*/ 322807 h 670830"/>
                <a:gd name="connsiteX7" fmla="*/ 118250 w 213655"/>
                <a:gd name="connsiteY7" fmla="*/ 328592 h 670830"/>
                <a:gd name="connsiteX8" fmla="*/ 133554 w 213655"/>
                <a:gd name="connsiteY8" fmla="*/ 331370 h 670830"/>
                <a:gd name="connsiteX9" fmla="*/ 130511 w 213655"/>
                <a:gd name="connsiteY9" fmla="*/ 336647 h 670830"/>
                <a:gd name="connsiteX10" fmla="*/ 94375 w 213655"/>
                <a:gd name="connsiteY10" fmla="*/ 269718 h 670830"/>
                <a:gd name="connsiteX11" fmla="*/ 100779 w 213655"/>
                <a:gd name="connsiteY11" fmla="*/ 233437 h 670830"/>
                <a:gd name="connsiteX12" fmla="*/ 114979 w 213655"/>
                <a:gd name="connsiteY12" fmla="*/ 202104 h 670830"/>
                <a:gd name="connsiteX13" fmla="*/ 165202 w 213655"/>
                <a:gd name="connsiteY13" fmla="*/ 95253 h 670830"/>
                <a:gd name="connsiteX14" fmla="*/ 199410 w 213655"/>
                <a:gd name="connsiteY14" fmla="*/ 23731 h 670830"/>
                <a:gd name="connsiteX15" fmla="*/ 208971 w 213655"/>
                <a:gd name="connsiteY15" fmla="*/ 4462 h 670830"/>
                <a:gd name="connsiteX16" fmla="*/ 212698 w 213655"/>
                <a:gd name="connsiteY16" fmla="*/ -2059 h 670830"/>
                <a:gd name="connsiteX17" fmla="*/ 210137 w 213655"/>
                <a:gd name="connsiteY17" fmla="*/ 5007 h 670830"/>
                <a:gd name="connsiteX18" fmla="*/ 201642 w 213655"/>
                <a:gd name="connsiteY18" fmla="*/ 24759 h 670830"/>
                <a:gd name="connsiteX19" fmla="*/ 169272 w 213655"/>
                <a:gd name="connsiteY19" fmla="*/ 97143 h 670830"/>
                <a:gd name="connsiteX20" fmla="*/ 120330 w 213655"/>
                <a:gd name="connsiteY20" fmla="*/ 204577 h 670830"/>
                <a:gd name="connsiteX21" fmla="*/ 100652 w 213655"/>
                <a:gd name="connsiteY21" fmla="*/ 269147 h 670830"/>
                <a:gd name="connsiteX22" fmla="*/ 135456 w 213655"/>
                <a:gd name="connsiteY22" fmla="*/ 332461 h 670830"/>
                <a:gd name="connsiteX23" fmla="*/ 141263 w 213655"/>
                <a:gd name="connsiteY23" fmla="*/ 339349 h 670830"/>
                <a:gd name="connsiteX24" fmla="*/ 132400 w 213655"/>
                <a:gd name="connsiteY24" fmla="*/ 337751 h 670830"/>
                <a:gd name="connsiteX25" fmla="*/ 117097 w 213655"/>
                <a:gd name="connsiteY25" fmla="*/ 334973 h 670830"/>
                <a:gd name="connsiteX26" fmla="*/ 85132 w 213655"/>
                <a:gd name="connsiteY26" fmla="*/ 329163 h 670830"/>
                <a:gd name="connsiteX27" fmla="*/ 88695 w 213655"/>
                <a:gd name="connsiteY27" fmla="*/ 327222 h 670830"/>
                <a:gd name="connsiteX28" fmla="*/ 16385 w 213655"/>
                <a:gd name="connsiteY28" fmla="*/ 567551 h 670830"/>
                <a:gd name="connsiteX29" fmla="*/ 3600 w 213655"/>
                <a:gd name="connsiteY29" fmla="*/ 641660 h 670830"/>
                <a:gd name="connsiteX30" fmla="*/ 614 w 213655"/>
                <a:gd name="connsiteY30" fmla="*/ 661805 h 670830"/>
                <a:gd name="connsiteX31" fmla="*/ -808 w 213655"/>
                <a:gd name="connsiteY31" fmla="*/ 668769 h 670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13655" h="670830">
                  <a:moveTo>
                    <a:pt x="-808" y="668769"/>
                  </a:moveTo>
                  <a:cubicBezTo>
                    <a:pt x="-1021" y="668744"/>
                    <a:pt x="-952" y="666308"/>
                    <a:pt x="-620" y="661666"/>
                  </a:cubicBezTo>
                  <a:cubicBezTo>
                    <a:pt x="-249" y="657022"/>
                    <a:pt x="207" y="650160"/>
                    <a:pt x="1217" y="641356"/>
                  </a:cubicBezTo>
                  <a:cubicBezTo>
                    <a:pt x="3059" y="623710"/>
                    <a:pt x="6428" y="598199"/>
                    <a:pt x="12069" y="566726"/>
                  </a:cubicBezTo>
                  <a:cubicBezTo>
                    <a:pt x="23194" y="503844"/>
                    <a:pt x="44901" y="417125"/>
                    <a:pt x="82723" y="324761"/>
                  </a:cubicBezTo>
                  <a:lnTo>
                    <a:pt x="83712" y="322338"/>
                  </a:lnTo>
                  <a:lnTo>
                    <a:pt x="86286" y="322807"/>
                  </a:lnTo>
                  <a:cubicBezTo>
                    <a:pt x="96455" y="324646"/>
                    <a:pt x="107296" y="326613"/>
                    <a:pt x="118250" y="328592"/>
                  </a:cubicBezTo>
                  <a:cubicBezTo>
                    <a:pt x="123500" y="329543"/>
                    <a:pt x="128711" y="330495"/>
                    <a:pt x="133554" y="331370"/>
                  </a:cubicBezTo>
                  <a:lnTo>
                    <a:pt x="130511" y="336647"/>
                  </a:lnTo>
                  <a:cubicBezTo>
                    <a:pt x="114155" y="317086"/>
                    <a:pt x="96848" y="295812"/>
                    <a:pt x="94375" y="269718"/>
                  </a:cubicBezTo>
                  <a:cubicBezTo>
                    <a:pt x="93044" y="256867"/>
                    <a:pt x="96429" y="244410"/>
                    <a:pt x="100779" y="233437"/>
                  </a:cubicBezTo>
                  <a:cubicBezTo>
                    <a:pt x="105229" y="222375"/>
                    <a:pt x="110351" y="212239"/>
                    <a:pt x="114979" y="202104"/>
                  </a:cubicBezTo>
                  <a:cubicBezTo>
                    <a:pt x="133846" y="161966"/>
                    <a:pt x="150823" y="125825"/>
                    <a:pt x="165202" y="95253"/>
                  </a:cubicBezTo>
                  <a:cubicBezTo>
                    <a:pt x="179403" y="65555"/>
                    <a:pt x="190991" y="41326"/>
                    <a:pt x="199410" y="23731"/>
                  </a:cubicBezTo>
                  <a:cubicBezTo>
                    <a:pt x="203316" y="15853"/>
                    <a:pt x="206485" y="9472"/>
                    <a:pt x="208971" y="4462"/>
                  </a:cubicBezTo>
                  <a:cubicBezTo>
                    <a:pt x="211227" y="98"/>
                    <a:pt x="212495" y="-2148"/>
                    <a:pt x="212698" y="-2059"/>
                  </a:cubicBezTo>
                  <a:cubicBezTo>
                    <a:pt x="212901" y="-1970"/>
                    <a:pt x="212001" y="465"/>
                    <a:pt x="210137" y="5007"/>
                  </a:cubicBezTo>
                  <a:cubicBezTo>
                    <a:pt x="207931" y="10145"/>
                    <a:pt x="205116" y="16678"/>
                    <a:pt x="201642" y="24759"/>
                  </a:cubicBezTo>
                  <a:cubicBezTo>
                    <a:pt x="193679" y="42569"/>
                    <a:pt x="182712" y="67090"/>
                    <a:pt x="169272" y="97143"/>
                  </a:cubicBezTo>
                  <a:cubicBezTo>
                    <a:pt x="155274" y="127880"/>
                    <a:pt x="138715" y="164224"/>
                    <a:pt x="120330" y="204577"/>
                  </a:cubicBezTo>
                  <a:cubicBezTo>
                    <a:pt x="111746" y="224836"/>
                    <a:pt x="98433" y="245805"/>
                    <a:pt x="100652" y="269147"/>
                  </a:cubicBezTo>
                  <a:cubicBezTo>
                    <a:pt x="102833" y="292552"/>
                    <a:pt x="119087" y="313052"/>
                    <a:pt x="135456" y="332461"/>
                  </a:cubicBezTo>
                  <a:lnTo>
                    <a:pt x="141263" y="339349"/>
                  </a:lnTo>
                  <a:lnTo>
                    <a:pt x="132400" y="337751"/>
                  </a:lnTo>
                  <a:cubicBezTo>
                    <a:pt x="127557" y="336876"/>
                    <a:pt x="122333" y="335924"/>
                    <a:pt x="117097" y="334973"/>
                  </a:cubicBezTo>
                  <a:cubicBezTo>
                    <a:pt x="106142" y="332981"/>
                    <a:pt x="95301" y="331015"/>
                    <a:pt x="85132" y="329163"/>
                  </a:cubicBezTo>
                  <a:lnTo>
                    <a:pt x="88695" y="327222"/>
                  </a:lnTo>
                  <a:cubicBezTo>
                    <a:pt x="50949" y="419028"/>
                    <a:pt x="28608" y="505087"/>
                    <a:pt x="16385" y="567551"/>
                  </a:cubicBezTo>
                  <a:cubicBezTo>
                    <a:pt x="10197" y="598796"/>
                    <a:pt x="6171" y="624154"/>
                    <a:pt x="3600" y="641660"/>
                  </a:cubicBezTo>
                  <a:cubicBezTo>
                    <a:pt x="2381" y="649881"/>
                    <a:pt x="1391" y="656540"/>
                    <a:pt x="614" y="661805"/>
                  </a:cubicBezTo>
                  <a:cubicBezTo>
                    <a:pt x="-114" y="666397"/>
                    <a:pt x="-600" y="668795"/>
                    <a:pt x="-808" y="668769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0" name="Vrije vorm 799">
              <a:extLst>
                <a:ext uri="{FF2B5EF4-FFF2-40B4-BE49-F238E27FC236}">
                  <a16:creationId xmlns:a16="http://schemas.microsoft.com/office/drawing/2014/main" id="{3089F790-9A97-674B-EB9E-B0109FA16446}"/>
                </a:ext>
              </a:extLst>
            </p:cNvPr>
            <p:cNvSpPr/>
            <p:nvPr/>
          </p:nvSpPr>
          <p:spPr>
            <a:xfrm flipV="1">
              <a:off x="6255376" y="2575446"/>
              <a:ext cx="161647" cy="629645"/>
            </a:xfrm>
            <a:custGeom>
              <a:avLst/>
              <a:gdLst>
                <a:gd name="connsiteX0" fmla="*/ 159693 w 161647"/>
                <a:gd name="connsiteY0" fmla="*/ -2096 h 629645"/>
                <a:gd name="connsiteX1" fmla="*/ 160212 w 161647"/>
                <a:gd name="connsiteY1" fmla="*/ 4576 h 629645"/>
                <a:gd name="connsiteX2" fmla="*/ 160415 w 161647"/>
                <a:gd name="connsiteY2" fmla="*/ 23757 h 629645"/>
                <a:gd name="connsiteX3" fmla="*/ 156383 w 161647"/>
                <a:gd name="connsiteY3" fmla="*/ 94149 h 629645"/>
                <a:gd name="connsiteX4" fmla="*/ 115201 w 161647"/>
                <a:gd name="connsiteY4" fmla="*/ 322871 h 629645"/>
                <a:gd name="connsiteX5" fmla="*/ 84429 w 161647"/>
                <a:gd name="connsiteY5" fmla="*/ 447089 h 629645"/>
                <a:gd name="connsiteX6" fmla="*/ 49548 w 161647"/>
                <a:gd name="connsiteY6" fmla="*/ 545783 h 629645"/>
                <a:gd name="connsiteX7" fmla="*/ 14895 w 161647"/>
                <a:gd name="connsiteY7" fmla="*/ 607283 h 629645"/>
                <a:gd name="connsiteX8" fmla="*/ 3319 w 161647"/>
                <a:gd name="connsiteY8" fmla="*/ 622581 h 629645"/>
                <a:gd name="connsiteX9" fmla="*/ -1182 w 161647"/>
                <a:gd name="connsiteY9" fmla="*/ 627541 h 629645"/>
                <a:gd name="connsiteX10" fmla="*/ 12803 w 161647"/>
                <a:gd name="connsiteY10" fmla="*/ 605887 h 629645"/>
                <a:gd name="connsiteX11" fmla="*/ 45364 w 161647"/>
                <a:gd name="connsiteY11" fmla="*/ 543931 h 629645"/>
                <a:gd name="connsiteX12" fmla="*/ 78672 w 161647"/>
                <a:gd name="connsiteY12" fmla="*/ 445490 h 629645"/>
                <a:gd name="connsiteX13" fmla="*/ 108887 w 161647"/>
                <a:gd name="connsiteY13" fmla="*/ 321387 h 629645"/>
                <a:gd name="connsiteX14" fmla="*/ 151831 w 161647"/>
                <a:gd name="connsiteY14" fmla="*/ 93655 h 629645"/>
                <a:gd name="connsiteX15" fmla="*/ 157892 w 161647"/>
                <a:gd name="connsiteY15" fmla="*/ 23668 h 629645"/>
                <a:gd name="connsiteX16" fmla="*/ 158906 w 161647"/>
                <a:gd name="connsiteY16" fmla="*/ 4564 h 629645"/>
                <a:gd name="connsiteX17" fmla="*/ 159693 w 161647"/>
                <a:gd name="connsiteY17" fmla="*/ -2096 h 629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1647" h="629645">
                  <a:moveTo>
                    <a:pt x="159693" y="-2096"/>
                  </a:moveTo>
                  <a:cubicBezTo>
                    <a:pt x="159908" y="-2096"/>
                    <a:pt x="160086" y="200"/>
                    <a:pt x="160212" y="4576"/>
                  </a:cubicBezTo>
                  <a:cubicBezTo>
                    <a:pt x="160327" y="8965"/>
                    <a:pt x="160491" y="15422"/>
                    <a:pt x="160415" y="23757"/>
                  </a:cubicBezTo>
                  <a:cubicBezTo>
                    <a:pt x="160136" y="40388"/>
                    <a:pt x="159249" y="64490"/>
                    <a:pt x="156383" y="94149"/>
                  </a:cubicBezTo>
                  <a:cubicBezTo>
                    <a:pt x="150982" y="153493"/>
                    <a:pt x="136173" y="234604"/>
                    <a:pt x="115201" y="322871"/>
                  </a:cubicBezTo>
                  <a:cubicBezTo>
                    <a:pt x="104728" y="367004"/>
                    <a:pt x="95054" y="409133"/>
                    <a:pt x="84429" y="447089"/>
                  </a:cubicBezTo>
                  <a:cubicBezTo>
                    <a:pt x="73867" y="485031"/>
                    <a:pt x="62037" y="518661"/>
                    <a:pt x="49548" y="545783"/>
                  </a:cubicBezTo>
                  <a:cubicBezTo>
                    <a:pt x="37224" y="572993"/>
                    <a:pt x="24544" y="593696"/>
                    <a:pt x="14895" y="607283"/>
                  </a:cubicBezTo>
                  <a:cubicBezTo>
                    <a:pt x="10230" y="614196"/>
                    <a:pt x="6083" y="619182"/>
                    <a:pt x="3319" y="622581"/>
                  </a:cubicBezTo>
                  <a:cubicBezTo>
                    <a:pt x="530" y="625968"/>
                    <a:pt x="-1004" y="627681"/>
                    <a:pt x="-1182" y="627541"/>
                  </a:cubicBezTo>
                  <a:cubicBezTo>
                    <a:pt x="-1689" y="627161"/>
                    <a:pt x="3953" y="619879"/>
                    <a:pt x="12803" y="605887"/>
                  </a:cubicBezTo>
                  <a:cubicBezTo>
                    <a:pt x="21730" y="591958"/>
                    <a:pt x="33673" y="571116"/>
                    <a:pt x="45364" y="543931"/>
                  </a:cubicBezTo>
                  <a:cubicBezTo>
                    <a:pt x="57193" y="516821"/>
                    <a:pt x="68478" y="483344"/>
                    <a:pt x="78672" y="445490"/>
                  </a:cubicBezTo>
                  <a:cubicBezTo>
                    <a:pt x="88917" y="407674"/>
                    <a:pt x="98426" y="365507"/>
                    <a:pt x="108887" y="321387"/>
                  </a:cubicBezTo>
                  <a:cubicBezTo>
                    <a:pt x="129833" y="233222"/>
                    <a:pt x="145276" y="152643"/>
                    <a:pt x="151831" y="93655"/>
                  </a:cubicBezTo>
                  <a:cubicBezTo>
                    <a:pt x="155255" y="64199"/>
                    <a:pt x="156840" y="40235"/>
                    <a:pt x="157892" y="23668"/>
                  </a:cubicBezTo>
                  <a:cubicBezTo>
                    <a:pt x="158298" y="15981"/>
                    <a:pt x="158640" y="9663"/>
                    <a:pt x="158906" y="4564"/>
                  </a:cubicBezTo>
                  <a:cubicBezTo>
                    <a:pt x="159198" y="200"/>
                    <a:pt x="159464" y="-2096"/>
                    <a:pt x="159693" y="-2096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1" name="Vrije vorm 800">
              <a:extLst>
                <a:ext uri="{FF2B5EF4-FFF2-40B4-BE49-F238E27FC236}">
                  <a16:creationId xmlns:a16="http://schemas.microsoft.com/office/drawing/2014/main" id="{7D864672-9BC4-A3F7-046F-7A5F5ECDF9B4}"/>
                </a:ext>
              </a:extLst>
            </p:cNvPr>
            <p:cNvSpPr/>
            <p:nvPr/>
          </p:nvSpPr>
          <p:spPr>
            <a:xfrm flipV="1">
              <a:off x="5600421" y="3361736"/>
              <a:ext cx="113000" cy="92906"/>
            </a:xfrm>
            <a:custGeom>
              <a:avLst/>
              <a:gdLst>
                <a:gd name="connsiteX0" fmla="*/ -622 w 113000"/>
                <a:gd name="connsiteY0" fmla="*/ -1609 h 92906"/>
                <a:gd name="connsiteX1" fmla="*/ 46191 w 113000"/>
                <a:gd name="connsiteY1" fmla="*/ 56415 h 92906"/>
                <a:gd name="connsiteX2" fmla="*/ 112242 w 113000"/>
                <a:gd name="connsiteY2" fmla="*/ 90971 h 92906"/>
                <a:gd name="connsiteX3" fmla="*/ 90004 w 113000"/>
                <a:gd name="connsiteY3" fmla="*/ 87343 h 92906"/>
                <a:gd name="connsiteX4" fmla="*/ 42080 w 113000"/>
                <a:gd name="connsiteY4" fmla="*/ 61426 h 92906"/>
                <a:gd name="connsiteX5" fmla="*/ 7302 w 113000"/>
                <a:gd name="connsiteY5" fmla="*/ 19500 h 92906"/>
                <a:gd name="connsiteX6" fmla="*/ -622 w 113000"/>
                <a:gd name="connsiteY6" fmla="*/ -1609 h 92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000" h="92906">
                  <a:moveTo>
                    <a:pt x="-622" y="-1609"/>
                  </a:moveTo>
                  <a:cubicBezTo>
                    <a:pt x="1200" y="-2662"/>
                    <a:pt x="13710" y="30219"/>
                    <a:pt x="46191" y="56415"/>
                  </a:cubicBezTo>
                  <a:cubicBezTo>
                    <a:pt x="78246" y="83156"/>
                    <a:pt x="112911" y="88979"/>
                    <a:pt x="112242" y="90971"/>
                  </a:cubicBezTo>
                  <a:cubicBezTo>
                    <a:pt x="112138" y="91694"/>
                    <a:pt x="103436" y="91351"/>
                    <a:pt x="90004" y="87343"/>
                  </a:cubicBezTo>
                  <a:cubicBezTo>
                    <a:pt x="76617" y="83385"/>
                    <a:pt x="58732" y="75037"/>
                    <a:pt x="42080" y="61426"/>
                  </a:cubicBezTo>
                  <a:cubicBezTo>
                    <a:pt x="25488" y="47763"/>
                    <a:pt x="13800" y="31856"/>
                    <a:pt x="7302" y="19500"/>
                  </a:cubicBezTo>
                  <a:cubicBezTo>
                    <a:pt x="734" y="7106"/>
                    <a:pt x="-1311" y="-1368"/>
                    <a:pt x="-622" y="-1609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3" name="Vrije vorm 802">
              <a:extLst>
                <a:ext uri="{FF2B5EF4-FFF2-40B4-BE49-F238E27FC236}">
                  <a16:creationId xmlns:a16="http://schemas.microsoft.com/office/drawing/2014/main" id="{87BFD2F4-7C1A-985D-C3BB-49E4EAED4DE9}"/>
                </a:ext>
              </a:extLst>
            </p:cNvPr>
            <p:cNvSpPr/>
            <p:nvPr/>
          </p:nvSpPr>
          <p:spPr>
            <a:xfrm flipV="1">
              <a:off x="6188182" y="3086608"/>
              <a:ext cx="806121" cy="621227"/>
            </a:xfrm>
            <a:custGeom>
              <a:avLst/>
              <a:gdLst>
                <a:gd name="connsiteX0" fmla="*/ 804734 w 806121"/>
                <a:gd name="connsiteY0" fmla="*/ 619584 h 621227"/>
                <a:gd name="connsiteX1" fmla="*/ 520769 w 806121"/>
                <a:gd name="connsiteY1" fmla="*/ -1643 h 621227"/>
                <a:gd name="connsiteX2" fmla="*/ -1388 w 806121"/>
                <a:gd name="connsiteY2" fmla="*/ -1643 h 621227"/>
                <a:gd name="connsiteX3" fmla="*/ 228335 w 806121"/>
                <a:gd name="connsiteY3" fmla="*/ 581045 h 621227"/>
                <a:gd name="connsiteX4" fmla="*/ 565996 w 806121"/>
                <a:gd name="connsiteY4" fmla="*/ 571023 h 621227"/>
                <a:gd name="connsiteX5" fmla="*/ 804734 w 806121"/>
                <a:gd name="connsiteY5" fmla="*/ 619584 h 621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6121" h="621227">
                  <a:moveTo>
                    <a:pt x="804734" y="619584"/>
                  </a:moveTo>
                  <a:cubicBezTo>
                    <a:pt x="803187" y="614967"/>
                    <a:pt x="520769" y="-1643"/>
                    <a:pt x="520769" y="-1643"/>
                  </a:cubicBezTo>
                  <a:lnTo>
                    <a:pt x="-1388" y="-1643"/>
                  </a:lnTo>
                  <a:lnTo>
                    <a:pt x="228335" y="581045"/>
                  </a:lnTo>
                  <a:cubicBezTo>
                    <a:pt x="228335" y="581045"/>
                    <a:pt x="407112" y="557856"/>
                    <a:pt x="565996" y="571023"/>
                  </a:cubicBezTo>
                  <a:cubicBezTo>
                    <a:pt x="692801" y="581527"/>
                    <a:pt x="804734" y="619584"/>
                    <a:pt x="804734" y="619584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4" name="Vrije vorm 803">
              <a:extLst>
                <a:ext uri="{FF2B5EF4-FFF2-40B4-BE49-F238E27FC236}">
                  <a16:creationId xmlns:a16="http://schemas.microsoft.com/office/drawing/2014/main" id="{94342C4E-2B0D-6DCA-6836-1900DB764524}"/>
                </a:ext>
              </a:extLst>
            </p:cNvPr>
            <p:cNvSpPr/>
            <p:nvPr/>
          </p:nvSpPr>
          <p:spPr>
            <a:xfrm flipV="1">
              <a:off x="6183325" y="3086597"/>
              <a:ext cx="810987" cy="624549"/>
            </a:xfrm>
            <a:custGeom>
              <a:avLst/>
              <a:gdLst>
                <a:gd name="connsiteX0" fmla="*/ 809592 w 810987"/>
                <a:gd name="connsiteY0" fmla="*/ 622897 h 624549"/>
                <a:gd name="connsiteX1" fmla="*/ 807094 w 810987"/>
                <a:gd name="connsiteY1" fmla="*/ 621844 h 624549"/>
                <a:gd name="connsiteX2" fmla="*/ 799562 w 810987"/>
                <a:gd name="connsiteY2" fmla="*/ 619218 h 624549"/>
                <a:gd name="connsiteX3" fmla="*/ 769817 w 810987"/>
                <a:gd name="connsiteY3" fmla="*/ 610059 h 624549"/>
                <a:gd name="connsiteX4" fmla="*/ 654601 w 810987"/>
                <a:gd name="connsiteY4" fmla="*/ 583508 h 624549"/>
                <a:gd name="connsiteX5" fmla="*/ 232825 w 810987"/>
                <a:gd name="connsiteY5" fmla="*/ 581554 h 624549"/>
                <a:gd name="connsiteX6" fmla="*/ 235818 w 810987"/>
                <a:gd name="connsiteY6" fmla="*/ 583317 h 624549"/>
                <a:gd name="connsiteX7" fmla="*/ 7211 w 810987"/>
                <a:gd name="connsiteY7" fmla="*/ 2176 h 624549"/>
                <a:gd name="connsiteX8" fmla="*/ 6539 w 810987"/>
                <a:gd name="connsiteY8" fmla="*/ 464 h 624549"/>
                <a:gd name="connsiteX9" fmla="*/ 3470 w 810987"/>
                <a:gd name="connsiteY9" fmla="*/ 4967 h 624549"/>
                <a:gd name="connsiteX10" fmla="*/ 525614 w 810987"/>
                <a:gd name="connsiteY10" fmla="*/ 4638 h 624549"/>
                <a:gd name="connsiteX11" fmla="*/ 522926 w 810987"/>
                <a:gd name="connsiteY11" fmla="*/ 2912 h 624549"/>
                <a:gd name="connsiteX12" fmla="*/ 809592 w 810987"/>
                <a:gd name="connsiteY12" fmla="*/ 622897 h 624549"/>
                <a:gd name="connsiteX13" fmla="*/ 528328 w 810987"/>
                <a:gd name="connsiteY13" fmla="*/ 439 h 624549"/>
                <a:gd name="connsiteX14" fmla="*/ 527542 w 810987"/>
                <a:gd name="connsiteY14" fmla="*/ -1299 h 624549"/>
                <a:gd name="connsiteX15" fmla="*/ 525614 w 810987"/>
                <a:gd name="connsiteY15" fmla="*/ -1299 h 624549"/>
                <a:gd name="connsiteX16" fmla="*/ 3470 w 810987"/>
                <a:gd name="connsiteY16" fmla="*/ -1629 h 624549"/>
                <a:gd name="connsiteX17" fmla="*/ -1386 w 810987"/>
                <a:gd name="connsiteY17" fmla="*/ -1642 h 624549"/>
                <a:gd name="connsiteX18" fmla="*/ 402 w 810987"/>
                <a:gd name="connsiteY18" fmla="*/ 2887 h 624549"/>
                <a:gd name="connsiteX19" fmla="*/ 1074 w 810987"/>
                <a:gd name="connsiteY19" fmla="*/ 4599 h 624549"/>
                <a:gd name="connsiteX20" fmla="*/ 230568 w 810987"/>
                <a:gd name="connsiteY20" fmla="*/ 585385 h 624549"/>
                <a:gd name="connsiteX21" fmla="*/ 231354 w 810987"/>
                <a:gd name="connsiteY21" fmla="*/ 587402 h 624549"/>
                <a:gd name="connsiteX22" fmla="*/ 233548 w 810987"/>
                <a:gd name="connsiteY22" fmla="*/ 587149 h 624549"/>
                <a:gd name="connsiteX23" fmla="*/ 654043 w 810987"/>
                <a:gd name="connsiteY23" fmla="*/ 586743 h 624549"/>
                <a:gd name="connsiteX24" fmla="*/ 769348 w 810987"/>
                <a:gd name="connsiteY24" fmla="*/ 611720 h 624549"/>
                <a:gd name="connsiteX25" fmla="*/ 799296 w 810987"/>
                <a:gd name="connsiteY25" fmla="*/ 620055 h 624549"/>
                <a:gd name="connsiteX26" fmla="*/ 806954 w 810987"/>
                <a:gd name="connsiteY26" fmla="*/ 622275 h 624549"/>
                <a:gd name="connsiteX27" fmla="*/ 809592 w 810987"/>
                <a:gd name="connsiteY27" fmla="*/ 622897 h 624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10987" h="624549">
                  <a:moveTo>
                    <a:pt x="809592" y="622897"/>
                  </a:moveTo>
                  <a:cubicBezTo>
                    <a:pt x="809452" y="622846"/>
                    <a:pt x="808806" y="622452"/>
                    <a:pt x="807094" y="621844"/>
                  </a:cubicBezTo>
                  <a:cubicBezTo>
                    <a:pt x="805179" y="621184"/>
                    <a:pt x="802719" y="620321"/>
                    <a:pt x="799562" y="619218"/>
                  </a:cubicBezTo>
                  <a:cubicBezTo>
                    <a:pt x="792880" y="617011"/>
                    <a:pt x="782927" y="613826"/>
                    <a:pt x="769817" y="610059"/>
                  </a:cubicBezTo>
                  <a:cubicBezTo>
                    <a:pt x="743596" y="602574"/>
                    <a:pt x="704836" y="592375"/>
                    <a:pt x="654601" y="583508"/>
                  </a:cubicBezTo>
                  <a:cubicBezTo>
                    <a:pt x="554181" y="564327"/>
                    <a:pt x="406987" y="562044"/>
                    <a:pt x="232825" y="581554"/>
                  </a:cubicBezTo>
                  <a:lnTo>
                    <a:pt x="235818" y="583317"/>
                  </a:lnTo>
                  <a:cubicBezTo>
                    <a:pt x="169733" y="415322"/>
                    <a:pt x="91211" y="215714"/>
                    <a:pt x="7211" y="2176"/>
                  </a:cubicBezTo>
                  <a:lnTo>
                    <a:pt x="6539" y="464"/>
                  </a:lnTo>
                  <a:lnTo>
                    <a:pt x="3470" y="4967"/>
                  </a:lnTo>
                  <a:cubicBezTo>
                    <a:pt x="191466" y="4853"/>
                    <a:pt x="369343" y="4739"/>
                    <a:pt x="525614" y="4638"/>
                  </a:cubicBezTo>
                  <a:lnTo>
                    <a:pt x="522926" y="2912"/>
                  </a:lnTo>
                  <a:cubicBezTo>
                    <a:pt x="691586" y="367687"/>
                    <a:pt x="798700" y="599365"/>
                    <a:pt x="809592" y="622897"/>
                  </a:cubicBezTo>
                  <a:cubicBezTo>
                    <a:pt x="798916" y="599288"/>
                    <a:pt x="693805" y="366672"/>
                    <a:pt x="528328" y="439"/>
                  </a:cubicBezTo>
                  <a:lnTo>
                    <a:pt x="527542" y="-1299"/>
                  </a:lnTo>
                  <a:lnTo>
                    <a:pt x="525614" y="-1299"/>
                  </a:lnTo>
                  <a:cubicBezTo>
                    <a:pt x="369343" y="-1401"/>
                    <a:pt x="191466" y="-1515"/>
                    <a:pt x="3470" y="-1629"/>
                  </a:cubicBezTo>
                  <a:lnTo>
                    <a:pt x="-1386" y="-1642"/>
                  </a:lnTo>
                  <a:lnTo>
                    <a:pt x="402" y="2887"/>
                  </a:lnTo>
                  <a:lnTo>
                    <a:pt x="1074" y="4599"/>
                  </a:lnTo>
                  <a:cubicBezTo>
                    <a:pt x="85404" y="218010"/>
                    <a:pt x="164218" y="417504"/>
                    <a:pt x="230568" y="585385"/>
                  </a:cubicBezTo>
                  <a:lnTo>
                    <a:pt x="231354" y="587402"/>
                  </a:lnTo>
                  <a:lnTo>
                    <a:pt x="233548" y="587149"/>
                  </a:lnTo>
                  <a:cubicBezTo>
                    <a:pt x="407101" y="567143"/>
                    <a:pt x="553927" y="568589"/>
                    <a:pt x="654043" y="586743"/>
                  </a:cubicBezTo>
                  <a:cubicBezTo>
                    <a:pt x="704214" y="595115"/>
                    <a:pt x="743038" y="604781"/>
                    <a:pt x="769348" y="611720"/>
                  </a:cubicBezTo>
                  <a:cubicBezTo>
                    <a:pt x="782255" y="615311"/>
                    <a:pt x="792246" y="618101"/>
                    <a:pt x="799296" y="620055"/>
                  </a:cubicBezTo>
                  <a:cubicBezTo>
                    <a:pt x="802504" y="620981"/>
                    <a:pt x="805014" y="621704"/>
                    <a:pt x="806954" y="622275"/>
                  </a:cubicBezTo>
                  <a:cubicBezTo>
                    <a:pt x="808653" y="622757"/>
                    <a:pt x="809718" y="622960"/>
                    <a:pt x="809592" y="622897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5" name="Vrije vorm 804">
              <a:extLst>
                <a:ext uri="{FF2B5EF4-FFF2-40B4-BE49-F238E27FC236}">
                  <a16:creationId xmlns:a16="http://schemas.microsoft.com/office/drawing/2014/main" id="{4B31CC60-DA8C-9B73-9EE5-E32A0870702A}"/>
                </a:ext>
              </a:extLst>
            </p:cNvPr>
            <p:cNvSpPr/>
            <p:nvPr/>
          </p:nvSpPr>
          <p:spPr>
            <a:xfrm flipV="1">
              <a:off x="6109114" y="3290136"/>
              <a:ext cx="387969" cy="305087"/>
            </a:xfrm>
            <a:custGeom>
              <a:avLst/>
              <a:gdLst>
                <a:gd name="connsiteX0" fmla="*/ -1191 w 387969"/>
                <a:gd name="connsiteY0" fmla="*/ 196151 h 305087"/>
                <a:gd name="connsiteX1" fmla="*/ 34374 w 387969"/>
                <a:gd name="connsiteY1" fmla="*/ 194020 h 305087"/>
                <a:gd name="connsiteX2" fmla="*/ 168889 w 387969"/>
                <a:gd name="connsiteY2" fmla="*/ 303485 h 305087"/>
                <a:gd name="connsiteX3" fmla="*/ 236824 w 387969"/>
                <a:gd name="connsiteY3" fmla="*/ 288947 h 305087"/>
                <a:gd name="connsiteX4" fmla="*/ 222484 w 387969"/>
                <a:gd name="connsiteY4" fmla="*/ 252590 h 305087"/>
                <a:gd name="connsiteX5" fmla="*/ 335342 w 387969"/>
                <a:gd name="connsiteY5" fmla="*/ 252590 h 305087"/>
                <a:gd name="connsiteX6" fmla="*/ 381571 w 387969"/>
                <a:gd name="connsiteY6" fmla="*/ 201708 h 305087"/>
                <a:gd name="connsiteX7" fmla="*/ 358456 w 387969"/>
                <a:gd name="connsiteY7" fmla="*/ 149291 h 305087"/>
                <a:gd name="connsiteX8" fmla="*/ 342823 w 387969"/>
                <a:gd name="connsiteY8" fmla="*/ 113276 h 305087"/>
                <a:gd name="connsiteX9" fmla="*/ 329167 w 387969"/>
                <a:gd name="connsiteY9" fmla="*/ 106109 h 305087"/>
                <a:gd name="connsiteX10" fmla="*/ 289101 w 387969"/>
                <a:gd name="connsiteY10" fmla="*/ 83935 h 305087"/>
                <a:gd name="connsiteX11" fmla="*/ 272149 w 387969"/>
                <a:gd name="connsiteY11" fmla="*/ 49062 h 305087"/>
                <a:gd name="connsiteX12" fmla="*/ 122343 w 387969"/>
                <a:gd name="connsiteY12" fmla="*/ -1414 h 305087"/>
                <a:gd name="connsiteX13" fmla="*/ 31725 w 387969"/>
                <a:gd name="connsiteY13" fmla="*/ 10510 h 305087"/>
                <a:gd name="connsiteX14" fmla="*/ -1191 w 387969"/>
                <a:gd name="connsiteY14" fmla="*/ 196151 h 30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7969" h="305087">
                  <a:moveTo>
                    <a:pt x="-1191" y="196151"/>
                  </a:moveTo>
                  <a:lnTo>
                    <a:pt x="34374" y="194020"/>
                  </a:lnTo>
                  <a:cubicBezTo>
                    <a:pt x="34374" y="194020"/>
                    <a:pt x="151937" y="303485"/>
                    <a:pt x="168889" y="303485"/>
                  </a:cubicBezTo>
                  <a:cubicBezTo>
                    <a:pt x="185841" y="303485"/>
                    <a:pt x="236824" y="288947"/>
                    <a:pt x="236824" y="288947"/>
                  </a:cubicBezTo>
                  <a:lnTo>
                    <a:pt x="222484" y="252590"/>
                  </a:lnTo>
                  <a:cubicBezTo>
                    <a:pt x="222484" y="252590"/>
                    <a:pt x="309134" y="257220"/>
                    <a:pt x="335342" y="252590"/>
                  </a:cubicBezTo>
                  <a:cubicBezTo>
                    <a:pt x="361537" y="247972"/>
                    <a:pt x="392361" y="234094"/>
                    <a:pt x="381571" y="201708"/>
                  </a:cubicBezTo>
                  <a:cubicBezTo>
                    <a:pt x="381571" y="201708"/>
                    <a:pt x="403151" y="166252"/>
                    <a:pt x="358456" y="149291"/>
                  </a:cubicBezTo>
                  <a:cubicBezTo>
                    <a:pt x="358456" y="149291"/>
                    <a:pt x="369069" y="130402"/>
                    <a:pt x="342823" y="113276"/>
                  </a:cubicBezTo>
                  <a:cubicBezTo>
                    <a:pt x="339070" y="110828"/>
                    <a:pt x="334568" y="108418"/>
                    <a:pt x="329167" y="106109"/>
                  </a:cubicBezTo>
                  <a:cubicBezTo>
                    <a:pt x="286020" y="87601"/>
                    <a:pt x="289101" y="83935"/>
                    <a:pt x="289101" y="83935"/>
                  </a:cubicBezTo>
                  <a:cubicBezTo>
                    <a:pt x="289101" y="83935"/>
                    <a:pt x="287554" y="64475"/>
                    <a:pt x="272149" y="49062"/>
                  </a:cubicBezTo>
                  <a:cubicBezTo>
                    <a:pt x="256731" y="33636"/>
                    <a:pt x="169814" y="527"/>
                    <a:pt x="122343" y="-1414"/>
                  </a:cubicBezTo>
                  <a:cubicBezTo>
                    <a:pt x="74872" y="-3368"/>
                    <a:pt x="31725" y="10510"/>
                    <a:pt x="31725" y="10510"/>
                  </a:cubicBezTo>
                  <a:lnTo>
                    <a:pt x="-1191" y="196151"/>
                  </a:lnTo>
                </a:path>
              </a:pathLst>
            </a:custGeom>
            <a:solidFill>
              <a:srgbClr val="F9A78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6" name="Vrije vorm 805">
              <a:extLst>
                <a:ext uri="{FF2B5EF4-FFF2-40B4-BE49-F238E27FC236}">
                  <a16:creationId xmlns:a16="http://schemas.microsoft.com/office/drawing/2014/main" id="{DF86014A-9746-43DE-B3C3-486588F8FD1A}"/>
                </a:ext>
              </a:extLst>
            </p:cNvPr>
            <p:cNvSpPr/>
            <p:nvPr/>
          </p:nvSpPr>
          <p:spPr>
            <a:xfrm flipV="1">
              <a:off x="6233117" y="3337402"/>
              <a:ext cx="102182" cy="6497"/>
            </a:xfrm>
            <a:custGeom>
              <a:avLst/>
              <a:gdLst>
                <a:gd name="connsiteX0" fmla="*/ -1178 w 102182"/>
                <a:gd name="connsiteY0" fmla="*/ 1454 h 6497"/>
                <a:gd name="connsiteX1" fmla="*/ 49920 w 102182"/>
                <a:gd name="connsiteY1" fmla="*/ -1693 h 6497"/>
                <a:gd name="connsiteX2" fmla="*/ 101004 w 102182"/>
                <a:gd name="connsiteY2" fmla="*/ 1656 h 6497"/>
                <a:gd name="connsiteX3" fmla="*/ 49907 w 102182"/>
                <a:gd name="connsiteY3" fmla="*/ 4803 h 6497"/>
                <a:gd name="connsiteX4" fmla="*/ -1178 w 102182"/>
                <a:gd name="connsiteY4" fmla="*/ 1454 h 6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182" h="6497">
                  <a:moveTo>
                    <a:pt x="-1178" y="1454"/>
                  </a:moveTo>
                  <a:cubicBezTo>
                    <a:pt x="-1127" y="-335"/>
                    <a:pt x="21746" y="-1743"/>
                    <a:pt x="49920" y="-1693"/>
                  </a:cubicBezTo>
                  <a:cubicBezTo>
                    <a:pt x="78093" y="-1629"/>
                    <a:pt x="100954" y="-132"/>
                    <a:pt x="101004" y="1656"/>
                  </a:cubicBezTo>
                  <a:cubicBezTo>
                    <a:pt x="101042" y="3445"/>
                    <a:pt x="78169" y="4853"/>
                    <a:pt x="49907" y="4803"/>
                  </a:cubicBezTo>
                  <a:cubicBezTo>
                    <a:pt x="21645" y="4739"/>
                    <a:pt x="-1228" y="3242"/>
                    <a:pt x="-1178" y="1454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7" name="Vrije vorm 806">
              <a:extLst>
                <a:ext uri="{FF2B5EF4-FFF2-40B4-BE49-F238E27FC236}">
                  <a16:creationId xmlns:a16="http://schemas.microsoft.com/office/drawing/2014/main" id="{3456254D-B93A-51BE-0343-F9FA1F3E47D9}"/>
                </a:ext>
              </a:extLst>
            </p:cNvPr>
            <p:cNvSpPr/>
            <p:nvPr/>
          </p:nvSpPr>
          <p:spPr>
            <a:xfrm flipV="1">
              <a:off x="6255711" y="3392513"/>
              <a:ext cx="233691" cy="16150"/>
            </a:xfrm>
            <a:custGeom>
              <a:avLst/>
              <a:gdLst>
                <a:gd name="connsiteX0" fmla="*/ -1238 w 233691"/>
                <a:gd name="connsiteY0" fmla="*/ -1242 h 16150"/>
                <a:gd name="connsiteX1" fmla="*/ 33085 w 233691"/>
                <a:gd name="connsiteY1" fmla="*/ 77 h 16150"/>
                <a:gd name="connsiteX2" fmla="*/ 115602 w 233691"/>
                <a:gd name="connsiteY2" fmla="*/ 5634 h 16150"/>
                <a:gd name="connsiteX3" fmla="*/ 198207 w 233691"/>
                <a:gd name="connsiteY3" fmla="*/ 9896 h 16150"/>
                <a:gd name="connsiteX4" fmla="*/ 232454 w 233691"/>
                <a:gd name="connsiteY4" fmla="*/ 12649 h 16150"/>
                <a:gd name="connsiteX5" fmla="*/ 198106 w 233691"/>
                <a:gd name="connsiteY5" fmla="*/ 14488 h 16150"/>
                <a:gd name="connsiteX6" fmla="*/ 115221 w 233691"/>
                <a:gd name="connsiteY6" fmla="*/ 12103 h 16150"/>
                <a:gd name="connsiteX7" fmla="*/ 32641 w 233691"/>
                <a:gd name="connsiteY7" fmla="*/ 4644 h 16150"/>
                <a:gd name="connsiteX8" fmla="*/ -1238 w 233691"/>
                <a:gd name="connsiteY8" fmla="*/ -1242 h 16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3691" h="16150">
                  <a:moveTo>
                    <a:pt x="-1238" y="-1242"/>
                  </a:moveTo>
                  <a:cubicBezTo>
                    <a:pt x="-1136" y="-2155"/>
                    <a:pt x="11961" y="-1407"/>
                    <a:pt x="33085" y="77"/>
                  </a:cubicBezTo>
                  <a:cubicBezTo>
                    <a:pt x="56390" y="1650"/>
                    <a:pt x="84512" y="3540"/>
                    <a:pt x="115602" y="5634"/>
                  </a:cubicBezTo>
                  <a:cubicBezTo>
                    <a:pt x="146729" y="7245"/>
                    <a:pt x="174890" y="8691"/>
                    <a:pt x="198207" y="9896"/>
                  </a:cubicBezTo>
                  <a:cubicBezTo>
                    <a:pt x="219356" y="10924"/>
                    <a:pt x="232454" y="11735"/>
                    <a:pt x="232454" y="12649"/>
                  </a:cubicBezTo>
                  <a:cubicBezTo>
                    <a:pt x="232454" y="13524"/>
                    <a:pt x="219331" y="14336"/>
                    <a:pt x="198106" y="14488"/>
                  </a:cubicBezTo>
                  <a:cubicBezTo>
                    <a:pt x="176880" y="14640"/>
                    <a:pt x="147553" y="14019"/>
                    <a:pt x="115221" y="12103"/>
                  </a:cubicBezTo>
                  <a:cubicBezTo>
                    <a:pt x="82889" y="10175"/>
                    <a:pt x="53702" y="7308"/>
                    <a:pt x="32641" y="4644"/>
                  </a:cubicBezTo>
                  <a:cubicBezTo>
                    <a:pt x="11581" y="1980"/>
                    <a:pt x="-1339" y="-379"/>
                    <a:pt x="-1238" y="-1242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8" name="Vrije vorm 807">
              <a:extLst>
                <a:ext uri="{FF2B5EF4-FFF2-40B4-BE49-F238E27FC236}">
                  <a16:creationId xmlns:a16="http://schemas.microsoft.com/office/drawing/2014/main" id="{AD2AFDB3-E963-DD9B-E8E6-A095C7A41B5B}"/>
                </a:ext>
              </a:extLst>
            </p:cNvPr>
            <p:cNvSpPr/>
            <p:nvPr/>
          </p:nvSpPr>
          <p:spPr>
            <a:xfrm flipV="1">
              <a:off x="6305096" y="3445969"/>
              <a:ext cx="168509" cy="24701"/>
            </a:xfrm>
            <a:custGeom>
              <a:avLst/>
              <a:gdLst>
                <a:gd name="connsiteX0" fmla="*/ -1248 w 168509"/>
                <a:gd name="connsiteY0" fmla="*/ -1165 h 24701"/>
                <a:gd name="connsiteX1" fmla="*/ 83462 w 168509"/>
                <a:gd name="connsiteY1" fmla="*/ 7550 h 24701"/>
                <a:gd name="connsiteX2" fmla="*/ 167259 w 168509"/>
                <a:gd name="connsiteY2" fmla="*/ 22684 h 24701"/>
                <a:gd name="connsiteX3" fmla="*/ 82549 w 168509"/>
                <a:gd name="connsiteY3" fmla="*/ 13969 h 24701"/>
                <a:gd name="connsiteX4" fmla="*/ -1248 w 168509"/>
                <a:gd name="connsiteY4" fmla="*/ -1165 h 24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509" h="24701">
                  <a:moveTo>
                    <a:pt x="-1248" y="-1165"/>
                  </a:moveTo>
                  <a:cubicBezTo>
                    <a:pt x="-995" y="-2928"/>
                    <a:pt x="36929" y="967"/>
                    <a:pt x="83462" y="7550"/>
                  </a:cubicBezTo>
                  <a:cubicBezTo>
                    <a:pt x="129995" y="14134"/>
                    <a:pt x="167512" y="20908"/>
                    <a:pt x="167259" y="22684"/>
                  </a:cubicBezTo>
                  <a:cubicBezTo>
                    <a:pt x="167005" y="24460"/>
                    <a:pt x="129082" y="20553"/>
                    <a:pt x="82549" y="13969"/>
                  </a:cubicBezTo>
                  <a:cubicBezTo>
                    <a:pt x="36029" y="7385"/>
                    <a:pt x="-1502" y="611"/>
                    <a:pt x="-1248" y="-1165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9" name="Vrije vorm 808">
              <a:extLst>
                <a:ext uri="{FF2B5EF4-FFF2-40B4-BE49-F238E27FC236}">
                  <a16:creationId xmlns:a16="http://schemas.microsoft.com/office/drawing/2014/main" id="{47FFE378-6778-E53B-8760-A0AB67E93A6C}"/>
                </a:ext>
              </a:extLst>
            </p:cNvPr>
            <p:cNvSpPr/>
            <p:nvPr/>
          </p:nvSpPr>
          <p:spPr>
            <a:xfrm flipV="1">
              <a:off x="6314314" y="3506246"/>
              <a:ext cx="88220" cy="16807"/>
            </a:xfrm>
            <a:custGeom>
              <a:avLst/>
              <a:gdLst>
                <a:gd name="connsiteX0" fmla="*/ -1228 w 88220"/>
                <a:gd name="connsiteY0" fmla="*/ -286 h 16807"/>
                <a:gd name="connsiteX1" fmla="*/ 43821 w 88220"/>
                <a:gd name="connsiteY1" fmla="*/ 1782 h 16807"/>
                <a:gd name="connsiteX2" fmla="*/ 86981 w 88220"/>
                <a:gd name="connsiteY2" fmla="*/ 14861 h 16807"/>
                <a:gd name="connsiteX3" fmla="*/ 42718 w 88220"/>
                <a:gd name="connsiteY3" fmla="*/ 8175 h 16807"/>
                <a:gd name="connsiteX4" fmla="*/ -1228 w 88220"/>
                <a:gd name="connsiteY4" fmla="*/ -286 h 16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220" h="16807">
                  <a:moveTo>
                    <a:pt x="-1228" y="-286"/>
                  </a:moveTo>
                  <a:cubicBezTo>
                    <a:pt x="-1165" y="-2011"/>
                    <a:pt x="19185" y="-2481"/>
                    <a:pt x="43821" y="1782"/>
                  </a:cubicBezTo>
                  <a:cubicBezTo>
                    <a:pt x="68470" y="5981"/>
                    <a:pt x="87501" y="13199"/>
                    <a:pt x="86981" y="14861"/>
                  </a:cubicBezTo>
                  <a:cubicBezTo>
                    <a:pt x="86462" y="16637"/>
                    <a:pt x="66936" y="12286"/>
                    <a:pt x="42718" y="8175"/>
                  </a:cubicBezTo>
                  <a:cubicBezTo>
                    <a:pt x="18526" y="3977"/>
                    <a:pt x="-1330" y="1566"/>
                    <a:pt x="-1228" y="-286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10" name="Vrije vorm 809">
              <a:extLst>
                <a:ext uri="{FF2B5EF4-FFF2-40B4-BE49-F238E27FC236}">
                  <a16:creationId xmlns:a16="http://schemas.microsoft.com/office/drawing/2014/main" id="{5EA420BD-E987-A450-114F-63B9A862532C}"/>
                </a:ext>
              </a:extLst>
            </p:cNvPr>
            <p:cNvSpPr/>
            <p:nvPr/>
          </p:nvSpPr>
          <p:spPr>
            <a:xfrm flipV="1">
              <a:off x="5499618" y="3936456"/>
              <a:ext cx="152473" cy="6241"/>
            </a:xfrm>
            <a:custGeom>
              <a:avLst/>
              <a:gdLst>
                <a:gd name="connsiteX0" fmla="*/ -694 w 152473"/>
                <a:gd name="connsiteY0" fmla="*/ -1159 h 6241"/>
                <a:gd name="connsiteX1" fmla="*/ 1011 w 152473"/>
                <a:gd name="connsiteY1" fmla="*/ 5082 h 6241"/>
                <a:gd name="connsiteX2" fmla="*/ 151779 w 152473"/>
                <a:gd name="connsiteY2" fmla="*/ 5082 h 6241"/>
                <a:gd name="connsiteX3" fmla="*/ -694 w 152473"/>
                <a:gd name="connsiteY3" fmla="*/ -1159 h 6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73" h="6241">
                  <a:moveTo>
                    <a:pt x="-694" y="-1159"/>
                  </a:moveTo>
                  <a:cubicBezTo>
                    <a:pt x="-129" y="922"/>
                    <a:pt x="445" y="3015"/>
                    <a:pt x="1011" y="5082"/>
                  </a:cubicBezTo>
                  <a:lnTo>
                    <a:pt x="151779" y="5082"/>
                  </a:lnTo>
                  <a:lnTo>
                    <a:pt x="-694" y="-1159"/>
                  </a:lnTo>
                </a:path>
              </a:pathLst>
            </a:custGeom>
            <a:solidFill>
              <a:srgbClr val="0F191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11" name="Vrije vorm 810">
              <a:extLst>
                <a:ext uri="{FF2B5EF4-FFF2-40B4-BE49-F238E27FC236}">
                  <a16:creationId xmlns:a16="http://schemas.microsoft.com/office/drawing/2014/main" id="{49E2C063-82B3-9967-C817-4A008B963CEC}"/>
                </a:ext>
              </a:extLst>
            </p:cNvPr>
            <p:cNvSpPr/>
            <p:nvPr/>
          </p:nvSpPr>
          <p:spPr>
            <a:xfrm flipV="1">
              <a:off x="5497004" y="3936456"/>
              <a:ext cx="4318" cy="6355"/>
            </a:xfrm>
            <a:custGeom>
              <a:avLst/>
              <a:gdLst>
                <a:gd name="connsiteX0" fmla="*/ -641 w 4318"/>
                <a:gd name="connsiteY0" fmla="*/ -1159 h 6355"/>
                <a:gd name="connsiteX1" fmla="*/ 1116 w 4318"/>
                <a:gd name="connsiteY1" fmla="*/ 5197 h 6355"/>
                <a:gd name="connsiteX2" fmla="*/ 3677 w 4318"/>
                <a:gd name="connsiteY2" fmla="*/ 5197 h 6355"/>
                <a:gd name="connsiteX3" fmla="*/ 1973 w 4318"/>
                <a:gd name="connsiteY3" fmla="*/ -1045 h 6355"/>
                <a:gd name="connsiteX4" fmla="*/ -641 w 4318"/>
                <a:gd name="connsiteY4" fmla="*/ -1159 h 6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18" h="6355">
                  <a:moveTo>
                    <a:pt x="-641" y="-1159"/>
                  </a:moveTo>
                  <a:lnTo>
                    <a:pt x="1116" y="5197"/>
                  </a:lnTo>
                  <a:lnTo>
                    <a:pt x="3677" y="5197"/>
                  </a:lnTo>
                  <a:cubicBezTo>
                    <a:pt x="3112" y="3129"/>
                    <a:pt x="2537" y="1036"/>
                    <a:pt x="1973" y="-1045"/>
                  </a:cubicBezTo>
                  <a:lnTo>
                    <a:pt x="-641" y="-1159"/>
                  </a:lnTo>
                </a:path>
              </a:pathLst>
            </a:custGeom>
            <a:solidFill>
              <a:srgbClr val="20353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13" name="Vrije vorm 812">
              <a:extLst>
                <a:ext uri="{FF2B5EF4-FFF2-40B4-BE49-F238E27FC236}">
                  <a16:creationId xmlns:a16="http://schemas.microsoft.com/office/drawing/2014/main" id="{FCE20B20-D911-A2A8-3619-BD1452CC2111}"/>
                </a:ext>
              </a:extLst>
            </p:cNvPr>
            <p:cNvSpPr/>
            <p:nvPr/>
          </p:nvSpPr>
          <p:spPr>
            <a:xfrm flipV="1">
              <a:off x="5975674" y="2694077"/>
              <a:ext cx="267914" cy="126564"/>
            </a:xfrm>
            <a:custGeom>
              <a:avLst/>
              <a:gdLst>
                <a:gd name="connsiteX0" fmla="*/ 266781 w 267914"/>
                <a:gd name="connsiteY0" fmla="*/ 103000 h 126564"/>
                <a:gd name="connsiteX1" fmla="*/ 265640 w 267914"/>
                <a:gd name="connsiteY1" fmla="*/ 96225 h 126564"/>
                <a:gd name="connsiteX2" fmla="*/ 259072 w 267914"/>
                <a:gd name="connsiteY2" fmla="*/ 77806 h 126564"/>
                <a:gd name="connsiteX3" fmla="*/ 213795 w 267914"/>
                <a:gd name="connsiteY3" fmla="*/ 23664 h 126564"/>
                <a:gd name="connsiteX4" fmla="*/ 211005 w 267914"/>
                <a:gd name="connsiteY4" fmla="*/ 21723 h 126564"/>
                <a:gd name="connsiteX5" fmla="*/ 209839 w 267914"/>
                <a:gd name="connsiteY5" fmla="*/ 24996 h 126564"/>
                <a:gd name="connsiteX6" fmla="*/ 190300 w 267914"/>
                <a:gd name="connsiteY6" fmla="*/ 72643 h 126564"/>
                <a:gd name="connsiteX7" fmla="*/ 153568 w 267914"/>
                <a:gd name="connsiteY7" fmla="*/ 116395 h 126564"/>
                <a:gd name="connsiteX8" fmla="*/ 158513 w 267914"/>
                <a:gd name="connsiteY8" fmla="*/ 118260 h 126564"/>
                <a:gd name="connsiteX9" fmla="*/ 148509 w 267914"/>
                <a:gd name="connsiteY9" fmla="*/ 84580 h 126564"/>
                <a:gd name="connsiteX10" fmla="*/ 117242 w 267914"/>
                <a:gd name="connsiteY10" fmla="*/ 1350 h 126564"/>
                <a:gd name="connsiteX11" fmla="*/ 115683 w 267914"/>
                <a:gd name="connsiteY11" fmla="*/ -2215 h 126564"/>
                <a:gd name="connsiteX12" fmla="*/ 112589 w 267914"/>
                <a:gd name="connsiteY12" fmla="*/ 81 h 126564"/>
                <a:gd name="connsiteX13" fmla="*/ 28132 w 267914"/>
                <a:gd name="connsiteY13" fmla="*/ 72554 h 126564"/>
                <a:gd name="connsiteX14" fmla="*/ 6121 w 267914"/>
                <a:gd name="connsiteY14" fmla="*/ 95629 h 126564"/>
                <a:gd name="connsiteX15" fmla="*/ -1042 w 267914"/>
                <a:gd name="connsiteY15" fmla="*/ 104547 h 126564"/>
                <a:gd name="connsiteX16" fmla="*/ 7554 w 267914"/>
                <a:gd name="connsiteY16" fmla="*/ 97024 h 126564"/>
                <a:gd name="connsiteX17" fmla="*/ 30732 w 267914"/>
                <a:gd name="connsiteY17" fmla="*/ 75269 h 126564"/>
                <a:gd name="connsiteX18" fmla="*/ 116228 w 267914"/>
                <a:gd name="connsiteY18" fmla="*/ 5041 h 126564"/>
                <a:gd name="connsiteX19" fmla="*/ 111587 w 267914"/>
                <a:gd name="connsiteY19" fmla="*/ 3785 h 126564"/>
                <a:gd name="connsiteX20" fmla="*/ 142220 w 267914"/>
                <a:gd name="connsiteY20" fmla="*/ 86584 h 126564"/>
                <a:gd name="connsiteX21" fmla="*/ 152224 w 267914"/>
                <a:gd name="connsiteY21" fmla="*/ 119998 h 126564"/>
                <a:gd name="connsiteX22" fmla="*/ 153441 w 267914"/>
                <a:gd name="connsiteY22" fmla="*/ 124349 h 126564"/>
                <a:gd name="connsiteX23" fmla="*/ 157169 w 267914"/>
                <a:gd name="connsiteY23" fmla="*/ 121863 h 126564"/>
                <a:gd name="connsiteX24" fmla="*/ 195727 w 267914"/>
                <a:gd name="connsiteY24" fmla="*/ 75421 h 126564"/>
                <a:gd name="connsiteX25" fmla="*/ 214809 w 267914"/>
                <a:gd name="connsiteY25" fmla="*/ 26708 h 126564"/>
                <a:gd name="connsiteX26" fmla="*/ 210853 w 267914"/>
                <a:gd name="connsiteY26" fmla="*/ 28040 h 126564"/>
                <a:gd name="connsiteX27" fmla="*/ 256384 w 267914"/>
                <a:gd name="connsiteY27" fmla="*/ 79113 h 126564"/>
                <a:gd name="connsiteX28" fmla="*/ 266781 w 267914"/>
                <a:gd name="connsiteY28" fmla="*/ 103000 h 126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67914" h="126564">
                  <a:moveTo>
                    <a:pt x="266781" y="103000"/>
                  </a:moveTo>
                  <a:cubicBezTo>
                    <a:pt x="267022" y="102936"/>
                    <a:pt x="266692" y="100589"/>
                    <a:pt x="265640" y="96225"/>
                  </a:cubicBezTo>
                  <a:cubicBezTo>
                    <a:pt x="264512" y="91887"/>
                    <a:pt x="262559" y="85544"/>
                    <a:pt x="259072" y="77806"/>
                  </a:cubicBezTo>
                  <a:cubicBezTo>
                    <a:pt x="252162" y="62507"/>
                    <a:pt x="238583" y="40929"/>
                    <a:pt x="213795" y="23664"/>
                  </a:cubicBezTo>
                  <a:lnTo>
                    <a:pt x="211005" y="21723"/>
                  </a:lnTo>
                  <a:lnTo>
                    <a:pt x="209839" y="24996"/>
                  </a:lnTo>
                  <a:cubicBezTo>
                    <a:pt x="204526" y="39863"/>
                    <a:pt x="198732" y="56278"/>
                    <a:pt x="190300" y="72643"/>
                  </a:cubicBezTo>
                  <a:cubicBezTo>
                    <a:pt x="181906" y="88893"/>
                    <a:pt x="170368" y="105308"/>
                    <a:pt x="153568" y="116395"/>
                  </a:cubicBezTo>
                  <a:lnTo>
                    <a:pt x="158513" y="118260"/>
                  </a:lnTo>
                  <a:cubicBezTo>
                    <a:pt x="155534" y="107389"/>
                    <a:pt x="152174" y="96048"/>
                    <a:pt x="148509" y="84580"/>
                  </a:cubicBezTo>
                  <a:cubicBezTo>
                    <a:pt x="138962" y="54578"/>
                    <a:pt x="128172" y="26455"/>
                    <a:pt x="117242" y="1350"/>
                  </a:cubicBezTo>
                  <a:lnTo>
                    <a:pt x="115683" y="-2215"/>
                  </a:lnTo>
                  <a:lnTo>
                    <a:pt x="112589" y="81"/>
                  </a:lnTo>
                  <a:cubicBezTo>
                    <a:pt x="76161" y="27165"/>
                    <a:pt x="47481" y="53272"/>
                    <a:pt x="28132" y="72554"/>
                  </a:cubicBezTo>
                  <a:cubicBezTo>
                    <a:pt x="18458" y="82195"/>
                    <a:pt x="11053" y="90098"/>
                    <a:pt x="6121" y="95629"/>
                  </a:cubicBezTo>
                  <a:cubicBezTo>
                    <a:pt x="1202" y="101185"/>
                    <a:pt x="-1283" y="104319"/>
                    <a:pt x="-1042" y="104547"/>
                  </a:cubicBezTo>
                  <a:cubicBezTo>
                    <a:pt x="-776" y="104801"/>
                    <a:pt x="2203" y="102124"/>
                    <a:pt x="7554" y="97024"/>
                  </a:cubicBezTo>
                  <a:cubicBezTo>
                    <a:pt x="13729" y="91227"/>
                    <a:pt x="21438" y="83996"/>
                    <a:pt x="30732" y="75269"/>
                  </a:cubicBezTo>
                  <a:cubicBezTo>
                    <a:pt x="50727" y="56849"/>
                    <a:pt x="79775" y="31529"/>
                    <a:pt x="116228" y="5041"/>
                  </a:cubicBezTo>
                  <a:lnTo>
                    <a:pt x="111587" y="3785"/>
                  </a:lnTo>
                  <a:cubicBezTo>
                    <a:pt x="122174" y="28839"/>
                    <a:pt x="132736" y="56798"/>
                    <a:pt x="142220" y="86584"/>
                  </a:cubicBezTo>
                  <a:cubicBezTo>
                    <a:pt x="145859" y="97963"/>
                    <a:pt x="149207" y="109228"/>
                    <a:pt x="152224" y="119998"/>
                  </a:cubicBezTo>
                  <a:lnTo>
                    <a:pt x="153441" y="124349"/>
                  </a:lnTo>
                  <a:lnTo>
                    <a:pt x="157169" y="121863"/>
                  </a:lnTo>
                  <a:cubicBezTo>
                    <a:pt x="175275" y="109786"/>
                    <a:pt x="187270" y="92255"/>
                    <a:pt x="195727" y="75421"/>
                  </a:cubicBezTo>
                  <a:cubicBezTo>
                    <a:pt x="204222" y="58422"/>
                    <a:pt x="209801" y="41715"/>
                    <a:pt x="214809" y="26708"/>
                  </a:cubicBezTo>
                  <a:lnTo>
                    <a:pt x="210853" y="28040"/>
                  </a:lnTo>
                  <a:cubicBezTo>
                    <a:pt x="234982" y="44100"/>
                    <a:pt x="248840" y="64524"/>
                    <a:pt x="256384" y="79113"/>
                  </a:cubicBezTo>
                  <a:cubicBezTo>
                    <a:pt x="263941" y="93917"/>
                    <a:pt x="266084" y="103215"/>
                    <a:pt x="266781" y="103000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27" name="Vrije vorm 826">
              <a:extLst>
                <a:ext uri="{FF2B5EF4-FFF2-40B4-BE49-F238E27FC236}">
                  <a16:creationId xmlns:a16="http://schemas.microsoft.com/office/drawing/2014/main" id="{5E5992F2-BD5F-EDCD-2895-3D5F61D48EBC}"/>
                </a:ext>
              </a:extLst>
            </p:cNvPr>
            <p:cNvSpPr/>
            <p:nvPr/>
          </p:nvSpPr>
          <p:spPr>
            <a:xfrm flipV="1">
              <a:off x="5712313" y="1986993"/>
              <a:ext cx="134813" cy="89602"/>
            </a:xfrm>
            <a:custGeom>
              <a:avLst/>
              <a:gdLst>
                <a:gd name="connsiteX0" fmla="*/ -833 w 134813"/>
                <a:gd name="connsiteY0" fmla="*/ -2010 h 89602"/>
                <a:gd name="connsiteX1" fmla="*/ 23570 w 134813"/>
                <a:gd name="connsiteY1" fmla="*/ 2430 h 89602"/>
                <a:gd name="connsiteX2" fmla="*/ 77778 w 134813"/>
                <a:gd name="connsiteY2" fmla="*/ 25276 h 89602"/>
                <a:gd name="connsiteX3" fmla="*/ 120194 w 134813"/>
                <a:gd name="connsiteY3" fmla="*/ 66061 h 89602"/>
                <a:gd name="connsiteX4" fmla="*/ 133913 w 134813"/>
                <a:gd name="connsiteY4" fmla="*/ 86726 h 89602"/>
                <a:gd name="connsiteX5" fmla="*/ 123542 w 134813"/>
                <a:gd name="connsiteY5" fmla="*/ 63815 h 89602"/>
                <a:gd name="connsiteX6" fmla="*/ 80909 w 134813"/>
                <a:gd name="connsiteY6" fmla="*/ 20507 h 89602"/>
                <a:gd name="connsiteX7" fmla="*/ 24308 w 134813"/>
                <a:gd name="connsiteY7" fmla="*/ -1541 h 89602"/>
                <a:gd name="connsiteX8" fmla="*/ -833 w 134813"/>
                <a:gd name="connsiteY8" fmla="*/ -2010 h 89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813" h="89602">
                  <a:moveTo>
                    <a:pt x="-833" y="-2010"/>
                  </a:moveTo>
                  <a:cubicBezTo>
                    <a:pt x="-848" y="-1021"/>
                    <a:pt x="8716" y="-792"/>
                    <a:pt x="23570" y="2430"/>
                  </a:cubicBezTo>
                  <a:cubicBezTo>
                    <a:pt x="38403" y="5576"/>
                    <a:pt x="58422" y="12591"/>
                    <a:pt x="77778" y="25276"/>
                  </a:cubicBezTo>
                  <a:cubicBezTo>
                    <a:pt x="97080" y="38051"/>
                    <a:pt x="111433" y="53680"/>
                    <a:pt x="120194" y="66061"/>
                  </a:cubicBezTo>
                  <a:cubicBezTo>
                    <a:pt x="129019" y="78442"/>
                    <a:pt x="133013" y="87132"/>
                    <a:pt x="133913" y="86726"/>
                  </a:cubicBezTo>
                  <a:cubicBezTo>
                    <a:pt x="134459" y="86535"/>
                    <a:pt x="131745" y="77161"/>
                    <a:pt x="123542" y="63815"/>
                  </a:cubicBezTo>
                  <a:cubicBezTo>
                    <a:pt x="115411" y="50508"/>
                    <a:pt x="100947" y="33763"/>
                    <a:pt x="80909" y="20507"/>
                  </a:cubicBezTo>
                  <a:cubicBezTo>
                    <a:pt x="60830" y="7339"/>
                    <a:pt x="39741" y="666"/>
                    <a:pt x="24308" y="-1541"/>
                  </a:cubicBezTo>
                  <a:cubicBezTo>
                    <a:pt x="8811" y="-3812"/>
                    <a:pt x="-867" y="-2594"/>
                    <a:pt x="-833" y="-2010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28" name="Vrije vorm 827">
              <a:extLst>
                <a:ext uri="{FF2B5EF4-FFF2-40B4-BE49-F238E27FC236}">
                  <a16:creationId xmlns:a16="http://schemas.microsoft.com/office/drawing/2014/main" id="{A77F5F9A-5949-1F89-ABBA-37F5FD807FAA}"/>
                </a:ext>
              </a:extLst>
            </p:cNvPr>
            <p:cNvSpPr/>
            <p:nvPr/>
          </p:nvSpPr>
          <p:spPr>
            <a:xfrm flipV="1">
              <a:off x="5722610" y="2012199"/>
              <a:ext cx="134809" cy="89603"/>
            </a:xfrm>
            <a:custGeom>
              <a:avLst/>
              <a:gdLst>
                <a:gd name="connsiteX0" fmla="*/ -840 w 134809"/>
                <a:gd name="connsiteY0" fmla="*/ -1999 h 89603"/>
                <a:gd name="connsiteX1" fmla="*/ 23558 w 134809"/>
                <a:gd name="connsiteY1" fmla="*/ 2453 h 89603"/>
                <a:gd name="connsiteX2" fmla="*/ 77766 w 134809"/>
                <a:gd name="connsiteY2" fmla="*/ 25287 h 89603"/>
                <a:gd name="connsiteX3" fmla="*/ 120173 w 134809"/>
                <a:gd name="connsiteY3" fmla="*/ 66084 h 89603"/>
                <a:gd name="connsiteX4" fmla="*/ 133905 w 134809"/>
                <a:gd name="connsiteY4" fmla="*/ 86749 h 89603"/>
                <a:gd name="connsiteX5" fmla="*/ 123521 w 134809"/>
                <a:gd name="connsiteY5" fmla="*/ 63839 h 89603"/>
                <a:gd name="connsiteX6" fmla="*/ 80902 w 134809"/>
                <a:gd name="connsiteY6" fmla="*/ 20530 h 89603"/>
                <a:gd name="connsiteX7" fmla="*/ 24295 w 134809"/>
                <a:gd name="connsiteY7" fmla="*/ -1517 h 89603"/>
                <a:gd name="connsiteX8" fmla="*/ -840 w 134809"/>
                <a:gd name="connsiteY8" fmla="*/ -1999 h 8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809" h="89603">
                  <a:moveTo>
                    <a:pt x="-840" y="-1999"/>
                  </a:moveTo>
                  <a:cubicBezTo>
                    <a:pt x="-859" y="-997"/>
                    <a:pt x="8709" y="-769"/>
                    <a:pt x="23558" y="2453"/>
                  </a:cubicBezTo>
                  <a:cubicBezTo>
                    <a:pt x="38392" y="5599"/>
                    <a:pt x="58412" y="12614"/>
                    <a:pt x="77766" y="25287"/>
                  </a:cubicBezTo>
                  <a:cubicBezTo>
                    <a:pt x="97068" y="38075"/>
                    <a:pt x="111425" y="53690"/>
                    <a:pt x="120173" y="66084"/>
                  </a:cubicBezTo>
                  <a:cubicBezTo>
                    <a:pt x="128998" y="78465"/>
                    <a:pt x="132992" y="87155"/>
                    <a:pt x="133905" y="86749"/>
                  </a:cubicBezTo>
                  <a:cubicBezTo>
                    <a:pt x="134438" y="86559"/>
                    <a:pt x="131737" y="77184"/>
                    <a:pt x="123521" y="63839"/>
                  </a:cubicBezTo>
                  <a:cubicBezTo>
                    <a:pt x="115406" y="50532"/>
                    <a:pt x="100942" y="33787"/>
                    <a:pt x="80902" y="20530"/>
                  </a:cubicBezTo>
                  <a:cubicBezTo>
                    <a:pt x="60818" y="7363"/>
                    <a:pt x="39734" y="690"/>
                    <a:pt x="24295" y="-1517"/>
                  </a:cubicBezTo>
                  <a:cubicBezTo>
                    <a:pt x="8804" y="-3788"/>
                    <a:pt x="-879" y="-2570"/>
                    <a:pt x="-840" y="-1999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1" name="Vrije vorm 830">
              <a:extLst>
                <a:ext uri="{FF2B5EF4-FFF2-40B4-BE49-F238E27FC236}">
                  <a16:creationId xmlns:a16="http://schemas.microsoft.com/office/drawing/2014/main" id="{F4FAA823-2A02-40DD-5C8F-03A96BB2B08D}"/>
                </a:ext>
              </a:extLst>
            </p:cNvPr>
            <p:cNvSpPr/>
            <p:nvPr/>
          </p:nvSpPr>
          <p:spPr>
            <a:xfrm flipV="1">
              <a:off x="6517731" y="2836371"/>
              <a:ext cx="48035" cy="299674"/>
            </a:xfrm>
            <a:custGeom>
              <a:avLst/>
              <a:gdLst>
                <a:gd name="connsiteX0" fmla="*/ 46457 w 48035"/>
                <a:gd name="connsiteY0" fmla="*/ -2010 h 299674"/>
                <a:gd name="connsiteX1" fmla="*/ 19399 w 48035"/>
                <a:gd name="connsiteY1" fmla="*/ 147300 h 299674"/>
                <a:gd name="connsiteX2" fmla="*/ -1129 w 48035"/>
                <a:gd name="connsiteY2" fmla="*/ 297663 h 299674"/>
                <a:gd name="connsiteX3" fmla="*/ 25929 w 48035"/>
                <a:gd name="connsiteY3" fmla="*/ 148340 h 299674"/>
                <a:gd name="connsiteX4" fmla="*/ 46457 w 48035"/>
                <a:gd name="connsiteY4" fmla="*/ -2010 h 299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035" h="299674">
                  <a:moveTo>
                    <a:pt x="46457" y="-2010"/>
                  </a:moveTo>
                  <a:cubicBezTo>
                    <a:pt x="44656" y="-2301"/>
                    <a:pt x="32535" y="64564"/>
                    <a:pt x="19399" y="147300"/>
                  </a:cubicBezTo>
                  <a:cubicBezTo>
                    <a:pt x="6263" y="230074"/>
                    <a:pt x="-2929" y="297371"/>
                    <a:pt x="-1129" y="297663"/>
                  </a:cubicBezTo>
                  <a:cubicBezTo>
                    <a:pt x="672" y="297942"/>
                    <a:pt x="12780" y="231101"/>
                    <a:pt x="25929" y="148340"/>
                  </a:cubicBezTo>
                  <a:cubicBezTo>
                    <a:pt x="39065" y="65592"/>
                    <a:pt x="48257" y="-1718"/>
                    <a:pt x="46457" y="-2010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2" name="Vrije vorm 831">
              <a:extLst>
                <a:ext uri="{FF2B5EF4-FFF2-40B4-BE49-F238E27FC236}">
                  <a16:creationId xmlns:a16="http://schemas.microsoft.com/office/drawing/2014/main" id="{4ECEC4BB-DF89-2BA9-3F97-E5FF0AC305CC}"/>
                </a:ext>
              </a:extLst>
            </p:cNvPr>
            <p:cNvSpPr/>
            <p:nvPr/>
          </p:nvSpPr>
          <p:spPr>
            <a:xfrm flipV="1">
              <a:off x="5544058" y="3600779"/>
              <a:ext cx="590667" cy="64842"/>
            </a:xfrm>
            <a:custGeom>
              <a:avLst/>
              <a:gdLst>
                <a:gd name="connsiteX0" fmla="*/ 589794 w 590667"/>
                <a:gd name="connsiteY0" fmla="*/ 63280 h 64842"/>
                <a:gd name="connsiteX1" fmla="*/ 583885 w 590667"/>
                <a:gd name="connsiteY1" fmla="*/ 61758 h 64842"/>
                <a:gd name="connsiteX2" fmla="*/ 566768 w 590667"/>
                <a:gd name="connsiteY2" fmla="*/ 58663 h 64842"/>
                <a:gd name="connsiteX3" fmla="*/ 503638 w 590667"/>
                <a:gd name="connsiteY3" fmla="*/ 48476 h 64842"/>
                <a:gd name="connsiteX4" fmla="*/ 294989 w 590667"/>
                <a:gd name="connsiteY4" fmla="*/ 17371 h 64842"/>
                <a:gd name="connsiteX5" fmla="*/ 179728 w 590667"/>
                <a:gd name="connsiteY5" fmla="*/ 2059 h 64842"/>
                <a:gd name="connsiteX6" fmla="*/ 84604 w 590667"/>
                <a:gd name="connsiteY6" fmla="*/ -351 h 64842"/>
                <a:gd name="connsiteX7" fmla="*/ 21302 w 590667"/>
                <a:gd name="connsiteY7" fmla="*/ 10216 h 64842"/>
                <a:gd name="connsiteX8" fmla="*/ 4710 w 590667"/>
                <a:gd name="connsiteY8" fmla="*/ 15608 h 64842"/>
                <a:gd name="connsiteX9" fmla="*/ -872 w 590667"/>
                <a:gd name="connsiteY9" fmla="*/ 18056 h 64842"/>
                <a:gd name="connsiteX10" fmla="*/ 21936 w 590667"/>
                <a:gd name="connsiteY10" fmla="*/ 12715 h 64842"/>
                <a:gd name="connsiteX11" fmla="*/ 84882 w 590667"/>
                <a:gd name="connsiteY11" fmla="*/ 4317 h 64842"/>
                <a:gd name="connsiteX12" fmla="*/ 179104 w 590667"/>
                <a:gd name="connsiteY12" fmla="*/ 8123 h 64842"/>
                <a:gd name="connsiteX13" fmla="*/ 294038 w 590667"/>
                <a:gd name="connsiteY13" fmla="*/ 23904 h 64842"/>
                <a:gd name="connsiteX14" fmla="*/ 502966 w 590667"/>
                <a:gd name="connsiteY14" fmla="*/ 53106 h 64842"/>
                <a:gd name="connsiteX15" fmla="*/ 566401 w 590667"/>
                <a:gd name="connsiteY15" fmla="*/ 61200 h 64842"/>
                <a:gd name="connsiteX16" fmla="*/ 583695 w 590667"/>
                <a:gd name="connsiteY16" fmla="*/ 63077 h 64842"/>
                <a:gd name="connsiteX17" fmla="*/ 589794 w 590667"/>
                <a:gd name="connsiteY17" fmla="*/ 63280 h 6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90667" h="64842">
                  <a:moveTo>
                    <a:pt x="589794" y="63280"/>
                  </a:moveTo>
                  <a:cubicBezTo>
                    <a:pt x="589819" y="63065"/>
                    <a:pt x="587791" y="62544"/>
                    <a:pt x="583885" y="61758"/>
                  </a:cubicBezTo>
                  <a:cubicBezTo>
                    <a:pt x="579219" y="60908"/>
                    <a:pt x="573564" y="59893"/>
                    <a:pt x="566768" y="58663"/>
                  </a:cubicBezTo>
                  <a:cubicBezTo>
                    <a:pt x="550818" y="56087"/>
                    <a:pt x="529504" y="52650"/>
                    <a:pt x="503638" y="48476"/>
                  </a:cubicBezTo>
                  <a:cubicBezTo>
                    <a:pt x="450284" y="40167"/>
                    <a:pt x="376516" y="29143"/>
                    <a:pt x="294989" y="17371"/>
                  </a:cubicBezTo>
                  <a:cubicBezTo>
                    <a:pt x="254204" y="11574"/>
                    <a:pt x="215393" y="5548"/>
                    <a:pt x="179728" y="2059"/>
                  </a:cubicBezTo>
                  <a:cubicBezTo>
                    <a:pt x="144108" y="-1518"/>
                    <a:pt x="111686" y="-2393"/>
                    <a:pt x="84604" y="-351"/>
                  </a:cubicBezTo>
                  <a:cubicBezTo>
                    <a:pt x="57497" y="1527"/>
                    <a:pt x="35863" y="6030"/>
                    <a:pt x="21302" y="10216"/>
                  </a:cubicBezTo>
                  <a:cubicBezTo>
                    <a:pt x="13962" y="12132"/>
                    <a:pt x="8449" y="14238"/>
                    <a:pt x="4710" y="15608"/>
                  </a:cubicBezTo>
                  <a:cubicBezTo>
                    <a:pt x="971" y="17003"/>
                    <a:pt x="-946" y="17840"/>
                    <a:pt x="-872" y="18056"/>
                  </a:cubicBezTo>
                  <a:cubicBezTo>
                    <a:pt x="-674" y="18665"/>
                    <a:pt x="7266" y="16001"/>
                    <a:pt x="21936" y="12715"/>
                  </a:cubicBezTo>
                  <a:cubicBezTo>
                    <a:pt x="36566" y="9328"/>
                    <a:pt x="58051" y="5573"/>
                    <a:pt x="84882" y="4317"/>
                  </a:cubicBezTo>
                  <a:cubicBezTo>
                    <a:pt x="111691" y="2884"/>
                    <a:pt x="143742" y="4229"/>
                    <a:pt x="179104" y="8123"/>
                  </a:cubicBezTo>
                  <a:cubicBezTo>
                    <a:pt x="214482" y="11916"/>
                    <a:pt x="253243" y="18119"/>
                    <a:pt x="294038" y="23904"/>
                  </a:cubicBezTo>
                  <a:cubicBezTo>
                    <a:pt x="375565" y="35676"/>
                    <a:pt x="449447" y="45977"/>
                    <a:pt x="502966" y="53106"/>
                  </a:cubicBezTo>
                  <a:cubicBezTo>
                    <a:pt x="528959" y="56417"/>
                    <a:pt x="550387" y="59157"/>
                    <a:pt x="566401" y="61200"/>
                  </a:cubicBezTo>
                  <a:cubicBezTo>
                    <a:pt x="573273" y="61948"/>
                    <a:pt x="578978" y="62570"/>
                    <a:pt x="583695" y="63077"/>
                  </a:cubicBezTo>
                  <a:cubicBezTo>
                    <a:pt x="587664" y="63432"/>
                    <a:pt x="589756" y="63509"/>
                    <a:pt x="589794" y="63280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3" name="Vrije vorm 832">
              <a:extLst>
                <a:ext uri="{FF2B5EF4-FFF2-40B4-BE49-F238E27FC236}">
                  <a16:creationId xmlns:a16="http://schemas.microsoft.com/office/drawing/2014/main" id="{00079862-62F7-48DB-E4B1-142AD6387BF8}"/>
                </a:ext>
              </a:extLst>
            </p:cNvPr>
            <p:cNvSpPr/>
            <p:nvPr/>
          </p:nvSpPr>
          <p:spPr>
            <a:xfrm flipV="1">
              <a:off x="7301942" y="3099915"/>
              <a:ext cx="1138163" cy="629549"/>
            </a:xfrm>
            <a:custGeom>
              <a:avLst/>
              <a:gdLst>
                <a:gd name="connsiteX0" fmla="*/ 1079440 w 1138163"/>
                <a:gd name="connsiteY0" fmla="*/ 65530 h 629549"/>
                <a:gd name="connsiteX1" fmla="*/ 900853 w 1138163"/>
                <a:gd name="connsiteY1" fmla="*/ 65530 h 629549"/>
                <a:gd name="connsiteX2" fmla="*/ 900092 w 1138163"/>
                <a:gd name="connsiteY2" fmla="*/ 69830 h 629549"/>
                <a:gd name="connsiteX3" fmla="*/ 778117 w 1138163"/>
                <a:gd name="connsiteY3" fmla="*/ 583306 h 629549"/>
                <a:gd name="connsiteX4" fmla="*/ 721669 w 1138163"/>
                <a:gd name="connsiteY4" fmla="*/ 627921 h 629549"/>
                <a:gd name="connsiteX5" fmla="*/ 55781 w 1138163"/>
                <a:gd name="connsiteY5" fmla="*/ 627921 h 629549"/>
                <a:gd name="connsiteX6" fmla="*/ -198 w 1138163"/>
                <a:gd name="connsiteY6" fmla="*/ 554662 h 629549"/>
                <a:gd name="connsiteX7" fmla="*/ 139299 w 1138163"/>
                <a:gd name="connsiteY7" fmla="*/ 41186 h 629549"/>
                <a:gd name="connsiteX8" fmla="*/ 179581 w 1138163"/>
                <a:gd name="connsiteY8" fmla="*/ -1628 h 629549"/>
                <a:gd name="connsiteX9" fmla="*/ 195278 w 1138163"/>
                <a:gd name="connsiteY9" fmla="*/ -1628 h 629549"/>
                <a:gd name="connsiteX10" fmla="*/ 843657 w 1138163"/>
                <a:gd name="connsiteY10" fmla="*/ -1628 h 629549"/>
                <a:gd name="connsiteX11" fmla="*/ 1135901 w 1138163"/>
                <a:gd name="connsiteY11" fmla="*/ -1628 h 629549"/>
                <a:gd name="connsiteX12" fmla="*/ 1135901 w 1138163"/>
                <a:gd name="connsiteY12" fmla="*/ 9041 h 629549"/>
                <a:gd name="connsiteX13" fmla="*/ 1079440 w 1138163"/>
                <a:gd name="connsiteY13" fmla="*/ 65530 h 629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38163" h="629549">
                  <a:moveTo>
                    <a:pt x="1079440" y="65530"/>
                  </a:moveTo>
                  <a:lnTo>
                    <a:pt x="900853" y="65530"/>
                  </a:lnTo>
                  <a:cubicBezTo>
                    <a:pt x="900625" y="66963"/>
                    <a:pt x="900434" y="68397"/>
                    <a:pt x="900092" y="69830"/>
                  </a:cubicBezTo>
                  <a:lnTo>
                    <a:pt x="778117" y="583306"/>
                  </a:lnTo>
                  <a:cubicBezTo>
                    <a:pt x="771905" y="609464"/>
                    <a:pt x="748550" y="627921"/>
                    <a:pt x="721669" y="627921"/>
                  </a:cubicBezTo>
                  <a:lnTo>
                    <a:pt x="55781" y="627921"/>
                  </a:lnTo>
                  <a:cubicBezTo>
                    <a:pt x="17553" y="627921"/>
                    <a:pt x="-10228" y="591577"/>
                    <a:pt x="-198" y="554662"/>
                  </a:cubicBezTo>
                  <a:lnTo>
                    <a:pt x="139299" y="41186"/>
                  </a:lnTo>
                  <a:cubicBezTo>
                    <a:pt x="144688" y="21346"/>
                    <a:pt x="154768" y="1036"/>
                    <a:pt x="179581" y="-1628"/>
                  </a:cubicBezTo>
                  <a:lnTo>
                    <a:pt x="195278" y="-1628"/>
                  </a:lnTo>
                  <a:lnTo>
                    <a:pt x="843657" y="-1628"/>
                  </a:lnTo>
                  <a:lnTo>
                    <a:pt x="1135901" y="-1628"/>
                  </a:lnTo>
                  <a:lnTo>
                    <a:pt x="1135901" y="9041"/>
                  </a:lnTo>
                  <a:cubicBezTo>
                    <a:pt x="1135901" y="40235"/>
                    <a:pt x="1110631" y="65530"/>
                    <a:pt x="1079440" y="65530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4" name="Vrije vorm 833">
              <a:extLst>
                <a:ext uri="{FF2B5EF4-FFF2-40B4-BE49-F238E27FC236}">
                  <a16:creationId xmlns:a16="http://schemas.microsoft.com/office/drawing/2014/main" id="{51408D55-5DA3-A685-92CB-CFA78439718C}"/>
                </a:ext>
              </a:extLst>
            </p:cNvPr>
            <p:cNvSpPr/>
            <p:nvPr/>
          </p:nvSpPr>
          <p:spPr>
            <a:xfrm flipV="1">
              <a:off x="7299572" y="3097489"/>
              <a:ext cx="1141357" cy="634220"/>
            </a:xfrm>
            <a:custGeom>
              <a:avLst/>
              <a:gdLst>
                <a:gd name="connsiteX0" fmla="*/ 1081823 w 1141357"/>
                <a:gd name="connsiteY0" fmla="*/ 67775 h 634220"/>
                <a:gd name="connsiteX1" fmla="*/ 1088163 w 1141357"/>
                <a:gd name="connsiteY1" fmla="*/ 67610 h 634220"/>
                <a:gd name="connsiteX2" fmla="*/ 1106319 w 1141357"/>
                <a:gd name="connsiteY2" fmla="*/ 62587 h 634220"/>
                <a:gd name="connsiteX3" fmla="*/ 1129713 w 1141357"/>
                <a:gd name="connsiteY3" fmla="*/ 42302 h 634220"/>
                <a:gd name="connsiteX4" fmla="*/ 1137599 w 1141357"/>
                <a:gd name="connsiteY4" fmla="*/ 23718 h 634220"/>
                <a:gd name="connsiteX5" fmla="*/ 1139095 w 1141357"/>
                <a:gd name="connsiteY5" fmla="*/ 617 h 634220"/>
                <a:gd name="connsiteX6" fmla="*/ 1139095 w 1141357"/>
                <a:gd name="connsiteY6" fmla="*/ -194 h 634220"/>
                <a:gd name="connsiteX7" fmla="*/ 1138271 w 1141357"/>
                <a:gd name="connsiteY7" fmla="*/ -194 h 634220"/>
                <a:gd name="connsiteX8" fmla="*/ 181952 w 1141357"/>
                <a:gd name="connsiteY8" fmla="*/ -1628 h 634220"/>
                <a:gd name="connsiteX9" fmla="*/ 181850 w 1141357"/>
                <a:gd name="connsiteY9" fmla="*/ -1628 h 634220"/>
                <a:gd name="connsiteX10" fmla="*/ 181710 w 1141357"/>
                <a:gd name="connsiteY10" fmla="*/ -1615 h 634220"/>
                <a:gd name="connsiteX11" fmla="*/ 152815 w 1141357"/>
                <a:gd name="connsiteY11" fmla="*/ 14102 h 634220"/>
                <a:gd name="connsiteX12" fmla="*/ 139096 w 1141357"/>
                <a:gd name="connsiteY12" fmla="*/ 44205 h 634220"/>
                <a:gd name="connsiteX13" fmla="*/ 121801 w 1141357"/>
                <a:gd name="connsiteY13" fmla="*/ 107747 h 634220"/>
                <a:gd name="connsiteX14" fmla="*/ 86211 w 1141357"/>
                <a:gd name="connsiteY14" fmla="*/ 238600 h 634220"/>
                <a:gd name="connsiteX15" fmla="*/ 11695 w 1141357"/>
                <a:gd name="connsiteY15" fmla="*/ 512736 h 634220"/>
                <a:gd name="connsiteX16" fmla="*/ 4011 w 1141357"/>
                <a:gd name="connsiteY16" fmla="*/ 540999 h 634220"/>
                <a:gd name="connsiteX17" fmla="*/ -2202 w 1141357"/>
                <a:gd name="connsiteY17" fmla="*/ 569974 h 634220"/>
                <a:gd name="connsiteX18" fmla="*/ 23664 w 1141357"/>
                <a:gd name="connsiteY18" fmla="*/ 621693 h 634220"/>
                <a:gd name="connsiteX19" fmla="*/ 51368 w 1141357"/>
                <a:gd name="connsiteY19" fmla="*/ 632158 h 634220"/>
                <a:gd name="connsiteX20" fmla="*/ 80213 w 1141357"/>
                <a:gd name="connsiteY20" fmla="*/ 632551 h 634220"/>
                <a:gd name="connsiteX21" fmla="*/ 136940 w 1141357"/>
                <a:gd name="connsiteY21" fmla="*/ 632539 h 634220"/>
                <a:gd name="connsiteX22" fmla="*/ 357128 w 1141357"/>
                <a:gd name="connsiteY22" fmla="*/ 632463 h 634220"/>
                <a:gd name="connsiteX23" fmla="*/ 564802 w 1141357"/>
                <a:gd name="connsiteY23" fmla="*/ 632349 h 634220"/>
                <a:gd name="connsiteX24" fmla="*/ 663205 w 1141357"/>
                <a:gd name="connsiteY24" fmla="*/ 632285 h 634220"/>
                <a:gd name="connsiteX25" fmla="*/ 710930 w 1141357"/>
                <a:gd name="connsiteY25" fmla="*/ 632247 h 634220"/>
                <a:gd name="connsiteX26" fmla="*/ 734704 w 1141357"/>
                <a:gd name="connsiteY26" fmla="*/ 631257 h 634220"/>
                <a:gd name="connsiteX27" fmla="*/ 756879 w 1141357"/>
                <a:gd name="connsiteY27" fmla="*/ 622403 h 634220"/>
                <a:gd name="connsiteX28" fmla="*/ 782783 w 1141357"/>
                <a:gd name="connsiteY28" fmla="*/ 584448 h 634220"/>
                <a:gd name="connsiteX29" fmla="*/ 793028 w 1141357"/>
                <a:gd name="connsiteY29" fmla="*/ 541126 h 634220"/>
                <a:gd name="connsiteX30" fmla="*/ 812706 w 1141357"/>
                <a:gd name="connsiteY30" fmla="*/ 457871 h 634220"/>
                <a:gd name="connsiteX31" fmla="*/ 848576 w 1141357"/>
                <a:gd name="connsiteY31" fmla="*/ 305897 h 634220"/>
                <a:gd name="connsiteX32" fmla="*/ 904288 w 1141357"/>
                <a:gd name="connsiteY32" fmla="*/ 67953 h 634220"/>
                <a:gd name="connsiteX33" fmla="*/ 903223 w 1141357"/>
                <a:gd name="connsiteY33" fmla="*/ 68853 h 634220"/>
                <a:gd name="connsiteX34" fmla="*/ 1036153 w 1141357"/>
                <a:gd name="connsiteY34" fmla="*/ 68333 h 634220"/>
                <a:gd name="connsiteX35" fmla="*/ 1070272 w 1141357"/>
                <a:gd name="connsiteY35" fmla="*/ 68067 h 634220"/>
                <a:gd name="connsiteX36" fmla="*/ 1081823 w 1141357"/>
                <a:gd name="connsiteY36" fmla="*/ 67775 h 634220"/>
                <a:gd name="connsiteX37" fmla="*/ 1070272 w 1141357"/>
                <a:gd name="connsiteY37" fmla="*/ 67483 h 634220"/>
                <a:gd name="connsiteX38" fmla="*/ 1036153 w 1141357"/>
                <a:gd name="connsiteY38" fmla="*/ 67204 h 634220"/>
                <a:gd name="connsiteX39" fmla="*/ 903223 w 1141357"/>
                <a:gd name="connsiteY39" fmla="*/ 66697 h 634220"/>
                <a:gd name="connsiteX40" fmla="*/ 902374 w 1141357"/>
                <a:gd name="connsiteY40" fmla="*/ 66684 h 634220"/>
                <a:gd name="connsiteX41" fmla="*/ 902158 w 1141357"/>
                <a:gd name="connsiteY41" fmla="*/ 67598 h 634220"/>
                <a:gd name="connsiteX42" fmla="*/ 845431 w 1141357"/>
                <a:gd name="connsiteY42" fmla="*/ 305161 h 634220"/>
                <a:gd name="connsiteX43" fmla="*/ 809131 w 1141357"/>
                <a:gd name="connsiteY43" fmla="*/ 457021 h 634220"/>
                <a:gd name="connsiteX44" fmla="*/ 789250 w 1141357"/>
                <a:gd name="connsiteY44" fmla="*/ 540238 h 634220"/>
                <a:gd name="connsiteX45" fmla="*/ 778916 w 1141357"/>
                <a:gd name="connsiteY45" fmla="*/ 583534 h 634220"/>
                <a:gd name="connsiteX46" fmla="*/ 754648 w 1141357"/>
                <a:gd name="connsiteY46" fmla="*/ 619003 h 634220"/>
                <a:gd name="connsiteX47" fmla="*/ 733981 w 1141357"/>
                <a:gd name="connsiteY47" fmla="*/ 627211 h 634220"/>
                <a:gd name="connsiteX48" fmla="*/ 710930 w 1141357"/>
                <a:gd name="connsiteY48" fmla="*/ 628099 h 634220"/>
                <a:gd name="connsiteX49" fmla="*/ 663205 w 1141357"/>
                <a:gd name="connsiteY49" fmla="*/ 628061 h 634220"/>
                <a:gd name="connsiteX50" fmla="*/ 564802 w 1141357"/>
                <a:gd name="connsiteY50" fmla="*/ 627985 h 634220"/>
                <a:gd name="connsiteX51" fmla="*/ 357128 w 1141357"/>
                <a:gd name="connsiteY51" fmla="*/ 627871 h 634220"/>
                <a:gd name="connsiteX52" fmla="*/ 136940 w 1141357"/>
                <a:gd name="connsiteY52" fmla="*/ 627794 h 634220"/>
                <a:gd name="connsiteX53" fmla="*/ 80213 w 1141357"/>
                <a:gd name="connsiteY53" fmla="*/ 627782 h 634220"/>
                <a:gd name="connsiteX54" fmla="*/ 51888 w 1141357"/>
                <a:gd name="connsiteY54" fmla="*/ 627414 h 634220"/>
                <a:gd name="connsiteX55" fmla="*/ 26402 w 1141357"/>
                <a:gd name="connsiteY55" fmla="*/ 617773 h 634220"/>
                <a:gd name="connsiteX56" fmla="*/ 2578 w 1141357"/>
                <a:gd name="connsiteY56" fmla="*/ 570164 h 634220"/>
                <a:gd name="connsiteX57" fmla="*/ 8639 w 1141357"/>
                <a:gd name="connsiteY57" fmla="*/ 542255 h 634220"/>
                <a:gd name="connsiteX58" fmla="*/ 16310 w 1141357"/>
                <a:gd name="connsiteY58" fmla="*/ 513992 h 634220"/>
                <a:gd name="connsiteX59" fmla="*/ 90750 w 1141357"/>
                <a:gd name="connsiteY59" fmla="*/ 239830 h 634220"/>
                <a:gd name="connsiteX60" fmla="*/ 126264 w 1141357"/>
                <a:gd name="connsiteY60" fmla="*/ 108965 h 634220"/>
                <a:gd name="connsiteX61" fmla="*/ 143495 w 1141357"/>
                <a:gd name="connsiteY61" fmla="*/ 45398 h 634220"/>
                <a:gd name="connsiteX62" fmla="*/ 156352 w 1141357"/>
                <a:gd name="connsiteY62" fmla="*/ 16931 h 634220"/>
                <a:gd name="connsiteX63" fmla="*/ 182180 w 1141357"/>
                <a:gd name="connsiteY63" fmla="*/ 2863 h 634220"/>
                <a:gd name="connsiteX64" fmla="*/ 181952 w 1141357"/>
                <a:gd name="connsiteY64" fmla="*/ 2876 h 634220"/>
                <a:gd name="connsiteX65" fmla="*/ 1138271 w 1141357"/>
                <a:gd name="connsiteY65" fmla="*/ 1442 h 634220"/>
                <a:gd name="connsiteX66" fmla="*/ 1137460 w 1141357"/>
                <a:gd name="connsiteY66" fmla="*/ 617 h 634220"/>
                <a:gd name="connsiteX67" fmla="*/ 1136192 w 1141357"/>
                <a:gd name="connsiteY67" fmla="*/ 23401 h 634220"/>
                <a:gd name="connsiteX68" fmla="*/ 1128660 w 1141357"/>
                <a:gd name="connsiteY68" fmla="*/ 41617 h 634220"/>
                <a:gd name="connsiteX69" fmla="*/ 1105952 w 1141357"/>
                <a:gd name="connsiteY69" fmla="*/ 61826 h 634220"/>
                <a:gd name="connsiteX70" fmla="*/ 1081823 w 1141357"/>
                <a:gd name="connsiteY70" fmla="*/ 67775 h 634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141357" h="634220">
                  <a:moveTo>
                    <a:pt x="1081823" y="67775"/>
                  </a:moveTo>
                  <a:cubicBezTo>
                    <a:pt x="1081823" y="67775"/>
                    <a:pt x="1083941" y="67864"/>
                    <a:pt x="1088163" y="67610"/>
                  </a:cubicBezTo>
                  <a:cubicBezTo>
                    <a:pt x="1092335" y="67128"/>
                    <a:pt x="1098687" y="66139"/>
                    <a:pt x="1106319" y="62587"/>
                  </a:cubicBezTo>
                  <a:cubicBezTo>
                    <a:pt x="1113902" y="59111"/>
                    <a:pt x="1122777" y="52793"/>
                    <a:pt x="1129713" y="42302"/>
                  </a:cubicBezTo>
                  <a:cubicBezTo>
                    <a:pt x="1133187" y="37101"/>
                    <a:pt x="1136015" y="30822"/>
                    <a:pt x="1137599" y="23718"/>
                  </a:cubicBezTo>
                  <a:cubicBezTo>
                    <a:pt x="1139349" y="16589"/>
                    <a:pt x="1139019" y="8736"/>
                    <a:pt x="1139095" y="617"/>
                  </a:cubicBezTo>
                  <a:lnTo>
                    <a:pt x="1139095" y="-194"/>
                  </a:lnTo>
                  <a:lnTo>
                    <a:pt x="1138271" y="-194"/>
                  </a:lnTo>
                  <a:cubicBezTo>
                    <a:pt x="979096" y="-435"/>
                    <a:pt x="626955" y="-968"/>
                    <a:pt x="181952" y="-1628"/>
                  </a:cubicBezTo>
                  <a:lnTo>
                    <a:pt x="181850" y="-1628"/>
                  </a:lnTo>
                  <a:lnTo>
                    <a:pt x="181710" y="-1615"/>
                  </a:lnTo>
                  <a:cubicBezTo>
                    <a:pt x="170642" y="-588"/>
                    <a:pt x="159738" y="5134"/>
                    <a:pt x="152815" y="14102"/>
                  </a:cubicBezTo>
                  <a:cubicBezTo>
                    <a:pt x="145778" y="22957"/>
                    <a:pt x="141923" y="33651"/>
                    <a:pt x="139096" y="44205"/>
                  </a:cubicBezTo>
                  <a:cubicBezTo>
                    <a:pt x="133390" y="65162"/>
                    <a:pt x="127621" y="86347"/>
                    <a:pt x="121801" y="107747"/>
                  </a:cubicBezTo>
                  <a:cubicBezTo>
                    <a:pt x="110162" y="150549"/>
                    <a:pt x="98281" y="194213"/>
                    <a:pt x="86211" y="238600"/>
                  </a:cubicBezTo>
                  <a:cubicBezTo>
                    <a:pt x="62069" y="327386"/>
                    <a:pt x="37142" y="419091"/>
                    <a:pt x="11695" y="512736"/>
                  </a:cubicBezTo>
                  <a:cubicBezTo>
                    <a:pt x="9133" y="522187"/>
                    <a:pt x="6572" y="531600"/>
                    <a:pt x="4011" y="540999"/>
                  </a:cubicBezTo>
                  <a:cubicBezTo>
                    <a:pt x="1703" y="550349"/>
                    <a:pt x="-1847" y="559673"/>
                    <a:pt x="-2202" y="569974"/>
                  </a:cubicBezTo>
                  <a:cubicBezTo>
                    <a:pt x="-3153" y="590296"/>
                    <a:pt x="7257" y="610276"/>
                    <a:pt x="23664" y="621693"/>
                  </a:cubicBezTo>
                  <a:cubicBezTo>
                    <a:pt x="31829" y="627465"/>
                    <a:pt x="41465" y="631131"/>
                    <a:pt x="51368" y="632158"/>
                  </a:cubicBezTo>
                  <a:cubicBezTo>
                    <a:pt x="61423" y="632957"/>
                    <a:pt x="70590" y="632374"/>
                    <a:pt x="80213" y="632551"/>
                  </a:cubicBezTo>
                  <a:cubicBezTo>
                    <a:pt x="99219" y="632551"/>
                    <a:pt x="118137" y="632539"/>
                    <a:pt x="136940" y="632539"/>
                  </a:cubicBezTo>
                  <a:cubicBezTo>
                    <a:pt x="212166" y="632514"/>
                    <a:pt x="285693" y="632488"/>
                    <a:pt x="357128" y="632463"/>
                  </a:cubicBezTo>
                  <a:cubicBezTo>
                    <a:pt x="428576" y="632425"/>
                    <a:pt x="497918" y="632387"/>
                    <a:pt x="564802" y="632349"/>
                  </a:cubicBezTo>
                  <a:cubicBezTo>
                    <a:pt x="598237" y="632323"/>
                    <a:pt x="631051" y="632310"/>
                    <a:pt x="663205" y="632285"/>
                  </a:cubicBezTo>
                  <a:cubicBezTo>
                    <a:pt x="679283" y="632272"/>
                    <a:pt x="695195" y="632260"/>
                    <a:pt x="710930" y="632247"/>
                  </a:cubicBezTo>
                  <a:cubicBezTo>
                    <a:pt x="718728" y="632070"/>
                    <a:pt x="726652" y="632755"/>
                    <a:pt x="734704" y="631257"/>
                  </a:cubicBezTo>
                  <a:cubicBezTo>
                    <a:pt x="742628" y="629786"/>
                    <a:pt x="750198" y="626729"/>
                    <a:pt x="756879" y="622403"/>
                  </a:cubicBezTo>
                  <a:cubicBezTo>
                    <a:pt x="770205" y="613688"/>
                    <a:pt x="779677" y="599594"/>
                    <a:pt x="782783" y="584448"/>
                  </a:cubicBezTo>
                  <a:cubicBezTo>
                    <a:pt x="786245" y="569834"/>
                    <a:pt x="789655" y="555385"/>
                    <a:pt x="793028" y="541126"/>
                  </a:cubicBezTo>
                  <a:cubicBezTo>
                    <a:pt x="799761" y="512622"/>
                    <a:pt x="806329" y="484853"/>
                    <a:pt x="812706" y="457871"/>
                  </a:cubicBezTo>
                  <a:cubicBezTo>
                    <a:pt x="825436" y="403931"/>
                    <a:pt x="837418" y="353138"/>
                    <a:pt x="848576" y="305897"/>
                  </a:cubicBezTo>
                  <a:cubicBezTo>
                    <a:pt x="870752" y="211376"/>
                    <a:pt x="889974" y="131267"/>
                    <a:pt x="904288" y="67953"/>
                  </a:cubicBezTo>
                  <a:lnTo>
                    <a:pt x="903223" y="68853"/>
                  </a:lnTo>
                  <a:cubicBezTo>
                    <a:pt x="961320" y="68625"/>
                    <a:pt x="1005925" y="68460"/>
                    <a:pt x="1036153" y="68333"/>
                  </a:cubicBezTo>
                  <a:cubicBezTo>
                    <a:pt x="1051114" y="68219"/>
                    <a:pt x="1062488" y="68130"/>
                    <a:pt x="1070272" y="68067"/>
                  </a:cubicBezTo>
                  <a:cubicBezTo>
                    <a:pt x="1077931" y="67965"/>
                    <a:pt x="1081823" y="67775"/>
                    <a:pt x="1081823" y="67775"/>
                  </a:cubicBezTo>
                  <a:cubicBezTo>
                    <a:pt x="1081823" y="67775"/>
                    <a:pt x="1077931" y="67585"/>
                    <a:pt x="1070272" y="67483"/>
                  </a:cubicBezTo>
                  <a:cubicBezTo>
                    <a:pt x="1062500" y="67420"/>
                    <a:pt x="1051114" y="67331"/>
                    <a:pt x="1036153" y="67204"/>
                  </a:cubicBezTo>
                  <a:cubicBezTo>
                    <a:pt x="1005925" y="67090"/>
                    <a:pt x="961320" y="66913"/>
                    <a:pt x="903223" y="66697"/>
                  </a:cubicBezTo>
                  <a:lnTo>
                    <a:pt x="902374" y="66684"/>
                  </a:lnTo>
                  <a:lnTo>
                    <a:pt x="902158" y="67598"/>
                  </a:lnTo>
                  <a:cubicBezTo>
                    <a:pt x="887108" y="130632"/>
                    <a:pt x="867962" y="210818"/>
                    <a:pt x="845431" y="305161"/>
                  </a:cubicBezTo>
                  <a:cubicBezTo>
                    <a:pt x="834147" y="352364"/>
                    <a:pt x="822013" y="403107"/>
                    <a:pt x="809131" y="457021"/>
                  </a:cubicBezTo>
                  <a:cubicBezTo>
                    <a:pt x="802689" y="483990"/>
                    <a:pt x="796058" y="511734"/>
                    <a:pt x="789250" y="540238"/>
                  </a:cubicBezTo>
                  <a:cubicBezTo>
                    <a:pt x="785851" y="554484"/>
                    <a:pt x="782415" y="568920"/>
                    <a:pt x="778916" y="583534"/>
                  </a:cubicBezTo>
                  <a:cubicBezTo>
                    <a:pt x="775936" y="597882"/>
                    <a:pt x="767112" y="610847"/>
                    <a:pt x="754648" y="619003"/>
                  </a:cubicBezTo>
                  <a:cubicBezTo>
                    <a:pt x="748410" y="623025"/>
                    <a:pt x="741360" y="625854"/>
                    <a:pt x="733981" y="627211"/>
                  </a:cubicBezTo>
                  <a:cubicBezTo>
                    <a:pt x="726677" y="628594"/>
                    <a:pt x="718829" y="627947"/>
                    <a:pt x="710930" y="628099"/>
                  </a:cubicBezTo>
                  <a:cubicBezTo>
                    <a:pt x="695195" y="628086"/>
                    <a:pt x="679283" y="628074"/>
                    <a:pt x="663205" y="628061"/>
                  </a:cubicBezTo>
                  <a:cubicBezTo>
                    <a:pt x="631051" y="628036"/>
                    <a:pt x="598237" y="628010"/>
                    <a:pt x="564802" y="627985"/>
                  </a:cubicBezTo>
                  <a:cubicBezTo>
                    <a:pt x="497918" y="627947"/>
                    <a:pt x="428576" y="627909"/>
                    <a:pt x="357128" y="627871"/>
                  </a:cubicBezTo>
                  <a:cubicBezTo>
                    <a:pt x="285693" y="627845"/>
                    <a:pt x="212166" y="627820"/>
                    <a:pt x="136940" y="627794"/>
                  </a:cubicBezTo>
                  <a:cubicBezTo>
                    <a:pt x="118137" y="627794"/>
                    <a:pt x="99219" y="627794"/>
                    <a:pt x="80213" y="627782"/>
                  </a:cubicBezTo>
                  <a:cubicBezTo>
                    <a:pt x="70830" y="627617"/>
                    <a:pt x="60903" y="628162"/>
                    <a:pt x="51888" y="627414"/>
                  </a:cubicBezTo>
                  <a:cubicBezTo>
                    <a:pt x="42771" y="626463"/>
                    <a:pt x="33921" y="623088"/>
                    <a:pt x="26402" y="617773"/>
                  </a:cubicBezTo>
                  <a:cubicBezTo>
                    <a:pt x="11289" y="607256"/>
                    <a:pt x="1690" y="588824"/>
                    <a:pt x="2578" y="570164"/>
                  </a:cubicBezTo>
                  <a:cubicBezTo>
                    <a:pt x="2832" y="560941"/>
                    <a:pt x="6255" y="551757"/>
                    <a:pt x="8639" y="542255"/>
                  </a:cubicBezTo>
                  <a:cubicBezTo>
                    <a:pt x="11187" y="532855"/>
                    <a:pt x="13748" y="523442"/>
                    <a:pt x="16310" y="513992"/>
                  </a:cubicBezTo>
                  <a:cubicBezTo>
                    <a:pt x="41744" y="420347"/>
                    <a:pt x="66646" y="328629"/>
                    <a:pt x="90750" y="239830"/>
                  </a:cubicBezTo>
                  <a:cubicBezTo>
                    <a:pt x="102795" y="195430"/>
                    <a:pt x="114650" y="151767"/>
                    <a:pt x="126264" y="108965"/>
                  </a:cubicBezTo>
                  <a:cubicBezTo>
                    <a:pt x="132059" y="87552"/>
                    <a:pt x="137815" y="66367"/>
                    <a:pt x="143495" y="45398"/>
                  </a:cubicBezTo>
                  <a:cubicBezTo>
                    <a:pt x="146247" y="35072"/>
                    <a:pt x="149949" y="24987"/>
                    <a:pt x="156352" y="16931"/>
                  </a:cubicBezTo>
                  <a:cubicBezTo>
                    <a:pt x="162666" y="8825"/>
                    <a:pt x="172087" y="3865"/>
                    <a:pt x="182180" y="2863"/>
                  </a:cubicBezTo>
                  <a:lnTo>
                    <a:pt x="181952" y="2876"/>
                  </a:lnTo>
                  <a:cubicBezTo>
                    <a:pt x="626955" y="2203"/>
                    <a:pt x="979096" y="1683"/>
                    <a:pt x="1138271" y="1442"/>
                  </a:cubicBezTo>
                  <a:lnTo>
                    <a:pt x="1137460" y="617"/>
                  </a:lnTo>
                  <a:cubicBezTo>
                    <a:pt x="1137447" y="8812"/>
                    <a:pt x="1137828" y="16475"/>
                    <a:pt x="1136192" y="23401"/>
                  </a:cubicBezTo>
                  <a:cubicBezTo>
                    <a:pt x="1134709" y="30340"/>
                    <a:pt x="1132008" y="36505"/>
                    <a:pt x="1128660" y="41617"/>
                  </a:cubicBezTo>
                  <a:cubicBezTo>
                    <a:pt x="1121991" y="51956"/>
                    <a:pt x="1113369" y="58274"/>
                    <a:pt x="1105952" y="61826"/>
                  </a:cubicBezTo>
                  <a:cubicBezTo>
                    <a:pt x="1090787" y="68828"/>
                    <a:pt x="1081646" y="67179"/>
                    <a:pt x="1081823" y="67775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5" name="Vrije vorm 834">
              <a:extLst>
                <a:ext uri="{FF2B5EF4-FFF2-40B4-BE49-F238E27FC236}">
                  <a16:creationId xmlns:a16="http://schemas.microsoft.com/office/drawing/2014/main" id="{6FA70A2B-B1DA-45A0-8E01-14D2CDE40D3B}"/>
                </a:ext>
              </a:extLst>
            </p:cNvPr>
            <p:cNvSpPr/>
            <p:nvPr/>
          </p:nvSpPr>
          <p:spPr>
            <a:xfrm flipV="1">
              <a:off x="7353570" y="3150544"/>
              <a:ext cx="783235" cy="474987"/>
            </a:xfrm>
            <a:custGeom>
              <a:avLst/>
              <a:gdLst>
                <a:gd name="connsiteX0" fmla="*/ 666439 w 783235"/>
                <a:gd name="connsiteY0" fmla="*/ 473336 h 474987"/>
                <a:gd name="connsiteX1" fmla="*/ -2176 w 783235"/>
                <a:gd name="connsiteY1" fmla="*/ 473336 h 474987"/>
                <a:gd name="connsiteX2" fmla="*/ 130664 w 783235"/>
                <a:gd name="connsiteY2" fmla="*/ -1652 h 474987"/>
                <a:gd name="connsiteX3" fmla="*/ 781059 w 783235"/>
                <a:gd name="connsiteY3" fmla="*/ -1652 h 474987"/>
                <a:gd name="connsiteX4" fmla="*/ 666439 w 783235"/>
                <a:gd name="connsiteY4" fmla="*/ 473336 h 474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3235" h="474987">
                  <a:moveTo>
                    <a:pt x="666439" y="473336"/>
                  </a:moveTo>
                  <a:lnTo>
                    <a:pt x="-2176" y="473336"/>
                  </a:lnTo>
                  <a:lnTo>
                    <a:pt x="130664" y="-1652"/>
                  </a:lnTo>
                  <a:lnTo>
                    <a:pt x="781059" y="-1652"/>
                  </a:lnTo>
                  <a:lnTo>
                    <a:pt x="666439" y="473336"/>
                  </a:ln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6" name="Vrije vorm 835">
              <a:extLst>
                <a:ext uri="{FF2B5EF4-FFF2-40B4-BE49-F238E27FC236}">
                  <a16:creationId xmlns:a16="http://schemas.microsoft.com/office/drawing/2014/main" id="{2BA922B6-B050-1E25-3E24-B87E6672599D}"/>
                </a:ext>
              </a:extLst>
            </p:cNvPr>
            <p:cNvSpPr/>
            <p:nvPr/>
          </p:nvSpPr>
          <p:spPr>
            <a:xfrm flipV="1">
              <a:off x="7353151" y="3150227"/>
              <a:ext cx="784059" cy="475621"/>
            </a:xfrm>
            <a:custGeom>
              <a:avLst/>
              <a:gdLst>
                <a:gd name="connsiteX0" fmla="*/ 131323 w 784059"/>
                <a:gd name="connsiteY0" fmla="*/ -1017 h 475621"/>
                <a:gd name="connsiteX1" fmla="*/ 781059 w 784059"/>
                <a:gd name="connsiteY1" fmla="*/ -1017 h 475621"/>
                <a:gd name="connsiteX2" fmla="*/ 666603 w 784059"/>
                <a:gd name="connsiteY2" fmla="*/ 473323 h 475621"/>
                <a:gd name="connsiteX3" fmla="*/ -1340 w 784059"/>
                <a:gd name="connsiteY3" fmla="*/ 473323 h 475621"/>
                <a:gd name="connsiteX4" fmla="*/ 781883 w 784059"/>
                <a:gd name="connsiteY4" fmla="*/ -1652 h 475621"/>
                <a:gd name="connsiteX5" fmla="*/ 130841 w 784059"/>
                <a:gd name="connsiteY5" fmla="*/ -1652 h 475621"/>
                <a:gd name="connsiteX6" fmla="*/ 130778 w 784059"/>
                <a:gd name="connsiteY6" fmla="*/ -1423 h 475621"/>
                <a:gd name="connsiteX7" fmla="*/ -2176 w 784059"/>
                <a:gd name="connsiteY7" fmla="*/ 473970 h 475621"/>
                <a:gd name="connsiteX8" fmla="*/ 667098 w 784059"/>
                <a:gd name="connsiteY8" fmla="*/ 473970 h 475621"/>
                <a:gd name="connsiteX9" fmla="*/ 667161 w 784059"/>
                <a:gd name="connsiteY9" fmla="*/ 473716 h 475621"/>
                <a:gd name="connsiteX10" fmla="*/ 781883 w 784059"/>
                <a:gd name="connsiteY10" fmla="*/ -1652 h 47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4059" h="475621">
                  <a:moveTo>
                    <a:pt x="131323" y="-1017"/>
                  </a:moveTo>
                  <a:lnTo>
                    <a:pt x="781059" y="-1017"/>
                  </a:lnTo>
                  <a:lnTo>
                    <a:pt x="666603" y="473323"/>
                  </a:lnTo>
                  <a:lnTo>
                    <a:pt x="-1340" y="473323"/>
                  </a:lnTo>
                  <a:close/>
                  <a:moveTo>
                    <a:pt x="781883" y="-1652"/>
                  </a:moveTo>
                  <a:lnTo>
                    <a:pt x="130841" y="-1652"/>
                  </a:lnTo>
                  <a:lnTo>
                    <a:pt x="130778" y="-1423"/>
                  </a:lnTo>
                  <a:lnTo>
                    <a:pt x="-2176" y="473970"/>
                  </a:lnTo>
                  <a:lnTo>
                    <a:pt x="667098" y="473970"/>
                  </a:lnTo>
                  <a:lnTo>
                    <a:pt x="667161" y="473716"/>
                  </a:lnTo>
                  <a:lnTo>
                    <a:pt x="781883" y="-1652"/>
                  </a:ln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7" name="Vrije vorm 836">
              <a:extLst>
                <a:ext uri="{FF2B5EF4-FFF2-40B4-BE49-F238E27FC236}">
                  <a16:creationId xmlns:a16="http://schemas.microsoft.com/office/drawing/2014/main" id="{0CF2022D-5C38-2A7F-8383-D3F3EA3B502F}"/>
                </a:ext>
              </a:extLst>
            </p:cNvPr>
            <p:cNvSpPr/>
            <p:nvPr/>
          </p:nvSpPr>
          <p:spPr>
            <a:xfrm flipV="1">
              <a:off x="7507813" y="3661229"/>
              <a:ext cx="703837" cy="4782"/>
            </a:xfrm>
            <a:custGeom>
              <a:avLst/>
              <a:gdLst>
                <a:gd name="connsiteX0" fmla="*/ 701583 w 703837"/>
                <a:gd name="connsiteY0" fmla="*/ 979 h 4782"/>
                <a:gd name="connsiteX1" fmla="*/ 349683 w 703837"/>
                <a:gd name="connsiteY1" fmla="*/ -1405 h 4782"/>
                <a:gd name="connsiteX2" fmla="*/ -2255 w 703837"/>
                <a:gd name="connsiteY2" fmla="*/ 979 h 4782"/>
                <a:gd name="connsiteX3" fmla="*/ 349683 w 703837"/>
                <a:gd name="connsiteY3" fmla="*/ 3377 h 4782"/>
                <a:gd name="connsiteX4" fmla="*/ 701583 w 703837"/>
                <a:gd name="connsiteY4" fmla="*/ 979 h 4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3837" h="4782">
                  <a:moveTo>
                    <a:pt x="701583" y="979"/>
                  </a:moveTo>
                  <a:cubicBezTo>
                    <a:pt x="701583" y="-340"/>
                    <a:pt x="544005" y="-1405"/>
                    <a:pt x="349683" y="-1405"/>
                  </a:cubicBezTo>
                  <a:cubicBezTo>
                    <a:pt x="155285" y="-1405"/>
                    <a:pt x="-2255" y="-340"/>
                    <a:pt x="-2255" y="979"/>
                  </a:cubicBezTo>
                  <a:cubicBezTo>
                    <a:pt x="-2255" y="2311"/>
                    <a:pt x="155285" y="3377"/>
                    <a:pt x="349683" y="3377"/>
                  </a:cubicBezTo>
                  <a:cubicBezTo>
                    <a:pt x="544005" y="3377"/>
                    <a:pt x="701583" y="2311"/>
                    <a:pt x="701583" y="979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8" name="Vrije vorm 837">
              <a:extLst>
                <a:ext uri="{FF2B5EF4-FFF2-40B4-BE49-F238E27FC236}">
                  <a16:creationId xmlns:a16="http://schemas.microsoft.com/office/drawing/2014/main" id="{A2334DD1-AC32-7693-3CDC-A7EE0E47C3FF}"/>
                </a:ext>
              </a:extLst>
            </p:cNvPr>
            <p:cNvSpPr/>
            <p:nvPr/>
          </p:nvSpPr>
          <p:spPr>
            <a:xfrm flipV="1">
              <a:off x="7449949" y="3270232"/>
              <a:ext cx="621596" cy="313119"/>
            </a:xfrm>
            <a:custGeom>
              <a:avLst/>
              <a:gdLst>
                <a:gd name="connsiteX0" fmla="*/ 619409 w 621596"/>
                <a:gd name="connsiteY0" fmla="*/ 780 h 313119"/>
                <a:gd name="connsiteX1" fmla="*/ 617203 w 621596"/>
                <a:gd name="connsiteY1" fmla="*/ 539 h 313119"/>
                <a:gd name="connsiteX2" fmla="*/ 610711 w 621596"/>
                <a:gd name="connsiteY2" fmla="*/ 298 h 313119"/>
                <a:gd name="connsiteX3" fmla="*/ 585733 w 621596"/>
                <a:gd name="connsiteY3" fmla="*/ -158 h 313119"/>
                <a:gd name="connsiteX4" fmla="*/ 493884 w 621596"/>
                <a:gd name="connsiteY4" fmla="*/ -919 h 313119"/>
                <a:gd name="connsiteX5" fmla="*/ 190876 w 621596"/>
                <a:gd name="connsiteY5" fmla="*/ -1617 h 313119"/>
                <a:gd name="connsiteX6" fmla="*/ 84827 w 621596"/>
                <a:gd name="connsiteY6" fmla="*/ -1541 h 313119"/>
                <a:gd name="connsiteX7" fmla="*/ 83051 w 621596"/>
                <a:gd name="connsiteY7" fmla="*/ -1541 h 313119"/>
                <a:gd name="connsiteX8" fmla="*/ 82595 w 621596"/>
                <a:gd name="connsiteY8" fmla="*/ 159 h 313119"/>
                <a:gd name="connsiteX9" fmla="*/ 21126 w 621596"/>
                <a:gd name="connsiteY9" fmla="*/ 222842 h 313119"/>
                <a:gd name="connsiteX10" fmla="*/ 3616 w 621596"/>
                <a:gd name="connsiteY10" fmla="*/ 287907 h 313119"/>
                <a:gd name="connsiteX11" fmla="*/ -873 w 621596"/>
                <a:gd name="connsiteY11" fmla="*/ 305388 h 313119"/>
                <a:gd name="connsiteX12" fmla="*/ -2166 w 621596"/>
                <a:gd name="connsiteY12" fmla="*/ 311502 h 313119"/>
                <a:gd name="connsiteX13" fmla="*/ -86 w 621596"/>
                <a:gd name="connsiteY13" fmla="*/ 305603 h 313119"/>
                <a:gd name="connsiteX14" fmla="*/ 5150 w 621596"/>
                <a:gd name="connsiteY14" fmla="*/ 288338 h 313119"/>
                <a:gd name="connsiteX15" fmla="*/ 23966 w 621596"/>
                <a:gd name="connsiteY15" fmla="*/ 223641 h 313119"/>
                <a:gd name="connsiteX16" fmla="*/ 87058 w 621596"/>
                <a:gd name="connsiteY16" fmla="*/ 1402 h 313119"/>
                <a:gd name="connsiteX17" fmla="*/ 84827 w 621596"/>
                <a:gd name="connsiteY17" fmla="*/ 3102 h 313119"/>
                <a:gd name="connsiteX18" fmla="*/ 190876 w 621596"/>
                <a:gd name="connsiteY18" fmla="*/ 3178 h 313119"/>
                <a:gd name="connsiteX19" fmla="*/ 493884 w 621596"/>
                <a:gd name="connsiteY19" fmla="*/ 2468 h 313119"/>
                <a:gd name="connsiteX20" fmla="*/ 585733 w 621596"/>
                <a:gd name="connsiteY20" fmla="*/ 1707 h 313119"/>
                <a:gd name="connsiteX21" fmla="*/ 610711 w 621596"/>
                <a:gd name="connsiteY21" fmla="*/ 1262 h 313119"/>
                <a:gd name="connsiteX22" fmla="*/ 617203 w 621596"/>
                <a:gd name="connsiteY22" fmla="*/ 1022 h 313119"/>
                <a:gd name="connsiteX23" fmla="*/ 619409 w 621596"/>
                <a:gd name="connsiteY23" fmla="*/ 780 h 313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596" h="313119">
                  <a:moveTo>
                    <a:pt x="619409" y="780"/>
                  </a:moveTo>
                  <a:cubicBezTo>
                    <a:pt x="619409" y="692"/>
                    <a:pt x="618661" y="616"/>
                    <a:pt x="617203" y="539"/>
                  </a:cubicBezTo>
                  <a:cubicBezTo>
                    <a:pt x="615453" y="476"/>
                    <a:pt x="613323" y="387"/>
                    <a:pt x="610711" y="298"/>
                  </a:cubicBezTo>
                  <a:cubicBezTo>
                    <a:pt x="604600" y="184"/>
                    <a:pt x="596257" y="32"/>
                    <a:pt x="585733" y="-158"/>
                  </a:cubicBezTo>
                  <a:cubicBezTo>
                    <a:pt x="563620" y="-336"/>
                    <a:pt x="532353" y="-590"/>
                    <a:pt x="493884" y="-919"/>
                  </a:cubicBezTo>
                  <a:cubicBezTo>
                    <a:pt x="415970" y="-1097"/>
                    <a:pt x="309021" y="-1338"/>
                    <a:pt x="190876" y="-1617"/>
                  </a:cubicBezTo>
                  <a:cubicBezTo>
                    <a:pt x="154055" y="-1592"/>
                    <a:pt x="118325" y="-1566"/>
                    <a:pt x="84827" y="-1541"/>
                  </a:cubicBezTo>
                  <a:lnTo>
                    <a:pt x="83051" y="-1541"/>
                  </a:lnTo>
                  <a:lnTo>
                    <a:pt x="82595" y="159"/>
                  </a:lnTo>
                  <a:cubicBezTo>
                    <a:pt x="57934" y="89466"/>
                    <a:pt x="36506" y="167089"/>
                    <a:pt x="21126" y="222842"/>
                  </a:cubicBezTo>
                  <a:cubicBezTo>
                    <a:pt x="13747" y="250269"/>
                    <a:pt x="7813" y="272303"/>
                    <a:pt x="3616" y="287907"/>
                  </a:cubicBezTo>
                  <a:cubicBezTo>
                    <a:pt x="1739" y="295226"/>
                    <a:pt x="243" y="301036"/>
                    <a:pt x="-873" y="305388"/>
                  </a:cubicBezTo>
                  <a:cubicBezTo>
                    <a:pt x="-1849" y="309371"/>
                    <a:pt x="-2293" y="311464"/>
                    <a:pt x="-2166" y="311502"/>
                  </a:cubicBezTo>
                  <a:cubicBezTo>
                    <a:pt x="-2026" y="311540"/>
                    <a:pt x="-1316" y="309523"/>
                    <a:pt x="-86" y="305603"/>
                  </a:cubicBezTo>
                  <a:cubicBezTo>
                    <a:pt x="1220" y="301315"/>
                    <a:pt x="2957" y="295569"/>
                    <a:pt x="5150" y="288338"/>
                  </a:cubicBezTo>
                  <a:cubicBezTo>
                    <a:pt x="9664" y="272811"/>
                    <a:pt x="16042" y="250916"/>
                    <a:pt x="23966" y="223641"/>
                  </a:cubicBezTo>
                  <a:cubicBezTo>
                    <a:pt x="39764" y="168002"/>
                    <a:pt x="61750" y="90544"/>
                    <a:pt x="87058" y="1402"/>
                  </a:cubicBezTo>
                  <a:lnTo>
                    <a:pt x="84827" y="3102"/>
                  </a:lnTo>
                  <a:cubicBezTo>
                    <a:pt x="118325" y="3127"/>
                    <a:pt x="154055" y="3153"/>
                    <a:pt x="190876" y="3178"/>
                  </a:cubicBezTo>
                  <a:cubicBezTo>
                    <a:pt x="309021" y="2899"/>
                    <a:pt x="415970" y="2658"/>
                    <a:pt x="493884" y="2468"/>
                  </a:cubicBezTo>
                  <a:cubicBezTo>
                    <a:pt x="532353" y="2151"/>
                    <a:pt x="563620" y="1897"/>
                    <a:pt x="585733" y="1707"/>
                  </a:cubicBezTo>
                  <a:cubicBezTo>
                    <a:pt x="596269" y="1529"/>
                    <a:pt x="604600" y="1377"/>
                    <a:pt x="610711" y="1262"/>
                  </a:cubicBezTo>
                  <a:cubicBezTo>
                    <a:pt x="613323" y="1174"/>
                    <a:pt x="615453" y="1085"/>
                    <a:pt x="617203" y="1022"/>
                  </a:cubicBezTo>
                  <a:cubicBezTo>
                    <a:pt x="618661" y="945"/>
                    <a:pt x="619409" y="869"/>
                    <a:pt x="619409" y="780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3" name="Vrije vorm 842">
              <a:extLst>
                <a:ext uri="{FF2B5EF4-FFF2-40B4-BE49-F238E27FC236}">
                  <a16:creationId xmlns:a16="http://schemas.microsoft.com/office/drawing/2014/main" id="{2517F88F-7143-A6C7-1435-4D341F8FAAF3}"/>
                </a:ext>
              </a:extLst>
            </p:cNvPr>
            <p:cNvSpPr/>
            <p:nvPr/>
          </p:nvSpPr>
          <p:spPr>
            <a:xfrm flipV="1">
              <a:off x="8499140" y="3862905"/>
              <a:ext cx="136606" cy="1755978"/>
            </a:xfrm>
            <a:custGeom>
              <a:avLst/>
              <a:gdLst>
                <a:gd name="connsiteX0" fmla="*/ 133868 w 136606"/>
                <a:gd name="connsiteY0" fmla="*/ -443 h 1755978"/>
                <a:gd name="connsiteX1" fmla="*/ -2738 w 136606"/>
                <a:gd name="connsiteY1" fmla="*/ -443 h 1755978"/>
                <a:gd name="connsiteX2" fmla="*/ -2738 w 136606"/>
                <a:gd name="connsiteY2" fmla="*/ 1755536 h 1755978"/>
                <a:gd name="connsiteX3" fmla="*/ 133868 w 136606"/>
                <a:gd name="connsiteY3" fmla="*/ 1755536 h 1755978"/>
                <a:gd name="connsiteX4" fmla="*/ 133868 w 136606"/>
                <a:gd name="connsiteY4" fmla="*/ -443 h 1755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606" h="1755978">
                  <a:moveTo>
                    <a:pt x="133868" y="-443"/>
                  </a:moveTo>
                  <a:lnTo>
                    <a:pt x="-2738" y="-443"/>
                  </a:lnTo>
                  <a:lnTo>
                    <a:pt x="-2738" y="1755536"/>
                  </a:lnTo>
                  <a:lnTo>
                    <a:pt x="133868" y="1755536"/>
                  </a:lnTo>
                  <a:lnTo>
                    <a:pt x="133868" y="-443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4" name="Vrije vorm 843">
              <a:extLst>
                <a:ext uri="{FF2B5EF4-FFF2-40B4-BE49-F238E27FC236}">
                  <a16:creationId xmlns:a16="http://schemas.microsoft.com/office/drawing/2014/main" id="{B8C86125-CA7E-A33C-C036-0A23D07758CA}"/>
                </a:ext>
              </a:extLst>
            </p:cNvPr>
            <p:cNvSpPr/>
            <p:nvPr/>
          </p:nvSpPr>
          <p:spPr>
            <a:xfrm flipV="1">
              <a:off x="8495831" y="3859606"/>
              <a:ext cx="143212" cy="1760511"/>
            </a:xfrm>
            <a:custGeom>
              <a:avLst/>
              <a:gdLst>
                <a:gd name="connsiteX0" fmla="*/ 137177 w 143212"/>
                <a:gd name="connsiteY0" fmla="*/ 790 h 1760511"/>
                <a:gd name="connsiteX1" fmla="*/ 136949 w 143212"/>
                <a:gd name="connsiteY1" fmla="*/ 9933 h 1760511"/>
                <a:gd name="connsiteX2" fmla="*/ 136721 w 143212"/>
                <a:gd name="connsiteY2" fmla="*/ 36370 h 1760511"/>
                <a:gd name="connsiteX3" fmla="*/ 136251 w 143212"/>
                <a:gd name="connsiteY3" fmla="*/ 137780 h 1760511"/>
                <a:gd name="connsiteX4" fmla="*/ 135275 w 143212"/>
                <a:gd name="connsiteY4" fmla="*/ 511461 h 1760511"/>
                <a:gd name="connsiteX5" fmla="*/ 133880 w 143212"/>
                <a:gd name="connsiteY5" fmla="*/ 1756769 h 1760511"/>
                <a:gd name="connsiteX6" fmla="*/ 137164 w 143212"/>
                <a:gd name="connsiteY6" fmla="*/ 1753471 h 1760511"/>
                <a:gd name="connsiteX7" fmla="*/ 659 w 143212"/>
                <a:gd name="connsiteY7" fmla="*/ 1753471 h 1760511"/>
                <a:gd name="connsiteX8" fmla="*/ 571 w 143212"/>
                <a:gd name="connsiteY8" fmla="*/ 1753471 h 1760511"/>
                <a:gd name="connsiteX9" fmla="*/ 3880 w 143212"/>
                <a:gd name="connsiteY9" fmla="*/ 1756769 h 1760511"/>
                <a:gd name="connsiteX10" fmla="*/ 1788 w 143212"/>
                <a:gd name="connsiteY10" fmla="*/ 790 h 1760511"/>
                <a:gd name="connsiteX11" fmla="*/ 571 w 143212"/>
                <a:gd name="connsiteY11" fmla="*/ 2004 h 1760511"/>
                <a:gd name="connsiteX12" fmla="*/ 102005 w 143212"/>
                <a:gd name="connsiteY12" fmla="*/ 1311 h 1760511"/>
                <a:gd name="connsiteX13" fmla="*/ 128175 w 143212"/>
                <a:gd name="connsiteY13" fmla="*/ 1029 h 1760511"/>
                <a:gd name="connsiteX14" fmla="*/ 137177 w 143212"/>
                <a:gd name="connsiteY14" fmla="*/ 790 h 1760511"/>
                <a:gd name="connsiteX15" fmla="*/ 128606 w 143212"/>
                <a:gd name="connsiteY15" fmla="*/ 548 h 1760511"/>
                <a:gd name="connsiteX16" fmla="*/ 102715 w 143212"/>
                <a:gd name="connsiteY16" fmla="*/ 270 h 1760511"/>
                <a:gd name="connsiteX17" fmla="*/ 571 w 143212"/>
                <a:gd name="connsiteY17" fmla="*/ -429 h 1760511"/>
                <a:gd name="connsiteX18" fmla="*/ -647 w 143212"/>
                <a:gd name="connsiteY18" fmla="*/ -444 h 1760511"/>
                <a:gd name="connsiteX19" fmla="*/ -647 w 143212"/>
                <a:gd name="connsiteY19" fmla="*/ 790 h 1760511"/>
                <a:gd name="connsiteX20" fmla="*/ -2726 w 143212"/>
                <a:gd name="connsiteY20" fmla="*/ 1756769 h 1760511"/>
                <a:gd name="connsiteX21" fmla="*/ -2738 w 143212"/>
                <a:gd name="connsiteY21" fmla="*/ 1760068 h 1760511"/>
                <a:gd name="connsiteX22" fmla="*/ 571 w 143212"/>
                <a:gd name="connsiteY22" fmla="*/ 1760068 h 1760511"/>
                <a:gd name="connsiteX23" fmla="*/ 659 w 143212"/>
                <a:gd name="connsiteY23" fmla="*/ 1760068 h 1760511"/>
                <a:gd name="connsiteX24" fmla="*/ 137164 w 143212"/>
                <a:gd name="connsiteY24" fmla="*/ 1760068 h 1760511"/>
                <a:gd name="connsiteX25" fmla="*/ 140474 w 143212"/>
                <a:gd name="connsiteY25" fmla="*/ 1760068 h 1760511"/>
                <a:gd name="connsiteX26" fmla="*/ 140461 w 143212"/>
                <a:gd name="connsiteY26" fmla="*/ 1756769 h 1760511"/>
                <a:gd name="connsiteX27" fmla="*/ 139079 w 143212"/>
                <a:gd name="connsiteY27" fmla="*/ 509047 h 1760511"/>
                <a:gd name="connsiteX28" fmla="*/ 138090 w 143212"/>
                <a:gd name="connsiteY28" fmla="*/ 136145 h 1760511"/>
                <a:gd name="connsiteX29" fmla="*/ 137633 w 143212"/>
                <a:gd name="connsiteY29" fmla="*/ 35483 h 1760511"/>
                <a:gd name="connsiteX30" fmla="*/ 137405 w 143212"/>
                <a:gd name="connsiteY30" fmla="*/ 9478 h 1760511"/>
                <a:gd name="connsiteX31" fmla="*/ 137177 w 143212"/>
                <a:gd name="connsiteY31" fmla="*/ 790 h 1760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3212" h="1760511">
                  <a:moveTo>
                    <a:pt x="137177" y="790"/>
                  </a:moveTo>
                  <a:cubicBezTo>
                    <a:pt x="137177" y="790"/>
                    <a:pt x="137025" y="3962"/>
                    <a:pt x="136949" y="9933"/>
                  </a:cubicBezTo>
                  <a:cubicBezTo>
                    <a:pt x="136885" y="16088"/>
                    <a:pt x="136809" y="24893"/>
                    <a:pt x="136721" y="36370"/>
                  </a:cubicBezTo>
                  <a:cubicBezTo>
                    <a:pt x="136606" y="59724"/>
                    <a:pt x="136454" y="93837"/>
                    <a:pt x="136251" y="137780"/>
                  </a:cubicBezTo>
                  <a:cubicBezTo>
                    <a:pt x="136023" y="225921"/>
                    <a:pt x="135681" y="353347"/>
                    <a:pt x="135275" y="511461"/>
                  </a:cubicBezTo>
                  <a:cubicBezTo>
                    <a:pt x="134920" y="827472"/>
                    <a:pt x="134426" y="1265975"/>
                    <a:pt x="133880" y="1756769"/>
                  </a:cubicBezTo>
                  <a:lnTo>
                    <a:pt x="137164" y="1753471"/>
                  </a:lnTo>
                  <a:cubicBezTo>
                    <a:pt x="93789" y="1753471"/>
                    <a:pt x="47421" y="1753471"/>
                    <a:pt x="659" y="1753471"/>
                  </a:cubicBezTo>
                  <a:lnTo>
                    <a:pt x="571" y="1753471"/>
                  </a:lnTo>
                  <a:lnTo>
                    <a:pt x="3880" y="1756769"/>
                  </a:lnTo>
                  <a:cubicBezTo>
                    <a:pt x="2929" y="958783"/>
                    <a:pt x="2118" y="276614"/>
                    <a:pt x="1788" y="790"/>
                  </a:cubicBezTo>
                  <a:lnTo>
                    <a:pt x="571" y="2004"/>
                  </a:lnTo>
                  <a:cubicBezTo>
                    <a:pt x="44935" y="1702"/>
                    <a:pt x="78903" y="1474"/>
                    <a:pt x="102005" y="1311"/>
                  </a:cubicBezTo>
                  <a:cubicBezTo>
                    <a:pt x="113416" y="1182"/>
                    <a:pt x="122114" y="1092"/>
                    <a:pt x="128175" y="1029"/>
                  </a:cubicBezTo>
                  <a:cubicBezTo>
                    <a:pt x="134071" y="939"/>
                    <a:pt x="137177" y="790"/>
                    <a:pt x="137177" y="790"/>
                  </a:cubicBezTo>
                  <a:cubicBezTo>
                    <a:pt x="137177" y="790"/>
                    <a:pt x="134362" y="637"/>
                    <a:pt x="128606" y="548"/>
                  </a:cubicBezTo>
                  <a:cubicBezTo>
                    <a:pt x="122608" y="483"/>
                    <a:pt x="114012" y="395"/>
                    <a:pt x="102715" y="270"/>
                  </a:cubicBezTo>
                  <a:cubicBezTo>
                    <a:pt x="79436" y="102"/>
                    <a:pt x="45240" y="-127"/>
                    <a:pt x="571" y="-429"/>
                  </a:cubicBezTo>
                  <a:lnTo>
                    <a:pt x="-647" y="-444"/>
                  </a:lnTo>
                  <a:lnTo>
                    <a:pt x="-647" y="790"/>
                  </a:lnTo>
                  <a:cubicBezTo>
                    <a:pt x="-976" y="276614"/>
                    <a:pt x="-1788" y="958783"/>
                    <a:pt x="-2726" y="1756769"/>
                  </a:cubicBezTo>
                  <a:lnTo>
                    <a:pt x="-2738" y="1760068"/>
                  </a:lnTo>
                  <a:lnTo>
                    <a:pt x="571" y="1760068"/>
                  </a:lnTo>
                  <a:lnTo>
                    <a:pt x="659" y="1760068"/>
                  </a:lnTo>
                  <a:cubicBezTo>
                    <a:pt x="47421" y="1760068"/>
                    <a:pt x="93789" y="1760068"/>
                    <a:pt x="137164" y="1760068"/>
                  </a:cubicBezTo>
                  <a:lnTo>
                    <a:pt x="140474" y="1760068"/>
                  </a:lnTo>
                  <a:lnTo>
                    <a:pt x="140461" y="1756769"/>
                  </a:lnTo>
                  <a:cubicBezTo>
                    <a:pt x="139916" y="1265024"/>
                    <a:pt x="139434" y="825668"/>
                    <a:pt x="139079" y="509047"/>
                  </a:cubicBezTo>
                  <a:cubicBezTo>
                    <a:pt x="138661" y="351265"/>
                    <a:pt x="138318" y="224092"/>
                    <a:pt x="138090" y="136145"/>
                  </a:cubicBezTo>
                  <a:cubicBezTo>
                    <a:pt x="137887" y="92519"/>
                    <a:pt x="137735" y="58674"/>
                    <a:pt x="137633" y="35483"/>
                  </a:cubicBezTo>
                  <a:cubicBezTo>
                    <a:pt x="137532" y="24194"/>
                    <a:pt x="137456" y="15527"/>
                    <a:pt x="137405" y="9478"/>
                  </a:cubicBezTo>
                  <a:cubicBezTo>
                    <a:pt x="137329" y="3655"/>
                    <a:pt x="137177" y="790"/>
                    <a:pt x="137177" y="790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5" name="Vrije vorm 844">
              <a:extLst>
                <a:ext uri="{FF2B5EF4-FFF2-40B4-BE49-F238E27FC236}">
                  <a16:creationId xmlns:a16="http://schemas.microsoft.com/office/drawing/2014/main" id="{BEB0BBB0-799B-A4CF-C30D-4F9A0CF07E4F}"/>
                </a:ext>
              </a:extLst>
            </p:cNvPr>
            <p:cNvSpPr/>
            <p:nvPr/>
          </p:nvSpPr>
          <p:spPr>
            <a:xfrm flipV="1">
              <a:off x="4838767" y="3801988"/>
              <a:ext cx="136598" cy="1816721"/>
            </a:xfrm>
            <a:custGeom>
              <a:avLst/>
              <a:gdLst>
                <a:gd name="connsiteX0" fmla="*/ -236 w 136598"/>
                <a:gd name="connsiteY0" fmla="*/ -470 h 1816721"/>
                <a:gd name="connsiteX1" fmla="*/ 136362 w 136598"/>
                <a:gd name="connsiteY1" fmla="*/ -470 h 1816721"/>
                <a:gd name="connsiteX2" fmla="*/ 136362 w 136598"/>
                <a:gd name="connsiteY2" fmla="*/ 1816251 h 1816721"/>
                <a:gd name="connsiteX3" fmla="*/ -236 w 136598"/>
                <a:gd name="connsiteY3" fmla="*/ 1816251 h 181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98" h="1816721">
                  <a:moveTo>
                    <a:pt x="-236" y="-470"/>
                  </a:moveTo>
                  <a:lnTo>
                    <a:pt x="136362" y="-470"/>
                  </a:lnTo>
                  <a:lnTo>
                    <a:pt x="136362" y="1816251"/>
                  </a:lnTo>
                  <a:lnTo>
                    <a:pt x="-236" y="1816251"/>
                  </a:lnTo>
                  <a:close/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6" name="Vrije vorm 845">
              <a:extLst>
                <a:ext uri="{FF2B5EF4-FFF2-40B4-BE49-F238E27FC236}">
                  <a16:creationId xmlns:a16="http://schemas.microsoft.com/office/drawing/2014/main" id="{6CDBA526-5732-C022-3580-472A1742CCB5}"/>
                </a:ext>
              </a:extLst>
            </p:cNvPr>
            <p:cNvSpPr/>
            <p:nvPr/>
          </p:nvSpPr>
          <p:spPr>
            <a:xfrm flipV="1">
              <a:off x="4835464" y="3798677"/>
              <a:ext cx="143200" cy="1821236"/>
            </a:xfrm>
            <a:custGeom>
              <a:avLst/>
              <a:gdLst>
                <a:gd name="connsiteX0" fmla="*/ 139665 w 143200"/>
                <a:gd name="connsiteY0" fmla="*/ 733 h 1821236"/>
                <a:gd name="connsiteX1" fmla="*/ 139438 w 143200"/>
                <a:gd name="connsiteY1" fmla="*/ 10197 h 1821236"/>
                <a:gd name="connsiteX2" fmla="*/ 139210 w 143200"/>
                <a:gd name="connsiteY2" fmla="*/ 37560 h 1821236"/>
                <a:gd name="connsiteX3" fmla="*/ 138750 w 143200"/>
                <a:gd name="connsiteY3" fmla="*/ 142494 h 1821236"/>
                <a:gd name="connsiteX4" fmla="*/ 137763 w 143200"/>
                <a:gd name="connsiteY4" fmla="*/ 529193 h 1821236"/>
                <a:gd name="connsiteX5" fmla="*/ 136372 w 143200"/>
                <a:gd name="connsiteY5" fmla="*/ 1817454 h 1821236"/>
                <a:gd name="connsiteX6" fmla="*/ 139665 w 143200"/>
                <a:gd name="connsiteY6" fmla="*/ 1814168 h 1821236"/>
                <a:gd name="connsiteX7" fmla="*/ 3160 w 143200"/>
                <a:gd name="connsiteY7" fmla="*/ 1814156 h 1821236"/>
                <a:gd name="connsiteX8" fmla="*/ 3072 w 143200"/>
                <a:gd name="connsiteY8" fmla="*/ 1814156 h 1821236"/>
                <a:gd name="connsiteX9" fmla="*/ 6369 w 143200"/>
                <a:gd name="connsiteY9" fmla="*/ 1817454 h 1821236"/>
                <a:gd name="connsiteX10" fmla="*/ 4265 w 143200"/>
                <a:gd name="connsiteY10" fmla="*/ 733 h 1821236"/>
                <a:gd name="connsiteX11" fmla="*/ 3072 w 143200"/>
                <a:gd name="connsiteY11" fmla="*/ 1926 h 1821236"/>
                <a:gd name="connsiteX12" fmla="*/ 104679 w 143200"/>
                <a:gd name="connsiteY12" fmla="*/ 1243 h 1821236"/>
                <a:gd name="connsiteX13" fmla="*/ 130735 w 143200"/>
                <a:gd name="connsiteY13" fmla="*/ 960 h 1821236"/>
                <a:gd name="connsiteX14" fmla="*/ 139665 w 143200"/>
                <a:gd name="connsiteY14" fmla="*/ 733 h 1821236"/>
                <a:gd name="connsiteX15" fmla="*/ 131156 w 143200"/>
                <a:gd name="connsiteY15" fmla="*/ 504 h 1821236"/>
                <a:gd name="connsiteX16" fmla="*/ 105373 w 143200"/>
                <a:gd name="connsiteY16" fmla="*/ 226 h 1821236"/>
                <a:gd name="connsiteX17" fmla="*/ 3072 w 143200"/>
                <a:gd name="connsiteY17" fmla="*/ -471 h 1821236"/>
                <a:gd name="connsiteX18" fmla="*/ 1873 w 143200"/>
                <a:gd name="connsiteY18" fmla="*/ -471 h 1821236"/>
                <a:gd name="connsiteX19" fmla="*/ 1873 w 143200"/>
                <a:gd name="connsiteY19" fmla="*/ 733 h 1821236"/>
                <a:gd name="connsiteX20" fmla="*/ -233 w 143200"/>
                <a:gd name="connsiteY20" fmla="*/ 1817454 h 1821236"/>
                <a:gd name="connsiteX21" fmla="*/ -236 w 143200"/>
                <a:gd name="connsiteY21" fmla="*/ 1820765 h 1821236"/>
                <a:gd name="connsiteX22" fmla="*/ 3072 w 143200"/>
                <a:gd name="connsiteY22" fmla="*/ 1820765 h 1821236"/>
                <a:gd name="connsiteX23" fmla="*/ 3160 w 143200"/>
                <a:gd name="connsiteY23" fmla="*/ 1820765 h 1821236"/>
                <a:gd name="connsiteX24" fmla="*/ 139665 w 143200"/>
                <a:gd name="connsiteY24" fmla="*/ 1820752 h 1821236"/>
                <a:gd name="connsiteX25" fmla="*/ 142964 w 143200"/>
                <a:gd name="connsiteY25" fmla="*/ 1820752 h 1821236"/>
                <a:gd name="connsiteX26" fmla="*/ 142959 w 143200"/>
                <a:gd name="connsiteY26" fmla="*/ 1817454 h 1821236"/>
                <a:gd name="connsiteX27" fmla="*/ 141572 w 143200"/>
                <a:gd name="connsiteY27" fmla="*/ 526770 h 1821236"/>
                <a:gd name="connsiteX28" fmla="*/ 140587 w 143200"/>
                <a:gd name="connsiteY28" fmla="*/ 140859 h 1821236"/>
                <a:gd name="connsiteX29" fmla="*/ 140127 w 143200"/>
                <a:gd name="connsiteY29" fmla="*/ 36674 h 1821236"/>
                <a:gd name="connsiteX30" fmla="*/ 139898 w 143200"/>
                <a:gd name="connsiteY30" fmla="*/ 9741 h 1821236"/>
                <a:gd name="connsiteX31" fmla="*/ 139665 w 143200"/>
                <a:gd name="connsiteY31" fmla="*/ 733 h 182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3200" h="1821236">
                  <a:moveTo>
                    <a:pt x="139665" y="733"/>
                  </a:moveTo>
                  <a:cubicBezTo>
                    <a:pt x="139665" y="733"/>
                    <a:pt x="139512" y="4008"/>
                    <a:pt x="139438" y="10197"/>
                  </a:cubicBezTo>
                  <a:cubicBezTo>
                    <a:pt x="139384" y="16554"/>
                    <a:pt x="139309" y="25662"/>
                    <a:pt x="139210" y="37560"/>
                  </a:cubicBezTo>
                  <a:cubicBezTo>
                    <a:pt x="139106" y="61712"/>
                    <a:pt x="138947" y="97019"/>
                    <a:pt x="138750" y="142494"/>
                  </a:cubicBezTo>
                  <a:cubicBezTo>
                    <a:pt x="138516" y="233707"/>
                    <a:pt x="138180" y="365572"/>
                    <a:pt x="137763" y="529193"/>
                  </a:cubicBezTo>
                  <a:cubicBezTo>
                    <a:pt x="137412" y="856175"/>
                    <a:pt x="136921" y="1309864"/>
                    <a:pt x="136372" y="1817454"/>
                  </a:cubicBezTo>
                  <a:lnTo>
                    <a:pt x="139665" y="1814168"/>
                  </a:lnTo>
                  <a:cubicBezTo>
                    <a:pt x="96293" y="1814156"/>
                    <a:pt x="49920" y="1814156"/>
                    <a:pt x="3160" y="1814156"/>
                  </a:cubicBezTo>
                  <a:lnTo>
                    <a:pt x="3072" y="1814156"/>
                  </a:lnTo>
                  <a:lnTo>
                    <a:pt x="6369" y="1817454"/>
                  </a:lnTo>
                  <a:cubicBezTo>
                    <a:pt x="5410" y="988649"/>
                    <a:pt x="4587" y="280882"/>
                    <a:pt x="4265" y="733"/>
                  </a:cubicBezTo>
                  <a:lnTo>
                    <a:pt x="3072" y="1926"/>
                  </a:lnTo>
                  <a:cubicBezTo>
                    <a:pt x="47657" y="1635"/>
                    <a:pt x="81628" y="1406"/>
                    <a:pt x="104679" y="1243"/>
                  </a:cubicBezTo>
                  <a:cubicBezTo>
                    <a:pt x="116065" y="1128"/>
                    <a:pt x="124718" y="1024"/>
                    <a:pt x="130735" y="960"/>
                  </a:cubicBezTo>
                  <a:cubicBezTo>
                    <a:pt x="136590" y="886"/>
                    <a:pt x="139665" y="733"/>
                    <a:pt x="139665" y="733"/>
                  </a:cubicBezTo>
                  <a:cubicBezTo>
                    <a:pt x="139665" y="733"/>
                    <a:pt x="136887" y="584"/>
                    <a:pt x="131156" y="504"/>
                  </a:cubicBezTo>
                  <a:cubicBezTo>
                    <a:pt x="125198" y="440"/>
                    <a:pt x="116640" y="341"/>
                    <a:pt x="105373" y="226"/>
                  </a:cubicBezTo>
                  <a:cubicBezTo>
                    <a:pt x="82163" y="63"/>
                    <a:pt x="47959" y="-164"/>
                    <a:pt x="3072" y="-471"/>
                  </a:cubicBezTo>
                  <a:lnTo>
                    <a:pt x="1873" y="-471"/>
                  </a:lnTo>
                  <a:lnTo>
                    <a:pt x="1873" y="733"/>
                  </a:lnTo>
                  <a:cubicBezTo>
                    <a:pt x="1546" y="280882"/>
                    <a:pt x="723" y="988649"/>
                    <a:pt x="-233" y="1817454"/>
                  </a:cubicBezTo>
                  <a:lnTo>
                    <a:pt x="-236" y="1820765"/>
                  </a:lnTo>
                  <a:lnTo>
                    <a:pt x="3072" y="1820765"/>
                  </a:lnTo>
                  <a:lnTo>
                    <a:pt x="3160" y="1820765"/>
                  </a:lnTo>
                  <a:cubicBezTo>
                    <a:pt x="49920" y="1820765"/>
                    <a:pt x="96293" y="1820752"/>
                    <a:pt x="139665" y="1820752"/>
                  </a:cubicBezTo>
                  <a:lnTo>
                    <a:pt x="142964" y="1820752"/>
                  </a:lnTo>
                  <a:lnTo>
                    <a:pt x="142959" y="1817454"/>
                  </a:lnTo>
                  <a:cubicBezTo>
                    <a:pt x="142414" y="1308913"/>
                    <a:pt x="141925" y="854376"/>
                    <a:pt x="141572" y="526770"/>
                  </a:cubicBezTo>
                  <a:cubicBezTo>
                    <a:pt x="141156" y="363482"/>
                    <a:pt x="140820" y="231879"/>
                    <a:pt x="140587" y="140859"/>
                  </a:cubicBezTo>
                  <a:cubicBezTo>
                    <a:pt x="140389" y="95701"/>
                    <a:pt x="140231" y="60647"/>
                    <a:pt x="140127" y="36674"/>
                  </a:cubicBezTo>
                  <a:cubicBezTo>
                    <a:pt x="140028" y="24963"/>
                    <a:pt x="139948" y="15995"/>
                    <a:pt x="139898" y="9741"/>
                  </a:cubicBezTo>
                  <a:cubicBezTo>
                    <a:pt x="139819" y="3701"/>
                    <a:pt x="139665" y="733"/>
                    <a:pt x="139665" y="733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7" name="Vrije vorm 846">
              <a:extLst>
                <a:ext uri="{FF2B5EF4-FFF2-40B4-BE49-F238E27FC236}">
                  <a16:creationId xmlns:a16="http://schemas.microsoft.com/office/drawing/2014/main" id="{8C40AA2E-BA5B-C809-BCAF-FEE99BDDDFDA}"/>
                </a:ext>
              </a:extLst>
            </p:cNvPr>
            <p:cNvSpPr/>
            <p:nvPr/>
          </p:nvSpPr>
          <p:spPr>
            <a:xfrm flipV="1">
              <a:off x="5879226" y="3801988"/>
              <a:ext cx="136606" cy="1817544"/>
            </a:xfrm>
            <a:custGeom>
              <a:avLst/>
              <a:gdLst>
                <a:gd name="connsiteX0" fmla="*/ 135659 w 136606"/>
                <a:gd name="connsiteY0" fmla="*/ -470 h 1817544"/>
                <a:gd name="connsiteX1" fmla="*/ -948 w 136606"/>
                <a:gd name="connsiteY1" fmla="*/ -470 h 1817544"/>
                <a:gd name="connsiteX2" fmla="*/ -948 w 136606"/>
                <a:gd name="connsiteY2" fmla="*/ 1817075 h 1817544"/>
                <a:gd name="connsiteX3" fmla="*/ 135659 w 136606"/>
                <a:gd name="connsiteY3" fmla="*/ 1817075 h 1817544"/>
                <a:gd name="connsiteX4" fmla="*/ 135659 w 136606"/>
                <a:gd name="connsiteY4" fmla="*/ -470 h 1817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606" h="1817544">
                  <a:moveTo>
                    <a:pt x="135659" y="-470"/>
                  </a:moveTo>
                  <a:lnTo>
                    <a:pt x="-948" y="-470"/>
                  </a:lnTo>
                  <a:lnTo>
                    <a:pt x="-948" y="1817075"/>
                  </a:lnTo>
                  <a:lnTo>
                    <a:pt x="135659" y="1817075"/>
                  </a:lnTo>
                  <a:lnTo>
                    <a:pt x="135659" y="-470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8" name="Vrije vorm 847">
              <a:extLst>
                <a:ext uri="{FF2B5EF4-FFF2-40B4-BE49-F238E27FC236}">
                  <a16:creationId xmlns:a16="http://schemas.microsoft.com/office/drawing/2014/main" id="{99D5BCCF-C176-259D-4C82-22C0F5CA543F}"/>
                </a:ext>
              </a:extLst>
            </p:cNvPr>
            <p:cNvSpPr/>
            <p:nvPr/>
          </p:nvSpPr>
          <p:spPr>
            <a:xfrm flipV="1">
              <a:off x="5875930" y="3798677"/>
              <a:ext cx="143199" cy="1822059"/>
            </a:xfrm>
            <a:custGeom>
              <a:avLst/>
              <a:gdLst>
                <a:gd name="connsiteX0" fmla="*/ 138955 w 143199"/>
                <a:gd name="connsiteY0" fmla="*/ 733 h 1822059"/>
                <a:gd name="connsiteX1" fmla="*/ 138727 w 143199"/>
                <a:gd name="connsiteY1" fmla="*/ 10198 h 1822059"/>
                <a:gd name="connsiteX2" fmla="*/ 138499 w 143199"/>
                <a:gd name="connsiteY2" fmla="*/ 37571 h 1822059"/>
                <a:gd name="connsiteX3" fmla="*/ 138030 w 143199"/>
                <a:gd name="connsiteY3" fmla="*/ 142560 h 1822059"/>
                <a:gd name="connsiteX4" fmla="*/ 137053 w 143199"/>
                <a:gd name="connsiteY4" fmla="*/ 529421 h 1822059"/>
                <a:gd name="connsiteX5" fmla="*/ 135659 w 143199"/>
                <a:gd name="connsiteY5" fmla="*/ 1818278 h 1822059"/>
                <a:gd name="connsiteX6" fmla="*/ 138955 w 143199"/>
                <a:gd name="connsiteY6" fmla="*/ 1814992 h 1822059"/>
                <a:gd name="connsiteX7" fmla="*/ 2450 w 143199"/>
                <a:gd name="connsiteY7" fmla="*/ 1814979 h 1822059"/>
                <a:gd name="connsiteX8" fmla="*/ 2349 w 143199"/>
                <a:gd name="connsiteY8" fmla="*/ 1814979 h 1822059"/>
                <a:gd name="connsiteX9" fmla="*/ 5658 w 143199"/>
                <a:gd name="connsiteY9" fmla="*/ 1818278 h 1822059"/>
                <a:gd name="connsiteX10" fmla="*/ 3554 w 143199"/>
                <a:gd name="connsiteY10" fmla="*/ 733 h 1822059"/>
                <a:gd name="connsiteX11" fmla="*/ 2349 w 143199"/>
                <a:gd name="connsiteY11" fmla="*/ 1928 h 1822059"/>
                <a:gd name="connsiteX12" fmla="*/ 103960 w 143199"/>
                <a:gd name="connsiteY12" fmla="*/ 1239 h 1822059"/>
                <a:gd name="connsiteX13" fmla="*/ 130016 w 143199"/>
                <a:gd name="connsiteY13" fmla="*/ 961 h 1822059"/>
                <a:gd name="connsiteX14" fmla="*/ 138955 w 143199"/>
                <a:gd name="connsiteY14" fmla="*/ 733 h 1822059"/>
                <a:gd name="connsiteX15" fmla="*/ 130447 w 143199"/>
                <a:gd name="connsiteY15" fmla="*/ 491 h 1822059"/>
                <a:gd name="connsiteX16" fmla="*/ 104658 w 143199"/>
                <a:gd name="connsiteY16" fmla="*/ 213 h 1822059"/>
                <a:gd name="connsiteX17" fmla="*/ 2349 w 143199"/>
                <a:gd name="connsiteY17" fmla="*/ -471 h 1822059"/>
                <a:gd name="connsiteX18" fmla="*/ 1157 w 143199"/>
                <a:gd name="connsiteY18" fmla="*/ -471 h 1822059"/>
                <a:gd name="connsiteX19" fmla="*/ 1157 w 143199"/>
                <a:gd name="connsiteY19" fmla="*/ 733 h 1822059"/>
                <a:gd name="connsiteX20" fmla="*/ -948 w 143199"/>
                <a:gd name="connsiteY20" fmla="*/ 1818278 h 1822059"/>
                <a:gd name="connsiteX21" fmla="*/ -948 w 143199"/>
                <a:gd name="connsiteY21" fmla="*/ 1821589 h 1822059"/>
                <a:gd name="connsiteX22" fmla="*/ 2349 w 143199"/>
                <a:gd name="connsiteY22" fmla="*/ 1821589 h 1822059"/>
                <a:gd name="connsiteX23" fmla="*/ 2450 w 143199"/>
                <a:gd name="connsiteY23" fmla="*/ 1821589 h 1822059"/>
                <a:gd name="connsiteX24" fmla="*/ 138955 w 143199"/>
                <a:gd name="connsiteY24" fmla="*/ 1821576 h 1822059"/>
                <a:gd name="connsiteX25" fmla="*/ 142252 w 143199"/>
                <a:gd name="connsiteY25" fmla="*/ 1821576 h 1822059"/>
                <a:gd name="connsiteX26" fmla="*/ 142252 w 143199"/>
                <a:gd name="connsiteY26" fmla="*/ 1818278 h 1822059"/>
                <a:gd name="connsiteX27" fmla="*/ 140857 w 143199"/>
                <a:gd name="connsiteY27" fmla="*/ 527009 h 1822059"/>
                <a:gd name="connsiteX28" fmla="*/ 139868 w 143199"/>
                <a:gd name="connsiteY28" fmla="*/ 140924 h 1822059"/>
                <a:gd name="connsiteX29" fmla="*/ 139412 w 143199"/>
                <a:gd name="connsiteY29" fmla="*/ 36684 h 1822059"/>
                <a:gd name="connsiteX30" fmla="*/ 139183 w 143199"/>
                <a:gd name="connsiteY30" fmla="*/ 9742 h 1822059"/>
                <a:gd name="connsiteX31" fmla="*/ 138955 w 143199"/>
                <a:gd name="connsiteY31" fmla="*/ 733 h 1822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3199" h="1822059">
                  <a:moveTo>
                    <a:pt x="138955" y="733"/>
                  </a:moveTo>
                  <a:cubicBezTo>
                    <a:pt x="138955" y="733"/>
                    <a:pt x="138803" y="4003"/>
                    <a:pt x="138727" y="10198"/>
                  </a:cubicBezTo>
                  <a:cubicBezTo>
                    <a:pt x="138676" y="16551"/>
                    <a:pt x="138600" y="25673"/>
                    <a:pt x="138499" y="37571"/>
                  </a:cubicBezTo>
                  <a:cubicBezTo>
                    <a:pt x="138385" y="61738"/>
                    <a:pt x="138232" y="97055"/>
                    <a:pt x="138030" y="142560"/>
                  </a:cubicBezTo>
                  <a:cubicBezTo>
                    <a:pt x="137801" y="233807"/>
                    <a:pt x="137459" y="365738"/>
                    <a:pt x="137053" y="529421"/>
                  </a:cubicBezTo>
                  <a:cubicBezTo>
                    <a:pt x="136698" y="856567"/>
                    <a:pt x="136204" y="1310460"/>
                    <a:pt x="135659" y="1818278"/>
                  </a:cubicBezTo>
                  <a:lnTo>
                    <a:pt x="138955" y="1814992"/>
                  </a:lnTo>
                  <a:cubicBezTo>
                    <a:pt x="95579" y="1814979"/>
                    <a:pt x="49199" y="1814979"/>
                    <a:pt x="2450" y="1814979"/>
                  </a:cubicBezTo>
                  <a:lnTo>
                    <a:pt x="2349" y="1814979"/>
                  </a:lnTo>
                  <a:lnTo>
                    <a:pt x="5658" y="1818278"/>
                  </a:lnTo>
                  <a:cubicBezTo>
                    <a:pt x="4695" y="989057"/>
                    <a:pt x="3871" y="280947"/>
                    <a:pt x="3554" y="733"/>
                  </a:cubicBezTo>
                  <a:lnTo>
                    <a:pt x="2349" y="1928"/>
                  </a:lnTo>
                  <a:cubicBezTo>
                    <a:pt x="46942" y="1621"/>
                    <a:pt x="80922" y="1393"/>
                    <a:pt x="103960" y="1239"/>
                  </a:cubicBezTo>
                  <a:cubicBezTo>
                    <a:pt x="115359" y="1115"/>
                    <a:pt x="124006" y="1026"/>
                    <a:pt x="130016" y="961"/>
                  </a:cubicBezTo>
                  <a:cubicBezTo>
                    <a:pt x="135874" y="873"/>
                    <a:pt x="138955" y="733"/>
                    <a:pt x="138955" y="733"/>
                  </a:cubicBezTo>
                  <a:cubicBezTo>
                    <a:pt x="138955" y="733"/>
                    <a:pt x="136178" y="580"/>
                    <a:pt x="130447" y="491"/>
                  </a:cubicBezTo>
                  <a:cubicBezTo>
                    <a:pt x="124488" y="431"/>
                    <a:pt x="115930" y="342"/>
                    <a:pt x="104658" y="213"/>
                  </a:cubicBezTo>
                  <a:cubicBezTo>
                    <a:pt x="81455" y="59"/>
                    <a:pt x="47246" y="-169"/>
                    <a:pt x="2349" y="-471"/>
                  </a:cubicBezTo>
                  <a:lnTo>
                    <a:pt x="1157" y="-471"/>
                  </a:lnTo>
                  <a:lnTo>
                    <a:pt x="1157" y="733"/>
                  </a:lnTo>
                  <a:cubicBezTo>
                    <a:pt x="827" y="280947"/>
                    <a:pt x="16" y="989057"/>
                    <a:pt x="-948" y="1818278"/>
                  </a:cubicBezTo>
                  <a:lnTo>
                    <a:pt x="-948" y="1821589"/>
                  </a:lnTo>
                  <a:lnTo>
                    <a:pt x="2349" y="1821589"/>
                  </a:lnTo>
                  <a:lnTo>
                    <a:pt x="2450" y="1821589"/>
                  </a:lnTo>
                  <a:cubicBezTo>
                    <a:pt x="49199" y="1821576"/>
                    <a:pt x="95579" y="1821576"/>
                    <a:pt x="138955" y="1821576"/>
                  </a:cubicBezTo>
                  <a:lnTo>
                    <a:pt x="142252" y="1821576"/>
                  </a:lnTo>
                  <a:lnTo>
                    <a:pt x="142252" y="1818278"/>
                  </a:lnTo>
                  <a:cubicBezTo>
                    <a:pt x="141694" y="1309508"/>
                    <a:pt x="141212" y="854768"/>
                    <a:pt x="140857" y="527009"/>
                  </a:cubicBezTo>
                  <a:cubicBezTo>
                    <a:pt x="140439" y="363641"/>
                    <a:pt x="140109" y="231978"/>
                    <a:pt x="139868" y="140924"/>
                  </a:cubicBezTo>
                  <a:cubicBezTo>
                    <a:pt x="139678" y="95737"/>
                    <a:pt x="139513" y="60673"/>
                    <a:pt x="139412" y="36684"/>
                  </a:cubicBezTo>
                  <a:cubicBezTo>
                    <a:pt x="139310" y="24965"/>
                    <a:pt x="139234" y="15996"/>
                    <a:pt x="139183" y="9742"/>
                  </a:cubicBezTo>
                  <a:cubicBezTo>
                    <a:pt x="139107" y="3701"/>
                    <a:pt x="138955" y="733"/>
                    <a:pt x="138955" y="733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9" name="Vrije vorm 848">
              <a:extLst>
                <a:ext uri="{FF2B5EF4-FFF2-40B4-BE49-F238E27FC236}">
                  <a16:creationId xmlns:a16="http://schemas.microsoft.com/office/drawing/2014/main" id="{3FEFA931-CEFE-0019-2A09-A5625D57F840}"/>
                </a:ext>
              </a:extLst>
            </p:cNvPr>
            <p:cNvSpPr/>
            <p:nvPr/>
          </p:nvSpPr>
          <p:spPr>
            <a:xfrm flipV="1">
              <a:off x="4610610" y="3714952"/>
              <a:ext cx="4322350" cy="221503"/>
            </a:xfrm>
            <a:custGeom>
              <a:avLst/>
              <a:gdLst>
                <a:gd name="connsiteX0" fmla="*/ -1511 w 4322350"/>
                <a:gd name="connsiteY0" fmla="*/ -1261 h 221503"/>
                <a:gd name="connsiteX1" fmla="*/ 4320840 w 4322350"/>
                <a:gd name="connsiteY1" fmla="*/ -1261 h 221503"/>
                <a:gd name="connsiteX2" fmla="*/ 4320840 w 4322350"/>
                <a:gd name="connsiteY2" fmla="*/ 220243 h 221503"/>
                <a:gd name="connsiteX3" fmla="*/ -1511 w 4322350"/>
                <a:gd name="connsiteY3" fmla="*/ 220243 h 22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2350" h="221503">
                  <a:moveTo>
                    <a:pt x="-1511" y="-1261"/>
                  </a:moveTo>
                  <a:lnTo>
                    <a:pt x="4320840" y="-1261"/>
                  </a:lnTo>
                  <a:lnTo>
                    <a:pt x="4320840" y="220243"/>
                  </a:lnTo>
                  <a:lnTo>
                    <a:pt x="-1511" y="220243"/>
                  </a:lnTo>
                  <a:close/>
                </a:path>
              </a:pathLst>
            </a:custGeom>
            <a:solidFill>
              <a:srgbClr val="6F3530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0" name="Vrije vorm 849">
              <a:extLst>
                <a:ext uri="{FF2B5EF4-FFF2-40B4-BE49-F238E27FC236}">
                  <a16:creationId xmlns:a16="http://schemas.microsoft.com/office/drawing/2014/main" id="{681F29B6-B2BF-B4A0-4A40-6450641432B6}"/>
                </a:ext>
              </a:extLst>
            </p:cNvPr>
            <p:cNvSpPr/>
            <p:nvPr/>
          </p:nvSpPr>
          <p:spPr>
            <a:xfrm flipV="1">
              <a:off x="4617470" y="3715384"/>
              <a:ext cx="1170478" cy="220640"/>
            </a:xfrm>
            <a:custGeom>
              <a:avLst/>
              <a:gdLst>
                <a:gd name="connsiteX0" fmla="*/ -439 w 1170478"/>
                <a:gd name="connsiteY0" fmla="*/ -1261 h 220640"/>
                <a:gd name="connsiteX1" fmla="*/ 1170040 w 1170478"/>
                <a:gd name="connsiteY1" fmla="*/ -1261 h 220640"/>
                <a:gd name="connsiteX2" fmla="*/ 1170040 w 1170478"/>
                <a:gd name="connsiteY2" fmla="*/ 219380 h 220640"/>
                <a:gd name="connsiteX3" fmla="*/ -439 w 1170478"/>
                <a:gd name="connsiteY3" fmla="*/ 219380 h 220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78" h="220640">
                  <a:moveTo>
                    <a:pt x="-439" y="-1261"/>
                  </a:moveTo>
                  <a:lnTo>
                    <a:pt x="1170040" y="-1261"/>
                  </a:lnTo>
                  <a:lnTo>
                    <a:pt x="1170040" y="219380"/>
                  </a:lnTo>
                  <a:lnTo>
                    <a:pt x="-439" y="219380"/>
                  </a:lnTo>
                  <a:close/>
                </a:path>
              </a:pathLst>
            </a:custGeom>
            <a:solidFill>
              <a:srgbClr val="461F1E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1" name="Vrije vorm 850">
              <a:extLst>
                <a:ext uri="{FF2B5EF4-FFF2-40B4-BE49-F238E27FC236}">
                  <a16:creationId xmlns:a16="http://schemas.microsoft.com/office/drawing/2014/main" id="{77596A3D-B6DD-27E0-9609-A0072DD76AC6}"/>
                </a:ext>
              </a:extLst>
            </p:cNvPr>
            <p:cNvSpPr/>
            <p:nvPr/>
          </p:nvSpPr>
          <p:spPr>
            <a:xfrm flipV="1">
              <a:off x="5418783" y="3399689"/>
              <a:ext cx="324955" cy="128086"/>
            </a:xfrm>
            <a:custGeom>
              <a:avLst/>
              <a:gdLst>
                <a:gd name="connsiteX0" fmla="*/ -697 w 324955"/>
                <a:gd name="connsiteY0" fmla="*/ -1584 h 128086"/>
                <a:gd name="connsiteX1" fmla="*/ 324258 w 324955"/>
                <a:gd name="connsiteY1" fmla="*/ -1584 h 128086"/>
                <a:gd name="connsiteX2" fmla="*/ 324258 w 324955"/>
                <a:gd name="connsiteY2" fmla="*/ 126503 h 128086"/>
                <a:gd name="connsiteX3" fmla="*/ -697 w 324955"/>
                <a:gd name="connsiteY3" fmla="*/ 126503 h 128086"/>
                <a:gd name="connsiteX4" fmla="*/ -697 w 324955"/>
                <a:gd name="connsiteY4" fmla="*/ -1584 h 128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955" h="128086">
                  <a:moveTo>
                    <a:pt x="-697" y="-1584"/>
                  </a:moveTo>
                  <a:lnTo>
                    <a:pt x="324258" y="-1584"/>
                  </a:lnTo>
                  <a:lnTo>
                    <a:pt x="324258" y="126503"/>
                  </a:lnTo>
                  <a:lnTo>
                    <a:pt x="-697" y="126503"/>
                  </a:lnTo>
                  <a:lnTo>
                    <a:pt x="-697" y="-1584"/>
                  </a:lnTo>
                </a:path>
              </a:pathLst>
            </a:custGeom>
            <a:solidFill>
              <a:srgbClr val="E7E8E5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2" name="Vrije vorm 851">
              <a:extLst>
                <a:ext uri="{FF2B5EF4-FFF2-40B4-BE49-F238E27FC236}">
                  <a16:creationId xmlns:a16="http://schemas.microsoft.com/office/drawing/2014/main" id="{F5E50D47-84C0-F7AD-4249-16A163C790C3}"/>
                </a:ext>
              </a:extLst>
            </p:cNvPr>
            <p:cNvSpPr/>
            <p:nvPr/>
          </p:nvSpPr>
          <p:spPr>
            <a:xfrm flipV="1">
              <a:off x="4736719" y="3377692"/>
              <a:ext cx="1020555" cy="26830"/>
            </a:xfrm>
            <a:custGeom>
              <a:avLst/>
              <a:gdLst>
                <a:gd name="connsiteX0" fmla="*/ -469 w 1020555"/>
                <a:gd name="connsiteY0" fmla="*/ -1649 h 26830"/>
                <a:gd name="connsiteX1" fmla="*/ 1020087 w 1020555"/>
                <a:gd name="connsiteY1" fmla="*/ -1649 h 26830"/>
                <a:gd name="connsiteX2" fmla="*/ 1020087 w 1020555"/>
                <a:gd name="connsiteY2" fmla="*/ 25181 h 26830"/>
                <a:gd name="connsiteX3" fmla="*/ -469 w 1020555"/>
                <a:gd name="connsiteY3" fmla="*/ 25181 h 26830"/>
                <a:gd name="connsiteX4" fmla="*/ -469 w 1020555"/>
                <a:gd name="connsiteY4" fmla="*/ -1649 h 26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0555" h="26830">
                  <a:moveTo>
                    <a:pt x="-469" y="-1649"/>
                  </a:moveTo>
                  <a:lnTo>
                    <a:pt x="1020087" y="-1649"/>
                  </a:lnTo>
                  <a:lnTo>
                    <a:pt x="1020087" y="25181"/>
                  </a:lnTo>
                  <a:lnTo>
                    <a:pt x="-469" y="25181"/>
                  </a:lnTo>
                  <a:lnTo>
                    <a:pt x="-469" y="-1649"/>
                  </a:ln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3" name="Vrije vorm 852">
              <a:extLst>
                <a:ext uri="{FF2B5EF4-FFF2-40B4-BE49-F238E27FC236}">
                  <a16:creationId xmlns:a16="http://schemas.microsoft.com/office/drawing/2014/main" id="{4A556F99-BAD5-44DF-E26F-3E0C3C10C45F}"/>
                </a:ext>
              </a:extLst>
            </p:cNvPr>
            <p:cNvSpPr/>
            <p:nvPr/>
          </p:nvSpPr>
          <p:spPr>
            <a:xfrm flipV="1">
              <a:off x="4736719" y="3522068"/>
              <a:ext cx="1015826" cy="26830"/>
            </a:xfrm>
            <a:custGeom>
              <a:avLst/>
              <a:gdLst>
                <a:gd name="connsiteX0" fmla="*/ -467 w 1015826"/>
                <a:gd name="connsiteY0" fmla="*/ -1520 h 26830"/>
                <a:gd name="connsiteX1" fmla="*/ 1015359 w 1015826"/>
                <a:gd name="connsiteY1" fmla="*/ -1520 h 26830"/>
                <a:gd name="connsiteX2" fmla="*/ 1015359 w 1015826"/>
                <a:gd name="connsiteY2" fmla="*/ 25310 h 26830"/>
                <a:gd name="connsiteX3" fmla="*/ -467 w 1015826"/>
                <a:gd name="connsiteY3" fmla="*/ 25310 h 26830"/>
                <a:gd name="connsiteX4" fmla="*/ -467 w 1015826"/>
                <a:gd name="connsiteY4" fmla="*/ -1520 h 26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5826" h="26830">
                  <a:moveTo>
                    <a:pt x="-467" y="-1520"/>
                  </a:moveTo>
                  <a:lnTo>
                    <a:pt x="1015359" y="-1520"/>
                  </a:lnTo>
                  <a:lnTo>
                    <a:pt x="1015359" y="25310"/>
                  </a:lnTo>
                  <a:lnTo>
                    <a:pt x="-467" y="25310"/>
                  </a:lnTo>
                  <a:lnTo>
                    <a:pt x="-467" y="-1520"/>
                  </a:ln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4" name="Vrije vorm 853">
              <a:extLst>
                <a:ext uri="{FF2B5EF4-FFF2-40B4-BE49-F238E27FC236}">
                  <a16:creationId xmlns:a16="http://schemas.microsoft.com/office/drawing/2014/main" id="{5351B29F-4EB0-0D14-A262-0C6072A81C21}"/>
                </a:ext>
              </a:extLst>
            </p:cNvPr>
            <p:cNvSpPr/>
            <p:nvPr/>
          </p:nvSpPr>
          <p:spPr>
            <a:xfrm flipV="1">
              <a:off x="4736719" y="3384073"/>
              <a:ext cx="682063" cy="159711"/>
            </a:xfrm>
            <a:custGeom>
              <a:avLst/>
              <a:gdLst>
                <a:gd name="connsiteX0" fmla="*/ 681711 w 682063"/>
                <a:gd name="connsiteY0" fmla="*/ 158128 h 159711"/>
                <a:gd name="connsiteX1" fmla="*/ 680175 w 682063"/>
                <a:gd name="connsiteY1" fmla="*/ -1584 h 159711"/>
                <a:gd name="connsiteX2" fmla="*/ -353 w 682063"/>
                <a:gd name="connsiteY2" fmla="*/ -1584 h 159711"/>
                <a:gd name="connsiteX3" fmla="*/ -353 w 682063"/>
                <a:gd name="connsiteY3" fmla="*/ 158128 h 159711"/>
                <a:gd name="connsiteX4" fmla="*/ 681711 w 682063"/>
                <a:gd name="connsiteY4" fmla="*/ 158128 h 15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2063" h="159711">
                  <a:moveTo>
                    <a:pt x="681711" y="158128"/>
                  </a:moveTo>
                  <a:lnTo>
                    <a:pt x="680175" y="-1584"/>
                  </a:lnTo>
                  <a:lnTo>
                    <a:pt x="-353" y="-1584"/>
                  </a:lnTo>
                  <a:lnTo>
                    <a:pt x="-353" y="158128"/>
                  </a:lnTo>
                  <a:lnTo>
                    <a:pt x="681711" y="158128"/>
                  </a:ln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5" name="Vrije vorm 854">
              <a:extLst>
                <a:ext uri="{FF2B5EF4-FFF2-40B4-BE49-F238E27FC236}">
                  <a16:creationId xmlns:a16="http://schemas.microsoft.com/office/drawing/2014/main" id="{0F1A0202-EA95-2309-5DA9-CA0E98D78E01}"/>
                </a:ext>
              </a:extLst>
            </p:cNvPr>
            <p:cNvSpPr/>
            <p:nvPr/>
          </p:nvSpPr>
          <p:spPr>
            <a:xfrm flipV="1">
              <a:off x="5253384" y="3424020"/>
              <a:ext cx="73573" cy="79488"/>
            </a:xfrm>
            <a:custGeom>
              <a:avLst/>
              <a:gdLst>
                <a:gd name="connsiteX0" fmla="*/ -498 w 73573"/>
                <a:gd name="connsiteY0" fmla="*/ 38160 h 79488"/>
                <a:gd name="connsiteX1" fmla="*/ 36292 w 73573"/>
                <a:gd name="connsiteY1" fmla="*/ -1584 h 79488"/>
                <a:gd name="connsiteX2" fmla="*/ 73076 w 73573"/>
                <a:gd name="connsiteY2" fmla="*/ 38160 h 79488"/>
                <a:gd name="connsiteX3" fmla="*/ 36292 w 73573"/>
                <a:gd name="connsiteY3" fmla="*/ 77904 h 79488"/>
                <a:gd name="connsiteX4" fmla="*/ -498 w 73573"/>
                <a:gd name="connsiteY4" fmla="*/ 38160 h 79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73" h="79488">
                  <a:moveTo>
                    <a:pt x="-498" y="38160"/>
                  </a:moveTo>
                  <a:cubicBezTo>
                    <a:pt x="-498" y="16201"/>
                    <a:pt x="15969" y="-1584"/>
                    <a:pt x="36292" y="-1584"/>
                  </a:cubicBezTo>
                  <a:cubicBezTo>
                    <a:pt x="56608" y="-1584"/>
                    <a:pt x="73076" y="16201"/>
                    <a:pt x="73076" y="38160"/>
                  </a:cubicBezTo>
                  <a:cubicBezTo>
                    <a:pt x="73076" y="60106"/>
                    <a:pt x="56608" y="77904"/>
                    <a:pt x="36292" y="77904"/>
                  </a:cubicBezTo>
                  <a:cubicBezTo>
                    <a:pt x="15969" y="77904"/>
                    <a:pt x="-498" y="60106"/>
                    <a:pt x="-498" y="38160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6" name="Vrije vorm 855">
              <a:extLst>
                <a:ext uri="{FF2B5EF4-FFF2-40B4-BE49-F238E27FC236}">
                  <a16:creationId xmlns:a16="http://schemas.microsoft.com/office/drawing/2014/main" id="{431AB317-2966-3B4A-C515-7BE4412D8A61}"/>
                </a:ext>
              </a:extLst>
            </p:cNvPr>
            <p:cNvSpPr/>
            <p:nvPr/>
          </p:nvSpPr>
          <p:spPr>
            <a:xfrm flipV="1">
              <a:off x="5247683" y="3418312"/>
              <a:ext cx="84975" cy="90905"/>
            </a:xfrm>
            <a:custGeom>
              <a:avLst/>
              <a:gdLst>
                <a:gd name="connsiteX0" fmla="*/ 10913 w 84975"/>
                <a:gd name="connsiteY0" fmla="*/ 43869 h 90905"/>
                <a:gd name="connsiteX1" fmla="*/ 41996 w 84975"/>
                <a:gd name="connsiteY1" fmla="*/ 9833 h 90905"/>
                <a:gd name="connsiteX2" fmla="*/ 73065 w 84975"/>
                <a:gd name="connsiteY2" fmla="*/ 43869 h 90905"/>
                <a:gd name="connsiteX3" fmla="*/ 41996 w 84975"/>
                <a:gd name="connsiteY3" fmla="*/ 77891 h 90905"/>
                <a:gd name="connsiteX4" fmla="*/ 10913 w 84975"/>
                <a:gd name="connsiteY4" fmla="*/ 43869 h 90905"/>
                <a:gd name="connsiteX5" fmla="*/ -498 w 84975"/>
                <a:gd name="connsiteY5" fmla="*/ 43869 h 90905"/>
                <a:gd name="connsiteX6" fmla="*/ 41996 w 84975"/>
                <a:gd name="connsiteY6" fmla="*/ 89321 h 90905"/>
                <a:gd name="connsiteX7" fmla="*/ 84477 w 84975"/>
                <a:gd name="connsiteY7" fmla="*/ 43869 h 90905"/>
                <a:gd name="connsiteX8" fmla="*/ 41996 w 84975"/>
                <a:gd name="connsiteY8" fmla="*/ -1584 h 90905"/>
                <a:gd name="connsiteX9" fmla="*/ -498 w 84975"/>
                <a:gd name="connsiteY9" fmla="*/ 43869 h 90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975" h="90905">
                  <a:moveTo>
                    <a:pt x="10913" y="43869"/>
                  </a:moveTo>
                  <a:cubicBezTo>
                    <a:pt x="10913" y="25094"/>
                    <a:pt x="24860" y="9833"/>
                    <a:pt x="41996" y="9833"/>
                  </a:cubicBezTo>
                  <a:cubicBezTo>
                    <a:pt x="59128" y="9833"/>
                    <a:pt x="73065" y="25094"/>
                    <a:pt x="73065" y="43869"/>
                  </a:cubicBezTo>
                  <a:cubicBezTo>
                    <a:pt x="73065" y="62631"/>
                    <a:pt x="59128" y="77891"/>
                    <a:pt x="41996" y="77891"/>
                  </a:cubicBezTo>
                  <a:cubicBezTo>
                    <a:pt x="24860" y="77891"/>
                    <a:pt x="10913" y="62631"/>
                    <a:pt x="10913" y="43869"/>
                  </a:cubicBezTo>
                  <a:close/>
                  <a:moveTo>
                    <a:pt x="-498" y="43869"/>
                  </a:moveTo>
                  <a:cubicBezTo>
                    <a:pt x="-498" y="68923"/>
                    <a:pt x="18565" y="89321"/>
                    <a:pt x="41996" y="89321"/>
                  </a:cubicBezTo>
                  <a:cubicBezTo>
                    <a:pt x="65413" y="89321"/>
                    <a:pt x="84477" y="68923"/>
                    <a:pt x="84477" y="43869"/>
                  </a:cubicBezTo>
                  <a:cubicBezTo>
                    <a:pt x="84477" y="18802"/>
                    <a:pt x="65413" y="-1584"/>
                    <a:pt x="41996" y="-1584"/>
                  </a:cubicBezTo>
                  <a:cubicBezTo>
                    <a:pt x="18565" y="-1584"/>
                    <a:pt x="-498" y="18802"/>
                    <a:pt x="-498" y="43869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7" name="Vrije vorm 856">
              <a:extLst>
                <a:ext uri="{FF2B5EF4-FFF2-40B4-BE49-F238E27FC236}">
                  <a16:creationId xmlns:a16="http://schemas.microsoft.com/office/drawing/2014/main" id="{DB5ED990-A96D-E947-2FA7-3D6851FBFDB9}"/>
                </a:ext>
              </a:extLst>
            </p:cNvPr>
            <p:cNvSpPr/>
            <p:nvPr/>
          </p:nvSpPr>
          <p:spPr>
            <a:xfrm flipV="1">
              <a:off x="5443201" y="3493398"/>
              <a:ext cx="298240" cy="5949"/>
            </a:xfrm>
            <a:custGeom>
              <a:avLst/>
              <a:gdLst>
                <a:gd name="connsiteX0" fmla="*/ -705 w 298240"/>
                <a:gd name="connsiteY0" fmla="*/ 1414 h 5949"/>
                <a:gd name="connsiteX1" fmla="*/ 148409 w 298240"/>
                <a:gd name="connsiteY1" fmla="*/ -1555 h 5949"/>
                <a:gd name="connsiteX2" fmla="*/ 297535 w 298240"/>
                <a:gd name="connsiteY2" fmla="*/ 1414 h 5949"/>
                <a:gd name="connsiteX3" fmla="*/ 148409 w 298240"/>
                <a:gd name="connsiteY3" fmla="*/ 4395 h 5949"/>
                <a:gd name="connsiteX4" fmla="*/ -705 w 298240"/>
                <a:gd name="connsiteY4" fmla="*/ 1414 h 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240" h="5949">
                  <a:moveTo>
                    <a:pt x="-705" y="1414"/>
                  </a:moveTo>
                  <a:cubicBezTo>
                    <a:pt x="-705" y="-223"/>
                    <a:pt x="66064" y="-1555"/>
                    <a:pt x="148409" y="-1555"/>
                  </a:cubicBezTo>
                  <a:cubicBezTo>
                    <a:pt x="230780" y="-1555"/>
                    <a:pt x="297535" y="-223"/>
                    <a:pt x="297535" y="1414"/>
                  </a:cubicBezTo>
                  <a:cubicBezTo>
                    <a:pt x="297535" y="3063"/>
                    <a:pt x="230780" y="4395"/>
                    <a:pt x="148409" y="4395"/>
                  </a:cubicBezTo>
                  <a:cubicBezTo>
                    <a:pt x="66064" y="4395"/>
                    <a:pt x="-705" y="3063"/>
                    <a:pt x="-705" y="141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8" name="Vrije vorm 857">
              <a:extLst>
                <a:ext uri="{FF2B5EF4-FFF2-40B4-BE49-F238E27FC236}">
                  <a16:creationId xmlns:a16="http://schemas.microsoft.com/office/drawing/2014/main" id="{60717A74-E81E-BCCA-515C-37D2E61D7E11}"/>
                </a:ext>
              </a:extLst>
            </p:cNvPr>
            <p:cNvSpPr/>
            <p:nvPr/>
          </p:nvSpPr>
          <p:spPr>
            <a:xfrm flipV="1">
              <a:off x="5443201" y="3471084"/>
              <a:ext cx="298240" cy="5949"/>
            </a:xfrm>
            <a:custGeom>
              <a:avLst/>
              <a:gdLst>
                <a:gd name="connsiteX0" fmla="*/ -705 w 298240"/>
                <a:gd name="connsiteY0" fmla="*/ 1394 h 5949"/>
                <a:gd name="connsiteX1" fmla="*/ 148409 w 298240"/>
                <a:gd name="connsiteY1" fmla="*/ -1575 h 5949"/>
                <a:gd name="connsiteX2" fmla="*/ 297535 w 298240"/>
                <a:gd name="connsiteY2" fmla="*/ 1394 h 5949"/>
                <a:gd name="connsiteX3" fmla="*/ 148409 w 298240"/>
                <a:gd name="connsiteY3" fmla="*/ 4375 h 5949"/>
                <a:gd name="connsiteX4" fmla="*/ -705 w 298240"/>
                <a:gd name="connsiteY4" fmla="*/ 1394 h 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240" h="5949">
                  <a:moveTo>
                    <a:pt x="-705" y="1394"/>
                  </a:moveTo>
                  <a:cubicBezTo>
                    <a:pt x="-705" y="-243"/>
                    <a:pt x="66064" y="-1575"/>
                    <a:pt x="148409" y="-1575"/>
                  </a:cubicBezTo>
                  <a:cubicBezTo>
                    <a:pt x="230780" y="-1575"/>
                    <a:pt x="297535" y="-243"/>
                    <a:pt x="297535" y="1394"/>
                  </a:cubicBezTo>
                  <a:cubicBezTo>
                    <a:pt x="297535" y="3043"/>
                    <a:pt x="230780" y="4375"/>
                    <a:pt x="148409" y="4375"/>
                  </a:cubicBezTo>
                  <a:cubicBezTo>
                    <a:pt x="66064" y="4375"/>
                    <a:pt x="-705" y="3043"/>
                    <a:pt x="-705" y="139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9" name="Vrije vorm 858">
              <a:extLst>
                <a:ext uri="{FF2B5EF4-FFF2-40B4-BE49-F238E27FC236}">
                  <a16:creationId xmlns:a16="http://schemas.microsoft.com/office/drawing/2014/main" id="{C45BA6AC-6D8E-D9E4-5CBD-6102C9232A82}"/>
                </a:ext>
              </a:extLst>
            </p:cNvPr>
            <p:cNvSpPr/>
            <p:nvPr/>
          </p:nvSpPr>
          <p:spPr>
            <a:xfrm flipV="1">
              <a:off x="5443201" y="3448770"/>
              <a:ext cx="298240" cy="5949"/>
            </a:xfrm>
            <a:custGeom>
              <a:avLst/>
              <a:gdLst>
                <a:gd name="connsiteX0" fmla="*/ -705 w 298240"/>
                <a:gd name="connsiteY0" fmla="*/ 1374 h 5949"/>
                <a:gd name="connsiteX1" fmla="*/ 148409 w 298240"/>
                <a:gd name="connsiteY1" fmla="*/ -1595 h 5949"/>
                <a:gd name="connsiteX2" fmla="*/ 297535 w 298240"/>
                <a:gd name="connsiteY2" fmla="*/ 1374 h 5949"/>
                <a:gd name="connsiteX3" fmla="*/ 148409 w 298240"/>
                <a:gd name="connsiteY3" fmla="*/ 4355 h 5949"/>
                <a:gd name="connsiteX4" fmla="*/ -705 w 298240"/>
                <a:gd name="connsiteY4" fmla="*/ 1374 h 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240" h="5949">
                  <a:moveTo>
                    <a:pt x="-705" y="1374"/>
                  </a:moveTo>
                  <a:cubicBezTo>
                    <a:pt x="-705" y="-263"/>
                    <a:pt x="66064" y="-1595"/>
                    <a:pt x="148409" y="-1595"/>
                  </a:cubicBezTo>
                  <a:cubicBezTo>
                    <a:pt x="230780" y="-1595"/>
                    <a:pt x="297535" y="-263"/>
                    <a:pt x="297535" y="1374"/>
                  </a:cubicBezTo>
                  <a:cubicBezTo>
                    <a:pt x="297535" y="3023"/>
                    <a:pt x="230780" y="4355"/>
                    <a:pt x="148409" y="4355"/>
                  </a:cubicBezTo>
                  <a:cubicBezTo>
                    <a:pt x="66064" y="4355"/>
                    <a:pt x="-705" y="3023"/>
                    <a:pt x="-705" y="137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0" name="Vrije vorm 859">
              <a:extLst>
                <a:ext uri="{FF2B5EF4-FFF2-40B4-BE49-F238E27FC236}">
                  <a16:creationId xmlns:a16="http://schemas.microsoft.com/office/drawing/2014/main" id="{22AB4517-81C9-4BB4-41A7-E9DA7BF717FA}"/>
                </a:ext>
              </a:extLst>
            </p:cNvPr>
            <p:cNvSpPr/>
            <p:nvPr/>
          </p:nvSpPr>
          <p:spPr>
            <a:xfrm flipV="1">
              <a:off x="5443201" y="3426456"/>
              <a:ext cx="298240" cy="5949"/>
            </a:xfrm>
            <a:custGeom>
              <a:avLst/>
              <a:gdLst>
                <a:gd name="connsiteX0" fmla="*/ -705 w 298240"/>
                <a:gd name="connsiteY0" fmla="*/ 1354 h 5949"/>
                <a:gd name="connsiteX1" fmla="*/ 148409 w 298240"/>
                <a:gd name="connsiteY1" fmla="*/ -1615 h 5949"/>
                <a:gd name="connsiteX2" fmla="*/ 297535 w 298240"/>
                <a:gd name="connsiteY2" fmla="*/ 1354 h 5949"/>
                <a:gd name="connsiteX3" fmla="*/ 148409 w 298240"/>
                <a:gd name="connsiteY3" fmla="*/ 4335 h 5949"/>
                <a:gd name="connsiteX4" fmla="*/ -705 w 298240"/>
                <a:gd name="connsiteY4" fmla="*/ 1354 h 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240" h="5949">
                  <a:moveTo>
                    <a:pt x="-705" y="1354"/>
                  </a:moveTo>
                  <a:cubicBezTo>
                    <a:pt x="-705" y="-283"/>
                    <a:pt x="66064" y="-1615"/>
                    <a:pt x="148409" y="-1615"/>
                  </a:cubicBezTo>
                  <a:cubicBezTo>
                    <a:pt x="230780" y="-1615"/>
                    <a:pt x="297535" y="-283"/>
                    <a:pt x="297535" y="1354"/>
                  </a:cubicBezTo>
                  <a:cubicBezTo>
                    <a:pt x="297535" y="3003"/>
                    <a:pt x="230780" y="4335"/>
                    <a:pt x="148409" y="4335"/>
                  </a:cubicBezTo>
                  <a:cubicBezTo>
                    <a:pt x="66064" y="4335"/>
                    <a:pt x="-705" y="3003"/>
                    <a:pt x="-705" y="135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1" name="Vrije vorm 860">
              <a:extLst>
                <a:ext uri="{FF2B5EF4-FFF2-40B4-BE49-F238E27FC236}">
                  <a16:creationId xmlns:a16="http://schemas.microsoft.com/office/drawing/2014/main" id="{29A2B614-6E8B-505F-37FD-9366723E591E}"/>
                </a:ext>
              </a:extLst>
            </p:cNvPr>
            <p:cNvSpPr/>
            <p:nvPr/>
          </p:nvSpPr>
          <p:spPr>
            <a:xfrm flipV="1">
              <a:off x="4812185" y="3418045"/>
              <a:ext cx="306669" cy="85463"/>
            </a:xfrm>
            <a:custGeom>
              <a:avLst/>
              <a:gdLst>
                <a:gd name="connsiteX0" fmla="*/ -276 w 306669"/>
                <a:gd name="connsiteY0" fmla="*/ -1587 h 85463"/>
                <a:gd name="connsiteX1" fmla="*/ 306393 w 306669"/>
                <a:gd name="connsiteY1" fmla="*/ -1587 h 85463"/>
                <a:gd name="connsiteX2" fmla="*/ 306393 w 306669"/>
                <a:gd name="connsiteY2" fmla="*/ 83876 h 85463"/>
                <a:gd name="connsiteX3" fmla="*/ -276 w 306669"/>
                <a:gd name="connsiteY3" fmla="*/ 83876 h 85463"/>
                <a:gd name="connsiteX4" fmla="*/ -276 w 306669"/>
                <a:gd name="connsiteY4" fmla="*/ -1587 h 8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669" h="85463">
                  <a:moveTo>
                    <a:pt x="-276" y="-1587"/>
                  </a:moveTo>
                  <a:lnTo>
                    <a:pt x="306393" y="-1587"/>
                  </a:lnTo>
                  <a:lnTo>
                    <a:pt x="306393" y="83876"/>
                  </a:lnTo>
                  <a:lnTo>
                    <a:pt x="-276" y="83876"/>
                  </a:lnTo>
                  <a:lnTo>
                    <a:pt x="-276" y="-1587"/>
                  </a:ln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2" name="Vrije vorm 861">
              <a:extLst>
                <a:ext uri="{FF2B5EF4-FFF2-40B4-BE49-F238E27FC236}">
                  <a16:creationId xmlns:a16="http://schemas.microsoft.com/office/drawing/2014/main" id="{92CC5BA7-0D6A-8B25-1BB7-DBF98BB046B8}"/>
                </a:ext>
              </a:extLst>
            </p:cNvPr>
            <p:cNvSpPr/>
            <p:nvPr/>
          </p:nvSpPr>
          <p:spPr>
            <a:xfrm flipV="1">
              <a:off x="5068118" y="3426722"/>
              <a:ext cx="5942" cy="68109"/>
            </a:xfrm>
            <a:custGeom>
              <a:avLst/>
              <a:gdLst>
                <a:gd name="connsiteX0" fmla="*/ 2622 w 5942"/>
                <a:gd name="connsiteY0" fmla="*/ -1587 h 68109"/>
                <a:gd name="connsiteX1" fmla="*/ 5594 w 5942"/>
                <a:gd name="connsiteY1" fmla="*/ 32462 h 68109"/>
                <a:gd name="connsiteX2" fmla="*/ 2622 w 5942"/>
                <a:gd name="connsiteY2" fmla="*/ 66523 h 68109"/>
                <a:gd name="connsiteX3" fmla="*/ -349 w 5942"/>
                <a:gd name="connsiteY3" fmla="*/ 32462 h 68109"/>
                <a:gd name="connsiteX4" fmla="*/ 2622 w 5942"/>
                <a:gd name="connsiteY4" fmla="*/ -1587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2" h="68109">
                  <a:moveTo>
                    <a:pt x="2622" y="-1587"/>
                  </a:moveTo>
                  <a:cubicBezTo>
                    <a:pt x="4262" y="-1587"/>
                    <a:pt x="5594" y="13661"/>
                    <a:pt x="5594" y="32462"/>
                  </a:cubicBezTo>
                  <a:cubicBezTo>
                    <a:pt x="5594" y="51274"/>
                    <a:pt x="4262" y="66523"/>
                    <a:pt x="2622" y="66523"/>
                  </a:cubicBezTo>
                  <a:cubicBezTo>
                    <a:pt x="984" y="66523"/>
                    <a:pt x="-349" y="51274"/>
                    <a:pt x="-349" y="32462"/>
                  </a:cubicBezTo>
                  <a:cubicBezTo>
                    <a:pt x="-349" y="13661"/>
                    <a:pt x="984" y="-1587"/>
                    <a:pt x="2622" y="-158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3" name="Vrije vorm 862">
              <a:extLst>
                <a:ext uri="{FF2B5EF4-FFF2-40B4-BE49-F238E27FC236}">
                  <a16:creationId xmlns:a16="http://schemas.microsoft.com/office/drawing/2014/main" id="{DBF9BC27-A208-9350-6C11-11F8F7EBD5DA}"/>
                </a:ext>
              </a:extLst>
            </p:cNvPr>
            <p:cNvSpPr/>
            <p:nvPr/>
          </p:nvSpPr>
          <p:spPr>
            <a:xfrm flipV="1">
              <a:off x="5027569" y="3426722"/>
              <a:ext cx="5944" cy="68109"/>
            </a:xfrm>
            <a:custGeom>
              <a:avLst/>
              <a:gdLst>
                <a:gd name="connsiteX0" fmla="*/ 2651 w 5944"/>
                <a:gd name="connsiteY0" fmla="*/ -1587 h 68109"/>
                <a:gd name="connsiteX1" fmla="*/ 5623 w 5944"/>
                <a:gd name="connsiteY1" fmla="*/ 32462 h 68109"/>
                <a:gd name="connsiteX2" fmla="*/ 2651 w 5944"/>
                <a:gd name="connsiteY2" fmla="*/ 66523 h 68109"/>
                <a:gd name="connsiteX3" fmla="*/ -321 w 5944"/>
                <a:gd name="connsiteY3" fmla="*/ 32462 h 68109"/>
                <a:gd name="connsiteX4" fmla="*/ 2651 w 5944"/>
                <a:gd name="connsiteY4" fmla="*/ -1587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4" h="68109">
                  <a:moveTo>
                    <a:pt x="2651" y="-1587"/>
                  </a:moveTo>
                  <a:cubicBezTo>
                    <a:pt x="4291" y="-1587"/>
                    <a:pt x="5623" y="13661"/>
                    <a:pt x="5623" y="32462"/>
                  </a:cubicBezTo>
                  <a:cubicBezTo>
                    <a:pt x="5623" y="51274"/>
                    <a:pt x="4291" y="66523"/>
                    <a:pt x="2651" y="66523"/>
                  </a:cubicBezTo>
                  <a:cubicBezTo>
                    <a:pt x="1007" y="66523"/>
                    <a:pt x="-321" y="51274"/>
                    <a:pt x="-321" y="32462"/>
                  </a:cubicBezTo>
                  <a:cubicBezTo>
                    <a:pt x="-321" y="13661"/>
                    <a:pt x="1007" y="-1587"/>
                    <a:pt x="2651" y="-158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4" name="Vrije vorm 863">
              <a:extLst>
                <a:ext uri="{FF2B5EF4-FFF2-40B4-BE49-F238E27FC236}">
                  <a16:creationId xmlns:a16="http://schemas.microsoft.com/office/drawing/2014/main" id="{EFB75C5E-564A-88C5-B82D-5F18D824C9A5}"/>
                </a:ext>
              </a:extLst>
            </p:cNvPr>
            <p:cNvSpPr/>
            <p:nvPr/>
          </p:nvSpPr>
          <p:spPr>
            <a:xfrm flipV="1">
              <a:off x="4987020" y="3426722"/>
              <a:ext cx="5942" cy="68109"/>
            </a:xfrm>
            <a:custGeom>
              <a:avLst/>
              <a:gdLst>
                <a:gd name="connsiteX0" fmla="*/ 2674 w 5942"/>
                <a:gd name="connsiteY0" fmla="*/ -1587 h 68109"/>
                <a:gd name="connsiteX1" fmla="*/ 5650 w 5942"/>
                <a:gd name="connsiteY1" fmla="*/ 32462 h 68109"/>
                <a:gd name="connsiteX2" fmla="*/ 2674 w 5942"/>
                <a:gd name="connsiteY2" fmla="*/ 66523 h 68109"/>
                <a:gd name="connsiteX3" fmla="*/ -293 w 5942"/>
                <a:gd name="connsiteY3" fmla="*/ 32462 h 68109"/>
                <a:gd name="connsiteX4" fmla="*/ 2674 w 5942"/>
                <a:gd name="connsiteY4" fmla="*/ -1587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2" h="68109">
                  <a:moveTo>
                    <a:pt x="2674" y="-1587"/>
                  </a:moveTo>
                  <a:cubicBezTo>
                    <a:pt x="4318" y="-1587"/>
                    <a:pt x="5650" y="13661"/>
                    <a:pt x="5650" y="32462"/>
                  </a:cubicBezTo>
                  <a:cubicBezTo>
                    <a:pt x="5650" y="51274"/>
                    <a:pt x="4318" y="66523"/>
                    <a:pt x="2674" y="66523"/>
                  </a:cubicBezTo>
                  <a:cubicBezTo>
                    <a:pt x="1034" y="66523"/>
                    <a:pt x="-293" y="51274"/>
                    <a:pt x="-293" y="32462"/>
                  </a:cubicBezTo>
                  <a:cubicBezTo>
                    <a:pt x="-293" y="13661"/>
                    <a:pt x="1034" y="-1587"/>
                    <a:pt x="2674" y="-158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5" name="Vrije vorm 864">
              <a:extLst>
                <a:ext uri="{FF2B5EF4-FFF2-40B4-BE49-F238E27FC236}">
                  <a16:creationId xmlns:a16="http://schemas.microsoft.com/office/drawing/2014/main" id="{55DED670-0CDD-A1B9-7C68-64FF48B6FDC9}"/>
                </a:ext>
              </a:extLst>
            </p:cNvPr>
            <p:cNvSpPr/>
            <p:nvPr/>
          </p:nvSpPr>
          <p:spPr>
            <a:xfrm flipV="1">
              <a:off x="4946466" y="3426722"/>
              <a:ext cx="5949" cy="68109"/>
            </a:xfrm>
            <a:custGeom>
              <a:avLst/>
              <a:gdLst>
                <a:gd name="connsiteX0" fmla="*/ 2707 w 5949"/>
                <a:gd name="connsiteY0" fmla="*/ -1587 h 68109"/>
                <a:gd name="connsiteX1" fmla="*/ 5684 w 5949"/>
                <a:gd name="connsiteY1" fmla="*/ 32462 h 68109"/>
                <a:gd name="connsiteX2" fmla="*/ 2707 w 5949"/>
                <a:gd name="connsiteY2" fmla="*/ 66523 h 68109"/>
                <a:gd name="connsiteX3" fmla="*/ -265 w 5949"/>
                <a:gd name="connsiteY3" fmla="*/ 32462 h 68109"/>
                <a:gd name="connsiteX4" fmla="*/ 2707 w 5949"/>
                <a:gd name="connsiteY4" fmla="*/ -1587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9" h="68109">
                  <a:moveTo>
                    <a:pt x="2707" y="-1587"/>
                  </a:moveTo>
                  <a:cubicBezTo>
                    <a:pt x="4351" y="-1587"/>
                    <a:pt x="5684" y="13661"/>
                    <a:pt x="5684" y="32462"/>
                  </a:cubicBezTo>
                  <a:cubicBezTo>
                    <a:pt x="5684" y="51274"/>
                    <a:pt x="4351" y="66523"/>
                    <a:pt x="2707" y="66523"/>
                  </a:cubicBezTo>
                  <a:cubicBezTo>
                    <a:pt x="1067" y="66523"/>
                    <a:pt x="-265" y="51274"/>
                    <a:pt x="-265" y="32462"/>
                  </a:cubicBezTo>
                  <a:cubicBezTo>
                    <a:pt x="-265" y="13661"/>
                    <a:pt x="1067" y="-1587"/>
                    <a:pt x="2707" y="-158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6" name="Vrije vorm 865">
              <a:extLst>
                <a:ext uri="{FF2B5EF4-FFF2-40B4-BE49-F238E27FC236}">
                  <a16:creationId xmlns:a16="http://schemas.microsoft.com/office/drawing/2014/main" id="{D4D4AE14-5899-BB88-234F-15AD1AC0357C}"/>
                </a:ext>
              </a:extLst>
            </p:cNvPr>
            <p:cNvSpPr/>
            <p:nvPr/>
          </p:nvSpPr>
          <p:spPr>
            <a:xfrm flipV="1">
              <a:off x="4905918" y="3426722"/>
              <a:ext cx="5942" cy="68109"/>
            </a:xfrm>
            <a:custGeom>
              <a:avLst/>
              <a:gdLst>
                <a:gd name="connsiteX0" fmla="*/ 2734 w 5942"/>
                <a:gd name="connsiteY0" fmla="*/ -1587 h 68109"/>
                <a:gd name="connsiteX1" fmla="*/ 5705 w 5942"/>
                <a:gd name="connsiteY1" fmla="*/ 32462 h 68109"/>
                <a:gd name="connsiteX2" fmla="*/ 2734 w 5942"/>
                <a:gd name="connsiteY2" fmla="*/ 66523 h 68109"/>
                <a:gd name="connsiteX3" fmla="*/ -238 w 5942"/>
                <a:gd name="connsiteY3" fmla="*/ 32462 h 68109"/>
                <a:gd name="connsiteX4" fmla="*/ 2734 w 5942"/>
                <a:gd name="connsiteY4" fmla="*/ -1587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2" h="68109">
                  <a:moveTo>
                    <a:pt x="2734" y="-1587"/>
                  </a:moveTo>
                  <a:cubicBezTo>
                    <a:pt x="4379" y="-1587"/>
                    <a:pt x="5705" y="13661"/>
                    <a:pt x="5705" y="32462"/>
                  </a:cubicBezTo>
                  <a:cubicBezTo>
                    <a:pt x="5705" y="51274"/>
                    <a:pt x="4379" y="66523"/>
                    <a:pt x="2734" y="66523"/>
                  </a:cubicBezTo>
                  <a:cubicBezTo>
                    <a:pt x="1095" y="66523"/>
                    <a:pt x="-238" y="51274"/>
                    <a:pt x="-238" y="32462"/>
                  </a:cubicBezTo>
                  <a:cubicBezTo>
                    <a:pt x="-238" y="13661"/>
                    <a:pt x="1095" y="-1587"/>
                    <a:pt x="2734" y="-158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7" name="Vrije vorm 866">
              <a:extLst>
                <a:ext uri="{FF2B5EF4-FFF2-40B4-BE49-F238E27FC236}">
                  <a16:creationId xmlns:a16="http://schemas.microsoft.com/office/drawing/2014/main" id="{D51D4D38-0AE5-4B88-11F5-A7EC7BE7C3C3}"/>
                </a:ext>
              </a:extLst>
            </p:cNvPr>
            <p:cNvSpPr/>
            <p:nvPr/>
          </p:nvSpPr>
          <p:spPr>
            <a:xfrm flipV="1">
              <a:off x="4865368" y="3426722"/>
              <a:ext cx="5944" cy="68109"/>
            </a:xfrm>
            <a:custGeom>
              <a:avLst/>
              <a:gdLst>
                <a:gd name="connsiteX0" fmla="*/ 2762 w 5944"/>
                <a:gd name="connsiteY0" fmla="*/ -1587 h 68109"/>
                <a:gd name="connsiteX1" fmla="*/ 5734 w 5944"/>
                <a:gd name="connsiteY1" fmla="*/ 32462 h 68109"/>
                <a:gd name="connsiteX2" fmla="*/ 2762 w 5944"/>
                <a:gd name="connsiteY2" fmla="*/ 66523 h 68109"/>
                <a:gd name="connsiteX3" fmla="*/ -210 w 5944"/>
                <a:gd name="connsiteY3" fmla="*/ 32462 h 68109"/>
                <a:gd name="connsiteX4" fmla="*/ 2762 w 5944"/>
                <a:gd name="connsiteY4" fmla="*/ -1587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4" h="68109">
                  <a:moveTo>
                    <a:pt x="2762" y="-1587"/>
                  </a:moveTo>
                  <a:cubicBezTo>
                    <a:pt x="4407" y="-1587"/>
                    <a:pt x="5734" y="13661"/>
                    <a:pt x="5734" y="32462"/>
                  </a:cubicBezTo>
                  <a:cubicBezTo>
                    <a:pt x="5734" y="51274"/>
                    <a:pt x="4407" y="66523"/>
                    <a:pt x="2762" y="66523"/>
                  </a:cubicBezTo>
                  <a:cubicBezTo>
                    <a:pt x="1123" y="66523"/>
                    <a:pt x="-210" y="51274"/>
                    <a:pt x="-210" y="32462"/>
                  </a:cubicBezTo>
                  <a:cubicBezTo>
                    <a:pt x="-210" y="13661"/>
                    <a:pt x="1123" y="-1587"/>
                    <a:pt x="2762" y="-158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8" name="Vrije vorm 867">
              <a:extLst>
                <a:ext uri="{FF2B5EF4-FFF2-40B4-BE49-F238E27FC236}">
                  <a16:creationId xmlns:a16="http://schemas.microsoft.com/office/drawing/2014/main" id="{7DB1500C-BE28-72B0-8490-546CFB636FFC}"/>
                </a:ext>
              </a:extLst>
            </p:cNvPr>
            <p:cNvSpPr/>
            <p:nvPr/>
          </p:nvSpPr>
          <p:spPr>
            <a:xfrm flipV="1">
              <a:off x="5411201" y="3378923"/>
              <a:ext cx="5942" cy="169619"/>
            </a:xfrm>
            <a:custGeom>
              <a:avLst/>
              <a:gdLst>
                <a:gd name="connsiteX0" fmla="*/ 2388 w 5942"/>
                <a:gd name="connsiteY0" fmla="*/ -1584 h 169619"/>
                <a:gd name="connsiteX1" fmla="*/ 5360 w 5942"/>
                <a:gd name="connsiteY1" fmla="*/ 83219 h 169619"/>
                <a:gd name="connsiteX2" fmla="*/ 2388 w 5942"/>
                <a:gd name="connsiteY2" fmla="*/ 168035 h 169619"/>
                <a:gd name="connsiteX3" fmla="*/ -583 w 5942"/>
                <a:gd name="connsiteY3" fmla="*/ 83219 h 169619"/>
                <a:gd name="connsiteX4" fmla="*/ 2388 w 5942"/>
                <a:gd name="connsiteY4" fmla="*/ -1584 h 169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2" h="169619">
                  <a:moveTo>
                    <a:pt x="2388" y="-1584"/>
                  </a:moveTo>
                  <a:cubicBezTo>
                    <a:pt x="4032" y="-1584"/>
                    <a:pt x="5360" y="36397"/>
                    <a:pt x="5360" y="83219"/>
                  </a:cubicBezTo>
                  <a:cubicBezTo>
                    <a:pt x="5360" y="130067"/>
                    <a:pt x="4032" y="168035"/>
                    <a:pt x="2388" y="168035"/>
                  </a:cubicBezTo>
                  <a:cubicBezTo>
                    <a:pt x="748" y="168035"/>
                    <a:pt x="-583" y="130067"/>
                    <a:pt x="-583" y="83219"/>
                  </a:cubicBezTo>
                  <a:cubicBezTo>
                    <a:pt x="-583" y="36397"/>
                    <a:pt x="748" y="-1584"/>
                    <a:pt x="2388" y="-158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9" name="Vrije vorm 868">
              <a:extLst>
                <a:ext uri="{FF2B5EF4-FFF2-40B4-BE49-F238E27FC236}">
                  <a16:creationId xmlns:a16="http://schemas.microsoft.com/office/drawing/2014/main" id="{C19F2CE0-C54C-BFFF-A43F-02AECC431C57}"/>
                </a:ext>
              </a:extLst>
            </p:cNvPr>
            <p:cNvSpPr/>
            <p:nvPr/>
          </p:nvSpPr>
          <p:spPr>
            <a:xfrm flipV="1">
              <a:off x="4701519" y="3086862"/>
              <a:ext cx="992418" cy="292061"/>
            </a:xfrm>
            <a:custGeom>
              <a:avLst/>
              <a:gdLst>
                <a:gd name="connsiteX0" fmla="*/ 69345 w 992418"/>
                <a:gd name="connsiteY0" fmla="*/ 248573 h 292061"/>
                <a:gd name="connsiteX1" fmla="*/ 69345 w 992418"/>
                <a:gd name="connsiteY1" fmla="*/ 290271 h 292061"/>
                <a:gd name="connsiteX2" fmla="*/ 941589 w 992418"/>
                <a:gd name="connsiteY2" fmla="*/ 288457 h 292061"/>
                <a:gd name="connsiteX3" fmla="*/ 991984 w 992418"/>
                <a:gd name="connsiteY3" fmla="*/ 288457 h 292061"/>
                <a:gd name="connsiteX4" fmla="*/ 991984 w 992418"/>
                <a:gd name="connsiteY4" fmla="*/ 247964 h 292061"/>
                <a:gd name="connsiteX5" fmla="*/ 941589 w 992418"/>
                <a:gd name="connsiteY5" fmla="*/ 247964 h 292061"/>
                <a:gd name="connsiteX6" fmla="*/ 941589 w 992418"/>
                <a:gd name="connsiteY6" fmla="*/ -1790 h 292061"/>
                <a:gd name="connsiteX7" fmla="*/ -435 w 992418"/>
                <a:gd name="connsiteY7" fmla="*/ -1790 h 292061"/>
                <a:gd name="connsiteX8" fmla="*/ -435 w 992418"/>
                <a:gd name="connsiteY8" fmla="*/ 248573 h 292061"/>
                <a:gd name="connsiteX9" fmla="*/ 69345 w 992418"/>
                <a:gd name="connsiteY9" fmla="*/ 248573 h 292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2418" h="292061">
                  <a:moveTo>
                    <a:pt x="69345" y="248573"/>
                  </a:moveTo>
                  <a:lnTo>
                    <a:pt x="69345" y="290271"/>
                  </a:lnTo>
                  <a:lnTo>
                    <a:pt x="941589" y="288457"/>
                  </a:lnTo>
                  <a:lnTo>
                    <a:pt x="991984" y="288457"/>
                  </a:lnTo>
                  <a:lnTo>
                    <a:pt x="991984" y="247964"/>
                  </a:lnTo>
                  <a:lnTo>
                    <a:pt x="941589" y="247964"/>
                  </a:lnTo>
                  <a:lnTo>
                    <a:pt x="941589" y="-1790"/>
                  </a:lnTo>
                  <a:lnTo>
                    <a:pt x="-435" y="-1790"/>
                  </a:lnTo>
                  <a:lnTo>
                    <a:pt x="-435" y="248573"/>
                  </a:lnTo>
                  <a:lnTo>
                    <a:pt x="69345" y="248573"/>
                  </a:lnTo>
                </a:path>
              </a:pathLst>
            </a:custGeom>
            <a:solidFill>
              <a:srgbClr val="F3F2F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0" name="Vrije vorm 869">
              <a:extLst>
                <a:ext uri="{FF2B5EF4-FFF2-40B4-BE49-F238E27FC236}">
                  <a16:creationId xmlns:a16="http://schemas.microsoft.com/office/drawing/2014/main" id="{38CA226D-4F21-ED2B-B6A5-AE91E5ACE23D}"/>
                </a:ext>
              </a:extLst>
            </p:cNvPr>
            <p:cNvSpPr/>
            <p:nvPr/>
          </p:nvSpPr>
          <p:spPr>
            <a:xfrm flipV="1">
              <a:off x="4701519" y="3086862"/>
              <a:ext cx="283648" cy="292061"/>
            </a:xfrm>
            <a:custGeom>
              <a:avLst/>
              <a:gdLst>
                <a:gd name="connsiteX0" fmla="*/ 283456 w 283648"/>
                <a:gd name="connsiteY0" fmla="*/ -1790 h 292061"/>
                <a:gd name="connsiteX1" fmla="*/ 283456 w 283648"/>
                <a:gd name="connsiteY1" fmla="*/ 290271 h 292061"/>
                <a:gd name="connsiteX2" fmla="*/ 69587 w 283648"/>
                <a:gd name="connsiteY2" fmla="*/ 290271 h 292061"/>
                <a:gd name="connsiteX3" fmla="*/ 69587 w 283648"/>
                <a:gd name="connsiteY3" fmla="*/ 248573 h 292061"/>
                <a:gd name="connsiteX4" fmla="*/ -193 w 283648"/>
                <a:gd name="connsiteY4" fmla="*/ 248573 h 292061"/>
                <a:gd name="connsiteX5" fmla="*/ -193 w 283648"/>
                <a:gd name="connsiteY5" fmla="*/ -1790 h 292061"/>
                <a:gd name="connsiteX6" fmla="*/ 283456 w 283648"/>
                <a:gd name="connsiteY6" fmla="*/ -1790 h 292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3648" h="292061">
                  <a:moveTo>
                    <a:pt x="283456" y="-1790"/>
                  </a:moveTo>
                  <a:lnTo>
                    <a:pt x="283456" y="290271"/>
                  </a:lnTo>
                  <a:lnTo>
                    <a:pt x="69587" y="290271"/>
                  </a:lnTo>
                  <a:lnTo>
                    <a:pt x="69587" y="248573"/>
                  </a:lnTo>
                  <a:lnTo>
                    <a:pt x="-193" y="248573"/>
                  </a:lnTo>
                  <a:lnTo>
                    <a:pt x="-193" y="-1790"/>
                  </a:lnTo>
                  <a:lnTo>
                    <a:pt x="283456" y="-1790"/>
                  </a:lnTo>
                </a:path>
              </a:pathLst>
            </a:custGeom>
            <a:solidFill>
              <a:srgbClr val="E7E8E5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1" name="Vrije vorm 870">
              <a:extLst>
                <a:ext uri="{FF2B5EF4-FFF2-40B4-BE49-F238E27FC236}">
                  <a16:creationId xmlns:a16="http://schemas.microsoft.com/office/drawing/2014/main" id="{3C70D8AF-BEA1-C01E-CDD1-7E1D2D0A91E8}"/>
                </a:ext>
              </a:extLst>
            </p:cNvPr>
            <p:cNvSpPr/>
            <p:nvPr/>
          </p:nvSpPr>
          <p:spPr>
            <a:xfrm flipV="1">
              <a:off x="4771300" y="3083881"/>
              <a:ext cx="914738" cy="5949"/>
            </a:xfrm>
            <a:custGeom>
              <a:avLst/>
              <a:gdLst>
                <a:gd name="connsiteX0" fmla="*/ -456 w 914738"/>
                <a:gd name="connsiteY0" fmla="*/ 1048 h 5949"/>
                <a:gd name="connsiteX1" fmla="*/ 456888 w 914738"/>
                <a:gd name="connsiteY1" fmla="*/ -1921 h 5949"/>
                <a:gd name="connsiteX2" fmla="*/ 914282 w 914738"/>
                <a:gd name="connsiteY2" fmla="*/ 1048 h 5949"/>
                <a:gd name="connsiteX3" fmla="*/ 456888 w 914738"/>
                <a:gd name="connsiteY3" fmla="*/ 4029 h 5949"/>
                <a:gd name="connsiteX4" fmla="*/ -456 w 914738"/>
                <a:gd name="connsiteY4" fmla="*/ 1048 h 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738" h="5949">
                  <a:moveTo>
                    <a:pt x="-456" y="1048"/>
                  </a:moveTo>
                  <a:cubicBezTo>
                    <a:pt x="-456" y="-589"/>
                    <a:pt x="204334" y="-1921"/>
                    <a:pt x="456888" y="-1921"/>
                  </a:cubicBezTo>
                  <a:cubicBezTo>
                    <a:pt x="709542" y="-1921"/>
                    <a:pt x="914282" y="-589"/>
                    <a:pt x="914282" y="1048"/>
                  </a:cubicBezTo>
                  <a:cubicBezTo>
                    <a:pt x="914282" y="2697"/>
                    <a:pt x="709542" y="4029"/>
                    <a:pt x="456888" y="4029"/>
                  </a:cubicBezTo>
                  <a:cubicBezTo>
                    <a:pt x="204334" y="4029"/>
                    <a:pt x="-456" y="2697"/>
                    <a:pt x="-456" y="1048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2" name="Vrije vorm 871">
              <a:extLst>
                <a:ext uri="{FF2B5EF4-FFF2-40B4-BE49-F238E27FC236}">
                  <a16:creationId xmlns:a16="http://schemas.microsoft.com/office/drawing/2014/main" id="{E3B0AC63-7220-EA05-223A-2897C50F41ED}"/>
                </a:ext>
              </a:extLst>
            </p:cNvPr>
            <p:cNvSpPr/>
            <p:nvPr/>
          </p:nvSpPr>
          <p:spPr>
            <a:xfrm flipV="1">
              <a:off x="4708513" y="3215076"/>
              <a:ext cx="931522" cy="5949"/>
            </a:xfrm>
            <a:custGeom>
              <a:avLst/>
              <a:gdLst>
                <a:gd name="connsiteX0" fmla="*/ -419 w 931522"/>
                <a:gd name="connsiteY0" fmla="*/ 1177 h 5949"/>
                <a:gd name="connsiteX1" fmla="*/ 465320 w 931522"/>
                <a:gd name="connsiteY1" fmla="*/ -1803 h 5949"/>
                <a:gd name="connsiteX2" fmla="*/ 931104 w 931522"/>
                <a:gd name="connsiteY2" fmla="*/ 1177 h 5949"/>
                <a:gd name="connsiteX3" fmla="*/ 465320 w 931522"/>
                <a:gd name="connsiteY3" fmla="*/ 4146 h 5949"/>
                <a:gd name="connsiteX4" fmla="*/ -419 w 931522"/>
                <a:gd name="connsiteY4" fmla="*/ 1177 h 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522" h="5949">
                  <a:moveTo>
                    <a:pt x="-419" y="1177"/>
                  </a:moveTo>
                  <a:cubicBezTo>
                    <a:pt x="-419" y="-471"/>
                    <a:pt x="208124" y="-1803"/>
                    <a:pt x="465320" y="-1803"/>
                  </a:cubicBezTo>
                  <a:cubicBezTo>
                    <a:pt x="722605" y="-1803"/>
                    <a:pt x="931104" y="-471"/>
                    <a:pt x="931104" y="1177"/>
                  </a:cubicBezTo>
                  <a:cubicBezTo>
                    <a:pt x="931104" y="2814"/>
                    <a:pt x="722605" y="4146"/>
                    <a:pt x="465320" y="4146"/>
                  </a:cubicBezTo>
                  <a:cubicBezTo>
                    <a:pt x="208124" y="4146"/>
                    <a:pt x="-419" y="2814"/>
                    <a:pt x="-419" y="117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3" name="Vrije vorm 872">
              <a:extLst>
                <a:ext uri="{FF2B5EF4-FFF2-40B4-BE49-F238E27FC236}">
                  <a16:creationId xmlns:a16="http://schemas.microsoft.com/office/drawing/2014/main" id="{22A81E76-4E45-A1F4-854E-C4D043668206}"/>
                </a:ext>
              </a:extLst>
            </p:cNvPr>
            <p:cNvSpPr/>
            <p:nvPr/>
          </p:nvSpPr>
          <p:spPr>
            <a:xfrm flipV="1">
              <a:off x="4701519" y="3304560"/>
              <a:ext cx="938516" cy="5936"/>
            </a:xfrm>
            <a:custGeom>
              <a:avLst/>
              <a:gdLst>
                <a:gd name="connsiteX0" fmla="*/ -417 w 938516"/>
                <a:gd name="connsiteY0" fmla="*/ 1245 h 5936"/>
                <a:gd name="connsiteX1" fmla="*/ 468820 w 938516"/>
                <a:gd name="connsiteY1" fmla="*/ -1724 h 5936"/>
                <a:gd name="connsiteX2" fmla="*/ 938100 w 938516"/>
                <a:gd name="connsiteY2" fmla="*/ 1245 h 5936"/>
                <a:gd name="connsiteX3" fmla="*/ 468820 w 938516"/>
                <a:gd name="connsiteY3" fmla="*/ 4213 h 5936"/>
                <a:gd name="connsiteX4" fmla="*/ -417 w 938516"/>
                <a:gd name="connsiteY4" fmla="*/ 1245 h 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8516" h="5936">
                  <a:moveTo>
                    <a:pt x="-417" y="1245"/>
                  </a:moveTo>
                  <a:cubicBezTo>
                    <a:pt x="-417" y="-392"/>
                    <a:pt x="209697" y="-1724"/>
                    <a:pt x="468820" y="-1724"/>
                  </a:cubicBezTo>
                  <a:cubicBezTo>
                    <a:pt x="728035" y="-1724"/>
                    <a:pt x="938100" y="-392"/>
                    <a:pt x="938100" y="1245"/>
                  </a:cubicBezTo>
                  <a:cubicBezTo>
                    <a:pt x="938100" y="2894"/>
                    <a:pt x="728035" y="4213"/>
                    <a:pt x="468820" y="4213"/>
                  </a:cubicBezTo>
                  <a:cubicBezTo>
                    <a:pt x="209697" y="4213"/>
                    <a:pt x="-417" y="2894"/>
                    <a:pt x="-417" y="1245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4" name="Vrije vorm 873">
              <a:extLst>
                <a:ext uri="{FF2B5EF4-FFF2-40B4-BE49-F238E27FC236}">
                  <a16:creationId xmlns:a16="http://schemas.microsoft.com/office/drawing/2014/main" id="{B5E1B830-BCE4-FCF9-E6C9-A9627CF8B2B4}"/>
                </a:ext>
              </a:extLst>
            </p:cNvPr>
            <p:cNvSpPr/>
            <p:nvPr/>
          </p:nvSpPr>
          <p:spPr>
            <a:xfrm flipV="1">
              <a:off x="4771300" y="3125591"/>
              <a:ext cx="914738" cy="5949"/>
            </a:xfrm>
            <a:custGeom>
              <a:avLst/>
              <a:gdLst>
                <a:gd name="connsiteX0" fmla="*/ 914282 w 914738"/>
                <a:gd name="connsiteY0" fmla="*/ 1097 h 5949"/>
                <a:gd name="connsiteX1" fmla="*/ 456938 w 914738"/>
                <a:gd name="connsiteY1" fmla="*/ 4066 h 5949"/>
                <a:gd name="connsiteX2" fmla="*/ -456 w 914738"/>
                <a:gd name="connsiteY2" fmla="*/ 1097 h 5949"/>
                <a:gd name="connsiteX3" fmla="*/ 456938 w 914738"/>
                <a:gd name="connsiteY3" fmla="*/ -1883 h 5949"/>
                <a:gd name="connsiteX4" fmla="*/ 914282 w 914738"/>
                <a:gd name="connsiteY4" fmla="*/ 1097 h 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738" h="5949">
                  <a:moveTo>
                    <a:pt x="914282" y="1097"/>
                  </a:moveTo>
                  <a:cubicBezTo>
                    <a:pt x="914282" y="2734"/>
                    <a:pt x="709498" y="4066"/>
                    <a:pt x="456938" y="4066"/>
                  </a:cubicBezTo>
                  <a:cubicBezTo>
                    <a:pt x="204289" y="4066"/>
                    <a:pt x="-456" y="2734"/>
                    <a:pt x="-456" y="1097"/>
                  </a:cubicBezTo>
                  <a:cubicBezTo>
                    <a:pt x="-456" y="-552"/>
                    <a:pt x="204289" y="-1883"/>
                    <a:pt x="456938" y="-1883"/>
                  </a:cubicBezTo>
                  <a:cubicBezTo>
                    <a:pt x="709498" y="-1883"/>
                    <a:pt x="914282" y="-552"/>
                    <a:pt x="914282" y="109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5" name="Vrije vorm 874">
              <a:extLst>
                <a:ext uri="{FF2B5EF4-FFF2-40B4-BE49-F238E27FC236}">
                  <a16:creationId xmlns:a16="http://schemas.microsoft.com/office/drawing/2014/main" id="{AD659414-1B4B-BB56-048D-6FF58242F002}"/>
                </a:ext>
              </a:extLst>
            </p:cNvPr>
            <p:cNvSpPr/>
            <p:nvPr/>
          </p:nvSpPr>
          <p:spPr>
            <a:xfrm flipV="1">
              <a:off x="5375609" y="3566175"/>
              <a:ext cx="324955" cy="128086"/>
            </a:xfrm>
            <a:custGeom>
              <a:avLst/>
              <a:gdLst>
                <a:gd name="connsiteX0" fmla="*/ -668 w 324955"/>
                <a:gd name="connsiteY0" fmla="*/ -1435 h 128086"/>
                <a:gd name="connsiteX1" fmla="*/ 324287 w 324955"/>
                <a:gd name="connsiteY1" fmla="*/ -1435 h 128086"/>
                <a:gd name="connsiteX2" fmla="*/ 324287 w 324955"/>
                <a:gd name="connsiteY2" fmla="*/ 126651 h 128086"/>
                <a:gd name="connsiteX3" fmla="*/ -668 w 324955"/>
                <a:gd name="connsiteY3" fmla="*/ 126651 h 128086"/>
                <a:gd name="connsiteX4" fmla="*/ -668 w 324955"/>
                <a:gd name="connsiteY4" fmla="*/ -1435 h 128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955" h="128086">
                  <a:moveTo>
                    <a:pt x="-668" y="-1435"/>
                  </a:moveTo>
                  <a:lnTo>
                    <a:pt x="324287" y="-1435"/>
                  </a:lnTo>
                  <a:lnTo>
                    <a:pt x="324287" y="126651"/>
                  </a:lnTo>
                  <a:lnTo>
                    <a:pt x="-668" y="126651"/>
                  </a:lnTo>
                  <a:lnTo>
                    <a:pt x="-668" y="-1435"/>
                  </a:lnTo>
                </a:path>
              </a:pathLst>
            </a:custGeom>
            <a:solidFill>
              <a:srgbClr val="E7E8E5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6" name="Vrije vorm 875">
              <a:extLst>
                <a:ext uri="{FF2B5EF4-FFF2-40B4-BE49-F238E27FC236}">
                  <a16:creationId xmlns:a16="http://schemas.microsoft.com/office/drawing/2014/main" id="{FFA0FAF0-BC63-B7E7-A83B-84114C3031C6}"/>
                </a:ext>
              </a:extLst>
            </p:cNvPr>
            <p:cNvSpPr/>
            <p:nvPr/>
          </p:nvSpPr>
          <p:spPr>
            <a:xfrm flipV="1">
              <a:off x="4693545" y="3544178"/>
              <a:ext cx="1020555" cy="26830"/>
            </a:xfrm>
            <a:custGeom>
              <a:avLst/>
              <a:gdLst>
                <a:gd name="connsiteX0" fmla="*/ -439 w 1020555"/>
                <a:gd name="connsiteY0" fmla="*/ -1500 h 26830"/>
                <a:gd name="connsiteX1" fmla="*/ 1020116 w 1020555"/>
                <a:gd name="connsiteY1" fmla="*/ -1500 h 26830"/>
                <a:gd name="connsiteX2" fmla="*/ 1020116 w 1020555"/>
                <a:gd name="connsiteY2" fmla="*/ 25330 h 26830"/>
                <a:gd name="connsiteX3" fmla="*/ -439 w 1020555"/>
                <a:gd name="connsiteY3" fmla="*/ 25330 h 26830"/>
                <a:gd name="connsiteX4" fmla="*/ -439 w 1020555"/>
                <a:gd name="connsiteY4" fmla="*/ -1500 h 26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0555" h="26830">
                  <a:moveTo>
                    <a:pt x="-439" y="-1500"/>
                  </a:moveTo>
                  <a:lnTo>
                    <a:pt x="1020116" y="-1500"/>
                  </a:lnTo>
                  <a:lnTo>
                    <a:pt x="1020116" y="25330"/>
                  </a:lnTo>
                  <a:lnTo>
                    <a:pt x="-439" y="25330"/>
                  </a:lnTo>
                  <a:lnTo>
                    <a:pt x="-439" y="-1500"/>
                  </a:lnTo>
                </a:path>
              </a:pathLst>
            </a:custGeom>
            <a:solidFill>
              <a:srgbClr val="F2575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7" name="Vrije vorm 876">
              <a:extLst>
                <a:ext uri="{FF2B5EF4-FFF2-40B4-BE49-F238E27FC236}">
                  <a16:creationId xmlns:a16="http://schemas.microsoft.com/office/drawing/2014/main" id="{213623E7-BD47-F80D-04B7-350AB89D11B7}"/>
                </a:ext>
              </a:extLst>
            </p:cNvPr>
            <p:cNvSpPr/>
            <p:nvPr/>
          </p:nvSpPr>
          <p:spPr>
            <a:xfrm flipV="1">
              <a:off x="4693545" y="3688554"/>
              <a:ext cx="1015826" cy="26830"/>
            </a:xfrm>
            <a:custGeom>
              <a:avLst/>
              <a:gdLst>
                <a:gd name="connsiteX0" fmla="*/ -438 w 1015826"/>
                <a:gd name="connsiteY0" fmla="*/ -1371 h 26830"/>
                <a:gd name="connsiteX1" fmla="*/ 1015388 w 1015826"/>
                <a:gd name="connsiteY1" fmla="*/ -1371 h 26830"/>
                <a:gd name="connsiteX2" fmla="*/ 1015388 w 1015826"/>
                <a:gd name="connsiteY2" fmla="*/ 25459 h 26830"/>
                <a:gd name="connsiteX3" fmla="*/ -438 w 1015826"/>
                <a:gd name="connsiteY3" fmla="*/ 25459 h 26830"/>
                <a:gd name="connsiteX4" fmla="*/ -438 w 1015826"/>
                <a:gd name="connsiteY4" fmla="*/ -1371 h 26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5826" h="26830">
                  <a:moveTo>
                    <a:pt x="-438" y="-1371"/>
                  </a:moveTo>
                  <a:lnTo>
                    <a:pt x="1015388" y="-1371"/>
                  </a:lnTo>
                  <a:lnTo>
                    <a:pt x="1015388" y="25459"/>
                  </a:lnTo>
                  <a:lnTo>
                    <a:pt x="-438" y="25459"/>
                  </a:lnTo>
                  <a:lnTo>
                    <a:pt x="-438" y="-1371"/>
                  </a:lnTo>
                </a:path>
              </a:pathLst>
            </a:custGeom>
            <a:solidFill>
              <a:srgbClr val="F2575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8" name="Vrije vorm 877">
              <a:extLst>
                <a:ext uri="{FF2B5EF4-FFF2-40B4-BE49-F238E27FC236}">
                  <a16:creationId xmlns:a16="http://schemas.microsoft.com/office/drawing/2014/main" id="{5D5A0433-E5C8-0A46-5E3A-1A7848C33573}"/>
                </a:ext>
              </a:extLst>
            </p:cNvPr>
            <p:cNvSpPr/>
            <p:nvPr/>
          </p:nvSpPr>
          <p:spPr>
            <a:xfrm flipV="1">
              <a:off x="4693545" y="3550559"/>
              <a:ext cx="682063" cy="159711"/>
            </a:xfrm>
            <a:custGeom>
              <a:avLst/>
              <a:gdLst>
                <a:gd name="connsiteX0" fmla="*/ 681740 w 682063"/>
                <a:gd name="connsiteY0" fmla="*/ 158277 h 159711"/>
                <a:gd name="connsiteX1" fmla="*/ 680205 w 682063"/>
                <a:gd name="connsiteY1" fmla="*/ -1435 h 159711"/>
                <a:gd name="connsiteX2" fmla="*/ -324 w 682063"/>
                <a:gd name="connsiteY2" fmla="*/ -1435 h 159711"/>
                <a:gd name="connsiteX3" fmla="*/ -324 w 682063"/>
                <a:gd name="connsiteY3" fmla="*/ 158277 h 159711"/>
                <a:gd name="connsiteX4" fmla="*/ 681740 w 682063"/>
                <a:gd name="connsiteY4" fmla="*/ 158277 h 15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2063" h="159711">
                  <a:moveTo>
                    <a:pt x="681740" y="158277"/>
                  </a:moveTo>
                  <a:lnTo>
                    <a:pt x="680205" y="-1435"/>
                  </a:lnTo>
                  <a:lnTo>
                    <a:pt x="-324" y="-1435"/>
                  </a:lnTo>
                  <a:lnTo>
                    <a:pt x="-324" y="158277"/>
                  </a:lnTo>
                  <a:lnTo>
                    <a:pt x="681740" y="158277"/>
                  </a:lnTo>
                </a:path>
              </a:pathLst>
            </a:custGeom>
            <a:solidFill>
              <a:srgbClr val="F2575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9" name="Vrije vorm 878">
              <a:extLst>
                <a:ext uri="{FF2B5EF4-FFF2-40B4-BE49-F238E27FC236}">
                  <a16:creationId xmlns:a16="http://schemas.microsoft.com/office/drawing/2014/main" id="{471434FF-B055-5AF4-37D9-DE163A1A53AC}"/>
                </a:ext>
              </a:extLst>
            </p:cNvPr>
            <p:cNvSpPr/>
            <p:nvPr/>
          </p:nvSpPr>
          <p:spPr>
            <a:xfrm flipV="1">
              <a:off x="5210210" y="3590519"/>
              <a:ext cx="73573" cy="79475"/>
            </a:xfrm>
            <a:custGeom>
              <a:avLst/>
              <a:gdLst>
                <a:gd name="connsiteX0" fmla="*/ -469 w 73573"/>
                <a:gd name="connsiteY0" fmla="*/ 38309 h 79475"/>
                <a:gd name="connsiteX1" fmla="*/ 36321 w 73573"/>
                <a:gd name="connsiteY1" fmla="*/ -1435 h 79475"/>
                <a:gd name="connsiteX2" fmla="*/ 73105 w 73573"/>
                <a:gd name="connsiteY2" fmla="*/ 38309 h 79475"/>
                <a:gd name="connsiteX3" fmla="*/ 36321 w 73573"/>
                <a:gd name="connsiteY3" fmla="*/ 78040 h 79475"/>
                <a:gd name="connsiteX4" fmla="*/ -469 w 73573"/>
                <a:gd name="connsiteY4" fmla="*/ 38309 h 7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73" h="79475">
                  <a:moveTo>
                    <a:pt x="-469" y="38309"/>
                  </a:moveTo>
                  <a:cubicBezTo>
                    <a:pt x="-469" y="16350"/>
                    <a:pt x="15999" y="-1435"/>
                    <a:pt x="36321" y="-1435"/>
                  </a:cubicBezTo>
                  <a:cubicBezTo>
                    <a:pt x="56632" y="-1435"/>
                    <a:pt x="73105" y="16350"/>
                    <a:pt x="73105" y="38309"/>
                  </a:cubicBezTo>
                  <a:cubicBezTo>
                    <a:pt x="73105" y="60255"/>
                    <a:pt x="56632" y="78040"/>
                    <a:pt x="36321" y="78040"/>
                  </a:cubicBezTo>
                  <a:cubicBezTo>
                    <a:pt x="15999" y="78040"/>
                    <a:pt x="-469" y="60255"/>
                    <a:pt x="-469" y="38309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0" name="Vrije vorm 879">
              <a:extLst>
                <a:ext uri="{FF2B5EF4-FFF2-40B4-BE49-F238E27FC236}">
                  <a16:creationId xmlns:a16="http://schemas.microsoft.com/office/drawing/2014/main" id="{4288F720-31E1-D7DA-020B-54C0EE451F69}"/>
                </a:ext>
              </a:extLst>
            </p:cNvPr>
            <p:cNvSpPr/>
            <p:nvPr/>
          </p:nvSpPr>
          <p:spPr>
            <a:xfrm flipV="1">
              <a:off x="5204504" y="3584811"/>
              <a:ext cx="84990" cy="90905"/>
            </a:xfrm>
            <a:custGeom>
              <a:avLst/>
              <a:gdLst>
                <a:gd name="connsiteX0" fmla="*/ 10948 w 84990"/>
                <a:gd name="connsiteY0" fmla="*/ 44030 h 90905"/>
                <a:gd name="connsiteX1" fmla="*/ 42027 w 84990"/>
                <a:gd name="connsiteY1" fmla="*/ 9995 h 90905"/>
                <a:gd name="connsiteX2" fmla="*/ 73105 w 84990"/>
                <a:gd name="connsiteY2" fmla="*/ 44030 h 90905"/>
                <a:gd name="connsiteX3" fmla="*/ 42027 w 84990"/>
                <a:gd name="connsiteY3" fmla="*/ 78053 h 90905"/>
                <a:gd name="connsiteX4" fmla="*/ 10948 w 84990"/>
                <a:gd name="connsiteY4" fmla="*/ 44030 h 90905"/>
                <a:gd name="connsiteX5" fmla="*/ -469 w 84990"/>
                <a:gd name="connsiteY5" fmla="*/ 44030 h 90905"/>
                <a:gd name="connsiteX6" fmla="*/ 42027 w 84990"/>
                <a:gd name="connsiteY6" fmla="*/ 89470 h 90905"/>
                <a:gd name="connsiteX7" fmla="*/ 84521 w 84990"/>
                <a:gd name="connsiteY7" fmla="*/ 44030 h 90905"/>
                <a:gd name="connsiteX8" fmla="*/ 42027 w 84990"/>
                <a:gd name="connsiteY8" fmla="*/ -1435 h 90905"/>
                <a:gd name="connsiteX9" fmla="*/ -469 w 84990"/>
                <a:gd name="connsiteY9" fmla="*/ 44030 h 90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990" h="90905">
                  <a:moveTo>
                    <a:pt x="10948" y="44030"/>
                  </a:moveTo>
                  <a:cubicBezTo>
                    <a:pt x="10948" y="25255"/>
                    <a:pt x="24895" y="9995"/>
                    <a:pt x="42027" y="9995"/>
                  </a:cubicBezTo>
                  <a:cubicBezTo>
                    <a:pt x="59163" y="9995"/>
                    <a:pt x="73105" y="25255"/>
                    <a:pt x="73105" y="44030"/>
                  </a:cubicBezTo>
                  <a:cubicBezTo>
                    <a:pt x="73105" y="62792"/>
                    <a:pt x="59163" y="78053"/>
                    <a:pt x="42027" y="78053"/>
                  </a:cubicBezTo>
                  <a:cubicBezTo>
                    <a:pt x="24895" y="78053"/>
                    <a:pt x="10948" y="62792"/>
                    <a:pt x="10948" y="44030"/>
                  </a:cubicBezTo>
                  <a:close/>
                  <a:moveTo>
                    <a:pt x="-469" y="44030"/>
                  </a:moveTo>
                  <a:cubicBezTo>
                    <a:pt x="-469" y="69084"/>
                    <a:pt x="18594" y="89470"/>
                    <a:pt x="42027" y="89470"/>
                  </a:cubicBezTo>
                  <a:cubicBezTo>
                    <a:pt x="65458" y="89470"/>
                    <a:pt x="84521" y="69084"/>
                    <a:pt x="84521" y="44030"/>
                  </a:cubicBezTo>
                  <a:cubicBezTo>
                    <a:pt x="84521" y="18963"/>
                    <a:pt x="65458" y="-1435"/>
                    <a:pt x="42027" y="-1435"/>
                  </a:cubicBezTo>
                  <a:cubicBezTo>
                    <a:pt x="18594" y="-1435"/>
                    <a:pt x="-469" y="18963"/>
                    <a:pt x="-469" y="44030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1" name="Vrije vorm 880">
              <a:extLst>
                <a:ext uri="{FF2B5EF4-FFF2-40B4-BE49-F238E27FC236}">
                  <a16:creationId xmlns:a16="http://schemas.microsoft.com/office/drawing/2014/main" id="{0695B07A-8FAF-AB8C-7E9B-142FE4613979}"/>
                </a:ext>
              </a:extLst>
            </p:cNvPr>
            <p:cNvSpPr/>
            <p:nvPr/>
          </p:nvSpPr>
          <p:spPr>
            <a:xfrm flipV="1">
              <a:off x="5400027" y="3659897"/>
              <a:ext cx="298240" cy="5936"/>
            </a:xfrm>
            <a:custGeom>
              <a:avLst/>
              <a:gdLst>
                <a:gd name="connsiteX0" fmla="*/ -675 w 298240"/>
                <a:gd name="connsiteY0" fmla="*/ 1562 h 5936"/>
                <a:gd name="connsiteX1" fmla="*/ 148440 w 298240"/>
                <a:gd name="connsiteY1" fmla="*/ -1406 h 5936"/>
                <a:gd name="connsiteX2" fmla="*/ 297565 w 298240"/>
                <a:gd name="connsiteY2" fmla="*/ 1562 h 5936"/>
                <a:gd name="connsiteX3" fmla="*/ 148440 w 298240"/>
                <a:gd name="connsiteY3" fmla="*/ 4531 h 5936"/>
                <a:gd name="connsiteX4" fmla="*/ -675 w 298240"/>
                <a:gd name="connsiteY4" fmla="*/ 1562 h 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240" h="5936">
                  <a:moveTo>
                    <a:pt x="-675" y="1562"/>
                  </a:moveTo>
                  <a:cubicBezTo>
                    <a:pt x="-675" y="-74"/>
                    <a:pt x="66094" y="-1406"/>
                    <a:pt x="148440" y="-1406"/>
                  </a:cubicBezTo>
                  <a:cubicBezTo>
                    <a:pt x="230810" y="-1406"/>
                    <a:pt x="297565" y="-74"/>
                    <a:pt x="297565" y="1562"/>
                  </a:cubicBezTo>
                  <a:cubicBezTo>
                    <a:pt x="297565" y="3211"/>
                    <a:pt x="230810" y="4531"/>
                    <a:pt x="148440" y="4531"/>
                  </a:cubicBezTo>
                  <a:cubicBezTo>
                    <a:pt x="66094" y="4531"/>
                    <a:pt x="-675" y="3211"/>
                    <a:pt x="-675" y="1562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2" name="Vrije vorm 881">
              <a:extLst>
                <a:ext uri="{FF2B5EF4-FFF2-40B4-BE49-F238E27FC236}">
                  <a16:creationId xmlns:a16="http://schemas.microsoft.com/office/drawing/2014/main" id="{230BFEB7-2BA8-C2B1-0D6A-10F7229255CA}"/>
                </a:ext>
              </a:extLst>
            </p:cNvPr>
            <p:cNvSpPr/>
            <p:nvPr/>
          </p:nvSpPr>
          <p:spPr>
            <a:xfrm flipV="1">
              <a:off x="5400027" y="3637583"/>
              <a:ext cx="298240" cy="5936"/>
            </a:xfrm>
            <a:custGeom>
              <a:avLst/>
              <a:gdLst>
                <a:gd name="connsiteX0" fmla="*/ -675 w 298240"/>
                <a:gd name="connsiteY0" fmla="*/ 1542 h 5936"/>
                <a:gd name="connsiteX1" fmla="*/ 148440 w 298240"/>
                <a:gd name="connsiteY1" fmla="*/ -1426 h 5936"/>
                <a:gd name="connsiteX2" fmla="*/ 297565 w 298240"/>
                <a:gd name="connsiteY2" fmla="*/ 1542 h 5936"/>
                <a:gd name="connsiteX3" fmla="*/ 148440 w 298240"/>
                <a:gd name="connsiteY3" fmla="*/ 4511 h 5936"/>
                <a:gd name="connsiteX4" fmla="*/ -675 w 298240"/>
                <a:gd name="connsiteY4" fmla="*/ 1542 h 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240" h="5936">
                  <a:moveTo>
                    <a:pt x="-675" y="1542"/>
                  </a:moveTo>
                  <a:cubicBezTo>
                    <a:pt x="-675" y="-94"/>
                    <a:pt x="66094" y="-1426"/>
                    <a:pt x="148440" y="-1426"/>
                  </a:cubicBezTo>
                  <a:cubicBezTo>
                    <a:pt x="230810" y="-1426"/>
                    <a:pt x="297565" y="-94"/>
                    <a:pt x="297565" y="1542"/>
                  </a:cubicBezTo>
                  <a:cubicBezTo>
                    <a:pt x="297565" y="3192"/>
                    <a:pt x="230810" y="4511"/>
                    <a:pt x="148440" y="4511"/>
                  </a:cubicBezTo>
                  <a:cubicBezTo>
                    <a:pt x="66094" y="4511"/>
                    <a:pt x="-675" y="3192"/>
                    <a:pt x="-675" y="1542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3" name="Vrije vorm 882">
              <a:extLst>
                <a:ext uri="{FF2B5EF4-FFF2-40B4-BE49-F238E27FC236}">
                  <a16:creationId xmlns:a16="http://schemas.microsoft.com/office/drawing/2014/main" id="{CA3D5A47-CC39-65B2-2364-91FB5BA41353}"/>
                </a:ext>
              </a:extLst>
            </p:cNvPr>
            <p:cNvSpPr/>
            <p:nvPr/>
          </p:nvSpPr>
          <p:spPr>
            <a:xfrm flipV="1">
              <a:off x="5400027" y="3615269"/>
              <a:ext cx="298240" cy="5936"/>
            </a:xfrm>
            <a:custGeom>
              <a:avLst/>
              <a:gdLst>
                <a:gd name="connsiteX0" fmla="*/ -675 w 298240"/>
                <a:gd name="connsiteY0" fmla="*/ 1523 h 5936"/>
                <a:gd name="connsiteX1" fmla="*/ 148440 w 298240"/>
                <a:gd name="connsiteY1" fmla="*/ -1446 h 5936"/>
                <a:gd name="connsiteX2" fmla="*/ 297565 w 298240"/>
                <a:gd name="connsiteY2" fmla="*/ 1523 h 5936"/>
                <a:gd name="connsiteX3" fmla="*/ 148440 w 298240"/>
                <a:gd name="connsiteY3" fmla="*/ 4491 h 5936"/>
                <a:gd name="connsiteX4" fmla="*/ -675 w 298240"/>
                <a:gd name="connsiteY4" fmla="*/ 1523 h 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240" h="5936">
                  <a:moveTo>
                    <a:pt x="-675" y="1523"/>
                  </a:moveTo>
                  <a:cubicBezTo>
                    <a:pt x="-675" y="-114"/>
                    <a:pt x="66094" y="-1446"/>
                    <a:pt x="148440" y="-1446"/>
                  </a:cubicBezTo>
                  <a:cubicBezTo>
                    <a:pt x="230810" y="-1446"/>
                    <a:pt x="297565" y="-114"/>
                    <a:pt x="297565" y="1523"/>
                  </a:cubicBezTo>
                  <a:cubicBezTo>
                    <a:pt x="297565" y="3172"/>
                    <a:pt x="230810" y="4491"/>
                    <a:pt x="148440" y="4491"/>
                  </a:cubicBezTo>
                  <a:cubicBezTo>
                    <a:pt x="66094" y="4491"/>
                    <a:pt x="-675" y="3172"/>
                    <a:pt x="-675" y="1523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4" name="Vrije vorm 883">
              <a:extLst>
                <a:ext uri="{FF2B5EF4-FFF2-40B4-BE49-F238E27FC236}">
                  <a16:creationId xmlns:a16="http://schemas.microsoft.com/office/drawing/2014/main" id="{277E876C-06EC-8CAA-3D38-4D5B1CB62D34}"/>
                </a:ext>
              </a:extLst>
            </p:cNvPr>
            <p:cNvSpPr/>
            <p:nvPr/>
          </p:nvSpPr>
          <p:spPr>
            <a:xfrm flipV="1">
              <a:off x="5400027" y="3592955"/>
              <a:ext cx="298240" cy="5936"/>
            </a:xfrm>
            <a:custGeom>
              <a:avLst/>
              <a:gdLst>
                <a:gd name="connsiteX0" fmla="*/ -675 w 298240"/>
                <a:gd name="connsiteY0" fmla="*/ 1502 h 5936"/>
                <a:gd name="connsiteX1" fmla="*/ 148440 w 298240"/>
                <a:gd name="connsiteY1" fmla="*/ -1466 h 5936"/>
                <a:gd name="connsiteX2" fmla="*/ 297565 w 298240"/>
                <a:gd name="connsiteY2" fmla="*/ 1502 h 5936"/>
                <a:gd name="connsiteX3" fmla="*/ 148440 w 298240"/>
                <a:gd name="connsiteY3" fmla="*/ 4471 h 5936"/>
                <a:gd name="connsiteX4" fmla="*/ -675 w 298240"/>
                <a:gd name="connsiteY4" fmla="*/ 1502 h 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240" h="5936">
                  <a:moveTo>
                    <a:pt x="-675" y="1502"/>
                  </a:moveTo>
                  <a:cubicBezTo>
                    <a:pt x="-675" y="-134"/>
                    <a:pt x="66094" y="-1466"/>
                    <a:pt x="148440" y="-1466"/>
                  </a:cubicBezTo>
                  <a:cubicBezTo>
                    <a:pt x="230810" y="-1466"/>
                    <a:pt x="297565" y="-134"/>
                    <a:pt x="297565" y="1502"/>
                  </a:cubicBezTo>
                  <a:cubicBezTo>
                    <a:pt x="297565" y="3139"/>
                    <a:pt x="230810" y="4471"/>
                    <a:pt x="148440" y="4471"/>
                  </a:cubicBezTo>
                  <a:cubicBezTo>
                    <a:pt x="66094" y="4471"/>
                    <a:pt x="-675" y="3139"/>
                    <a:pt x="-675" y="1502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5" name="Vrije vorm 884">
              <a:extLst>
                <a:ext uri="{FF2B5EF4-FFF2-40B4-BE49-F238E27FC236}">
                  <a16:creationId xmlns:a16="http://schemas.microsoft.com/office/drawing/2014/main" id="{84D43CC4-0097-7EB4-5279-8E559E0749A5}"/>
                </a:ext>
              </a:extLst>
            </p:cNvPr>
            <p:cNvSpPr/>
            <p:nvPr/>
          </p:nvSpPr>
          <p:spPr>
            <a:xfrm flipV="1">
              <a:off x="4769011" y="3584531"/>
              <a:ext cx="306670" cy="85463"/>
            </a:xfrm>
            <a:custGeom>
              <a:avLst/>
              <a:gdLst>
                <a:gd name="connsiteX0" fmla="*/ -247 w 306670"/>
                <a:gd name="connsiteY0" fmla="*/ -1438 h 85463"/>
                <a:gd name="connsiteX1" fmla="*/ 306424 w 306670"/>
                <a:gd name="connsiteY1" fmla="*/ -1438 h 85463"/>
                <a:gd name="connsiteX2" fmla="*/ 306424 w 306670"/>
                <a:gd name="connsiteY2" fmla="*/ 84025 h 85463"/>
                <a:gd name="connsiteX3" fmla="*/ -247 w 306670"/>
                <a:gd name="connsiteY3" fmla="*/ 84025 h 85463"/>
                <a:gd name="connsiteX4" fmla="*/ -247 w 306670"/>
                <a:gd name="connsiteY4" fmla="*/ -1438 h 8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670" h="85463">
                  <a:moveTo>
                    <a:pt x="-247" y="-1438"/>
                  </a:moveTo>
                  <a:lnTo>
                    <a:pt x="306424" y="-1438"/>
                  </a:lnTo>
                  <a:lnTo>
                    <a:pt x="306424" y="84025"/>
                  </a:lnTo>
                  <a:lnTo>
                    <a:pt x="-247" y="84025"/>
                  </a:lnTo>
                  <a:lnTo>
                    <a:pt x="-247" y="-1438"/>
                  </a:ln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6" name="Vrije vorm 885">
              <a:extLst>
                <a:ext uri="{FF2B5EF4-FFF2-40B4-BE49-F238E27FC236}">
                  <a16:creationId xmlns:a16="http://schemas.microsoft.com/office/drawing/2014/main" id="{5AD51BD5-9DC9-6752-AE53-EA6D52827295}"/>
                </a:ext>
              </a:extLst>
            </p:cNvPr>
            <p:cNvSpPr/>
            <p:nvPr/>
          </p:nvSpPr>
          <p:spPr>
            <a:xfrm flipV="1">
              <a:off x="5024944" y="3593208"/>
              <a:ext cx="5942" cy="68109"/>
            </a:xfrm>
            <a:custGeom>
              <a:avLst/>
              <a:gdLst>
                <a:gd name="connsiteX0" fmla="*/ 2653 w 5942"/>
                <a:gd name="connsiteY0" fmla="*/ -1438 h 68109"/>
                <a:gd name="connsiteX1" fmla="*/ 5624 w 5942"/>
                <a:gd name="connsiteY1" fmla="*/ 32610 h 68109"/>
                <a:gd name="connsiteX2" fmla="*/ 2653 w 5942"/>
                <a:gd name="connsiteY2" fmla="*/ 66671 h 68109"/>
                <a:gd name="connsiteX3" fmla="*/ -319 w 5942"/>
                <a:gd name="connsiteY3" fmla="*/ 32610 h 68109"/>
                <a:gd name="connsiteX4" fmla="*/ 2653 w 5942"/>
                <a:gd name="connsiteY4" fmla="*/ -1438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2" h="68109">
                  <a:moveTo>
                    <a:pt x="2653" y="-1438"/>
                  </a:moveTo>
                  <a:cubicBezTo>
                    <a:pt x="4292" y="-1438"/>
                    <a:pt x="5624" y="13810"/>
                    <a:pt x="5624" y="32610"/>
                  </a:cubicBezTo>
                  <a:cubicBezTo>
                    <a:pt x="5624" y="51423"/>
                    <a:pt x="4292" y="66671"/>
                    <a:pt x="2653" y="66671"/>
                  </a:cubicBezTo>
                  <a:cubicBezTo>
                    <a:pt x="1013" y="66671"/>
                    <a:pt x="-319" y="51423"/>
                    <a:pt x="-319" y="32610"/>
                  </a:cubicBezTo>
                  <a:cubicBezTo>
                    <a:pt x="-319" y="13810"/>
                    <a:pt x="1013" y="-1438"/>
                    <a:pt x="2653" y="-1438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7" name="Vrije vorm 886">
              <a:extLst>
                <a:ext uri="{FF2B5EF4-FFF2-40B4-BE49-F238E27FC236}">
                  <a16:creationId xmlns:a16="http://schemas.microsoft.com/office/drawing/2014/main" id="{D6169923-68D2-B77F-96E3-43533F23E91B}"/>
                </a:ext>
              </a:extLst>
            </p:cNvPr>
            <p:cNvSpPr/>
            <p:nvPr/>
          </p:nvSpPr>
          <p:spPr>
            <a:xfrm flipV="1">
              <a:off x="4984395" y="3593208"/>
              <a:ext cx="5944" cy="68109"/>
            </a:xfrm>
            <a:custGeom>
              <a:avLst/>
              <a:gdLst>
                <a:gd name="connsiteX0" fmla="*/ 2681 w 5944"/>
                <a:gd name="connsiteY0" fmla="*/ -1438 h 68109"/>
                <a:gd name="connsiteX1" fmla="*/ 5653 w 5944"/>
                <a:gd name="connsiteY1" fmla="*/ 32610 h 68109"/>
                <a:gd name="connsiteX2" fmla="*/ 2681 w 5944"/>
                <a:gd name="connsiteY2" fmla="*/ 66671 h 68109"/>
                <a:gd name="connsiteX3" fmla="*/ -291 w 5944"/>
                <a:gd name="connsiteY3" fmla="*/ 32610 h 68109"/>
                <a:gd name="connsiteX4" fmla="*/ 2681 w 5944"/>
                <a:gd name="connsiteY4" fmla="*/ -1438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4" h="68109">
                  <a:moveTo>
                    <a:pt x="2681" y="-1438"/>
                  </a:moveTo>
                  <a:cubicBezTo>
                    <a:pt x="4320" y="-1438"/>
                    <a:pt x="5653" y="13810"/>
                    <a:pt x="5653" y="32610"/>
                  </a:cubicBezTo>
                  <a:cubicBezTo>
                    <a:pt x="5653" y="51423"/>
                    <a:pt x="4320" y="66671"/>
                    <a:pt x="2681" y="66671"/>
                  </a:cubicBezTo>
                  <a:cubicBezTo>
                    <a:pt x="1036" y="66671"/>
                    <a:pt x="-291" y="51423"/>
                    <a:pt x="-291" y="32610"/>
                  </a:cubicBezTo>
                  <a:cubicBezTo>
                    <a:pt x="-291" y="13810"/>
                    <a:pt x="1036" y="-1438"/>
                    <a:pt x="2681" y="-1438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8" name="Vrije vorm 887">
              <a:extLst>
                <a:ext uri="{FF2B5EF4-FFF2-40B4-BE49-F238E27FC236}">
                  <a16:creationId xmlns:a16="http://schemas.microsoft.com/office/drawing/2014/main" id="{F9A260A0-F05B-21F5-EFEC-C4682281F750}"/>
                </a:ext>
              </a:extLst>
            </p:cNvPr>
            <p:cNvSpPr/>
            <p:nvPr/>
          </p:nvSpPr>
          <p:spPr>
            <a:xfrm flipV="1">
              <a:off x="4943841" y="3593208"/>
              <a:ext cx="5949" cy="68109"/>
            </a:xfrm>
            <a:custGeom>
              <a:avLst/>
              <a:gdLst>
                <a:gd name="connsiteX0" fmla="*/ 2708 w 5949"/>
                <a:gd name="connsiteY0" fmla="*/ -1438 h 68109"/>
                <a:gd name="connsiteX1" fmla="*/ 5685 w 5949"/>
                <a:gd name="connsiteY1" fmla="*/ 32610 h 68109"/>
                <a:gd name="connsiteX2" fmla="*/ 2708 w 5949"/>
                <a:gd name="connsiteY2" fmla="*/ 66671 h 68109"/>
                <a:gd name="connsiteX3" fmla="*/ -264 w 5949"/>
                <a:gd name="connsiteY3" fmla="*/ 32610 h 68109"/>
                <a:gd name="connsiteX4" fmla="*/ 2708 w 5949"/>
                <a:gd name="connsiteY4" fmla="*/ -1438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9" h="68109">
                  <a:moveTo>
                    <a:pt x="2708" y="-1438"/>
                  </a:moveTo>
                  <a:cubicBezTo>
                    <a:pt x="4353" y="-1438"/>
                    <a:pt x="5685" y="13810"/>
                    <a:pt x="5685" y="32610"/>
                  </a:cubicBezTo>
                  <a:cubicBezTo>
                    <a:pt x="5685" y="51423"/>
                    <a:pt x="4353" y="66671"/>
                    <a:pt x="2708" y="66671"/>
                  </a:cubicBezTo>
                  <a:cubicBezTo>
                    <a:pt x="1069" y="66671"/>
                    <a:pt x="-264" y="51423"/>
                    <a:pt x="-264" y="32610"/>
                  </a:cubicBezTo>
                  <a:cubicBezTo>
                    <a:pt x="-264" y="13810"/>
                    <a:pt x="1069" y="-1438"/>
                    <a:pt x="2708" y="-1438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9" name="Vrije vorm 888">
              <a:extLst>
                <a:ext uri="{FF2B5EF4-FFF2-40B4-BE49-F238E27FC236}">
                  <a16:creationId xmlns:a16="http://schemas.microsoft.com/office/drawing/2014/main" id="{CB91B110-EC25-108B-9344-CC68D038D62E}"/>
                </a:ext>
              </a:extLst>
            </p:cNvPr>
            <p:cNvSpPr/>
            <p:nvPr/>
          </p:nvSpPr>
          <p:spPr>
            <a:xfrm flipV="1">
              <a:off x="4903293" y="3593208"/>
              <a:ext cx="5947" cy="68109"/>
            </a:xfrm>
            <a:custGeom>
              <a:avLst/>
              <a:gdLst>
                <a:gd name="connsiteX0" fmla="*/ 2735 w 5947"/>
                <a:gd name="connsiteY0" fmla="*/ -1438 h 68109"/>
                <a:gd name="connsiteX1" fmla="*/ 5712 w 5947"/>
                <a:gd name="connsiteY1" fmla="*/ 32610 h 68109"/>
                <a:gd name="connsiteX2" fmla="*/ 2735 w 5947"/>
                <a:gd name="connsiteY2" fmla="*/ 66671 h 68109"/>
                <a:gd name="connsiteX3" fmla="*/ -236 w 5947"/>
                <a:gd name="connsiteY3" fmla="*/ 32610 h 68109"/>
                <a:gd name="connsiteX4" fmla="*/ 2735 w 5947"/>
                <a:gd name="connsiteY4" fmla="*/ -1438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7" h="68109">
                  <a:moveTo>
                    <a:pt x="2735" y="-1438"/>
                  </a:moveTo>
                  <a:cubicBezTo>
                    <a:pt x="4379" y="-1438"/>
                    <a:pt x="5712" y="13810"/>
                    <a:pt x="5712" y="32610"/>
                  </a:cubicBezTo>
                  <a:cubicBezTo>
                    <a:pt x="5712" y="51423"/>
                    <a:pt x="4379" y="66671"/>
                    <a:pt x="2735" y="66671"/>
                  </a:cubicBezTo>
                  <a:cubicBezTo>
                    <a:pt x="1095" y="66671"/>
                    <a:pt x="-236" y="51423"/>
                    <a:pt x="-236" y="32610"/>
                  </a:cubicBezTo>
                  <a:cubicBezTo>
                    <a:pt x="-236" y="13810"/>
                    <a:pt x="1095" y="-1438"/>
                    <a:pt x="2735" y="-1438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90" name="Vrije vorm 889">
              <a:extLst>
                <a:ext uri="{FF2B5EF4-FFF2-40B4-BE49-F238E27FC236}">
                  <a16:creationId xmlns:a16="http://schemas.microsoft.com/office/drawing/2014/main" id="{4BBC6BF6-3431-5641-750C-549A86C33B00}"/>
                </a:ext>
              </a:extLst>
            </p:cNvPr>
            <p:cNvSpPr/>
            <p:nvPr/>
          </p:nvSpPr>
          <p:spPr>
            <a:xfrm flipV="1">
              <a:off x="4862744" y="3593208"/>
              <a:ext cx="5944" cy="68109"/>
            </a:xfrm>
            <a:custGeom>
              <a:avLst/>
              <a:gdLst>
                <a:gd name="connsiteX0" fmla="*/ 2764 w 5944"/>
                <a:gd name="connsiteY0" fmla="*/ -1438 h 68109"/>
                <a:gd name="connsiteX1" fmla="*/ 5736 w 5944"/>
                <a:gd name="connsiteY1" fmla="*/ 32610 h 68109"/>
                <a:gd name="connsiteX2" fmla="*/ 2764 w 5944"/>
                <a:gd name="connsiteY2" fmla="*/ 66671 h 68109"/>
                <a:gd name="connsiteX3" fmla="*/ -208 w 5944"/>
                <a:gd name="connsiteY3" fmla="*/ 32610 h 68109"/>
                <a:gd name="connsiteX4" fmla="*/ 2764 w 5944"/>
                <a:gd name="connsiteY4" fmla="*/ -1438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4" h="68109">
                  <a:moveTo>
                    <a:pt x="2764" y="-1438"/>
                  </a:moveTo>
                  <a:cubicBezTo>
                    <a:pt x="4408" y="-1438"/>
                    <a:pt x="5736" y="13810"/>
                    <a:pt x="5736" y="32610"/>
                  </a:cubicBezTo>
                  <a:cubicBezTo>
                    <a:pt x="5736" y="51423"/>
                    <a:pt x="4408" y="66671"/>
                    <a:pt x="2764" y="66671"/>
                  </a:cubicBezTo>
                  <a:cubicBezTo>
                    <a:pt x="1124" y="66671"/>
                    <a:pt x="-208" y="51423"/>
                    <a:pt x="-208" y="32610"/>
                  </a:cubicBezTo>
                  <a:cubicBezTo>
                    <a:pt x="-208" y="13810"/>
                    <a:pt x="1124" y="-1438"/>
                    <a:pt x="2764" y="-1438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91" name="Vrije vorm 890">
              <a:extLst>
                <a:ext uri="{FF2B5EF4-FFF2-40B4-BE49-F238E27FC236}">
                  <a16:creationId xmlns:a16="http://schemas.microsoft.com/office/drawing/2014/main" id="{17DDD755-3C13-E305-7814-C392A27F57E7}"/>
                </a:ext>
              </a:extLst>
            </p:cNvPr>
            <p:cNvSpPr/>
            <p:nvPr/>
          </p:nvSpPr>
          <p:spPr>
            <a:xfrm flipV="1">
              <a:off x="4822195" y="3593208"/>
              <a:ext cx="5942" cy="68109"/>
            </a:xfrm>
            <a:custGeom>
              <a:avLst/>
              <a:gdLst>
                <a:gd name="connsiteX0" fmla="*/ 2790 w 5942"/>
                <a:gd name="connsiteY0" fmla="*/ -1438 h 68109"/>
                <a:gd name="connsiteX1" fmla="*/ 5762 w 5942"/>
                <a:gd name="connsiteY1" fmla="*/ 32610 h 68109"/>
                <a:gd name="connsiteX2" fmla="*/ 2790 w 5942"/>
                <a:gd name="connsiteY2" fmla="*/ 66671 h 68109"/>
                <a:gd name="connsiteX3" fmla="*/ -181 w 5942"/>
                <a:gd name="connsiteY3" fmla="*/ 32610 h 68109"/>
                <a:gd name="connsiteX4" fmla="*/ 2790 w 5942"/>
                <a:gd name="connsiteY4" fmla="*/ -1438 h 6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2" h="68109">
                  <a:moveTo>
                    <a:pt x="2790" y="-1438"/>
                  </a:moveTo>
                  <a:cubicBezTo>
                    <a:pt x="4435" y="-1438"/>
                    <a:pt x="5762" y="13810"/>
                    <a:pt x="5762" y="32610"/>
                  </a:cubicBezTo>
                  <a:cubicBezTo>
                    <a:pt x="5762" y="51423"/>
                    <a:pt x="4435" y="66671"/>
                    <a:pt x="2790" y="66671"/>
                  </a:cubicBezTo>
                  <a:cubicBezTo>
                    <a:pt x="1151" y="66671"/>
                    <a:pt x="-181" y="51423"/>
                    <a:pt x="-181" y="32610"/>
                  </a:cubicBezTo>
                  <a:cubicBezTo>
                    <a:pt x="-181" y="13810"/>
                    <a:pt x="1151" y="-1438"/>
                    <a:pt x="2790" y="-1438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92" name="Vrije vorm 891">
              <a:extLst>
                <a:ext uri="{FF2B5EF4-FFF2-40B4-BE49-F238E27FC236}">
                  <a16:creationId xmlns:a16="http://schemas.microsoft.com/office/drawing/2014/main" id="{E2B7D0D9-3B37-4D81-1623-1B33A934385F}"/>
                </a:ext>
              </a:extLst>
            </p:cNvPr>
            <p:cNvSpPr/>
            <p:nvPr/>
          </p:nvSpPr>
          <p:spPr>
            <a:xfrm flipV="1">
              <a:off x="5368027" y="3545409"/>
              <a:ext cx="5942" cy="169619"/>
            </a:xfrm>
            <a:custGeom>
              <a:avLst/>
              <a:gdLst>
                <a:gd name="connsiteX0" fmla="*/ 2418 w 5942"/>
                <a:gd name="connsiteY0" fmla="*/ -1435 h 169619"/>
                <a:gd name="connsiteX1" fmla="*/ 5389 w 5942"/>
                <a:gd name="connsiteY1" fmla="*/ 83368 h 169619"/>
                <a:gd name="connsiteX2" fmla="*/ 2418 w 5942"/>
                <a:gd name="connsiteY2" fmla="*/ 168184 h 169619"/>
                <a:gd name="connsiteX3" fmla="*/ -554 w 5942"/>
                <a:gd name="connsiteY3" fmla="*/ 83368 h 169619"/>
                <a:gd name="connsiteX4" fmla="*/ 2418 w 5942"/>
                <a:gd name="connsiteY4" fmla="*/ -1435 h 169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2" h="169619">
                  <a:moveTo>
                    <a:pt x="2418" y="-1435"/>
                  </a:moveTo>
                  <a:cubicBezTo>
                    <a:pt x="4063" y="-1435"/>
                    <a:pt x="5389" y="36533"/>
                    <a:pt x="5389" y="83368"/>
                  </a:cubicBezTo>
                  <a:cubicBezTo>
                    <a:pt x="5389" y="130216"/>
                    <a:pt x="4063" y="168184"/>
                    <a:pt x="2418" y="168184"/>
                  </a:cubicBezTo>
                  <a:cubicBezTo>
                    <a:pt x="779" y="168184"/>
                    <a:pt x="-554" y="130216"/>
                    <a:pt x="-554" y="83368"/>
                  </a:cubicBezTo>
                  <a:cubicBezTo>
                    <a:pt x="-554" y="36533"/>
                    <a:pt x="779" y="-1435"/>
                    <a:pt x="2418" y="-1435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0" name="Vrije vorm 909">
              <a:extLst>
                <a:ext uri="{FF2B5EF4-FFF2-40B4-BE49-F238E27FC236}">
                  <a16:creationId xmlns:a16="http://schemas.microsoft.com/office/drawing/2014/main" id="{427E78F0-B6E3-1E2B-0F17-CBAF06FF5897}"/>
                </a:ext>
              </a:extLst>
            </p:cNvPr>
            <p:cNvSpPr/>
            <p:nvPr/>
          </p:nvSpPr>
          <p:spPr>
            <a:xfrm flipV="1">
              <a:off x="8512504" y="3554137"/>
              <a:ext cx="262232" cy="239098"/>
            </a:xfrm>
            <a:custGeom>
              <a:avLst/>
              <a:gdLst>
                <a:gd name="connsiteX0" fmla="*/ -2791 w 262232"/>
                <a:gd name="connsiteY0" fmla="*/ 60332 h 239098"/>
                <a:gd name="connsiteX1" fmla="*/ 50589 w 262232"/>
                <a:gd name="connsiteY1" fmla="*/ 185704 h 239098"/>
                <a:gd name="connsiteX2" fmla="*/ 212427 w 262232"/>
                <a:gd name="connsiteY2" fmla="*/ 237702 h 239098"/>
                <a:gd name="connsiteX3" fmla="*/ 259442 w 262232"/>
                <a:gd name="connsiteY3" fmla="*/ 98110 h 239098"/>
                <a:gd name="connsiteX4" fmla="*/ 180539 w 262232"/>
                <a:gd name="connsiteY4" fmla="*/ -1396 h 239098"/>
                <a:gd name="connsiteX5" fmla="*/ -2791 w 262232"/>
                <a:gd name="connsiteY5" fmla="*/ 60332 h 239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232" h="239098">
                  <a:moveTo>
                    <a:pt x="-2791" y="60332"/>
                  </a:moveTo>
                  <a:cubicBezTo>
                    <a:pt x="-2791" y="60332"/>
                    <a:pt x="6491" y="157846"/>
                    <a:pt x="50589" y="185704"/>
                  </a:cubicBezTo>
                  <a:cubicBezTo>
                    <a:pt x="94675" y="213574"/>
                    <a:pt x="212427" y="237702"/>
                    <a:pt x="212427" y="237702"/>
                  </a:cubicBezTo>
                  <a:lnTo>
                    <a:pt x="259442" y="98110"/>
                  </a:lnTo>
                  <a:lnTo>
                    <a:pt x="180539" y="-1396"/>
                  </a:lnTo>
                  <a:lnTo>
                    <a:pt x="-2791" y="60332"/>
                  </a:lnTo>
                </a:path>
              </a:pathLst>
            </a:custGeom>
            <a:solidFill>
              <a:srgbClr val="F9A78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1" name="Vrije vorm 910">
              <a:extLst>
                <a:ext uri="{FF2B5EF4-FFF2-40B4-BE49-F238E27FC236}">
                  <a16:creationId xmlns:a16="http://schemas.microsoft.com/office/drawing/2014/main" id="{BE667312-EBC0-F112-5239-329A5CE07629}"/>
                </a:ext>
              </a:extLst>
            </p:cNvPr>
            <p:cNvSpPr/>
            <p:nvPr/>
          </p:nvSpPr>
          <p:spPr>
            <a:xfrm flipV="1">
              <a:off x="7958674" y="5155367"/>
              <a:ext cx="584272" cy="468743"/>
            </a:xfrm>
            <a:custGeom>
              <a:avLst/>
              <a:gdLst>
                <a:gd name="connsiteX0" fmla="*/ 290635 w 584272"/>
                <a:gd name="connsiteY0" fmla="*/ 468400 h 468743"/>
                <a:gd name="connsiteX1" fmla="*/ 301096 w 584272"/>
                <a:gd name="connsiteY1" fmla="*/ 168003 h 468743"/>
                <a:gd name="connsiteX2" fmla="*/ -2522 w 584272"/>
                <a:gd name="connsiteY2" fmla="*/ 7010 h 468743"/>
                <a:gd name="connsiteX3" fmla="*/ 578860 w 584272"/>
                <a:gd name="connsiteY3" fmla="*/ 137 h 468743"/>
                <a:gd name="connsiteX4" fmla="*/ 581751 w 584272"/>
                <a:gd name="connsiteY4" fmla="*/ 468880 h 468743"/>
                <a:gd name="connsiteX5" fmla="*/ 290635 w 584272"/>
                <a:gd name="connsiteY5" fmla="*/ 468400 h 468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4272" h="468743">
                  <a:moveTo>
                    <a:pt x="290635" y="468400"/>
                  </a:moveTo>
                  <a:lnTo>
                    <a:pt x="301096" y="168003"/>
                  </a:lnTo>
                  <a:cubicBezTo>
                    <a:pt x="301096" y="168003"/>
                    <a:pt x="952" y="62728"/>
                    <a:pt x="-2522" y="7010"/>
                  </a:cubicBezTo>
                  <a:lnTo>
                    <a:pt x="578860" y="137"/>
                  </a:lnTo>
                  <a:lnTo>
                    <a:pt x="581751" y="468880"/>
                  </a:lnTo>
                  <a:lnTo>
                    <a:pt x="290635" y="468400"/>
                  </a:lnTo>
                </a:path>
              </a:pathLst>
            </a:custGeom>
            <a:solidFill>
              <a:srgbClr val="A24027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2" name="Vrije vorm 911">
              <a:extLst>
                <a:ext uri="{FF2B5EF4-FFF2-40B4-BE49-F238E27FC236}">
                  <a16:creationId xmlns:a16="http://schemas.microsoft.com/office/drawing/2014/main" id="{D0CB0BDB-46D0-5401-EB31-544F2D02E60F}"/>
                </a:ext>
              </a:extLst>
            </p:cNvPr>
            <p:cNvSpPr/>
            <p:nvPr/>
          </p:nvSpPr>
          <p:spPr>
            <a:xfrm flipV="1">
              <a:off x="8412796" y="5431243"/>
              <a:ext cx="45755" cy="45644"/>
            </a:xfrm>
            <a:custGeom>
              <a:avLst/>
              <a:gdLst>
                <a:gd name="connsiteX0" fmla="*/ 26043 w 45755"/>
                <a:gd name="connsiteY0" fmla="*/ 44841 h 45644"/>
                <a:gd name="connsiteX1" fmla="*/ 42590 w 45755"/>
                <a:gd name="connsiteY1" fmla="*/ 17452 h 45644"/>
                <a:gd name="connsiteX2" fmla="*/ 15596 w 45755"/>
                <a:gd name="connsiteY2" fmla="*/ 792 h 45644"/>
                <a:gd name="connsiteX3" fmla="*/ -1775 w 45755"/>
                <a:gd name="connsiteY3" fmla="*/ 29896 h 45644"/>
                <a:gd name="connsiteX4" fmla="*/ 28224 w 45755"/>
                <a:gd name="connsiteY4" fmla="*/ 44102 h 4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55" h="45644">
                  <a:moveTo>
                    <a:pt x="26043" y="44841"/>
                  </a:moveTo>
                  <a:cubicBezTo>
                    <a:pt x="37404" y="41719"/>
                    <a:pt x="45240" y="28934"/>
                    <a:pt x="42590" y="17452"/>
                  </a:cubicBezTo>
                  <a:cubicBezTo>
                    <a:pt x="39940" y="5957"/>
                    <a:pt x="27007" y="-2121"/>
                    <a:pt x="15596" y="792"/>
                  </a:cubicBezTo>
                  <a:cubicBezTo>
                    <a:pt x="4184" y="3711"/>
                    <a:pt x="-5693" y="18786"/>
                    <a:pt x="-1775" y="29896"/>
                  </a:cubicBezTo>
                  <a:cubicBezTo>
                    <a:pt x="2143" y="41010"/>
                    <a:pt x="17840" y="49673"/>
                    <a:pt x="28224" y="44102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3" name="Vrije vorm 912">
              <a:extLst>
                <a:ext uri="{FF2B5EF4-FFF2-40B4-BE49-F238E27FC236}">
                  <a16:creationId xmlns:a16="http://schemas.microsoft.com/office/drawing/2014/main" id="{0B8C0303-3F98-F5BE-F054-3D61E9243C5F}"/>
                </a:ext>
              </a:extLst>
            </p:cNvPr>
            <p:cNvSpPr/>
            <p:nvPr/>
          </p:nvSpPr>
          <p:spPr>
            <a:xfrm flipV="1">
              <a:off x="7958547" y="5586738"/>
              <a:ext cx="584538" cy="37333"/>
            </a:xfrm>
            <a:custGeom>
              <a:avLst/>
              <a:gdLst>
                <a:gd name="connsiteX0" fmla="*/ 581776 w 584538"/>
                <a:gd name="connsiteY0" fmla="*/ 329 h 37333"/>
                <a:gd name="connsiteX1" fmla="*/ 582017 w 584538"/>
                <a:gd name="connsiteY1" fmla="*/ 37663 h 37333"/>
                <a:gd name="connsiteX2" fmla="*/ 17600 w 584538"/>
                <a:gd name="connsiteY2" fmla="*/ 32980 h 37333"/>
                <a:gd name="connsiteX3" fmla="*/ -2522 w 584538"/>
                <a:gd name="connsiteY3" fmla="*/ 4056 h 37333"/>
                <a:gd name="connsiteX4" fmla="*/ 581776 w 584538"/>
                <a:gd name="connsiteY4" fmla="*/ 329 h 3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4538" h="37333">
                  <a:moveTo>
                    <a:pt x="581776" y="329"/>
                  </a:moveTo>
                  <a:lnTo>
                    <a:pt x="582017" y="37663"/>
                  </a:lnTo>
                  <a:lnTo>
                    <a:pt x="17600" y="32980"/>
                  </a:lnTo>
                  <a:cubicBezTo>
                    <a:pt x="17600" y="32980"/>
                    <a:pt x="-950" y="21613"/>
                    <a:pt x="-2522" y="4056"/>
                  </a:cubicBezTo>
                  <a:lnTo>
                    <a:pt x="581776" y="329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4" name="Vrije vorm 913">
              <a:extLst>
                <a:ext uri="{FF2B5EF4-FFF2-40B4-BE49-F238E27FC236}">
                  <a16:creationId xmlns:a16="http://schemas.microsoft.com/office/drawing/2014/main" id="{D7ACEA52-A8DC-3716-1B38-3890B8F71AA3}"/>
                </a:ext>
              </a:extLst>
            </p:cNvPr>
            <p:cNvSpPr/>
            <p:nvPr/>
          </p:nvSpPr>
          <p:spPr>
            <a:xfrm flipV="1">
              <a:off x="8259778" y="5455510"/>
              <a:ext cx="53493" cy="36300"/>
            </a:xfrm>
            <a:custGeom>
              <a:avLst/>
              <a:gdLst>
                <a:gd name="connsiteX0" fmla="*/ -2531 w 53493"/>
                <a:gd name="connsiteY0" fmla="*/ 33875 h 36300"/>
                <a:gd name="connsiteX1" fmla="*/ 25997 w 53493"/>
                <a:gd name="connsiteY1" fmla="*/ 20456 h 36300"/>
                <a:gd name="connsiteX2" fmla="*/ 50228 w 53493"/>
                <a:gd name="connsiteY2" fmla="*/ 283 h 36300"/>
                <a:gd name="connsiteX3" fmla="*/ 31348 w 53493"/>
                <a:gd name="connsiteY3" fmla="*/ 28880 h 36300"/>
                <a:gd name="connsiteX4" fmla="*/ -2531 w 53493"/>
                <a:gd name="connsiteY4" fmla="*/ 33875 h 3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493" h="36300">
                  <a:moveTo>
                    <a:pt x="-2531" y="33875"/>
                  </a:moveTo>
                  <a:cubicBezTo>
                    <a:pt x="-2429" y="31010"/>
                    <a:pt x="11898" y="29687"/>
                    <a:pt x="25997" y="20456"/>
                  </a:cubicBezTo>
                  <a:cubicBezTo>
                    <a:pt x="40325" y="11576"/>
                    <a:pt x="47590" y="-842"/>
                    <a:pt x="50228" y="283"/>
                  </a:cubicBezTo>
                  <a:cubicBezTo>
                    <a:pt x="52865" y="832"/>
                    <a:pt x="48617" y="17993"/>
                    <a:pt x="31348" y="28880"/>
                  </a:cubicBezTo>
                  <a:cubicBezTo>
                    <a:pt x="14193" y="39900"/>
                    <a:pt x="-3139" y="36501"/>
                    <a:pt x="-2531" y="33875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5" name="Vrije vorm 914">
              <a:extLst>
                <a:ext uri="{FF2B5EF4-FFF2-40B4-BE49-F238E27FC236}">
                  <a16:creationId xmlns:a16="http://schemas.microsoft.com/office/drawing/2014/main" id="{AA9ABA0F-36EA-9A25-3D07-BE91269108B0}"/>
                </a:ext>
              </a:extLst>
            </p:cNvPr>
            <p:cNvSpPr/>
            <p:nvPr/>
          </p:nvSpPr>
          <p:spPr>
            <a:xfrm flipV="1">
              <a:off x="8198173" y="5482400"/>
              <a:ext cx="38901" cy="45829"/>
            </a:xfrm>
            <a:custGeom>
              <a:avLst/>
              <a:gdLst>
                <a:gd name="connsiteX0" fmla="*/ -2474 w 38901"/>
                <a:gd name="connsiteY0" fmla="*/ 44916 h 45829"/>
                <a:gd name="connsiteX1" fmla="*/ 18992 w 38901"/>
                <a:gd name="connsiteY1" fmla="*/ 25100 h 45829"/>
                <a:gd name="connsiteX2" fmla="*/ 34372 w 38901"/>
                <a:gd name="connsiteY2" fmla="*/ 249 h 45829"/>
                <a:gd name="connsiteX3" fmla="*/ 26701 w 38901"/>
                <a:gd name="connsiteY3" fmla="*/ 31443 h 45829"/>
                <a:gd name="connsiteX4" fmla="*/ -2474 w 38901"/>
                <a:gd name="connsiteY4" fmla="*/ 44916 h 45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01" h="45829">
                  <a:moveTo>
                    <a:pt x="-2474" y="44916"/>
                  </a:moveTo>
                  <a:cubicBezTo>
                    <a:pt x="-3134" y="42122"/>
                    <a:pt x="9280" y="37240"/>
                    <a:pt x="18992" y="25100"/>
                  </a:cubicBezTo>
                  <a:cubicBezTo>
                    <a:pt x="29072" y="13237"/>
                    <a:pt x="31519" y="120"/>
                    <a:pt x="34372" y="249"/>
                  </a:cubicBezTo>
                  <a:cubicBezTo>
                    <a:pt x="37072" y="-208"/>
                    <a:pt x="39076" y="16587"/>
                    <a:pt x="26701" y="31443"/>
                  </a:cubicBezTo>
                  <a:cubicBezTo>
                    <a:pt x="14452" y="46422"/>
                    <a:pt x="-2411" y="47641"/>
                    <a:pt x="-2474" y="44916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6" name="Vrije vorm 915">
              <a:extLst>
                <a:ext uri="{FF2B5EF4-FFF2-40B4-BE49-F238E27FC236}">
                  <a16:creationId xmlns:a16="http://schemas.microsoft.com/office/drawing/2014/main" id="{26C6D3A5-691E-0C0E-8817-F4306A4AE21A}"/>
                </a:ext>
              </a:extLst>
            </p:cNvPr>
            <p:cNvSpPr/>
            <p:nvPr/>
          </p:nvSpPr>
          <p:spPr>
            <a:xfrm flipV="1">
              <a:off x="8140248" y="5507747"/>
              <a:ext cx="26355" cy="49531"/>
            </a:xfrm>
            <a:custGeom>
              <a:avLst/>
              <a:gdLst>
                <a:gd name="connsiteX0" fmla="*/ 20436 w 26355"/>
                <a:gd name="connsiteY0" fmla="*/ 284 h 49531"/>
                <a:gd name="connsiteX1" fmla="*/ 19701 w 26355"/>
                <a:gd name="connsiteY1" fmla="*/ 29713 h 49531"/>
                <a:gd name="connsiteX2" fmla="*/ -2260 w 26355"/>
                <a:gd name="connsiteY2" fmla="*/ 49302 h 49531"/>
                <a:gd name="connsiteX3" fmla="*/ 10648 w 26355"/>
                <a:gd name="connsiteY3" fmla="*/ 25517 h 49531"/>
                <a:gd name="connsiteX4" fmla="*/ 20436 w 26355"/>
                <a:gd name="connsiteY4" fmla="*/ 284 h 49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355" h="49531">
                  <a:moveTo>
                    <a:pt x="20436" y="284"/>
                  </a:moveTo>
                  <a:cubicBezTo>
                    <a:pt x="23048" y="-335"/>
                    <a:pt x="27055" y="13995"/>
                    <a:pt x="19701" y="29713"/>
                  </a:cubicBezTo>
                  <a:cubicBezTo>
                    <a:pt x="12474" y="45481"/>
                    <a:pt x="-1043" y="51686"/>
                    <a:pt x="-2260" y="49302"/>
                  </a:cubicBezTo>
                  <a:cubicBezTo>
                    <a:pt x="-3870" y="46943"/>
                    <a:pt x="4815" y="38504"/>
                    <a:pt x="10648" y="25517"/>
                  </a:cubicBezTo>
                  <a:cubicBezTo>
                    <a:pt x="16784" y="12667"/>
                    <a:pt x="17596" y="561"/>
                    <a:pt x="20436" y="284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7" name="Vrije vorm 916">
              <a:extLst>
                <a:ext uri="{FF2B5EF4-FFF2-40B4-BE49-F238E27FC236}">
                  <a16:creationId xmlns:a16="http://schemas.microsoft.com/office/drawing/2014/main" id="{C5D761EC-6394-CBE6-F2D5-F7CBAF41DF27}"/>
                </a:ext>
              </a:extLst>
            </p:cNvPr>
            <p:cNvSpPr/>
            <p:nvPr/>
          </p:nvSpPr>
          <p:spPr>
            <a:xfrm flipV="1">
              <a:off x="8264942" y="5378652"/>
              <a:ext cx="61136" cy="14485"/>
            </a:xfrm>
            <a:custGeom>
              <a:avLst/>
              <a:gdLst>
                <a:gd name="connsiteX0" fmla="*/ -2452 w 61136"/>
                <a:gd name="connsiteY0" fmla="*/ 4340 h 14485"/>
                <a:gd name="connsiteX1" fmla="*/ 28105 w 61136"/>
                <a:gd name="connsiteY1" fmla="*/ 4553 h 14485"/>
                <a:gd name="connsiteX2" fmla="*/ 58434 w 61136"/>
                <a:gd name="connsiteY2" fmla="*/ 761 h 14485"/>
                <a:gd name="connsiteX3" fmla="*/ 28689 w 61136"/>
                <a:gd name="connsiteY3" fmla="*/ 14512 h 14485"/>
                <a:gd name="connsiteX4" fmla="*/ -2452 w 61136"/>
                <a:gd name="connsiteY4" fmla="*/ 4340 h 14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36" h="14485">
                  <a:moveTo>
                    <a:pt x="-2452" y="4340"/>
                  </a:moveTo>
                  <a:cubicBezTo>
                    <a:pt x="-1247" y="1723"/>
                    <a:pt x="11901" y="5667"/>
                    <a:pt x="28105" y="4553"/>
                  </a:cubicBezTo>
                  <a:cubicBezTo>
                    <a:pt x="44335" y="3755"/>
                    <a:pt x="56938" y="-1686"/>
                    <a:pt x="58434" y="761"/>
                  </a:cubicBezTo>
                  <a:cubicBezTo>
                    <a:pt x="60095" y="2828"/>
                    <a:pt x="47796" y="13457"/>
                    <a:pt x="28689" y="14512"/>
                  </a:cubicBezTo>
                  <a:cubicBezTo>
                    <a:pt x="9606" y="15702"/>
                    <a:pt x="-3859" y="6594"/>
                    <a:pt x="-2452" y="4340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8" name="Vrije vorm 917">
              <a:extLst>
                <a:ext uri="{FF2B5EF4-FFF2-40B4-BE49-F238E27FC236}">
                  <a16:creationId xmlns:a16="http://schemas.microsoft.com/office/drawing/2014/main" id="{F4BBC735-1159-620A-93BD-D971764E403F}"/>
                </a:ext>
              </a:extLst>
            </p:cNvPr>
            <p:cNvSpPr/>
            <p:nvPr/>
          </p:nvSpPr>
          <p:spPr>
            <a:xfrm flipV="1">
              <a:off x="8254659" y="5276966"/>
              <a:ext cx="89315" cy="49499"/>
            </a:xfrm>
            <a:custGeom>
              <a:avLst/>
              <a:gdLst>
                <a:gd name="connsiteX0" fmla="*/ -2555 w 89315"/>
                <a:gd name="connsiteY0" fmla="*/ 2313 h 49499"/>
                <a:gd name="connsiteX1" fmla="*/ 26848 w 89315"/>
                <a:gd name="connsiteY1" fmla="*/ 2437 h 49499"/>
                <a:gd name="connsiteX2" fmla="*/ 57621 w 89315"/>
                <a:gd name="connsiteY2" fmla="*/ 11862 h 49499"/>
                <a:gd name="connsiteX3" fmla="*/ 74510 w 89315"/>
                <a:gd name="connsiteY3" fmla="*/ 20806 h 49499"/>
                <a:gd name="connsiteX4" fmla="*/ 83398 w 89315"/>
                <a:gd name="connsiteY4" fmla="*/ 27710 h 49499"/>
                <a:gd name="connsiteX5" fmla="*/ 84729 w 89315"/>
                <a:gd name="connsiteY5" fmla="*/ 42972 h 49499"/>
                <a:gd name="connsiteX6" fmla="*/ 72176 w 89315"/>
                <a:gd name="connsiteY6" fmla="*/ 49543 h 49499"/>
                <a:gd name="connsiteX7" fmla="*/ 61146 w 89315"/>
                <a:gd name="connsiteY7" fmla="*/ 48031 h 49499"/>
                <a:gd name="connsiteX8" fmla="*/ 42862 w 89315"/>
                <a:gd name="connsiteY8" fmla="*/ 41777 h 49499"/>
                <a:gd name="connsiteX9" fmla="*/ 15728 w 89315"/>
                <a:gd name="connsiteY9" fmla="*/ 24003 h 49499"/>
                <a:gd name="connsiteX10" fmla="*/ -1579 w 89315"/>
                <a:gd name="connsiteY10" fmla="*/ 127 h 49499"/>
                <a:gd name="connsiteX11" fmla="*/ 20217 w 89315"/>
                <a:gd name="connsiteY11" fmla="*/ 18552 h 49499"/>
                <a:gd name="connsiteX12" fmla="*/ 46463 w 89315"/>
                <a:gd name="connsiteY12" fmla="*/ 33314 h 49499"/>
                <a:gd name="connsiteX13" fmla="*/ 63339 w 89315"/>
                <a:gd name="connsiteY13" fmla="*/ 38501 h 49499"/>
                <a:gd name="connsiteX14" fmla="*/ 76449 w 89315"/>
                <a:gd name="connsiteY14" fmla="*/ 37402 h 49499"/>
                <a:gd name="connsiteX15" fmla="*/ 75803 w 89315"/>
                <a:gd name="connsiteY15" fmla="*/ 34102 h 49499"/>
                <a:gd name="connsiteX16" fmla="*/ 69260 w 89315"/>
                <a:gd name="connsiteY16" fmla="*/ 29067 h 49499"/>
                <a:gd name="connsiteX17" fmla="*/ 53728 w 89315"/>
                <a:gd name="connsiteY17" fmla="*/ 20197 h 49499"/>
                <a:gd name="connsiteX18" fmla="*/ 25289 w 89315"/>
                <a:gd name="connsiteY18" fmla="*/ 9325 h 49499"/>
                <a:gd name="connsiteX19" fmla="*/ -2555 w 89315"/>
                <a:gd name="connsiteY19" fmla="*/ 2313 h 49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9315" h="49499">
                  <a:moveTo>
                    <a:pt x="-2555" y="2313"/>
                  </a:moveTo>
                  <a:cubicBezTo>
                    <a:pt x="-2593" y="1133"/>
                    <a:pt x="8742" y="-655"/>
                    <a:pt x="26848" y="2437"/>
                  </a:cubicBezTo>
                  <a:cubicBezTo>
                    <a:pt x="35863" y="3988"/>
                    <a:pt x="46476" y="6932"/>
                    <a:pt x="57621" y="11862"/>
                  </a:cubicBezTo>
                  <a:cubicBezTo>
                    <a:pt x="63187" y="14340"/>
                    <a:pt x="68867" y="17294"/>
                    <a:pt x="74510" y="20806"/>
                  </a:cubicBezTo>
                  <a:cubicBezTo>
                    <a:pt x="77223" y="22545"/>
                    <a:pt x="80431" y="24295"/>
                    <a:pt x="83398" y="27710"/>
                  </a:cubicBezTo>
                  <a:cubicBezTo>
                    <a:pt x="86580" y="30702"/>
                    <a:pt x="88393" y="38298"/>
                    <a:pt x="84729" y="42972"/>
                  </a:cubicBezTo>
                  <a:cubicBezTo>
                    <a:pt x="81724" y="47485"/>
                    <a:pt x="76411" y="49439"/>
                    <a:pt x="72176" y="49543"/>
                  </a:cubicBezTo>
                  <a:cubicBezTo>
                    <a:pt x="67853" y="49681"/>
                    <a:pt x="64341" y="48819"/>
                    <a:pt x="61146" y="48031"/>
                  </a:cubicBezTo>
                  <a:cubicBezTo>
                    <a:pt x="54603" y="46445"/>
                    <a:pt x="48479" y="44290"/>
                    <a:pt x="42862" y="41777"/>
                  </a:cubicBezTo>
                  <a:cubicBezTo>
                    <a:pt x="31641" y="36679"/>
                    <a:pt x="22525" y="30232"/>
                    <a:pt x="15728" y="24003"/>
                  </a:cubicBezTo>
                  <a:cubicBezTo>
                    <a:pt x="2098" y="11396"/>
                    <a:pt x="-2568" y="688"/>
                    <a:pt x="-1579" y="127"/>
                  </a:cubicBezTo>
                  <a:cubicBezTo>
                    <a:pt x="-285" y="-824"/>
                    <a:pt x="6346" y="8146"/>
                    <a:pt x="20217" y="18552"/>
                  </a:cubicBezTo>
                  <a:cubicBezTo>
                    <a:pt x="27140" y="23725"/>
                    <a:pt x="35977" y="29077"/>
                    <a:pt x="46463" y="33314"/>
                  </a:cubicBezTo>
                  <a:cubicBezTo>
                    <a:pt x="51712" y="35395"/>
                    <a:pt x="57367" y="37183"/>
                    <a:pt x="63339" y="38501"/>
                  </a:cubicBezTo>
                  <a:cubicBezTo>
                    <a:pt x="69564" y="40128"/>
                    <a:pt x="74852" y="40167"/>
                    <a:pt x="76449" y="37402"/>
                  </a:cubicBezTo>
                  <a:cubicBezTo>
                    <a:pt x="77020" y="36336"/>
                    <a:pt x="77096" y="35915"/>
                    <a:pt x="75803" y="34102"/>
                  </a:cubicBezTo>
                  <a:cubicBezTo>
                    <a:pt x="74446" y="32426"/>
                    <a:pt x="71923" y="30791"/>
                    <a:pt x="69260" y="29067"/>
                  </a:cubicBezTo>
                  <a:cubicBezTo>
                    <a:pt x="64074" y="25678"/>
                    <a:pt x="58838" y="22734"/>
                    <a:pt x="53728" y="20197"/>
                  </a:cubicBezTo>
                  <a:cubicBezTo>
                    <a:pt x="43483" y="15113"/>
                    <a:pt x="33682" y="11659"/>
                    <a:pt x="25289" y="9325"/>
                  </a:cubicBezTo>
                  <a:cubicBezTo>
                    <a:pt x="8463" y="4647"/>
                    <a:pt x="-2606" y="3875"/>
                    <a:pt x="-2555" y="2313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9" name="Vrije vorm 918">
              <a:extLst>
                <a:ext uri="{FF2B5EF4-FFF2-40B4-BE49-F238E27FC236}">
                  <a16:creationId xmlns:a16="http://schemas.microsoft.com/office/drawing/2014/main" id="{06FCC4B9-6FCC-0F61-E139-29CA62720881}"/>
                </a:ext>
              </a:extLst>
            </p:cNvPr>
            <p:cNvSpPr/>
            <p:nvPr/>
          </p:nvSpPr>
          <p:spPr>
            <a:xfrm flipV="1">
              <a:off x="7520441" y="4573616"/>
              <a:ext cx="737019" cy="549745"/>
            </a:xfrm>
            <a:custGeom>
              <a:avLst/>
              <a:gdLst>
                <a:gd name="connsiteX0" fmla="*/ 482656 w 737019"/>
                <a:gd name="connsiteY0" fmla="*/ 549398 h 549745"/>
                <a:gd name="connsiteX1" fmla="*/ 341092 w 737019"/>
                <a:gd name="connsiteY1" fmla="*/ 284282 h 549745"/>
                <a:gd name="connsiteX2" fmla="*/ -2275 w 737019"/>
                <a:gd name="connsiteY2" fmla="*/ 297399 h 549745"/>
                <a:gd name="connsiteX3" fmla="*/ 497212 w 737019"/>
                <a:gd name="connsiteY3" fmla="*/ -347 h 549745"/>
                <a:gd name="connsiteX4" fmla="*/ 734745 w 737019"/>
                <a:gd name="connsiteY4" fmla="*/ 403705 h 549745"/>
                <a:gd name="connsiteX5" fmla="*/ 482656 w 737019"/>
                <a:gd name="connsiteY5" fmla="*/ 549398 h 54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7019" h="549745">
                  <a:moveTo>
                    <a:pt x="482656" y="549398"/>
                  </a:moveTo>
                  <a:lnTo>
                    <a:pt x="341092" y="284282"/>
                  </a:lnTo>
                  <a:cubicBezTo>
                    <a:pt x="341092" y="284282"/>
                    <a:pt x="28650" y="343855"/>
                    <a:pt x="-2275" y="297399"/>
                  </a:cubicBezTo>
                  <a:lnTo>
                    <a:pt x="497212" y="-347"/>
                  </a:lnTo>
                  <a:lnTo>
                    <a:pt x="734745" y="403705"/>
                  </a:lnTo>
                  <a:lnTo>
                    <a:pt x="482656" y="549398"/>
                  </a:lnTo>
                </a:path>
              </a:pathLst>
            </a:custGeom>
            <a:solidFill>
              <a:srgbClr val="A24027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0" name="Vrije vorm 919">
              <a:extLst>
                <a:ext uri="{FF2B5EF4-FFF2-40B4-BE49-F238E27FC236}">
                  <a16:creationId xmlns:a16="http://schemas.microsoft.com/office/drawing/2014/main" id="{7F1C0401-4F51-321A-26FE-0FFAF519FB96}"/>
                </a:ext>
              </a:extLst>
            </p:cNvPr>
            <p:cNvSpPr/>
            <p:nvPr/>
          </p:nvSpPr>
          <p:spPr>
            <a:xfrm flipV="1">
              <a:off x="7990573" y="4900171"/>
              <a:ext cx="44278" cy="45090"/>
            </a:xfrm>
            <a:custGeom>
              <a:avLst/>
              <a:gdLst>
                <a:gd name="connsiteX0" fmla="*/ 35503 w 44278"/>
                <a:gd name="connsiteY0" fmla="*/ 38478 h 45090"/>
                <a:gd name="connsiteX1" fmla="*/ 36086 w 44278"/>
                <a:gd name="connsiteY1" fmla="*/ 6478 h 45090"/>
                <a:gd name="connsiteX2" fmla="*/ 4388 w 44278"/>
                <a:gd name="connsiteY2" fmla="*/ 5625 h 45090"/>
                <a:gd name="connsiteX3" fmla="*/ 3944 w 44278"/>
                <a:gd name="connsiteY3" fmla="*/ 39510 h 45090"/>
                <a:gd name="connsiteX4" fmla="*/ 37024 w 44278"/>
                <a:gd name="connsiteY4" fmla="*/ 36744 h 45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278" h="45090">
                  <a:moveTo>
                    <a:pt x="35503" y="38478"/>
                  </a:moveTo>
                  <a:cubicBezTo>
                    <a:pt x="43769" y="30070"/>
                    <a:pt x="44137" y="15090"/>
                    <a:pt x="36086" y="6478"/>
                  </a:cubicBezTo>
                  <a:cubicBezTo>
                    <a:pt x="28035" y="-2124"/>
                    <a:pt x="12794" y="-2631"/>
                    <a:pt x="4388" y="5625"/>
                  </a:cubicBezTo>
                  <a:cubicBezTo>
                    <a:pt x="-4019" y="13871"/>
                    <a:pt x="-5020" y="31873"/>
                    <a:pt x="3944" y="39510"/>
                  </a:cubicBezTo>
                  <a:cubicBezTo>
                    <a:pt x="12908" y="47155"/>
                    <a:pt x="30837" y="46779"/>
                    <a:pt x="37024" y="36744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1" name="Vrije vorm 920">
              <a:extLst>
                <a:ext uri="{FF2B5EF4-FFF2-40B4-BE49-F238E27FC236}">
                  <a16:creationId xmlns:a16="http://schemas.microsoft.com/office/drawing/2014/main" id="{9905CEA1-E287-BD87-2E2E-A9F54564468B}"/>
                </a:ext>
              </a:extLst>
            </p:cNvPr>
            <p:cNvSpPr/>
            <p:nvPr/>
          </p:nvSpPr>
          <p:spPr>
            <a:xfrm flipV="1">
              <a:off x="7516346" y="4811915"/>
              <a:ext cx="522511" cy="311421"/>
            </a:xfrm>
            <a:custGeom>
              <a:avLst/>
              <a:gdLst>
                <a:gd name="connsiteX0" fmla="*/ 501396 w 522511"/>
                <a:gd name="connsiteY0" fmla="*/ -240 h 311421"/>
                <a:gd name="connsiteX1" fmla="*/ 520313 w 522511"/>
                <a:gd name="connsiteY1" fmla="*/ 31944 h 311421"/>
                <a:gd name="connsiteX2" fmla="*/ 29715 w 522511"/>
                <a:gd name="connsiteY2" fmla="*/ 311181 h 311421"/>
                <a:gd name="connsiteX3" fmla="*/ -2199 w 522511"/>
                <a:gd name="connsiteY3" fmla="*/ 296261 h 311421"/>
                <a:gd name="connsiteX4" fmla="*/ 501396 w 522511"/>
                <a:gd name="connsiteY4" fmla="*/ -240 h 311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511" h="311421">
                  <a:moveTo>
                    <a:pt x="501396" y="-240"/>
                  </a:moveTo>
                  <a:lnTo>
                    <a:pt x="520313" y="31944"/>
                  </a:lnTo>
                  <a:lnTo>
                    <a:pt x="29715" y="311181"/>
                  </a:lnTo>
                  <a:cubicBezTo>
                    <a:pt x="29715" y="311181"/>
                    <a:pt x="7970" y="310661"/>
                    <a:pt x="-2199" y="296261"/>
                  </a:cubicBezTo>
                  <a:lnTo>
                    <a:pt x="501396" y="-240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2" name="Vrije vorm 921">
              <a:extLst>
                <a:ext uri="{FF2B5EF4-FFF2-40B4-BE49-F238E27FC236}">
                  <a16:creationId xmlns:a16="http://schemas.microsoft.com/office/drawing/2014/main" id="{EE23CB0C-E85B-7962-ECCF-2B9B04CBEAD5}"/>
                </a:ext>
              </a:extLst>
            </p:cNvPr>
            <p:cNvSpPr/>
            <p:nvPr/>
          </p:nvSpPr>
          <p:spPr>
            <a:xfrm flipV="1">
              <a:off x="7858170" y="4837135"/>
              <a:ext cx="32476" cy="56151"/>
            </a:xfrm>
            <a:custGeom>
              <a:avLst/>
              <a:gdLst>
                <a:gd name="connsiteX0" fmla="*/ -2155 w 32476"/>
                <a:gd name="connsiteY0" fmla="*/ 55237 h 56151"/>
                <a:gd name="connsiteX1" fmla="*/ 15786 w 32476"/>
                <a:gd name="connsiteY1" fmla="*/ 29307 h 56151"/>
                <a:gd name="connsiteX2" fmla="*/ 26627 w 32476"/>
                <a:gd name="connsiteY2" fmla="*/ -301 h 56151"/>
                <a:gd name="connsiteX3" fmla="*/ 24637 w 32476"/>
                <a:gd name="connsiteY3" fmla="*/ 33900 h 56151"/>
                <a:gd name="connsiteX4" fmla="*/ -2155 w 32476"/>
                <a:gd name="connsiteY4" fmla="*/ 55237 h 5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76" h="56151">
                  <a:moveTo>
                    <a:pt x="-2155" y="55237"/>
                  </a:moveTo>
                  <a:cubicBezTo>
                    <a:pt x="-3524" y="52700"/>
                    <a:pt x="8217" y="44366"/>
                    <a:pt x="15786" y="29307"/>
                  </a:cubicBezTo>
                  <a:cubicBezTo>
                    <a:pt x="23736" y="14440"/>
                    <a:pt x="23787" y="40"/>
                    <a:pt x="26627" y="-301"/>
                  </a:cubicBezTo>
                  <a:cubicBezTo>
                    <a:pt x="29201" y="-1149"/>
                    <a:pt x="34108" y="15823"/>
                    <a:pt x="24637" y="33900"/>
                  </a:cubicBezTo>
                  <a:cubicBezTo>
                    <a:pt x="15330" y="52066"/>
                    <a:pt x="-1381" y="57809"/>
                    <a:pt x="-2155" y="55237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1007" name="Groep 1006">
              <a:extLst>
                <a:ext uri="{FF2B5EF4-FFF2-40B4-BE49-F238E27FC236}">
                  <a16:creationId xmlns:a16="http://schemas.microsoft.com/office/drawing/2014/main" id="{F972D2F5-C007-E8F5-58FC-15A8AD05C227}"/>
                </a:ext>
              </a:extLst>
            </p:cNvPr>
            <p:cNvGrpSpPr/>
            <p:nvPr/>
          </p:nvGrpSpPr>
          <p:grpSpPr>
            <a:xfrm>
              <a:off x="9355383" y="1839467"/>
              <a:ext cx="810549" cy="1126705"/>
              <a:chOff x="3380403" y="2374176"/>
              <a:chExt cx="810549" cy="1126705"/>
            </a:xfrm>
          </p:grpSpPr>
          <p:sp>
            <p:nvSpPr>
              <p:cNvPr id="1008" name="Vrije vorm 1007">
                <a:extLst>
                  <a:ext uri="{FF2B5EF4-FFF2-40B4-BE49-F238E27FC236}">
                    <a16:creationId xmlns:a16="http://schemas.microsoft.com/office/drawing/2014/main" id="{3752942D-563D-E320-C25F-C0A54C618A30}"/>
                  </a:ext>
                </a:extLst>
              </p:cNvPr>
              <p:cNvSpPr/>
              <p:nvPr/>
            </p:nvSpPr>
            <p:spPr>
              <a:xfrm flipV="1">
                <a:off x="3655446" y="3126191"/>
                <a:ext cx="247954" cy="374690"/>
              </a:xfrm>
              <a:custGeom>
                <a:avLst/>
                <a:gdLst>
                  <a:gd name="connsiteX0" fmla="*/ -2132 w 71754"/>
                  <a:gd name="connsiteY0" fmla="*/ 110616 h 148616"/>
                  <a:gd name="connsiteX1" fmla="*/ 624 w 71754"/>
                  <a:gd name="connsiteY1" fmla="*/ -3767 h 148616"/>
                  <a:gd name="connsiteX2" fmla="*/ 69622 w 71754"/>
                  <a:gd name="connsiteY2" fmla="*/ 27058 h 148616"/>
                  <a:gd name="connsiteX3" fmla="*/ 67446 w 71754"/>
                  <a:gd name="connsiteY3" fmla="*/ 144849 h 148616"/>
                  <a:gd name="connsiteX4" fmla="*/ -2132 w 71754"/>
                  <a:gd name="connsiteY4" fmla="*/ 11061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-2132" y="110616"/>
                    </a:moveTo>
                    <a:lnTo>
                      <a:pt x="624" y="-3767"/>
                    </a:lnTo>
                    <a:lnTo>
                      <a:pt x="69622" y="27058"/>
                    </a:lnTo>
                    <a:lnTo>
                      <a:pt x="67446" y="144849"/>
                    </a:lnTo>
                    <a:lnTo>
                      <a:pt x="-2132" y="11061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09" name="Vrije vorm 1008">
                <a:extLst>
                  <a:ext uri="{FF2B5EF4-FFF2-40B4-BE49-F238E27FC236}">
                    <a16:creationId xmlns:a16="http://schemas.microsoft.com/office/drawing/2014/main" id="{BD2B9D93-7AA4-2E2F-1D91-DD673097F742}"/>
                  </a:ext>
                </a:extLst>
              </p:cNvPr>
              <p:cNvSpPr/>
              <p:nvPr/>
            </p:nvSpPr>
            <p:spPr>
              <a:xfrm flipV="1">
                <a:off x="3439508" y="2481189"/>
                <a:ext cx="751444" cy="765364"/>
              </a:xfrm>
              <a:custGeom>
                <a:avLst/>
                <a:gdLst>
                  <a:gd name="connsiteX0" fmla="*/ 117813 w 217456"/>
                  <a:gd name="connsiteY0" fmla="*/ 294452 h 303572"/>
                  <a:gd name="connsiteX1" fmla="*/ 181598 w 217456"/>
                  <a:gd name="connsiteY1" fmla="*/ 234500 h 303572"/>
                  <a:gd name="connsiteX2" fmla="*/ 178261 w 217456"/>
                  <a:gd name="connsiteY2" fmla="*/ 158389 h 303572"/>
                  <a:gd name="connsiteX3" fmla="*/ 205112 w 217456"/>
                  <a:gd name="connsiteY3" fmla="*/ 165702 h 303572"/>
                  <a:gd name="connsiteX4" fmla="*/ 177028 w 217456"/>
                  <a:gd name="connsiteY4" fmla="*/ 91995 h 303572"/>
                  <a:gd name="connsiteX5" fmla="*/ 171121 w 217456"/>
                  <a:gd name="connsiteY5" fmla="*/ 51805 h 303572"/>
                  <a:gd name="connsiteX6" fmla="*/ 82589 w 217456"/>
                  <a:gd name="connsiteY6" fmla="*/ -3382 h 303572"/>
                  <a:gd name="connsiteX7" fmla="*/ -1198 w 217456"/>
                  <a:gd name="connsiteY7" fmla="*/ 60372 h 303572"/>
                  <a:gd name="connsiteX8" fmla="*/ -2141 w 217456"/>
                  <a:gd name="connsiteY8" fmla="*/ 246877 h 303572"/>
                  <a:gd name="connsiteX9" fmla="*/ 117813 w 217456"/>
                  <a:gd name="connsiteY9" fmla="*/ 294452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6" h="303572">
                    <a:moveTo>
                      <a:pt x="117813" y="294452"/>
                    </a:moveTo>
                    <a:cubicBezTo>
                      <a:pt x="183350" y="279516"/>
                      <a:pt x="181598" y="234500"/>
                      <a:pt x="181598" y="234500"/>
                    </a:cubicBezTo>
                    <a:cubicBezTo>
                      <a:pt x="181598" y="234500"/>
                      <a:pt x="179557" y="199759"/>
                      <a:pt x="178261" y="158389"/>
                    </a:cubicBezTo>
                    <a:cubicBezTo>
                      <a:pt x="184324" y="166717"/>
                      <a:pt x="194583" y="170208"/>
                      <a:pt x="205112" y="165702"/>
                    </a:cubicBezTo>
                    <a:cubicBezTo>
                      <a:pt x="227424" y="156162"/>
                      <a:pt x="210937" y="85914"/>
                      <a:pt x="177028" y="91995"/>
                    </a:cubicBezTo>
                    <a:cubicBezTo>
                      <a:pt x="175567" y="72376"/>
                      <a:pt x="173639" y="57098"/>
                      <a:pt x="171121" y="51805"/>
                    </a:cubicBezTo>
                    <a:cubicBezTo>
                      <a:pt x="161608" y="31825"/>
                      <a:pt x="119709" y="1372"/>
                      <a:pt x="82589" y="-3382"/>
                    </a:cubicBezTo>
                    <a:cubicBezTo>
                      <a:pt x="45457" y="-8136"/>
                      <a:pt x="-1198" y="16599"/>
                      <a:pt x="-1198" y="60372"/>
                    </a:cubicBezTo>
                    <a:cubicBezTo>
                      <a:pt x="-1198" y="104144"/>
                      <a:pt x="-2141" y="246877"/>
                      <a:pt x="-2141" y="246877"/>
                    </a:cubicBezTo>
                    <a:cubicBezTo>
                      <a:pt x="-2141" y="246877"/>
                      <a:pt x="9279" y="319197"/>
                      <a:pt x="117813" y="29445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0" name="Vrije vorm 1009">
                <a:extLst>
                  <a:ext uri="{FF2B5EF4-FFF2-40B4-BE49-F238E27FC236}">
                    <a16:creationId xmlns:a16="http://schemas.microsoft.com/office/drawing/2014/main" id="{A6D46558-7C0B-C28F-88CB-AF183DF4F86B}"/>
                  </a:ext>
                </a:extLst>
              </p:cNvPr>
              <p:cNvSpPr/>
              <p:nvPr/>
            </p:nvSpPr>
            <p:spPr>
              <a:xfrm flipV="1">
                <a:off x="3528175" y="2813263"/>
                <a:ext cx="116921" cy="208707"/>
              </a:xfrm>
              <a:custGeom>
                <a:avLst/>
                <a:gdLst>
                  <a:gd name="connsiteX0" fmla="*/ 31750 w 33835"/>
                  <a:gd name="connsiteY0" fmla="*/ 78842 h 82781"/>
                  <a:gd name="connsiteX1" fmla="*/ 22082 w 33835"/>
                  <a:gd name="connsiteY1" fmla="*/ 41346 h 82781"/>
                  <a:gd name="connsiteX2" fmla="*/ 13770 w 33835"/>
                  <a:gd name="connsiteY2" fmla="*/ 23655 h 82781"/>
                  <a:gd name="connsiteX3" fmla="*/ 1448 w 33835"/>
                  <a:gd name="connsiteY3" fmla="*/ 8149 h 82781"/>
                  <a:gd name="connsiteX4" fmla="*/ 1438 w 33835"/>
                  <a:gd name="connsiteY4" fmla="*/ 10624 h 82781"/>
                  <a:gd name="connsiteX5" fmla="*/ 15573 w 33835"/>
                  <a:gd name="connsiteY5" fmla="*/ -3939 h 82781"/>
                  <a:gd name="connsiteX6" fmla="*/ -749 w 33835"/>
                  <a:gd name="connsiteY6" fmla="*/ 8128 h 82781"/>
                  <a:gd name="connsiteX7" fmla="*/ -2085 w 33835"/>
                  <a:gd name="connsiteY7" fmla="*/ 9184 h 82781"/>
                  <a:gd name="connsiteX8" fmla="*/ -769 w 33835"/>
                  <a:gd name="connsiteY8" fmla="*/ 10604 h 82781"/>
                  <a:gd name="connsiteX9" fmla="*/ 17884 w 33835"/>
                  <a:gd name="connsiteY9" fmla="*/ 43035 h 82781"/>
                  <a:gd name="connsiteX10" fmla="*/ 31750 w 33835"/>
                  <a:gd name="connsiteY10" fmla="*/ 78842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5" h="82781">
                    <a:moveTo>
                      <a:pt x="31750" y="78842"/>
                    </a:moveTo>
                    <a:cubicBezTo>
                      <a:pt x="30009" y="66040"/>
                      <a:pt x="26828" y="53424"/>
                      <a:pt x="22082" y="41346"/>
                    </a:cubicBezTo>
                    <a:cubicBezTo>
                      <a:pt x="19833" y="35256"/>
                      <a:pt x="17180" y="29279"/>
                      <a:pt x="13770" y="23655"/>
                    </a:cubicBezTo>
                    <a:cubicBezTo>
                      <a:pt x="10444" y="18041"/>
                      <a:pt x="6765" y="12406"/>
                      <a:pt x="1448" y="8149"/>
                    </a:cubicBezTo>
                    <a:lnTo>
                      <a:pt x="1438" y="10624"/>
                    </a:lnTo>
                    <a:cubicBezTo>
                      <a:pt x="6298" y="5942"/>
                      <a:pt x="11024" y="1116"/>
                      <a:pt x="15573" y="-3939"/>
                    </a:cubicBezTo>
                    <a:cubicBezTo>
                      <a:pt x="9957" y="-117"/>
                      <a:pt x="4536" y="3923"/>
                      <a:pt x="-749" y="8128"/>
                    </a:cubicBezTo>
                    <a:lnTo>
                      <a:pt x="-2085" y="9184"/>
                    </a:lnTo>
                    <a:lnTo>
                      <a:pt x="-769" y="10604"/>
                    </a:lnTo>
                    <a:cubicBezTo>
                      <a:pt x="7615" y="19667"/>
                      <a:pt x="12734" y="31506"/>
                      <a:pt x="17884" y="43035"/>
                    </a:cubicBezTo>
                    <a:cubicBezTo>
                      <a:pt x="22734" y="54780"/>
                      <a:pt x="27232" y="66744"/>
                      <a:pt x="31750" y="7884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1" name="Vrije vorm 1010">
                <a:extLst>
                  <a:ext uri="{FF2B5EF4-FFF2-40B4-BE49-F238E27FC236}">
                    <a16:creationId xmlns:a16="http://schemas.microsoft.com/office/drawing/2014/main" id="{AFAB02B8-CA96-FE1A-EAA1-A15CA771E6ED}"/>
                  </a:ext>
                </a:extLst>
              </p:cNvPr>
              <p:cNvSpPr/>
              <p:nvPr/>
            </p:nvSpPr>
            <p:spPr>
              <a:xfrm flipV="1">
                <a:off x="3737867" y="2785293"/>
                <a:ext cx="65605" cy="87117"/>
              </a:xfrm>
              <a:custGeom>
                <a:avLst/>
                <a:gdLst>
                  <a:gd name="connsiteX0" fmla="*/ -2141 w 18985"/>
                  <a:gd name="connsiteY0" fmla="*/ 13300 h 34554"/>
                  <a:gd name="connsiteX1" fmla="*/ 7352 w 18985"/>
                  <a:gd name="connsiteY1" fmla="*/ -3978 h 34554"/>
                  <a:gd name="connsiteX2" fmla="*/ 16845 w 18985"/>
                  <a:gd name="connsiteY2" fmla="*/ 13300 h 34554"/>
                  <a:gd name="connsiteX3" fmla="*/ 7352 w 18985"/>
                  <a:gd name="connsiteY3" fmla="*/ 30577 h 34554"/>
                  <a:gd name="connsiteX4" fmla="*/ -2141 w 18985"/>
                  <a:gd name="connsiteY4" fmla="*/ 13300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141" y="13300"/>
                    </a:moveTo>
                    <a:cubicBezTo>
                      <a:pt x="-2141" y="3760"/>
                      <a:pt x="2108" y="-3978"/>
                      <a:pt x="7352" y="-3978"/>
                    </a:cubicBezTo>
                    <a:cubicBezTo>
                      <a:pt x="12596" y="-3978"/>
                      <a:pt x="16845" y="3760"/>
                      <a:pt x="16845" y="13300"/>
                    </a:cubicBezTo>
                    <a:cubicBezTo>
                      <a:pt x="16845" y="22839"/>
                      <a:pt x="12596" y="30577"/>
                      <a:pt x="7352" y="30577"/>
                    </a:cubicBezTo>
                    <a:cubicBezTo>
                      <a:pt x="2108" y="30577"/>
                      <a:pt x="-2141" y="22839"/>
                      <a:pt x="-2141" y="13300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2" name="Vrije vorm 1011">
                <a:extLst>
                  <a:ext uri="{FF2B5EF4-FFF2-40B4-BE49-F238E27FC236}">
                    <a16:creationId xmlns:a16="http://schemas.microsoft.com/office/drawing/2014/main" id="{A9A59DD2-1733-7732-4AE3-D8343BDEA7D3}"/>
                  </a:ext>
                </a:extLst>
              </p:cNvPr>
              <p:cNvSpPr/>
              <p:nvPr/>
            </p:nvSpPr>
            <p:spPr>
              <a:xfrm flipV="1">
                <a:off x="3461511" y="2794904"/>
                <a:ext cx="65605" cy="87117"/>
              </a:xfrm>
              <a:custGeom>
                <a:avLst/>
                <a:gdLst>
                  <a:gd name="connsiteX0" fmla="*/ -2074 w 18985"/>
                  <a:gd name="connsiteY0" fmla="*/ 13304 h 34554"/>
                  <a:gd name="connsiteX1" fmla="*/ 7419 w 18985"/>
                  <a:gd name="connsiteY1" fmla="*/ -3973 h 34554"/>
                  <a:gd name="connsiteX2" fmla="*/ 16911 w 18985"/>
                  <a:gd name="connsiteY2" fmla="*/ 13304 h 34554"/>
                  <a:gd name="connsiteX3" fmla="*/ 7419 w 18985"/>
                  <a:gd name="connsiteY3" fmla="*/ 30581 h 34554"/>
                  <a:gd name="connsiteX4" fmla="*/ -2074 w 18985"/>
                  <a:gd name="connsiteY4" fmla="*/ 13304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074" y="13304"/>
                    </a:moveTo>
                    <a:cubicBezTo>
                      <a:pt x="-2074" y="3764"/>
                      <a:pt x="2175" y="-3973"/>
                      <a:pt x="7419" y="-3973"/>
                    </a:cubicBezTo>
                    <a:cubicBezTo>
                      <a:pt x="12662" y="-3973"/>
                      <a:pt x="16911" y="3764"/>
                      <a:pt x="16911" y="13304"/>
                    </a:cubicBezTo>
                    <a:cubicBezTo>
                      <a:pt x="16911" y="22854"/>
                      <a:pt x="12662" y="30581"/>
                      <a:pt x="7419" y="30581"/>
                    </a:cubicBezTo>
                    <a:cubicBezTo>
                      <a:pt x="2175" y="30581"/>
                      <a:pt x="-2074" y="22854"/>
                      <a:pt x="-2074" y="13304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3" name="Vrije vorm 1012">
                <a:extLst>
                  <a:ext uri="{FF2B5EF4-FFF2-40B4-BE49-F238E27FC236}">
                    <a16:creationId xmlns:a16="http://schemas.microsoft.com/office/drawing/2014/main" id="{73384FAC-C4DA-ABE3-8973-880B046FB6BB}"/>
                  </a:ext>
                </a:extLst>
              </p:cNvPr>
              <p:cNvSpPr/>
              <p:nvPr/>
            </p:nvSpPr>
            <p:spPr>
              <a:xfrm flipV="1">
                <a:off x="3729002" y="2698418"/>
                <a:ext cx="177657" cy="50081"/>
              </a:xfrm>
              <a:custGeom>
                <a:avLst/>
                <a:gdLst>
                  <a:gd name="connsiteX0" fmla="*/ -2141 w 51411"/>
                  <a:gd name="connsiteY0" fmla="*/ 3589 h 19864"/>
                  <a:gd name="connsiteX1" fmla="*/ 10294 w 51411"/>
                  <a:gd name="connsiteY1" fmla="*/ 12777 h 19864"/>
                  <a:gd name="connsiteX2" fmla="*/ 25994 w 51411"/>
                  <a:gd name="connsiteY2" fmla="*/ 15822 h 19864"/>
                  <a:gd name="connsiteX3" fmla="*/ 41550 w 51411"/>
                  <a:gd name="connsiteY3" fmla="*/ 9815 h 19864"/>
                  <a:gd name="connsiteX4" fmla="*/ 49270 w 51411"/>
                  <a:gd name="connsiteY4" fmla="*/ -4023 h 19864"/>
                  <a:gd name="connsiteX5" fmla="*/ 37404 w 51411"/>
                  <a:gd name="connsiteY5" fmla="*/ 3382 h 19864"/>
                  <a:gd name="connsiteX6" fmla="*/ 25466 w 51411"/>
                  <a:gd name="connsiteY6" fmla="*/ 6044 h 19864"/>
                  <a:gd name="connsiteX7" fmla="*/ -2141 w 51411"/>
                  <a:gd name="connsiteY7" fmla="*/ 3589 h 19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411" h="19864">
                    <a:moveTo>
                      <a:pt x="-2141" y="3589"/>
                    </a:moveTo>
                    <a:cubicBezTo>
                      <a:pt x="1133" y="7753"/>
                      <a:pt x="5517" y="10685"/>
                      <a:pt x="10294" y="12777"/>
                    </a:cubicBezTo>
                    <a:cubicBezTo>
                      <a:pt x="15082" y="14911"/>
                      <a:pt x="20430" y="15998"/>
                      <a:pt x="25994" y="15822"/>
                    </a:cubicBezTo>
                    <a:cubicBezTo>
                      <a:pt x="31539" y="15429"/>
                      <a:pt x="37249" y="13492"/>
                      <a:pt x="41550" y="9815"/>
                    </a:cubicBezTo>
                    <a:cubicBezTo>
                      <a:pt x="46058" y="6335"/>
                      <a:pt x="48389" y="1010"/>
                      <a:pt x="49270" y="-4023"/>
                    </a:cubicBezTo>
                    <a:cubicBezTo>
                      <a:pt x="44835" y="-1010"/>
                      <a:pt x="41446" y="1922"/>
                      <a:pt x="37404" y="3382"/>
                    </a:cubicBezTo>
                    <a:cubicBezTo>
                      <a:pt x="33508" y="4915"/>
                      <a:pt x="29642" y="5848"/>
                      <a:pt x="25466" y="6044"/>
                    </a:cubicBezTo>
                    <a:cubicBezTo>
                      <a:pt x="17041" y="6490"/>
                      <a:pt x="8149" y="4781"/>
                      <a:pt x="-2141" y="3589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4" name="Vrije vorm 1013">
                <a:extLst>
                  <a:ext uri="{FF2B5EF4-FFF2-40B4-BE49-F238E27FC236}">
                    <a16:creationId xmlns:a16="http://schemas.microsoft.com/office/drawing/2014/main" id="{DE74ABA3-F9CC-7410-D430-2E45FC502FAA}"/>
                  </a:ext>
                </a:extLst>
              </p:cNvPr>
              <p:cNvSpPr/>
              <p:nvPr/>
            </p:nvSpPr>
            <p:spPr>
              <a:xfrm flipV="1">
                <a:off x="3452650" y="2699872"/>
                <a:ext cx="141452" cy="48624"/>
              </a:xfrm>
              <a:custGeom>
                <a:avLst/>
                <a:gdLst>
                  <a:gd name="connsiteX0" fmla="*/ 38864 w 40934"/>
                  <a:gd name="connsiteY0" fmla="*/ 3590 h 19286"/>
                  <a:gd name="connsiteX1" fmla="*/ 16397 w 40934"/>
                  <a:gd name="connsiteY1" fmla="*/ 6490 h 19286"/>
                  <a:gd name="connsiteX2" fmla="*/ 7226 w 40934"/>
                  <a:gd name="connsiteY2" fmla="*/ 3362 h 19286"/>
                  <a:gd name="connsiteX3" fmla="*/ -2070 w 40934"/>
                  <a:gd name="connsiteY3" fmla="*/ -4023 h 19286"/>
                  <a:gd name="connsiteX4" fmla="*/ 2697 w 40934"/>
                  <a:gd name="connsiteY4" fmla="*/ 8458 h 19286"/>
                  <a:gd name="connsiteX5" fmla="*/ 15496 w 40934"/>
                  <a:gd name="connsiteY5" fmla="*/ 15181 h 19286"/>
                  <a:gd name="connsiteX6" fmla="*/ 29102 w 40934"/>
                  <a:gd name="connsiteY6" fmla="*/ 12373 h 19286"/>
                  <a:gd name="connsiteX7" fmla="*/ 38864 w 40934"/>
                  <a:gd name="connsiteY7" fmla="*/ 3590 h 1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34" h="19286">
                    <a:moveTo>
                      <a:pt x="38864" y="3590"/>
                    </a:moveTo>
                    <a:cubicBezTo>
                      <a:pt x="30274" y="5289"/>
                      <a:pt x="22926" y="7194"/>
                      <a:pt x="16397" y="6490"/>
                    </a:cubicBezTo>
                    <a:cubicBezTo>
                      <a:pt x="13133" y="6314"/>
                      <a:pt x="10221" y="5154"/>
                      <a:pt x="7226" y="3362"/>
                    </a:cubicBezTo>
                    <a:cubicBezTo>
                      <a:pt x="4127" y="1632"/>
                      <a:pt x="1443" y="-1164"/>
                      <a:pt x="-2070" y="-4023"/>
                    </a:cubicBezTo>
                    <a:cubicBezTo>
                      <a:pt x="-1863" y="348"/>
                      <a:pt x="-526" y="4895"/>
                      <a:pt x="2697" y="8458"/>
                    </a:cubicBezTo>
                    <a:cubicBezTo>
                      <a:pt x="5671" y="12187"/>
                      <a:pt x="10573" y="14745"/>
                      <a:pt x="15496" y="15181"/>
                    </a:cubicBezTo>
                    <a:cubicBezTo>
                      <a:pt x="20418" y="15584"/>
                      <a:pt x="25133" y="14486"/>
                      <a:pt x="29102" y="12373"/>
                    </a:cubicBezTo>
                    <a:cubicBezTo>
                      <a:pt x="33072" y="10302"/>
                      <a:pt x="36543" y="7443"/>
                      <a:pt x="38864" y="3590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5" name="Vrije vorm 1014">
                <a:extLst>
                  <a:ext uri="{FF2B5EF4-FFF2-40B4-BE49-F238E27FC236}">
                    <a16:creationId xmlns:a16="http://schemas.microsoft.com/office/drawing/2014/main" id="{9A66895E-0241-57B6-631F-AC0AB7FA52DB}"/>
                  </a:ext>
                </a:extLst>
              </p:cNvPr>
              <p:cNvSpPr/>
              <p:nvPr/>
            </p:nvSpPr>
            <p:spPr>
              <a:xfrm flipV="1">
                <a:off x="3575479" y="3043854"/>
                <a:ext cx="302995" cy="73692"/>
              </a:xfrm>
              <a:custGeom>
                <a:avLst/>
                <a:gdLst>
                  <a:gd name="connsiteX0" fmla="*/ 85563 w 87682"/>
                  <a:gd name="connsiteY0" fmla="*/ 25361 h 29229"/>
                  <a:gd name="connsiteX1" fmla="*/ -2119 w 87682"/>
                  <a:gd name="connsiteY1" fmla="*/ 20793 h 29229"/>
                  <a:gd name="connsiteX2" fmla="*/ 85563 w 87682"/>
                  <a:gd name="connsiteY2" fmla="*/ 25361 h 29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682" h="29229">
                    <a:moveTo>
                      <a:pt x="85563" y="25361"/>
                    </a:moveTo>
                    <a:lnTo>
                      <a:pt x="-2119" y="20793"/>
                    </a:lnTo>
                    <a:cubicBezTo>
                      <a:pt x="-2119" y="20793"/>
                      <a:pt x="43551" y="-37626"/>
                      <a:pt x="85563" y="25361"/>
                    </a:cubicBezTo>
                  </a:path>
                </a:pathLst>
              </a:custGeom>
              <a:solidFill>
                <a:srgbClr val="B8596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6" name="Vrije vorm 1015">
                <a:extLst>
                  <a:ext uri="{FF2B5EF4-FFF2-40B4-BE49-F238E27FC236}">
                    <a16:creationId xmlns:a16="http://schemas.microsoft.com/office/drawing/2014/main" id="{B427ECE7-A686-DA84-44FE-6373C0EC6196}"/>
                  </a:ext>
                </a:extLst>
              </p:cNvPr>
              <p:cNvSpPr/>
              <p:nvPr/>
            </p:nvSpPr>
            <p:spPr>
              <a:xfrm flipV="1">
                <a:off x="3575479" y="3043854"/>
                <a:ext cx="302995" cy="65049"/>
              </a:xfrm>
              <a:custGeom>
                <a:avLst/>
                <a:gdLst>
                  <a:gd name="connsiteX0" fmla="*/ 77252 w 87682"/>
                  <a:gd name="connsiteY0" fmla="*/ 17032 h 25801"/>
                  <a:gd name="connsiteX1" fmla="*/ 25188 w 87682"/>
                  <a:gd name="connsiteY1" fmla="*/ -3870 h 25801"/>
                  <a:gd name="connsiteX2" fmla="*/ -2119 w 87682"/>
                  <a:gd name="connsiteY2" fmla="*/ 17364 h 25801"/>
                  <a:gd name="connsiteX3" fmla="*/ 85563 w 87682"/>
                  <a:gd name="connsiteY3" fmla="*/ 21932 h 25801"/>
                  <a:gd name="connsiteX4" fmla="*/ 82278 w 87682"/>
                  <a:gd name="connsiteY4" fmla="*/ 16732 h 25801"/>
                  <a:gd name="connsiteX5" fmla="*/ 77252 w 87682"/>
                  <a:gd name="connsiteY5" fmla="*/ 17032 h 25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7682" h="25801">
                    <a:moveTo>
                      <a:pt x="77252" y="17032"/>
                    </a:moveTo>
                    <a:cubicBezTo>
                      <a:pt x="56858" y="17032"/>
                      <a:pt x="37686" y="9937"/>
                      <a:pt x="25188" y="-3870"/>
                    </a:cubicBezTo>
                    <a:cubicBezTo>
                      <a:pt x="5124" y="2334"/>
                      <a:pt x="-2119" y="17364"/>
                      <a:pt x="-2119" y="17364"/>
                    </a:cubicBezTo>
                    <a:lnTo>
                      <a:pt x="85563" y="21932"/>
                    </a:lnTo>
                    <a:cubicBezTo>
                      <a:pt x="84486" y="20088"/>
                      <a:pt x="83387" y="18368"/>
                      <a:pt x="82278" y="16732"/>
                    </a:cubicBezTo>
                    <a:cubicBezTo>
                      <a:pt x="80620" y="16918"/>
                      <a:pt x="78952" y="17032"/>
                      <a:pt x="77252" y="17032"/>
                    </a:cubicBezTo>
                  </a:path>
                </a:pathLst>
              </a:custGeom>
              <a:solidFill>
                <a:srgbClr val="642A32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7" name="Vrije vorm 1016">
                <a:extLst>
                  <a:ext uri="{FF2B5EF4-FFF2-40B4-BE49-F238E27FC236}">
                    <a16:creationId xmlns:a16="http://schemas.microsoft.com/office/drawing/2014/main" id="{49C8FAFF-4DFD-0214-CBDD-5F2C5942CC1E}"/>
                  </a:ext>
                </a:extLst>
              </p:cNvPr>
              <p:cNvSpPr/>
              <p:nvPr/>
            </p:nvSpPr>
            <p:spPr>
              <a:xfrm flipV="1">
                <a:off x="4067849" y="2846502"/>
                <a:ext cx="96180" cy="130202"/>
              </a:xfrm>
              <a:custGeom>
                <a:avLst/>
                <a:gdLst>
                  <a:gd name="connsiteX0" fmla="*/ 20192 w 27833"/>
                  <a:gd name="connsiteY0" fmla="*/ 46603 h 51643"/>
                  <a:gd name="connsiteX1" fmla="*/ -2214 w 27833"/>
                  <a:gd name="connsiteY1" fmla="*/ 13789 h 51643"/>
                  <a:gd name="connsiteX2" fmla="*/ 3611 w 27833"/>
                  <a:gd name="connsiteY2" fmla="*/ -3706 h 51643"/>
                  <a:gd name="connsiteX3" fmla="*/ 20192 w 27833"/>
                  <a:gd name="connsiteY3" fmla="*/ 4660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33" h="51643">
                    <a:moveTo>
                      <a:pt x="20192" y="46603"/>
                    </a:moveTo>
                    <a:cubicBezTo>
                      <a:pt x="8554" y="52486"/>
                      <a:pt x="-1737" y="33769"/>
                      <a:pt x="-2214" y="13789"/>
                    </a:cubicBezTo>
                    <a:cubicBezTo>
                      <a:pt x="7310" y="15208"/>
                      <a:pt x="8916" y="4135"/>
                      <a:pt x="3611" y="-3706"/>
                    </a:cubicBezTo>
                    <a:cubicBezTo>
                      <a:pt x="22503" y="-7704"/>
                      <a:pt x="32524" y="40357"/>
                      <a:pt x="20192" y="4660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8" name="Vrije vorm 1017">
                <a:extLst>
                  <a:ext uri="{FF2B5EF4-FFF2-40B4-BE49-F238E27FC236}">
                    <a16:creationId xmlns:a16="http://schemas.microsoft.com/office/drawing/2014/main" id="{FCC1B9C3-76E5-1C03-4746-11273A7B0AFE}"/>
                  </a:ext>
                </a:extLst>
              </p:cNvPr>
              <p:cNvSpPr/>
              <p:nvPr/>
            </p:nvSpPr>
            <p:spPr>
              <a:xfrm flipH="1" flipV="1">
                <a:off x="3380403" y="2374176"/>
                <a:ext cx="775562" cy="506916"/>
              </a:xfrm>
              <a:custGeom>
                <a:avLst/>
                <a:gdLst>
                  <a:gd name="connsiteX0" fmla="*/ 7576 w 467845"/>
                  <a:gd name="connsiteY0" fmla="*/ 18404 h 298152"/>
                  <a:gd name="connsiteX1" fmla="*/ 88440 w 467845"/>
                  <a:gd name="connsiteY1" fmla="*/ -4021 h 298152"/>
                  <a:gd name="connsiteX2" fmla="*/ 117187 w 467845"/>
                  <a:gd name="connsiteY2" fmla="*/ -4021 h 298152"/>
                  <a:gd name="connsiteX3" fmla="*/ 129509 w 467845"/>
                  <a:gd name="connsiteY3" fmla="*/ 87036 h 298152"/>
                  <a:gd name="connsiteX4" fmla="*/ 206736 w 467845"/>
                  <a:gd name="connsiteY4" fmla="*/ 156010 h 298152"/>
                  <a:gd name="connsiteX5" fmla="*/ 418963 w 467845"/>
                  <a:gd name="connsiteY5" fmla="*/ 132508 h 298152"/>
                  <a:gd name="connsiteX6" fmla="*/ 91165 w 467845"/>
                  <a:gd name="connsiteY6" fmla="*/ 270352 h 298152"/>
                  <a:gd name="connsiteX7" fmla="*/ 7576 w 467845"/>
                  <a:gd name="connsiteY7" fmla="*/ 18404 h 29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7845" h="298152">
                    <a:moveTo>
                      <a:pt x="7576" y="18404"/>
                    </a:moveTo>
                    <a:cubicBezTo>
                      <a:pt x="7576" y="18404"/>
                      <a:pt x="51464" y="46971"/>
                      <a:pt x="88440" y="-4021"/>
                    </a:cubicBezTo>
                    <a:lnTo>
                      <a:pt x="117187" y="-4021"/>
                    </a:lnTo>
                    <a:cubicBezTo>
                      <a:pt x="117187" y="-4021"/>
                      <a:pt x="115550" y="55020"/>
                      <a:pt x="129509" y="87036"/>
                    </a:cubicBezTo>
                    <a:cubicBezTo>
                      <a:pt x="143468" y="119063"/>
                      <a:pt x="198517" y="118235"/>
                      <a:pt x="206736" y="156010"/>
                    </a:cubicBezTo>
                    <a:cubicBezTo>
                      <a:pt x="206736" y="156010"/>
                      <a:pt x="341467" y="91180"/>
                      <a:pt x="418963" y="132508"/>
                    </a:cubicBezTo>
                    <a:cubicBezTo>
                      <a:pt x="594173" y="225927"/>
                      <a:pt x="225969" y="345758"/>
                      <a:pt x="91165" y="270352"/>
                    </a:cubicBezTo>
                    <a:cubicBezTo>
                      <a:pt x="-8984" y="214346"/>
                      <a:pt x="-13316" y="118918"/>
                      <a:pt x="7576" y="18404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 dirty="0"/>
              </a:p>
            </p:txBody>
          </p:sp>
          <p:grpSp>
            <p:nvGrpSpPr>
              <p:cNvPr id="1019" name="Groep 1018">
                <a:extLst>
                  <a:ext uri="{FF2B5EF4-FFF2-40B4-BE49-F238E27FC236}">
                    <a16:creationId xmlns:a16="http://schemas.microsoft.com/office/drawing/2014/main" id="{3811EF5C-5FE6-B0AD-1880-C4EB8828EEA1}"/>
                  </a:ext>
                </a:extLst>
              </p:cNvPr>
              <p:cNvGrpSpPr/>
              <p:nvPr/>
            </p:nvGrpSpPr>
            <p:grpSpPr>
              <a:xfrm>
                <a:off x="3417999" y="2744509"/>
                <a:ext cx="649851" cy="186001"/>
                <a:chOff x="4327649" y="1446838"/>
                <a:chExt cx="599104" cy="194019"/>
              </a:xfrm>
            </p:grpSpPr>
            <p:sp>
              <p:nvSpPr>
                <p:cNvPr id="1020" name="Vrije vorm 1019">
                  <a:extLst>
                    <a:ext uri="{FF2B5EF4-FFF2-40B4-BE49-F238E27FC236}">
                      <a16:creationId xmlns:a16="http://schemas.microsoft.com/office/drawing/2014/main" id="{ECEBB822-4E6E-33C5-B1AE-5EB4D3B62433}"/>
                    </a:ext>
                  </a:extLst>
                </p:cNvPr>
                <p:cNvSpPr/>
                <p:nvPr/>
              </p:nvSpPr>
              <p:spPr>
                <a:xfrm flipV="1">
                  <a:off x="4327649" y="1460857"/>
                  <a:ext cx="180000" cy="180000"/>
                </a:xfrm>
                <a:custGeom>
                  <a:avLst/>
                  <a:gdLst>
                    <a:gd name="connsiteX0" fmla="*/ 56246 w 117549"/>
                    <a:gd name="connsiteY0" fmla="*/ 103954 h 117480"/>
                    <a:gd name="connsiteX1" fmla="*/ 7156 w 117549"/>
                    <a:gd name="connsiteY1" fmla="*/ 54888 h 117480"/>
                    <a:gd name="connsiteX2" fmla="*/ 56246 w 117549"/>
                    <a:gd name="connsiteY2" fmla="*/ 5822 h 117480"/>
                    <a:gd name="connsiteX3" fmla="*/ 105347 w 117549"/>
                    <a:gd name="connsiteY3" fmla="*/ 54888 h 117480"/>
                    <a:gd name="connsiteX4" fmla="*/ 56246 w 117549"/>
                    <a:gd name="connsiteY4" fmla="*/ 103954 h 117480"/>
                    <a:gd name="connsiteX5" fmla="*/ 56246 w 117549"/>
                    <a:gd name="connsiteY5" fmla="*/ -3852 h 117480"/>
                    <a:gd name="connsiteX6" fmla="*/ -2534 w 117549"/>
                    <a:gd name="connsiteY6" fmla="*/ 54888 h 117480"/>
                    <a:gd name="connsiteX7" fmla="*/ 56246 w 117549"/>
                    <a:gd name="connsiteY7" fmla="*/ 113628 h 117480"/>
                    <a:gd name="connsiteX8" fmla="*/ 115015 w 117549"/>
                    <a:gd name="connsiteY8" fmla="*/ 54888 h 117480"/>
                    <a:gd name="connsiteX9" fmla="*/ 56246 w 117549"/>
                    <a:gd name="connsiteY9" fmla="*/ -3852 h 117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7549" h="117480">
                      <a:moveTo>
                        <a:pt x="56246" y="103954"/>
                      </a:moveTo>
                      <a:cubicBezTo>
                        <a:pt x="29177" y="103954"/>
                        <a:pt x="7156" y="81943"/>
                        <a:pt x="7156" y="54888"/>
                      </a:cubicBezTo>
                      <a:cubicBezTo>
                        <a:pt x="7156" y="27833"/>
                        <a:pt x="29177" y="5822"/>
                        <a:pt x="56246" y="5822"/>
                      </a:cubicBezTo>
                      <a:cubicBezTo>
                        <a:pt x="83315" y="5822"/>
                        <a:pt x="105347" y="27833"/>
                        <a:pt x="105347" y="54888"/>
                      </a:cubicBezTo>
                      <a:cubicBezTo>
                        <a:pt x="105347" y="81943"/>
                        <a:pt x="83315" y="103954"/>
                        <a:pt x="56246" y="103954"/>
                      </a:cubicBezTo>
                      <a:close/>
                      <a:moveTo>
                        <a:pt x="56246" y="-3852"/>
                      </a:moveTo>
                      <a:cubicBezTo>
                        <a:pt x="23830" y="-3852"/>
                        <a:pt x="-2534" y="22499"/>
                        <a:pt x="-2534" y="54888"/>
                      </a:cubicBezTo>
                      <a:cubicBezTo>
                        <a:pt x="-2534" y="87288"/>
                        <a:pt x="23830" y="113628"/>
                        <a:pt x="56246" y="113628"/>
                      </a:cubicBezTo>
                      <a:cubicBezTo>
                        <a:pt x="88651" y="113628"/>
                        <a:pt x="115015" y="87288"/>
                        <a:pt x="115015" y="54888"/>
                      </a:cubicBezTo>
                      <a:cubicBezTo>
                        <a:pt x="115015" y="22499"/>
                        <a:pt x="88651" y="-3852"/>
                        <a:pt x="56246" y="-3852"/>
                      </a:cubicBezTo>
                    </a:path>
                  </a:pathLst>
                </a:custGeom>
                <a:solidFill>
                  <a:srgbClr val="292E4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021" name="Vrije vorm 1020">
                  <a:extLst>
                    <a:ext uri="{FF2B5EF4-FFF2-40B4-BE49-F238E27FC236}">
                      <a16:creationId xmlns:a16="http://schemas.microsoft.com/office/drawing/2014/main" id="{9DEF5CFC-46CA-A371-5CD1-18A2585B06E5}"/>
                    </a:ext>
                  </a:extLst>
                </p:cNvPr>
                <p:cNvSpPr/>
                <p:nvPr/>
              </p:nvSpPr>
              <p:spPr>
                <a:xfrm flipV="1">
                  <a:off x="4575074" y="1446838"/>
                  <a:ext cx="180000" cy="180000"/>
                </a:xfrm>
                <a:custGeom>
                  <a:avLst/>
                  <a:gdLst>
                    <a:gd name="connsiteX0" fmla="*/ 56107 w 117539"/>
                    <a:gd name="connsiteY0" fmla="*/ 103954 h 117480"/>
                    <a:gd name="connsiteX1" fmla="*/ 7017 w 117539"/>
                    <a:gd name="connsiteY1" fmla="*/ 54888 h 117480"/>
                    <a:gd name="connsiteX2" fmla="*/ 56107 w 117539"/>
                    <a:gd name="connsiteY2" fmla="*/ 5822 h 117480"/>
                    <a:gd name="connsiteX3" fmla="*/ 105198 w 117539"/>
                    <a:gd name="connsiteY3" fmla="*/ 54888 h 117480"/>
                    <a:gd name="connsiteX4" fmla="*/ 56107 w 117539"/>
                    <a:gd name="connsiteY4" fmla="*/ 103954 h 117480"/>
                    <a:gd name="connsiteX5" fmla="*/ 56107 w 117539"/>
                    <a:gd name="connsiteY5" fmla="*/ -3852 h 117480"/>
                    <a:gd name="connsiteX6" fmla="*/ -2662 w 117539"/>
                    <a:gd name="connsiteY6" fmla="*/ 54888 h 117480"/>
                    <a:gd name="connsiteX7" fmla="*/ 56107 w 117539"/>
                    <a:gd name="connsiteY7" fmla="*/ 113628 h 117480"/>
                    <a:gd name="connsiteX8" fmla="*/ 114877 w 117539"/>
                    <a:gd name="connsiteY8" fmla="*/ 54888 h 117480"/>
                    <a:gd name="connsiteX9" fmla="*/ 56107 w 117539"/>
                    <a:gd name="connsiteY9" fmla="*/ -3852 h 117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7539" h="117480">
                      <a:moveTo>
                        <a:pt x="56107" y="103954"/>
                      </a:moveTo>
                      <a:cubicBezTo>
                        <a:pt x="29039" y="103954"/>
                        <a:pt x="7017" y="81943"/>
                        <a:pt x="7017" y="54888"/>
                      </a:cubicBezTo>
                      <a:cubicBezTo>
                        <a:pt x="7017" y="27833"/>
                        <a:pt x="29039" y="5822"/>
                        <a:pt x="56107" y="5822"/>
                      </a:cubicBezTo>
                      <a:cubicBezTo>
                        <a:pt x="83176" y="5822"/>
                        <a:pt x="105198" y="27833"/>
                        <a:pt x="105198" y="54888"/>
                      </a:cubicBezTo>
                      <a:cubicBezTo>
                        <a:pt x="105198" y="81943"/>
                        <a:pt x="83176" y="103954"/>
                        <a:pt x="56107" y="103954"/>
                      </a:cubicBezTo>
                      <a:close/>
                      <a:moveTo>
                        <a:pt x="56107" y="-3852"/>
                      </a:moveTo>
                      <a:cubicBezTo>
                        <a:pt x="23702" y="-3852"/>
                        <a:pt x="-2662" y="22499"/>
                        <a:pt x="-2662" y="54888"/>
                      </a:cubicBezTo>
                      <a:cubicBezTo>
                        <a:pt x="-2662" y="87288"/>
                        <a:pt x="23702" y="113628"/>
                        <a:pt x="56107" y="113628"/>
                      </a:cubicBezTo>
                      <a:cubicBezTo>
                        <a:pt x="88513" y="113628"/>
                        <a:pt x="114877" y="87288"/>
                        <a:pt x="114877" y="54888"/>
                      </a:cubicBezTo>
                      <a:cubicBezTo>
                        <a:pt x="114877" y="22499"/>
                        <a:pt x="88513" y="-3852"/>
                        <a:pt x="56107" y="-3852"/>
                      </a:cubicBezTo>
                    </a:path>
                  </a:pathLst>
                </a:custGeom>
                <a:solidFill>
                  <a:srgbClr val="292E4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022" name="Vrije vorm 1021">
                  <a:extLst>
                    <a:ext uri="{FF2B5EF4-FFF2-40B4-BE49-F238E27FC236}">
                      <a16:creationId xmlns:a16="http://schemas.microsoft.com/office/drawing/2014/main" id="{748760B0-F5F2-FA0B-3D1F-BC6C26516499}"/>
                    </a:ext>
                  </a:extLst>
                </p:cNvPr>
                <p:cNvSpPr/>
                <p:nvPr/>
              </p:nvSpPr>
              <p:spPr>
                <a:xfrm flipV="1">
                  <a:off x="4746753" y="1519175"/>
                  <a:ext cx="180000" cy="16442"/>
                </a:xfrm>
                <a:custGeom>
                  <a:avLst/>
                  <a:gdLst>
                    <a:gd name="connsiteX0" fmla="*/ 108369 w 111559"/>
                    <a:gd name="connsiteY0" fmla="*/ -3873 h 18230"/>
                    <a:gd name="connsiteX1" fmla="*/ -2444 w 111559"/>
                    <a:gd name="connsiteY1" fmla="*/ 4714 h 18230"/>
                    <a:gd name="connsiteX2" fmla="*/ -1698 w 111559"/>
                    <a:gd name="connsiteY2" fmla="*/ 14357 h 18230"/>
                    <a:gd name="connsiteX3" fmla="*/ 109115 w 111559"/>
                    <a:gd name="connsiteY3" fmla="*/ 5770 h 18230"/>
                    <a:gd name="connsiteX4" fmla="*/ 108369 w 111559"/>
                    <a:gd name="connsiteY4" fmla="*/ -3873 h 18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1559" h="18230">
                      <a:moveTo>
                        <a:pt x="108369" y="-3873"/>
                      </a:moveTo>
                      <a:lnTo>
                        <a:pt x="-2444" y="4714"/>
                      </a:lnTo>
                      <a:lnTo>
                        <a:pt x="-1698" y="14357"/>
                      </a:lnTo>
                      <a:lnTo>
                        <a:pt x="109115" y="5770"/>
                      </a:lnTo>
                      <a:lnTo>
                        <a:pt x="108369" y="-3873"/>
                      </a:lnTo>
                    </a:path>
                  </a:pathLst>
                </a:custGeom>
                <a:solidFill>
                  <a:srgbClr val="292E4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  <p:sp>
              <p:nvSpPr>
                <p:cNvPr id="1023" name="Vrije vorm 1022">
                  <a:extLst>
                    <a:ext uri="{FF2B5EF4-FFF2-40B4-BE49-F238E27FC236}">
                      <a16:creationId xmlns:a16="http://schemas.microsoft.com/office/drawing/2014/main" id="{584FF41D-8DCC-6447-3B12-73ADDAC892C2}"/>
                    </a:ext>
                  </a:extLst>
                </p:cNvPr>
                <p:cNvSpPr/>
                <p:nvPr/>
              </p:nvSpPr>
              <p:spPr>
                <a:xfrm flipV="1">
                  <a:off x="4508557" y="1523698"/>
                  <a:ext cx="72000" cy="14758"/>
                </a:xfrm>
                <a:custGeom>
                  <a:avLst/>
                  <a:gdLst>
                    <a:gd name="connsiteX0" fmla="*/ 3008 w 52302"/>
                    <a:gd name="connsiteY0" fmla="*/ -3866 h 16363"/>
                    <a:gd name="connsiteX1" fmla="*/ -2598 w 52302"/>
                    <a:gd name="connsiteY1" fmla="*/ 4027 h 16363"/>
                    <a:gd name="connsiteX2" fmla="*/ 49705 w 52302"/>
                    <a:gd name="connsiteY2" fmla="*/ 3923 h 16363"/>
                    <a:gd name="connsiteX3" fmla="*/ 43819 w 52302"/>
                    <a:gd name="connsiteY3" fmla="*/ -3752 h 16363"/>
                    <a:gd name="connsiteX4" fmla="*/ 3008 w 52302"/>
                    <a:gd name="connsiteY4" fmla="*/ -3866 h 16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02" h="16363">
                      <a:moveTo>
                        <a:pt x="3008" y="-3866"/>
                      </a:moveTo>
                      <a:lnTo>
                        <a:pt x="-2598" y="4027"/>
                      </a:lnTo>
                      <a:cubicBezTo>
                        <a:pt x="6760" y="10687"/>
                        <a:pt x="29735" y="19233"/>
                        <a:pt x="49705" y="3923"/>
                      </a:cubicBezTo>
                      <a:lnTo>
                        <a:pt x="43819" y="-3752"/>
                      </a:lnTo>
                      <a:cubicBezTo>
                        <a:pt x="24584" y="10977"/>
                        <a:pt x="3879" y="-3255"/>
                        <a:pt x="3008" y="-3866"/>
                      </a:cubicBezTo>
                    </a:path>
                  </a:pathLst>
                </a:custGeom>
                <a:solidFill>
                  <a:srgbClr val="292E49"/>
                </a:solidFill>
                <a:ln w="10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BE"/>
                </a:p>
              </p:txBody>
            </p:sp>
          </p:grpSp>
        </p:grpSp>
        <p:sp>
          <p:nvSpPr>
            <p:cNvPr id="923" name="Vrije vorm 922">
              <a:extLst>
                <a:ext uri="{FF2B5EF4-FFF2-40B4-BE49-F238E27FC236}">
                  <a16:creationId xmlns:a16="http://schemas.microsoft.com/office/drawing/2014/main" id="{C5C511A8-DB45-7C75-5320-2A5666559EB4}"/>
                </a:ext>
              </a:extLst>
            </p:cNvPr>
            <p:cNvSpPr/>
            <p:nvPr/>
          </p:nvSpPr>
          <p:spPr>
            <a:xfrm flipV="1">
              <a:off x="7791944" y="4828441"/>
              <a:ext cx="19423" cy="57634"/>
            </a:xfrm>
            <a:custGeom>
              <a:avLst/>
              <a:gdLst>
                <a:gd name="connsiteX0" fmla="*/ -1913 w 19423"/>
                <a:gd name="connsiteY0" fmla="*/ 56949 h 57634"/>
                <a:gd name="connsiteX1" fmla="*/ 6722 w 19423"/>
                <a:gd name="connsiteY1" fmla="*/ 29025 h 57634"/>
                <a:gd name="connsiteX2" fmla="*/ 7559 w 19423"/>
                <a:gd name="connsiteY2" fmla="*/ -186 h 57634"/>
                <a:gd name="connsiteX3" fmla="*/ 16574 w 19423"/>
                <a:gd name="connsiteY3" fmla="*/ 30665 h 57634"/>
                <a:gd name="connsiteX4" fmla="*/ -1913 w 19423"/>
                <a:gd name="connsiteY4" fmla="*/ 56949 h 57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23" h="57634">
                  <a:moveTo>
                    <a:pt x="-1913" y="56949"/>
                  </a:moveTo>
                  <a:cubicBezTo>
                    <a:pt x="-3891" y="54868"/>
                    <a:pt x="4402" y="44416"/>
                    <a:pt x="6722" y="29025"/>
                  </a:cubicBezTo>
                  <a:cubicBezTo>
                    <a:pt x="9498" y="13719"/>
                    <a:pt x="5036" y="1132"/>
                    <a:pt x="7559" y="-186"/>
                  </a:cubicBezTo>
                  <a:cubicBezTo>
                    <a:pt x="9663" y="-1941"/>
                    <a:pt x="19819" y="11597"/>
                    <a:pt x="16574" y="30665"/>
                  </a:cubicBezTo>
                  <a:cubicBezTo>
                    <a:pt x="13480" y="49753"/>
                    <a:pt x="-493" y="59283"/>
                    <a:pt x="-1913" y="56949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4" name="Vrije vorm 923">
              <a:extLst>
                <a:ext uri="{FF2B5EF4-FFF2-40B4-BE49-F238E27FC236}">
                  <a16:creationId xmlns:a16="http://schemas.microsoft.com/office/drawing/2014/main" id="{4829FC2D-5517-237E-06BE-4DED5C38EA58}"/>
                </a:ext>
              </a:extLst>
            </p:cNvPr>
            <p:cNvSpPr/>
            <p:nvPr/>
          </p:nvSpPr>
          <p:spPr>
            <a:xfrm flipV="1">
              <a:off x="7724394" y="4821034"/>
              <a:ext cx="14899" cy="54126"/>
            </a:xfrm>
            <a:custGeom>
              <a:avLst/>
              <a:gdLst>
                <a:gd name="connsiteX0" fmla="*/ -1591 w 14899"/>
                <a:gd name="connsiteY0" fmla="*/ -137 h 54126"/>
                <a:gd name="connsiteX1" fmla="*/ 12521 w 14899"/>
                <a:gd name="connsiteY1" fmla="*/ 25689 h 54126"/>
                <a:gd name="connsiteX2" fmla="*/ 3354 w 14899"/>
                <a:gd name="connsiteY2" fmla="*/ 53663 h 54126"/>
                <a:gd name="connsiteX3" fmla="*/ 2580 w 14899"/>
                <a:gd name="connsiteY3" fmla="*/ 26607 h 54126"/>
                <a:gd name="connsiteX4" fmla="*/ -1591 w 14899"/>
                <a:gd name="connsiteY4" fmla="*/ -137 h 5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99" h="54126">
                  <a:moveTo>
                    <a:pt x="-1591" y="-137"/>
                  </a:moveTo>
                  <a:cubicBezTo>
                    <a:pt x="349" y="-1977"/>
                    <a:pt x="10999" y="8400"/>
                    <a:pt x="12521" y="25689"/>
                  </a:cubicBezTo>
                  <a:cubicBezTo>
                    <a:pt x="14182" y="42958"/>
                    <a:pt x="5598" y="55109"/>
                    <a:pt x="3354" y="53663"/>
                  </a:cubicBezTo>
                  <a:cubicBezTo>
                    <a:pt x="767" y="52433"/>
                    <a:pt x="4051" y="40774"/>
                    <a:pt x="2580" y="26607"/>
                  </a:cubicBezTo>
                  <a:cubicBezTo>
                    <a:pt x="1452" y="12409"/>
                    <a:pt x="-3912" y="1537"/>
                    <a:pt x="-1591" y="-137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5" name="Vrije vorm 924">
              <a:extLst>
                <a:ext uri="{FF2B5EF4-FFF2-40B4-BE49-F238E27FC236}">
                  <a16:creationId xmlns:a16="http://schemas.microsoft.com/office/drawing/2014/main" id="{DC6A505C-D857-8BD8-6791-16E63931CAD4}"/>
                </a:ext>
              </a:extLst>
            </p:cNvPr>
            <p:cNvSpPr/>
            <p:nvPr/>
          </p:nvSpPr>
          <p:spPr>
            <a:xfrm flipV="1">
              <a:off x="7897505" y="4778674"/>
              <a:ext cx="51464" cy="35576"/>
            </a:xfrm>
            <a:custGeom>
              <a:avLst/>
              <a:gdLst>
                <a:gd name="connsiteX0" fmla="*/ -2294 w 51464"/>
                <a:gd name="connsiteY0" fmla="*/ 33374 h 35576"/>
                <a:gd name="connsiteX1" fmla="*/ 24256 w 51464"/>
                <a:gd name="connsiteY1" fmla="*/ 18216 h 35576"/>
                <a:gd name="connsiteX2" fmla="*/ 48588 w 51464"/>
                <a:gd name="connsiteY2" fmla="*/ -277 h 35576"/>
                <a:gd name="connsiteX3" fmla="*/ 29746 w 51464"/>
                <a:gd name="connsiteY3" fmla="*/ 26551 h 35576"/>
                <a:gd name="connsiteX4" fmla="*/ -2294 w 51464"/>
                <a:gd name="connsiteY4" fmla="*/ 33374 h 3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64" h="35576">
                  <a:moveTo>
                    <a:pt x="-2294" y="33374"/>
                  </a:moveTo>
                  <a:cubicBezTo>
                    <a:pt x="-2560" y="30510"/>
                    <a:pt x="10791" y="27324"/>
                    <a:pt x="24256" y="18216"/>
                  </a:cubicBezTo>
                  <a:cubicBezTo>
                    <a:pt x="37899" y="9401"/>
                    <a:pt x="46065" y="-1650"/>
                    <a:pt x="48588" y="-277"/>
                  </a:cubicBezTo>
                  <a:cubicBezTo>
                    <a:pt x="51060" y="685"/>
                    <a:pt x="45760" y="16051"/>
                    <a:pt x="29746" y="26551"/>
                  </a:cubicBezTo>
                  <a:cubicBezTo>
                    <a:pt x="13846" y="37170"/>
                    <a:pt x="-2370" y="36030"/>
                    <a:pt x="-2294" y="33374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6" name="Vrije vorm 925">
              <a:extLst>
                <a:ext uri="{FF2B5EF4-FFF2-40B4-BE49-F238E27FC236}">
                  <a16:creationId xmlns:a16="http://schemas.microsoft.com/office/drawing/2014/main" id="{3C4414CC-06E2-7D09-40C6-6C03A688AC3B}"/>
                </a:ext>
              </a:extLst>
            </p:cNvPr>
            <p:cNvSpPr/>
            <p:nvPr/>
          </p:nvSpPr>
          <p:spPr>
            <a:xfrm flipV="1">
              <a:off x="7920701" y="4707401"/>
              <a:ext cx="96258" cy="34628"/>
            </a:xfrm>
            <a:custGeom>
              <a:avLst/>
              <a:gdLst>
                <a:gd name="connsiteX0" fmla="*/ -2039 w 96258"/>
                <a:gd name="connsiteY0" fmla="*/ 22301 h 34628"/>
                <a:gd name="connsiteX1" fmla="*/ 23460 w 96258"/>
                <a:gd name="connsiteY1" fmla="*/ 7648 h 34628"/>
                <a:gd name="connsiteX2" fmla="*/ 54790 w 96258"/>
                <a:gd name="connsiteY2" fmla="*/ 354 h 34628"/>
                <a:gd name="connsiteX3" fmla="*/ 73898 w 96258"/>
                <a:gd name="connsiteY3" fmla="*/ -393 h 34628"/>
                <a:gd name="connsiteX4" fmla="*/ 85043 w 96258"/>
                <a:gd name="connsiteY4" fmla="*/ 1128 h 34628"/>
                <a:gd name="connsiteX5" fmla="*/ 93842 w 96258"/>
                <a:gd name="connsiteY5" fmla="*/ 13660 h 34628"/>
                <a:gd name="connsiteX6" fmla="*/ 86285 w 96258"/>
                <a:gd name="connsiteY6" fmla="*/ 25646 h 34628"/>
                <a:gd name="connsiteX7" fmla="*/ 75990 w 96258"/>
                <a:gd name="connsiteY7" fmla="*/ 29873 h 34628"/>
                <a:gd name="connsiteX8" fmla="*/ 57021 w 96258"/>
                <a:gd name="connsiteY8" fmla="*/ 33640 h 34628"/>
                <a:gd name="connsiteX9" fmla="*/ 24639 w 96258"/>
                <a:gd name="connsiteY9" fmla="*/ 31875 h 34628"/>
                <a:gd name="connsiteX10" fmla="*/ -2305 w 96258"/>
                <a:gd name="connsiteY10" fmla="*/ 19913 h 34628"/>
                <a:gd name="connsiteX11" fmla="*/ 25805 w 96258"/>
                <a:gd name="connsiteY11" fmla="*/ 24913 h 34628"/>
                <a:gd name="connsiteX12" fmla="*/ 55893 w 96258"/>
                <a:gd name="connsiteY12" fmla="*/ 24506 h 34628"/>
                <a:gd name="connsiteX13" fmla="*/ 73111 w 96258"/>
                <a:gd name="connsiteY13" fmla="*/ 20523 h 34628"/>
                <a:gd name="connsiteX14" fmla="*/ 83889 w 96258"/>
                <a:gd name="connsiteY14" fmla="*/ 12985 h 34628"/>
                <a:gd name="connsiteX15" fmla="*/ 81670 w 96258"/>
                <a:gd name="connsiteY15" fmla="*/ 10463 h 34628"/>
                <a:gd name="connsiteX16" fmla="*/ 73492 w 96258"/>
                <a:gd name="connsiteY16" fmla="*/ 9384 h 34628"/>
                <a:gd name="connsiteX17" fmla="*/ 55601 w 96258"/>
                <a:gd name="connsiteY17" fmla="*/ 9512 h 34628"/>
                <a:gd name="connsiteX18" fmla="*/ 25551 w 96258"/>
                <a:gd name="connsiteY18" fmla="*/ 14383 h 34628"/>
                <a:gd name="connsiteX19" fmla="*/ -2039 w 96258"/>
                <a:gd name="connsiteY19" fmla="*/ 22301 h 34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6258" h="34628">
                  <a:moveTo>
                    <a:pt x="-2039" y="22301"/>
                  </a:moveTo>
                  <a:cubicBezTo>
                    <a:pt x="-2660" y="21285"/>
                    <a:pt x="6241" y="14050"/>
                    <a:pt x="23460" y="7648"/>
                  </a:cubicBezTo>
                  <a:cubicBezTo>
                    <a:pt x="32031" y="4463"/>
                    <a:pt x="42681" y="1672"/>
                    <a:pt x="54790" y="354"/>
                  </a:cubicBezTo>
                  <a:cubicBezTo>
                    <a:pt x="60851" y="-305"/>
                    <a:pt x="67254" y="-598"/>
                    <a:pt x="73898" y="-393"/>
                  </a:cubicBezTo>
                  <a:cubicBezTo>
                    <a:pt x="77106" y="-245"/>
                    <a:pt x="80757" y="-344"/>
                    <a:pt x="85043" y="1128"/>
                  </a:cubicBezTo>
                  <a:cubicBezTo>
                    <a:pt x="89290" y="2118"/>
                    <a:pt x="94679" y="7788"/>
                    <a:pt x="93842" y="13660"/>
                  </a:cubicBezTo>
                  <a:cubicBezTo>
                    <a:pt x="93512" y="19075"/>
                    <a:pt x="89899" y="23427"/>
                    <a:pt x="86285" y="25646"/>
                  </a:cubicBezTo>
                  <a:cubicBezTo>
                    <a:pt x="82608" y="27945"/>
                    <a:pt x="79147" y="28946"/>
                    <a:pt x="75990" y="29873"/>
                  </a:cubicBezTo>
                  <a:cubicBezTo>
                    <a:pt x="69536" y="31786"/>
                    <a:pt x="63146" y="32995"/>
                    <a:pt x="57021" y="33640"/>
                  </a:cubicBezTo>
                  <a:cubicBezTo>
                    <a:pt x="44761" y="34859"/>
                    <a:pt x="33641" y="33858"/>
                    <a:pt x="24639" y="31875"/>
                  </a:cubicBezTo>
                  <a:cubicBezTo>
                    <a:pt x="6533" y="27817"/>
                    <a:pt x="-2875" y="20889"/>
                    <a:pt x="-2305" y="19913"/>
                  </a:cubicBezTo>
                  <a:cubicBezTo>
                    <a:pt x="-1645" y="18441"/>
                    <a:pt x="8587" y="22871"/>
                    <a:pt x="25805" y="24913"/>
                  </a:cubicBezTo>
                  <a:cubicBezTo>
                    <a:pt x="34376" y="25914"/>
                    <a:pt x="44710" y="26102"/>
                    <a:pt x="55893" y="24506"/>
                  </a:cubicBezTo>
                  <a:cubicBezTo>
                    <a:pt x="61485" y="23669"/>
                    <a:pt x="67279" y="22386"/>
                    <a:pt x="73111" y="20523"/>
                  </a:cubicBezTo>
                  <a:cubicBezTo>
                    <a:pt x="79312" y="18808"/>
                    <a:pt x="83901" y="16187"/>
                    <a:pt x="83889" y="12985"/>
                  </a:cubicBezTo>
                  <a:cubicBezTo>
                    <a:pt x="83851" y="11781"/>
                    <a:pt x="83711" y="11390"/>
                    <a:pt x="81670" y="10463"/>
                  </a:cubicBezTo>
                  <a:cubicBezTo>
                    <a:pt x="79667" y="9691"/>
                    <a:pt x="76662" y="9537"/>
                    <a:pt x="73492" y="9384"/>
                  </a:cubicBezTo>
                  <a:cubicBezTo>
                    <a:pt x="67304" y="9056"/>
                    <a:pt x="61307" y="9145"/>
                    <a:pt x="55601" y="9512"/>
                  </a:cubicBezTo>
                  <a:cubicBezTo>
                    <a:pt x="44203" y="10260"/>
                    <a:pt x="33983" y="12188"/>
                    <a:pt x="25551" y="14383"/>
                  </a:cubicBezTo>
                  <a:cubicBezTo>
                    <a:pt x="8663" y="18773"/>
                    <a:pt x="-1303" y="23669"/>
                    <a:pt x="-2039" y="22301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7" name="Vrije vorm 926">
              <a:extLst>
                <a:ext uri="{FF2B5EF4-FFF2-40B4-BE49-F238E27FC236}">
                  <a16:creationId xmlns:a16="http://schemas.microsoft.com/office/drawing/2014/main" id="{3A97788B-D4AA-6777-CD4A-CFB0DD964D16}"/>
                </a:ext>
              </a:extLst>
            </p:cNvPr>
            <p:cNvSpPr/>
            <p:nvPr/>
          </p:nvSpPr>
          <p:spPr>
            <a:xfrm flipV="1">
              <a:off x="9831336" y="4119776"/>
              <a:ext cx="811" cy="9717"/>
            </a:xfrm>
            <a:custGeom>
              <a:avLst/>
              <a:gdLst>
                <a:gd name="connsiteX0" fmla="*/ -2791 w 811"/>
                <a:gd name="connsiteY0" fmla="*/ -994 h 9717"/>
                <a:gd name="connsiteX1" fmla="*/ -3603 w 811"/>
                <a:gd name="connsiteY1" fmla="*/ 8724 h 9717"/>
                <a:gd name="connsiteX2" fmla="*/ -2791 w 811"/>
                <a:gd name="connsiteY2" fmla="*/ -994 h 9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1" h="9717">
                  <a:moveTo>
                    <a:pt x="-2791" y="-994"/>
                  </a:moveTo>
                  <a:cubicBezTo>
                    <a:pt x="-3273" y="5248"/>
                    <a:pt x="-3603" y="8724"/>
                    <a:pt x="-3603" y="8724"/>
                  </a:cubicBezTo>
                  <a:lnTo>
                    <a:pt x="-2791" y="-994"/>
                  </a:ln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8" name="Vrije vorm 927">
              <a:extLst>
                <a:ext uri="{FF2B5EF4-FFF2-40B4-BE49-F238E27FC236}">
                  <a16:creationId xmlns:a16="http://schemas.microsoft.com/office/drawing/2014/main" id="{60BF34B2-E3F2-1421-5342-449C9B24B24F}"/>
                </a:ext>
              </a:extLst>
            </p:cNvPr>
            <p:cNvSpPr/>
            <p:nvPr/>
          </p:nvSpPr>
          <p:spPr>
            <a:xfrm flipV="1">
              <a:off x="7874408" y="3646525"/>
              <a:ext cx="1967324" cy="1306696"/>
            </a:xfrm>
            <a:custGeom>
              <a:avLst/>
              <a:gdLst>
                <a:gd name="connsiteX0" fmla="*/ 1963957 w 1967324"/>
                <a:gd name="connsiteY0" fmla="*/ 822827 h 1306696"/>
                <a:gd name="connsiteX1" fmla="*/ 1295621 w 1967324"/>
                <a:gd name="connsiteY1" fmla="*/ 1073077 h 1306696"/>
                <a:gd name="connsiteX2" fmla="*/ 757184 w 1967324"/>
                <a:gd name="connsiteY2" fmla="*/ 1297092 h 1306696"/>
                <a:gd name="connsiteX3" fmla="*/ 379254 w 1967324"/>
                <a:gd name="connsiteY3" fmla="*/ 1044509 h 1306696"/>
                <a:gd name="connsiteX4" fmla="*/ -2937 w 1967324"/>
                <a:gd name="connsiteY4" fmla="*/ 165761 h 1306696"/>
                <a:gd name="connsiteX5" fmla="*/ 254008 w 1967324"/>
                <a:gd name="connsiteY5" fmla="*/ -837 h 1306696"/>
                <a:gd name="connsiteX6" fmla="*/ 767378 w 1967324"/>
                <a:gd name="connsiteY6" fmla="*/ 914836 h 1306696"/>
                <a:gd name="connsiteX7" fmla="*/ 1518243 w 1967324"/>
                <a:gd name="connsiteY7" fmla="*/ 427227 h 1306696"/>
                <a:gd name="connsiteX8" fmla="*/ 1809346 w 1967324"/>
                <a:gd name="connsiteY8" fmla="*/ 430157 h 1306696"/>
                <a:gd name="connsiteX9" fmla="*/ 1963957 w 1967324"/>
                <a:gd name="connsiteY9" fmla="*/ 822827 h 1306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67324" h="1306696">
                  <a:moveTo>
                    <a:pt x="1963957" y="822827"/>
                  </a:moveTo>
                  <a:lnTo>
                    <a:pt x="1295621" y="1073077"/>
                  </a:lnTo>
                  <a:cubicBezTo>
                    <a:pt x="1295621" y="1073077"/>
                    <a:pt x="900738" y="1257500"/>
                    <a:pt x="757184" y="1297092"/>
                  </a:cubicBezTo>
                  <a:cubicBezTo>
                    <a:pt x="603524" y="1339475"/>
                    <a:pt x="464915" y="1223820"/>
                    <a:pt x="379254" y="1044509"/>
                  </a:cubicBezTo>
                  <a:cubicBezTo>
                    <a:pt x="321234" y="923069"/>
                    <a:pt x="-2937" y="165761"/>
                    <a:pt x="-2937" y="165761"/>
                  </a:cubicBezTo>
                  <a:lnTo>
                    <a:pt x="254008" y="-837"/>
                  </a:lnTo>
                  <a:lnTo>
                    <a:pt x="767378" y="914836"/>
                  </a:lnTo>
                  <a:lnTo>
                    <a:pt x="1518243" y="427227"/>
                  </a:lnTo>
                  <a:cubicBezTo>
                    <a:pt x="1518243" y="427227"/>
                    <a:pt x="1666274" y="430157"/>
                    <a:pt x="1809346" y="430157"/>
                  </a:cubicBezTo>
                  <a:cubicBezTo>
                    <a:pt x="1938674" y="430157"/>
                    <a:pt x="1968484" y="763776"/>
                    <a:pt x="1963957" y="822827"/>
                  </a:cubicBez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9" name="Vrije vorm 928">
              <a:extLst>
                <a:ext uri="{FF2B5EF4-FFF2-40B4-BE49-F238E27FC236}">
                  <a16:creationId xmlns:a16="http://schemas.microsoft.com/office/drawing/2014/main" id="{3BDBFCEB-1031-4C9D-16D7-4608C93236FB}"/>
                </a:ext>
              </a:extLst>
            </p:cNvPr>
            <p:cNvSpPr/>
            <p:nvPr/>
          </p:nvSpPr>
          <p:spPr>
            <a:xfrm flipV="1">
              <a:off x="9832148" y="4129493"/>
              <a:ext cx="13" cy="63"/>
            </a:xfrm>
            <a:custGeom>
              <a:avLst/>
              <a:gdLst>
                <a:gd name="connsiteX0" fmla="*/ -3603 w 13"/>
                <a:gd name="connsiteY0" fmla="*/ -926 h 63"/>
                <a:gd name="connsiteX1" fmla="*/ -3590 w 13"/>
                <a:gd name="connsiteY1" fmla="*/ -989 h 63"/>
                <a:gd name="connsiteX2" fmla="*/ -3590 w 13"/>
                <a:gd name="connsiteY2" fmla="*/ -989 h 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" h="63">
                  <a:moveTo>
                    <a:pt x="-3603" y="-926"/>
                  </a:moveTo>
                  <a:lnTo>
                    <a:pt x="-3590" y="-989"/>
                  </a:lnTo>
                  <a:lnTo>
                    <a:pt x="-3590" y="-989"/>
                  </a:lnTo>
                  <a:close/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0" name="Vrije vorm 929">
              <a:extLst>
                <a:ext uri="{FF2B5EF4-FFF2-40B4-BE49-F238E27FC236}">
                  <a16:creationId xmlns:a16="http://schemas.microsoft.com/office/drawing/2014/main" id="{7FC03C88-7699-B44B-0A02-CF9112C1FCD3}"/>
                </a:ext>
              </a:extLst>
            </p:cNvPr>
            <p:cNvSpPr/>
            <p:nvPr/>
          </p:nvSpPr>
          <p:spPr>
            <a:xfrm flipV="1">
              <a:off x="8207467" y="4080261"/>
              <a:ext cx="1204325" cy="1340285"/>
            </a:xfrm>
            <a:custGeom>
              <a:avLst/>
              <a:gdLst>
                <a:gd name="connsiteX0" fmla="*/ -2904 w 1204325"/>
                <a:gd name="connsiteY0" fmla="*/ 13088 h 1340285"/>
                <a:gd name="connsiteX1" fmla="*/ 91189 w 1204325"/>
                <a:gd name="connsiteY1" fmla="*/ 1051330 h 1340285"/>
                <a:gd name="connsiteX2" fmla="*/ 232410 w 1204325"/>
                <a:gd name="connsiteY2" fmla="*/ 1310612 h 1340285"/>
                <a:gd name="connsiteX3" fmla="*/ 502808 w 1204325"/>
                <a:gd name="connsiteY3" fmla="*/ 1336401 h 1340285"/>
                <a:gd name="connsiteX4" fmla="*/ 1201422 w 1204325"/>
                <a:gd name="connsiteY4" fmla="*/ 895246 h 1340285"/>
                <a:gd name="connsiteX5" fmla="*/ 484676 w 1204325"/>
                <a:gd name="connsiteY5" fmla="*/ 882929 h 1340285"/>
                <a:gd name="connsiteX6" fmla="*/ 437814 w 1204325"/>
                <a:gd name="connsiteY6" fmla="*/ 666601 h 1340285"/>
                <a:gd name="connsiteX7" fmla="*/ 332716 w 1204325"/>
                <a:gd name="connsiteY7" fmla="*/ -434 h 1340285"/>
                <a:gd name="connsiteX8" fmla="*/ -2904 w 1204325"/>
                <a:gd name="connsiteY8" fmla="*/ 13088 h 134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4325" h="1340285">
                  <a:moveTo>
                    <a:pt x="-2904" y="13088"/>
                  </a:moveTo>
                  <a:lnTo>
                    <a:pt x="91189" y="1051330"/>
                  </a:lnTo>
                  <a:cubicBezTo>
                    <a:pt x="91189" y="1051330"/>
                    <a:pt x="107760" y="1267455"/>
                    <a:pt x="232410" y="1310612"/>
                  </a:cubicBezTo>
                  <a:cubicBezTo>
                    <a:pt x="357072" y="1353755"/>
                    <a:pt x="502808" y="1336401"/>
                    <a:pt x="502808" y="1336401"/>
                  </a:cubicBezTo>
                  <a:lnTo>
                    <a:pt x="1201422" y="895246"/>
                  </a:lnTo>
                  <a:lnTo>
                    <a:pt x="484676" y="882929"/>
                  </a:lnTo>
                  <a:cubicBezTo>
                    <a:pt x="484676" y="882929"/>
                    <a:pt x="448211" y="732046"/>
                    <a:pt x="437814" y="666601"/>
                  </a:cubicBezTo>
                  <a:cubicBezTo>
                    <a:pt x="425414" y="588569"/>
                    <a:pt x="332716" y="-434"/>
                    <a:pt x="332716" y="-434"/>
                  </a:cubicBezTo>
                  <a:lnTo>
                    <a:pt x="-2904" y="13088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1" name="Vrije vorm 930">
              <a:extLst>
                <a:ext uri="{FF2B5EF4-FFF2-40B4-BE49-F238E27FC236}">
                  <a16:creationId xmlns:a16="http://schemas.microsoft.com/office/drawing/2014/main" id="{2A4248E8-EBE6-9F23-69A1-D5651195ACB1}"/>
                </a:ext>
              </a:extLst>
            </p:cNvPr>
            <p:cNvSpPr/>
            <p:nvPr/>
          </p:nvSpPr>
          <p:spPr>
            <a:xfrm flipV="1">
              <a:off x="8217369" y="4077863"/>
              <a:ext cx="1178219" cy="1219936"/>
            </a:xfrm>
            <a:custGeom>
              <a:avLst/>
              <a:gdLst>
                <a:gd name="connsiteX0" fmla="*/ 1175318 w 1178219"/>
                <a:gd name="connsiteY0" fmla="*/ 810779 h 1219936"/>
                <a:gd name="connsiteX1" fmla="*/ 1172110 w 1178219"/>
                <a:gd name="connsiteY1" fmla="*/ 812910 h 1219936"/>
                <a:gd name="connsiteX2" fmla="*/ 1162423 w 1178219"/>
                <a:gd name="connsiteY2" fmla="*/ 818860 h 1219936"/>
                <a:gd name="connsiteX3" fmla="*/ 1124651 w 1178219"/>
                <a:gd name="connsiteY3" fmla="*/ 841580 h 1219936"/>
                <a:gd name="connsiteX4" fmla="*/ 982694 w 1178219"/>
                <a:gd name="connsiteY4" fmla="*/ 926079 h 1219936"/>
                <a:gd name="connsiteX5" fmla="*/ 765816 w 1178219"/>
                <a:gd name="connsiteY5" fmla="*/ 1054597 h 1219936"/>
                <a:gd name="connsiteX6" fmla="*/ 634396 w 1178219"/>
                <a:gd name="connsiteY6" fmla="*/ 1132347 h 1219936"/>
                <a:gd name="connsiteX7" fmla="*/ 563823 w 1178219"/>
                <a:gd name="connsiteY7" fmla="*/ 1174057 h 1219936"/>
                <a:gd name="connsiteX8" fmla="*/ 489560 w 1178219"/>
                <a:gd name="connsiteY8" fmla="*/ 1216110 h 1219936"/>
                <a:gd name="connsiteX9" fmla="*/ 489066 w 1178219"/>
                <a:gd name="connsiteY9" fmla="*/ 1216389 h 1219936"/>
                <a:gd name="connsiteX10" fmla="*/ 488483 w 1178219"/>
                <a:gd name="connsiteY10" fmla="*/ 1216402 h 1219936"/>
                <a:gd name="connsiteX11" fmla="*/ 391296 w 1178219"/>
                <a:gd name="connsiteY11" fmla="*/ 1219446 h 1219936"/>
                <a:gd name="connsiteX12" fmla="*/ 391195 w 1178219"/>
                <a:gd name="connsiteY12" fmla="*/ 1219446 h 1219936"/>
                <a:gd name="connsiteX13" fmla="*/ 391106 w 1178219"/>
                <a:gd name="connsiteY13" fmla="*/ 1219446 h 1219936"/>
                <a:gd name="connsiteX14" fmla="*/ 265264 w 1178219"/>
                <a:gd name="connsiteY14" fmla="*/ 1203171 h 1219936"/>
                <a:gd name="connsiteX15" fmla="*/ 233858 w 1178219"/>
                <a:gd name="connsiteY15" fmla="*/ 1193542 h 1219936"/>
                <a:gd name="connsiteX16" fmla="*/ 204721 w 1178219"/>
                <a:gd name="connsiteY16" fmla="*/ 1177609 h 1219936"/>
                <a:gd name="connsiteX17" fmla="*/ 191192 w 1178219"/>
                <a:gd name="connsiteY17" fmla="*/ 1167828 h 1219936"/>
                <a:gd name="connsiteX18" fmla="*/ 184421 w 1178219"/>
                <a:gd name="connsiteY18" fmla="*/ 1162894 h 1219936"/>
                <a:gd name="connsiteX19" fmla="*/ 178310 w 1178219"/>
                <a:gd name="connsiteY19" fmla="*/ 1157173 h 1219936"/>
                <a:gd name="connsiteX20" fmla="*/ 166036 w 1178219"/>
                <a:gd name="connsiteY20" fmla="*/ 1145667 h 1219936"/>
                <a:gd name="connsiteX21" fmla="*/ 154980 w 1178219"/>
                <a:gd name="connsiteY21" fmla="*/ 1132956 h 1219936"/>
                <a:gd name="connsiteX22" fmla="*/ 99141 w 1178219"/>
                <a:gd name="connsiteY22" fmla="*/ 1028984 h 1219936"/>
                <a:gd name="connsiteX23" fmla="*/ 77751 w 1178219"/>
                <a:gd name="connsiteY23" fmla="*/ 916247 h 1219936"/>
                <a:gd name="connsiteX24" fmla="*/ 58364 w 1178219"/>
                <a:gd name="connsiteY24" fmla="*/ 700757 h 1219936"/>
                <a:gd name="connsiteX25" fmla="*/ 25830 w 1178219"/>
                <a:gd name="connsiteY25" fmla="*/ 335857 h 1219936"/>
                <a:gd name="connsiteX26" fmla="*/ 4313 w 1178219"/>
                <a:gd name="connsiteY26" fmla="*/ 89791 h 1219936"/>
                <a:gd name="connsiteX27" fmla="*/ -1292 w 1178219"/>
                <a:gd name="connsiteY27" fmla="*/ 22874 h 1219936"/>
                <a:gd name="connsiteX28" fmla="*/ -2623 w 1178219"/>
                <a:gd name="connsiteY28" fmla="*/ 5457 h 1219936"/>
                <a:gd name="connsiteX29" fmla="*/ -2902 w 1178219"/>
                <a:gd name="connsiteY29" fmla="*/ -490 h 1219936"/>
                <a:gd name="connsiteX30" fmla="*/ -2116 w 1178219"/>
                <a:gd name="connsiteY30" fmla="*/ 5422 h 1219936"/>
                <a:gd name="connsiteX31" fmla="*/ -303 w 1178219"/>
                <a:gd name="connsiteY31" fmla="*/ 22785 h 1219936"/>
                <a:gd name="connsiteX32" fmla="*/ 6227 w 1178219"/>
                <a:gd name="connsiteY32" fmla="*/ 89627 h 1219936"/>
                <a:gd name="connsiteX33" fmla="*/ 29304 w 1178219"/>
                <a:gd name="connsiteY33" fmla="*/ 335566 h 1219936"/>
                <a:gd name="connsiteX34" fmla="*/ 62891 w 1178219"/>
                <a:gd name="connsiteY34" fmla="*/ 700427 h 1219936"/>
                <a:gd name="connsiteX35" fmla="*/ 82569 w 1178219"/>
                <a:gd name="connsiteY35" fmla="*/ 915917 h 1219936"/>
                <a:gd name="connsiteX36" fmla="*/ 103794 w 1178219"/>
                <a:gd name="connsiteY36" fmla="*/ 1027449 h 1219936"/>
                <a:gd name="connsiteX37" fmla="*/ 158759 w 1178219"/>
                <a:gd name="connsiteY37" fmla="*/ 1129797 h 1219936"/>
                <a:gd name="connsiteX38" fmla="*/ 169587 w 1178219"/>
                <a:gd name="connsiteY38" fmla="*/ 1142254 h 1219936"/>
                <a:gd name="connsiteX39" fmla="*/ 181581 w 1178219"/>
                <a:gd name="connsiteY39" fmla="*/ 1153494 h 1219936"/>
                <a:gd name="connsiteX40" fmla="*/ 187566 w 1178219"/>
                <a:gd name="connsiteY40" fmla="*/ 1159101 h 1219936"/>
                <a:gd name="connsiteX41" fmla="*/ 194185 w 1178219"/>
                <a:gd name="connsiteY41" fmla="*/ 1163909 h 1219936"/>
                <a:gd name="connsiteX42" fmla="*/ 207384 w 1178219"/>
                <a:gd name="connsiteY42" fmla="*/ 1173486 h 1219936"/>
                <a:gd name="connsiteX43" fmla="*/ 235734 w 1178219"/>
                <a:gd name="connsiteY43" fmla="*/ 1189001 h 1219936"/>
                <a:gd name="connsiteX44" fmla="*/ 266431 w 1178219"/>
                <a:gd name="connsiteY44" fmla="*/ 1198426 h 1219936"/>
                <a:gd name="connsiteX45" fmla="*/ 391322 w 1178219"/>
                <a:gd name="connsiteY45" fmla="*/ 1214651 h 1219936"/>
                <a:gd name="connsiteX46" fmla="*/ 391144 w 1178219"/>
                <a:gd name="connsiteY46" fmla="*/ 1214638 h 1219936"/>
                <a:gd name="connsiteX47" fmla="*/ 488343 w 1178219"/>
                <a:gd name="connsiteY47" fmla="*/ 1211721 h 1219936"/>
                <a:gd name="connsiteX48" fmla="*/ 487265 w 1178219"/>
                <a:gd name="connsiteY48" fmla="*/ 1212025 h 1219936"/>
                <a:gd name="connsiteX49" fmla="*/ 561553 w 1178219"/>
                <a:gd name="connsiteY49" fmla="*/ 1170112 h 1219936"/>
                <a:gd name="connsiteX50" fmla="*/ 632189 w 1178219"/>
                <a:gd name="connsiteY50" fmla="*/ 1128541 h 1219936"/>
                <a:gd name="connsiteX51" fmla="*/ 763813 w 1178219"/>
                <a:gd name="connsiteY51" fmla="*/ 1051146 h 1219936"/>
                <a:gd name="connsiteX52" fmla="*/ 981224 w 1178219"/>
                <a:gd name="connsiteY52" fmla="*/ 923554 h 1219936"/>
                <a:gd name="connsiteX53" fmla="*/ 1123853 w 1178219"/>
                <a:gd name="connsiteY53" fmla="*/ 840222 h 1219936"/>
                <a:gd name="connsiteX54" fmla="*/ 1162004 w 1178219"/>
                <a:gd name="connsiteY54" fmla="*/ 818162 h 1219936"/>
                <a:gd name="connsiteX55" fmla="*/ 1171894 w 1178219"/>
                <a:gd name="connsiteY55" fmla="*/ 812568 h 1219936"/>
                <a:gd name="connsiteX56" fmla="*/ 1175318 w 1178219"/>
                <a:gd name="connsiteY56" fmla="*/ 810779 h 1219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178219" h="1219936">
                  <a:moveTo>
                    <a:pt x="1175318" y="810779"/>
                  </a:moveTo>
                  <a:cubicBezTo>
                    <a:pt x="1175318" y="810779"/>
                    <a:pt x="1174265" y="811565"/>
                    <a:pt x="1172110" y="812910"/>
                  </a:cubicBezTo>
                  <a:cubicBezTo>
                    <a:pt x="1169790" y="814344"/>
                    <a:pt x="1166582" y="816297"/>
                    <a:pt x="1162423" y="818860"/>
                  </a:cubicBezTo>
                  <a:cubicBezTo>
                    <a:pt x="1153687" y="824112"/>
                    <a:pt x="1141020" y="831736"/>
                    <a:pt x="1124651" y="841580"/>
                  </a:cubicBezTo>
                  <a:cubicBezTo>
                    <a:pt x="1091444" y="861344"/>
                    <a:pt x="1043251" y="890026"/>
                    <a:pt x="982694" y="926079"/>
                  </a:cubicBezTo>
                  <a:cubicBezTo>
                    <a:pt x="921910" y="962106"/>
                    <a:pt x="848726" y="1005478"/>
                    <a:pt x="765816" y="1054597"/>
                  </a:cubicBezTo>
                  <a:cubicBezTo>
                    <a:pt x="724329" y="1079143"/>
                    <a:pt x="680409" y="1105123"/>
                    <a:pt x="634396" y="1132347"/>
                  </a:cubicBezTo>
                  <a:cubicBezTo>
                    <a:pt x="611382" y="1145946"/>
                    <a:pt x="587837" y="1159862"/>
                    <a:pt x="563823" y="1174057"/>
                  </a:cubicBezTo>
                  <a:cubicBezTo>
                    <a:pt x="539542" y="1187808"/>
                    <a:pt x="514767" y="1201826"/>
                    <a:pt x="489560" y="1216110"/>
                  </a:cubicBezTo>
                  <a:lnTo>
                    <a:pt x="489066" y="1216389"/>
                  </a:lnTo>
                  <a:lnTo>
                    <a:pt x="488483" y="1216402"/>
                  </a:lnTo>
                  <a:cubicBezTo>
                    <a:pt x="457837" y="1217366"/>
                    <a:pt x="424845" y="1218393"/>
                    <a:pt x="391296" y="1219446"/>
                  </a:cubicBezTo>
                  <a:lnTo>
                    <a:pt x="391195" y="1219446"/>
                  </a:lnTo>
                  <a:lnTo>
                    <a:pt x="391106" y="1219446"/>
                  </a:lnTo>
                  <a:cubicBezTo>
                    <a:pt x="349898" y="1217391"/>
                    <a:pt x="307486" y="1213357"/>
                    <a:pt x="265264" y="1203171"/>
                  </a:cubicBezTo>
                  <a:cubicBezTo>
                    <a:pt x="254728" y="1200532"/>
                    <a:pt x="244230" y="1197665"/>
                    <a:pt x="233858" y="1193542"/>
                  </a:cubicBezTo>
                  <a:cubicBezTo>
                    <a:pt x="224044" y="1188341"/>
                    <a:pt x="214129" y="1183508"/>
                    <a:pt x="204721" y="1177609"/>
                  </a:cubicBezTo>
                  <a:lnTo>
                    <a:pt x="191192" y="1167828"/>
                  </a:lnTo>
                  <a:lnTo>
                    <a:pt x="184421" y="1162894"/>
                  </a:lnTo>
                  <a:lnTo>
                    <a:pt x="178310" y="1157173"/>
                  </a:lnTo>
                  <a:lnTo>
                    <a:pt x="166036" y="1145667"/>
                  </a:lnTo>
                  <a:cubicBezTo>
                    <a:pt x="162106" y="1141671"/>
                    <a:pt x="158695" y="1137180"/>
                    <a:pt x="154980" y="1132956"/>
                  </a:cubicBezTo>
                  <a:cubicBezTo>
                    <a:pt x="129153" y="1102117"/>
                    <a:pt x="111110" y="1066014"/>
                    <a:pt x="99141" y="1028984"/>
                  </a:cubicBezTo>
                  <a:cubicBezTo>
                    <a:pt x="86893" y="991980"/>
                    <a:pt x="80033" y="953822"/>
                    <a:pt x="77751" y="916247"/>
                  </a:cubicBezTo>
                  <a:cubicBezTo>
                    <a:pt x="71031" y="841516"/>
                    <a:pt x="64552" y="769437"/>
                    <a:pt x="58364" y="700757"/>
                  </a:cubicBezTo>
                  <a:cubicBezTo>
                    <a:pt x="46129" y="563435"/>
                    <a:pt x="35098" y="439775"/>
                    <a:pt x="25830" y="335857"/>
                  </a:cubicBezTo>
                  <a:cubicBezTo>
                    <a:pt x="16751" y="232088"/>
                    <a:pt x="9410" y="148071"/>
                    <a:pt x="4313" y="89791"/>
                  </a:cubicBezTo>
                  <a:cubicBezTo>
                    <a:pt x="1891" y="60881"/>
                    <a:pt x="14" y="38350"/>
                    <a:pt x="-1292" y="22874"/>
                  </a:cubicBezTo>
                  <a:cubicBezTo>
                    <a:pt x="-1862" y="15353"/>
                    <a:pt x="-2306" y="9554"/>
                    <a:pt x="-2623" y="5457"/>
                  </a:cubicBezTo>
                  <a:cubicBezTo>
                    <a:pt x="-2889" y="1537"/>
                    <a:pt x="-2902" y="-490"/>
                    <a:pt x="-2902" y="-490"/>
                  </a:cubicBezTo>
                  <a:cubicBezTo>
                    <a:pt x="-2902" y="-490"/>
                    <a:pt x="-2559" y="1502"/>
                    <a:pt x="-2116" y="5422"/>
                  </a:cubicBezTo>
                  <a:cubicBezTo>
                    <a:pt x="-1685" y="9505"/>
                    <a:pt x="-1089" y="15278"/>
                    <a:pt x="-303" y="22785"/>
                  </a:cubicBezTo>
                  <a:cubicBezTo>
                    <a:pt x="1206" y="38250"/>
                    <a:pt x="3400" y="60743"/>
                    <a:pt x="6227" y="89627"/>
                  </a:cubicBezTo>
                  <a:cubicBezTo>
                    <a:pt x="11692" y="147868"/>
                    <a:pt x="19566" y="231845"/>
                    <a:pt x="29304" y="335566"/>
                  </a:cubicBezTo>
                  <a:cubicBezTo>
                    <a:pt x="38864" y="439474"/>
                    <a:pt x="50250" y="563118"/>
                    <a:pt x="62891" y="700427"/>
                  </a:cubicBezTo>
                  <a:cubicBezTo>
                    <a:pt x="69167" y="769107"/>
                    <a:pt x="75748" y="841186"/>
                    <a:pt x="82569" y="915917"/>
                  </a:cubicBezTo>
                  <a:cubicBezTo>
                    <a:pt x="84877" y="953239"/>
                    <a:pt x="91673" y="990839"/>
                    <a:pt x="103794" y="1027449"/>
                  </a:cubicBezTo>
                  <a:cubicBezTo>
                    <a:pt x="115624" y="1064035"/>
                    <a:pt x="133451" y="1099567"/>
                    <a:pt x="158759" y="1129797"/>
                  </a:cubicBezTo>
                  <a:cubicBezTo>
                    <a:pt x="162385" y="1133932"/>
                    <a:pt x="165745" y="1138334"/>
                    <a:pt x="169587" y="1142254"/>
                  </a:cubicBezTo>
                  <a:lnTo>
                    <a:pt x="181581" y="1153494"/>
                  </a:lnTo>
                  <a:lnTo>
                    <a:pt x="187566" y="1159101"/>
                  </a:lnTo>
                  <a:lnTo>
                    <a:pt x="194185" y="1163909"/>
                  </a:lnTo>
                  <a:lnTo>
                    <a:pt x="207384" y="1173486"/>
                  </a:lnTo>
                  <a:cubicBezTo>
                    <a:pt x="216525" y="1179220"/>
                    <a:pt x="226377" y="1184003"/>
                    <a:pt x="235734" y="1189001"/>
                  </a:cubicBezTo>
                  <a:cubicBezTo>
                    <a:pt x="245611" y="1192933"/>
                    <a:pt x="256072" y="1195826"/>
                    <a:pt x="266431" y="1198426"/>
                  </a:cubicBezTo>
                  <a:cubicBezTo>
                    <a:pt x="308146" y="1208511"/>
                    <a:pt x="350342" y="1212571"/>
                    <a:pt x="391322" y="1214651"/>
                  </a:cubicBezTo>
                  <a:lnTo>
                    <a:pt x="391144" y="1214638"/>
                  </a:lnTo>
                  <a:cubicBezTo>
                    <a:pt x="424693" y="1213636"/>
                    <a:pt x="457685" y="1212647"/>
                    <a:pt x="488343" y="1211721"/>
                  </a:cubicBezTo>
                  <a:lnTo>
                    <a:pt x="487265" y="1212025"/>
                  </a:lnTo>
                  <a:cubicBezTo>
                    <a:pt x="512484" y="1197792"/>
                    <a:pt x="537260" y="1183812"/>
                    <a:pt x="561553" y="1170112"/>
                  </a:cubicBezTo>
                  <a:cubicBezTo>
                    <a:pt x="585593" y="1155967"/>
                    <a:pt x="609151" y="1142102"/>
                    <a:pt x="632189" y="1128541"/>
                  </a:cubicBezTo>
                  <a:cubicBezTo>
                    <a:pt x="678278" y="1101445"/>
                    <a:pt x="722263" y="1075591"/>
                    <a:pt x="763813" y="1051146"/>
                  </a:cubicBezTo>
                  <a:cubicBezTo>
                    <a:pt x="846925" y="1002383"/>
                    <a:pt x="920287" y="959315"/>
                    <a:pt x="981224" y="923554"/>
                  </a:cubicBezTo>
                  <a:cubicBezTo>
                    <a:pt x="1042071" y="888009"/>
                    <a:pt x="1090493" y="859720"/>
                    <a:pt x="1123853" y="840222"/>
                  </a:cubicBezTo>
                  <a:cubicBezTo>
                    <a:pt x="1140386" y="830670"/>
                    <a:pt x="1153192" y="823274"/>
                    <a:pt x="1162004" y="818162"/>
                  </a:cubicBezTo>
                  <a:cubicBezTo>
                    <a:pt x="1166265" y="815764"/>
                    <a:pt x="1169536" y="813912"/>
                    <a:pt x="1171894" y="812568"/>
                  </a:cubicBezTo>
                  <a:cubicBezTo>
                    <a:pt x="1174138" y="811324"/>
                    <a:pt x="1175318" y="810779"/>
                    <a:pt x="1175318" y="810779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2" name="Vrije vorm 931">
              <a:extLst>
                <a:ext uri="{FF2B5EF4-FFF2-40B4-BE49-F238E27FC236}">
                  <a16:creationId xmlns:a16="http://schemas.microsoft.com/office/drawing/2014/main" id="{E7289FC9-8689-335A-F8FB-CE6FFC1018FF}"/>
                </a:ext>
              </a:extLst>
            </p:cNvPr>
            <p:cNvSpPr/>
            <p:nvPr/>
          </p:nvSpPr>
          <p:spPr>
            <a:xfrm flipV="1">
              <a:off x="8895886" y="3610740"/>
              <a:ext cx="359101" cy="269645"/>
            </a:xfrm>
            <a:custGeom>
              <a:avLst/>
              <a:gdLst>
                <a:gd name="connsiteX0" fmla="*/ 356016 w 359101"/>
                <a:gd name="connsiteY0" fmla="*/ 268313 h 269645"/>
                <a:gd name="connsiteX1" fmla="*/ 164318 w 359101"/>
                <a:gd name="connsiteY1" fmla="*/ 229394 h 269645"/>
                <a:gd name="connsiteX2" fmla="*/ -3086 w 359101"/>
                <a:gd name="connsiteY2" fmla="*/ 172993 h 269645"/>
                <a:gd name="connsiteX3" fmla="*/ 279446 w 359101"/>
                <a:gd name="connsiteY3" fmla="*/ -1332 h 269645"/>
                <a:gd name="connsiteX4" fmla="*/ 327614 w 359101"/>
                <a:gd name="connsiteY4" fmla="*/ 108576 h 269645"/>
                <a:gd name="connsiteX5" fmla="*/ 356016 w 359101"/>
                <a:gd name="connsiteY5" fmla="*/ 268313 h 269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9101" h="269645">
                  <a:moveTo>
                    <a:pt x="356016" y="268313"/>
                  </a:moveTo>
                  <a:lnTo>
                    <a:pt x="164318" y="229394"/>
                  </a:lnTo>
                  <a:lnTo>
                    <a:pt x="-3086" y="172993"/>
                  </a:lnTo>
                  <a:lnTo>
                    <a:pt x="279446" y="-1332"/>
                  </a:lnTo>
                  <a:lnTo>
                    <a:pt x="327614" y="108576"/>
                  </a:lnTo>
                  <a:lnTo>
                    <a:pt x="356016" y="268313"/>
                  </a:lnTo>
                </a:path>
              </a:pathLst>
            </a:custGeom>
            <a:solidFill>
              <a:srgbClr val="F2575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3" name="Vrije vorm 932">
              <a:extLst>
                <a:ext uri="{FF2B5EF4-FFF2-40B4-BE49-F238E27FC236}">
                  <a16:creationId xmlns:a16="http://schemas.microsoft.com/office/drawing/2014/main" id="{82EB1A45-8A0D-22E7-5F13-6C8046900442}"/>
                </a:ext>
              </a:extLst>
            </p:cNvPr>
            <p:cNvSpPr/>
            <p:nvPr/>
          </p:nvSpPr>
          <p:spPr>
            <a:xfrm flipV="1">
              <a:off x="9181055" y="2711850"/>
              <a:ext cx="879040" cy="1463291"/>
            </a:xfrm>
            <a:custGeom>
              <a:avLst/>
              <a:gdLst>
                <a:gd name="connsiteX0" fmla="*/ 765716 w 879040"/>
                <a:gd name="connsiteY0" fmla="*/ 1394785 h 1463291"/>
                <a:gd name="connsiteX1" fmla="*/ 863473 w 879040"/>
                <a:gd name="connsiteY1" fmla="*/ 911286 h 1463291"/>
                <a:gd name="connsiteX2" fmla="*/ 711994 w 879040"/>
                <a:gd name="connsiteY2" fmla="*/ 42511 h 1463291"/>
                <a:gd name="connsiteX3" fmla="*/ 683123 w 879040"/>
                <a:gd name="connsiteY3" fmla="*/ -1470 h 1463291"/>
                <a:gd name="connsiteX4" fmla="*/ -3458 w 879040"/>
                <a:gd name="connsiteY4" fmla="*/ 285504 h 1463291"/>
                <a:gd name="connsiteX5" fmla="*/ 141580 w 879040"/>
                <a:gd name="connsiteY5" fmla="*/ 869499 h 1463291"/>
                <a:gd name="connsiteX6" fmla="*/ 358762 w 879040"/>
                <a:gd name="connsiteY6" fmla="*/ 1265988 h 1463291"/>
                <a:gd name="connsiteX7" fmla="*/ 392299 w 879040"/>
                <a:gd name="connsiteY7" fmla="*/ 1367828 h 1463291"/>
                <a:gd name="connsiteX8" fmla="*/ 751300 w 879040"/>
                <a:gd name="connsiteY8" fmla="*/ 1461689 h 1463291"/>
                <a:gd name="connsiteX9" fmla="*/ 765716 w 879040"/>
                <a:gd name="connsiteY9" fmla="*/ 1394785 h 1463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9040" h="1463291">
                  <a:moveTo>
                    <a:pt x="765716" y="1394785"/>
                  </a:moveTo>
                  <a:cubicBezTo>
                    <a:pt x="765716" y="1394785"/>
                    <a:pt x="918970" y="1185193"/>
                    <a:pt x="863473" y="911286"/>
                  </a:cubicBezTo>
                  <a:cubicBezTo>
                    <a:pt x="807976" y="637378"/>
                    <a:pt x="714745" y="101918"/>
                    <a:pt x="711994" y="42511"/>
                  </a:cubicBezTo>
                  <a:cubicBezTo>
                    <a:pt x="709737" y="-6303"/>
                    <a:pt x="683123" y="-1470"/>
                    <a:pt x="683123" y="-1470"/>
                  </a:cubicBezTo>
                  <a:lnTo>
                    <a:pt x="-3458" y="285504"/>
                  </a:lnTo>
                  <a:lnTo>
                    <a:pt x="141580" y="869499"/>
                  </a:lnTo>
                  <a:lnTo>
                    <a:pt x="358762" y="1265988"/>
                  </a:lnTo>
                  <a:lnTo>
                    <a:pt x="392299" y="1367828"/>
                  </a:lnTo>
                  <a:lnTo>
                    <a:pt x="751300" y="1461689"/>
                  </a:lnTo>
                  <a:lnTo>
                    <a:pt x="765716" y="1394785"/>
                  </a:lnTo>
                </a:path>
              </a:pathLst>
            </a:custGeom>
            <a:solidFill>
              <a:srgbClr val="E0F5F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4" name="Vrije vorm 933">
              <a:extLst>
                <a:ext uri="{FF2B5EF4-FFF2-40B4-BE49-F238E27FC236}">
                  <a16:creationId xmlns:a16="http://schemas.microsoft.com/office/drawing/2014/main" id="{CE7481E3-BA12-00A3-D38B-0C6F6689B578}"/>
                </a:ext>
              </a:extLst>
            </p:cNvPr>
            <p:cNvSpPr/>
            <p:nvPr/>
          </p:nvSpPr>
          <p:spPr>
            <a:xfrm flipV="1">
              <a:off x="8950458" y="3724606"/>
              <a:ext cx="268425" cy="437824"/>
            </a:xfrm>
            <a:custGeom>
              <a:avLst/>
              <a:gdLst>
                <a:gd name="connsiteX0" fmla="*/ 254043 w 268425"/>
                <a:gd name="connsiteY0" fmla="*/ 361215 h 437824"/>
                <a:gd name="connsiteX1" fmla="*/ 265290 w 268425"/>
                <a:gd name="connsiteY1" fmla="*/ 224730 h 437824"/>
                <a:gd name="connsiteX2" fmla="*/ 245180 w 268425"/>
                <a:gd name="connsiteY2" fmla="*/ 132747 h 437824"/>
                <a:gd name="connsiteX3" fmla="*/ 241833 w 268425"/>
                <a:gd name="connsiteY3" fmla="*/ 70017 h 437824"/>
                <a:gd name="connsiteX4" fmla="*/ 195579 w 268425"/>
                <a:gd name="connsiteY4" fmla="*/ 88271 h 437824"/>
                <a:gd name="connsiteX5" fmla="*/ 194108 w 268425"/>
                <a:gd name="connsiteY5" fmla="*/ 168977 h 437824"/>
                <a:gd name="connsiteX6" fmla="*/ 177384 w 268425"/>
                <a:gd name="connsiteY6" fmla="*/ 114835 h 437824"/>
                <a:gd name="connsiteX7" fmla="*/ 171818 w 268425"/>
                <a:gd name="connsiteY7" fmla="*/ 13223 h 437824"/>
                <a:gd name="connsiteX8" fmla="*/ 150732 w 268425"/>
                <a:gd name="connsiteY8" fmla="*/ -1035 h 437824"/>
                <a:gd name="connsiteX9" fmla="*/ 122179 w 268425"/>
                <a:gd name="connsiteY9" fmla="*/ 15938 h 437824"/>
                <a:gd name="connsiteX10" fmla="*/ 89847 w 268425"/>
                <a:gd name="connsiteY10" fmla="*/ 35727 h 437824"/>
                <a:gd name="connsiteX11" fmla="*/ 47866 w 268425"/>
                <a:gd name="connsiteY11" fmla="*/ 82601 h 437824"/>
                <a:gd name="connsiteX12" fmla="*/ 23547 w 268425"/>
                <a:gd name="connsiteY12" fmla="*/ 93104 h 437824"/>
                <a:gd name="connsiteX13" fmla="*/ -3092 w 268425"/>
                <a:gd name="connsiteY13" fmla="*/ 145039 h 437824"/>
                <a:gd name="connsiteX14" fmla="*/ 10424 w 268425"/>
                <a:gd name="connsiteY14" fmla="*/ 308164 h 437824"/>
                <a:gd name="connsiteX15" fmla="*/ 103807 w 268425"/>
                <a:gd name="connsiteY15" fmla="*/ 436669 h 437824"/>
                <a:gd name="connsiteX16" fmla="*/ 226352 w 268425"/>
                <a:gd name="connsiteY16" fmla="*/ 432216 h 437824"/>
                <a:gd name="connsiteX17" fmla="*/ 254043 w 268425"/>
                <a:gd name="connsiteY17" fmla="*/ 361215 h 437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8425" h="437824">
                  <a:moveTo>
                    <a:pt x="254043" y="361215"/>
                  </a:moveTo>
                  <a:cubicBezTo>
                    <a:pt x="254043" y="361215"/>
                    <a:pt x="264149" y="239864"/>
                    <a:pt x="265290" y="224730"/>
                  </a:cubicBezTo>
                  <a:cubicBezTo>
                    <a:pt x="266418" y="209584"/>
                    <a:pt x="245383" y="160275"/>
                    <a:pt x="245180" y="132747"/>
                  </a:cubicBezTo>
                  <a:cubicBezTo>
                    <a:pt x="244990" y="105232"/>
                    <a:pt x="253511" y="78554"/>
                    <a:pt x="241833" y="70017"/>
                  </a:cubicBezTo>
                  <a:cubicBezTo>
                    <a:pt x="230155" y="61479"/>
                    <a:pt x="201691" y="68279"/>
                    <a:pt x="195579" y="88271"/>
                  </a:cubicBezTo>
                  <a:cubicBezTo>
                    <a:pt x="189468" y="108276"/>
                    <a:pt x="194108" y="168977"/>
                    <a:pt x="194108" y="168977"/>
                  </a:cubicBezTo>
                  <a:lnTo>
                    <a:pt x="177384" y="114835"/>
                  </a:lnTo>
                  <a:lnTo>
                    <a:pt x="171818" y="13223"/>
                  </a:lnTo>
                  <a:cubicBezTo>
                    <a:pt x="171818" y="13223"/>
                    <a:pt x="168991" y="-2685"/>
                    <a:pt x="150732" y="-1035"/>
                  </a:cubicBezTo>
                  <a:cubicBezTo>
                    <a:pt x="132487" y="626"/>
                    <a:pt x="122179" y="15938"/>
                    <a:pt x="122179" y="15938"/>
                  </a:cubicBezTo>
                  <a:cubicBezTo>
                    <a:pt x="122179" y="15938"/>
                    <a:pt x="100320" y="11561"/>
                    <a:pt x="89847" y="35727"/>
                  </a:cubicBezTo>
                  <a:cubicBezTo>
                    <a:pt x="89847" y="35727"/>
                    <a:pt x="56627" y="27063"/>
                    <a:pt x="47866" y="82601"/>
                  </a:cubicBezTo>
                  <a:cubicBezTo>
                    <a:pt x="47866" y="82601"/>
                    <a:pt x="32562" y="78199"/>
                    <a:pt x="23547" y="93104"/>
                  </a:cubicBezTo>
                  <a:cubicBezTo>
                    <a:pt x="14532" y="108023"/>
                    <a:pt x="-3092" y="145039"/>
                    <a:pt x="-3092" y="145039"/>
                  </a:cubicBezTo>
                  <a:cubicBezTo>
                    <a:pt x="-3092" y="145039"/>
                    <a:pt x="978" y="279190"/>
                    <a:pt x="10424" y="308164"/>
                  </a:cubicBezTo>
                  <a:cubicBezTo>
                    <a:pt x="19870" y="337138"/>
                    <a:pt x="103807" y="436669"/>
                    <a:pt x="103807" y="436669"/>
                  </a:cubicBezTo>
                  <a:cubicBezTo>
                    <a:pt x="103807" y="436669"/>
                    <a:pt x="191534" y="429540"/>
                    <a:pt x="226352" y="432216"/>
                  </a:cubicBezTo>
                  <a:lnTo>
                    <a:pt x="254043" y="361215"/>
                  </a:lnTo>
                </a:path>
              </a:pathLst>
            </a:custGeom>
            <a:solidFill>
              <a:srgbClr val="F9A78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5" name="Vrije vorm 934">
              <a:extLst>
                <a:ext uri="{FF2B5EF4-FFF2-40B4-BE49-F238E27FC236}">
                  <a16:creationId xmlns:a16="http://schemas.microsoft.com/office/drawing/2014/main" id="{F5B32119-8D79-FBF2-5798-A16565E79157}"/>
                </a:ext>
              </a:extLst>
            </p:cNvPr>
            <p:cNvSpPr/>
            <p:nvPr/>
          </p:nvSpPr>
          <p:spPr>
            <a:xfrm flipV="1">
              <a:off x="9062317" y="3912794"/>
              <a:ext cx="26794" cy="222510"/>
            </a:xfrm>
            <a:custGeom>
              <a:avLst/>
              <a:gdLst>
                <a:gd name="connsiteX0" fmla="*/ 23627 w 26794"/>
                <a:gd name="connsiteY0" fmla="*/ 221424 h 222510"/>
                <a:gd name="connsiteX1" fmla="*/ 19646 w 26794"/>
                <a:gd name="connsiteY1" fmla="*/ 213394 h 222510"/>
                <a:gd name="connsiteX2" fmla="*/ 11366 w 26794"/>
                <a:gd name="connsiteY2" fmla="*/ 190459 h 222510"/>
                <a:gd name="connsiteX3" fmla="*/ -2657 w 26794"/>
                <a:gd name="connsiteY3" fmla="*/ 111250 h 222510"/>
                <a:gd name="connsiteX4" fmla="*/ 2998 w 26794"/>
                <a:gd name="connsiteY4" fmla="*/ 30988 h 222510"/>
                <a:gd name="connsiteX5" fmla="*/ 8843 w 26794"/>
                <a:gd name="connsiteY5" fmla="*/ 7316 h 222510"/>
                <a:gd name="connsiteX6" fmla="*/ 11962 w 26794"/>
                <a:gd name="connsiteY6" fmla="*/ -1081 h 222510"/>
                <a:gd name="connsiteX7" fmla="*/ 6320 w 26794"/>
                <a:gd name="connsiteY7" fmla="*/ 31584 h 222510"/>
                <a:gd name="connsiteX8" fmla="*/ 2097 w 26794"/>
                <a:gd name="connsiteY8" fmla="*/ 110996 h 222510"/>
                <a:gd name="connsiteX9" fmla="*/ 14599 w 26794"/>
                <a:gd name="connsiteY9" fmla="*/ 189520 h 222510"/>
                <a:gd name="connsiteX10" fmla="*/ 23627 w 26794"/>
                <a:gd name="connsiteY10" fmla="*/ 221424 h 22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794" h="222510">
                  <a:moveTo>
                    <a:pt x="23627" y="221424"/>
                  </a:moveTo>
                  <a:cubicBezTo>
                    <a:pt x="23322" y="221538"/>
                    <a:pt x="21928" y="218684"/>
                    <a:pt x="19646" y="213394"/>
                  </a:cubicBezTo>
                  <a:cubicBezTo>
                    <a:pt x="17312" y="208117"/>
                    <a:pt x="14447" y="200290"/>
                    <a:pt x="11366" y="190459"/>
                  </a:cubicBezTo>
                  <a:cubicBezTo>
                    <a:pt x="5166" y="170809"/>
                    <a:pt x="-958" y="142748"/>
                    <a:pt x="-2657" y="111250"/>
                  </a:cubicBezTo>
                  <a:cubicBezTo>
                    <a:pt x="-4268" y="79726"/>
                    <a:pt x="-1111" y="51171"/>
                    <a:pt x="2998" y="30988"/>
                  </a:cubicBezTo>
                  <a:cubicBezTo>
                    <a:pt x="5039" y="20890"/>
                    <a:pt x="7080" y="12797"/>
                    <a:pt x="8843" y="7316"/>
                  </a:cubicBezTo>
                  <a:cubicBezTo>
                    <a:pt x="10555" y="1811"/>
                    <a:pt x="11645" y="-1170"/>
                    <a:pt x="11962" y="-1081"/>
                  </a:cubicBezTo>
                  <a:cubicBezTo>
                    <a:pt x="12735" y="-878"/>
                    <a:pt x="9515" y="11414"/>
                    <a:pt x="6320" y="31584"/>
                  </a:cubicBezTo>
                  <a:cubicBezTo>
                    <a:pt x="3086" y="51729"/>
                    <a:pt x="512" y="79904"/>
                    <a:pt x="2097" y="110996"/>
                  </a:cubicBezTo>
                  <a:cubicBezTo>
                    <a:pt x="3771" y="142076"/>
                    <a:pt x="9287" y="169819"/>
                    <a:pt x="14599" y="189520"/>
                  </a:cubicBezTo>
                  <a:cubicBezTo>
                    <a:pt x="19886" y="209246"/>
                    <a:pt x="24375" y="221120"/>
                    <a:pt x="23627" y="221424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6" name="Vrije vorm 935">
              <a:extLst>
                <a:ext uri="{FF2B5EF4-FFF2-40B4-BE49-F238E27FC236}">
                  <a16:creationId xmlns:a16="http://schemas.microsoft.com/office/drawing/2014/main" id="{802A013B-CF89-B55E-2610-38B3822B8718}"/>
                </a:ext>
              </a:extLst>
            </p:cNvPr>
            <p:cNvSpPr/>
            <p:nvPr/>
          </p:nvSpPr>
          <p:spPr>
            <a:xfrm flipV="1">
              <a:off x="9013578" y="3906758"/>
              <a:ext cx="31508" cy="212175"/>
            </a:xfrm>
            <a:custGeom>
              <a:avLst/>
              <a:gdLst>
                <a:gd name="connsiteX0" fmla="*/ 9153 w 31508"/>
                <a:gd name="connsiteY0" fmla="*/ 211082 h 212175"/>
                <a:gd name="connsiteX1" fmla="*/ 6972 w 31508"/>
                <a:gd name="connsiteY1" fmla="*/ 202747 h 212175"/>
                <a:gd name="connsiteX2" fmla="*/ 2902 w 31508"/>
                <a:gd name="connsiteY2" fmla="*/ 179710 h 212175"/>
                <a:gd name="connsiteX3" fmla="*/ -2930 w 31508"/>
                <a:gd name="connsiteY3" fmla="*/ 102581 h 212175"/>
                <a:gd name="connsiteX4" fmla="*/ 12361 w 31508"/>
                <a:gd name="connsiteY4" fmla="*/ 26696 h 212175"/>
                <a:gd name="connsiteX5" fmla="*/ 23176 w 31508"/>
                <a:gd name="connsiteY5" fmla="*/ 5790 h 212175"/>
                <a:gd name="connsiteX6" fmla="*/ 28400 w 31508"/>
                <a:gd name="connsiteY6" fmla="*/ -1085 h 212175"/>
                <a:gd name="connsiteX7" fmla="*/ 15493 w 31508"/>
                <a:gd name="connsiteY7" fmla="*/ 27939 h 212175"/>
                <a:gd name="connsiteX8" fmla="*/ 1837 w 31508"/>
                <a:gd name="connsiteY8" fmla="*/ 102734 h 212175"/>
                <a:gd name="connsiteX9" fmla="*/ 6237 w 31508"/>
                <a:gd name="connsiteY9" fmla="*/ 179253 h 212175"/>
                <a:gd name="connsiteX10" fmla="*/ 9153 w 31508"/>
                <a:gd name="connsiteY10" fmla="*/ 211082 h 212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508" h="212175">
                  <a:moveTo>
                    <a:pt x="9153" y="211082"/>
                  </a:moveTo>
                  <a:cubicBezTo>
                    <a:pt x="8836" y="211132"/>
                    <a:pt x="8063" y="208164"/>
                    <a:pt x="6972" y="202747"/>
                  </a:cubicBezTo>
                  <a:cubicBezTo>
                    <a:pt x="5869" y="197330"/>
                    <a:pt x="4436" y="189465"/>
                    <a:pt x="2902" y="179710"/>
                  </a:cubicBezTo>
                  <a:cubicBezTo>
                    <a:pt x="-90" y="160212"/>
                    <a:pt x="-3780" y="132951"/>
                    <a:pt x="-2930" y="102581"/>
                  </a:cubicBezTo>
                  <a:cubicBezTo>
                    <a:pt x="-2081" y="72199"/>
                    <a:pt x="4462" y="44976"/>
                    <a:pt x="12361" y="26696"/>
                  </a:cubicBezTo>
                  <a:cubicBezTo>
                    <a:pt x="16254" y="17524"/>
                    <a:pt x="20146" y="10446"/>
                    <a:pt x="23176" y="5790"/>
                  </a:cubicBezTo>
                  <a:cubicBezTo>
                    <a:pt x="26194" y="1122"/>
                    <a:pt x="28159" y="-1250"/>
                    <a:pt x="28400" y="-1085"/>
                  </a:cubicBezTo>
                  <a:cubicBezTo>
                    <a:pt x="29136" y="-641"/>
                    <a:pt x="22314" y="9583"/>
                    <a:pt x="15493" y="27939"/>
                  </a:cubicBezTo>
                  <a:cubicBezTo>
                    <a:pt x="8532" y="46194"/>
                    <a:pt x="2674" y="72846"/>
                    <a:pt x="1837" y="102734"/>
                  </a:cubicBezTo>
                  <a:cubicBezTo>
                    <a:pt x="988" y="132608"/>
                    <a:pt x="4094" y="159692"/>
                    <a:pt x="6237" y="179253"/>
                  </a:cubicBezTo>
                  <a:cubicBezTo>
                    <a:pt x="8481" y="198827"/>
                    <a:pt x="9838" y="210980"/>
                    <a:pt x="9153" y="211082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7" name="Vrije vorm 936">
              <a:extLst>
                <a:ext uri="{FF2B5EF4-FFF2-40B4-BE49-F238E27FC236}">
                  <a16:creationId xmlns:a16="http://schemas.microsoft.com/office/drawing/2014/main" id="{C1383044-12A5-C709-AAC7-C5A985E75C3E}"/>
                </a:ext>
              </a:extLst>
            </p:cNvPr>
            <p:cNvSpPr/>
            <p:nvPr/>
          </p:nvSpPr>
          <p:spPr>
            <a:xfrm flipV="1">
              <a:off x="8986314" y="3901951"/>
              <a:ext cx="18457" cy="170071"/>
            </a:xfrm>
            <a:custGeom>
              <a:avLst/>
              <a:gdLst>
                <a:gd name="connsiteX0" fmla="*/ 10106 w 18457"/>
                <a:gd name="connsiteY0" fmla="*/ 168955 h 170071"/>
                <a:gd name="connsiteX1" fmla="*/ 5808 w 18457"/>
                <a:gd name="connsiteY1" fmla="*/ 143914 h 170071"/>
                <a:gd name="connsiteX2" fmla="*/ -2497 w 18457"/>
                <a:gd name="connsiteY2" fmla="*/ 83048 h 170071"/>
                <a:gd name="connsiteX3" fmla="*/ 3703 w 18457"/>
                <a:gd name="connsiteY3" fmla="*/ 21663 h 170071"/>
                <a:gd name="connsiteX4" fmla="*/ 11298 w 18457"/>
                <a:gd name="connsiteY4" fmla="*/ 4474 h 170071"/>
                <a:gd name="connsiteX5" fmla="*/ 15355 w 18457"/>
                <a:gd name="connsiteY5" fmla="*/ -1108 h 170071"/>
                <a:gd name="connsiteX6" fmla="*/ 6923 w 18457"/>
                <a:gd name="connsiteY6" fmla="*/ 22627 h 170071"/>
                <a:gd name="connsiteX7" fmla="*/ 2257 w 18457"/>
                <a:gd name="connsiteY7" fmla="*/ 82719 h 170071"/>
                <a:gd name="connsiteX8" fmla="*/ 9142 w 18457"/>
                <a:gd name="connsiteY8" fmla="*/ 143483 h 170071"/>
                <a:gd name="connsiteX9" fmla="*/ 10106 w 18457"/>
                <a:gd name="connsiteY9" fmla="*/ 168955 h 170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457" h="170071">
                  <a:moveTo>
                    <a:pt x="10106" y="168955"/>
                  </a:moveTo>
                  <a:cubicBezTo>
                    <a:pt x="9421" y="168993"/>
                    <a:pt x="8305" y="159378"/>
                    <a:pt x="5808" y="143914"/>
                  </a:cubicBezTo>
                  <a:cubicBezTo>
                    <a:pt x="3475" y="128450"/>
                    <a:pt x="-722" y="107138"/>
                    <a:pt x="-2497" y="83048"/>
                  </a:cubicBezTo>
                  <a:cubicBezTo>
                    <a:pt x="-4260" y="58933"/>
                    <a:pt x="-1521" y="36720"/>
                    <a:pt x="3703" y="21663"/>
                  </a:cubicBezTo>
                  <a:cubicBezTo>
                    <a:pt x="6226" y="14102"/>
                    <a:pt x="9015" y="8279"/>
                    <a:pt x="11298" y="4474"/>
                  </a:cubicBezTo>
                  <a:cubicBezTo>
                    <a:pt x="13555" y="655"/>
                    <a:pt x="15101" y="-1260"/>
                    <a:pt x="15355" y="-1108"/>
                  </a:cubicBezTo>
                  <a:cubicBezTo>
                    <a:pt x="16090" y="-702"/>
                    <a:pt x="11006" y="7670"/>
                    <a:pt x="6923" y="22627"/>
                  </a:cubicBezTo>
                  <a:cubicBezTo>
                    <a:pt x="2676" y="37520"/>
                    <a:pt x="520" y="59034"/>
                    <a:pt x="2257" y="82719"/>
                  </a:cubicBezTo>
                  <a:cubicBezTo>
                    <a:pt x="3994" y="106403"/>
                    <a:pt x="7646" y="127816"/>
                    <a:pt x="9142" y="143483"/>
                  </a:cubicBezTo>
                  <a:cubicBezTo>
                    <a:pt x="10791" y="159137"/>
                    <a:pt x="10727" y="168917"/>
                    <a:pt x="10106" y="168955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8" name="Vrije vorm 937">
              <a:extLst>
                <a:ext uri="{FF2B5EF4-FFF2-40B4-BE49-F238E27FC236}">
                  <a16:creationId xmlns:a16="http://schemas.microsoft.com/office/drawing/2014/main" id="{40449776-FFEE-B731-2DF9-6EDC9E9C5F50}"/>
                </a:ext>
              </a:extLst>
            </p:cNvPr>
            <p:cNvSpPr/>
            <p:nvPr/>
          </p:nvSpPr>
          <p:spPr>
            <a:xfrm flipV="1">
              <a:off x="8894479" y="3701861"/>
              <a:ext cx="88133" cy="57706"/>
            </a:xfrm>
            <a:custGeom>
              <a:avLst/>
              <a:gdLst>
                <a:gd name="connsiteX0" fmla="*/ 85141 w 88133"/>
                <a:gd name="connsiteY0" fmla="*/ -1345 h 57706"/>
                <a:gd name="connsiteX1" fmla="*/ 35490 w 88133"/>
                <a:gd name="connsiteY1" fmla="*/ 12444 h 57706"/>
                <a:gd name="connsiteX2" fmla="*/ 35490 w 88133"/>
                <a:gd name="connsiteY2" fmla="*/ 29290 h 57706"/>
                <a:gd name="connsiteX3" fmla="*/ 85141 w 88133"/>
                <a:gd name="connsiteY3" fmla="*/ -1345 h 57706"/>
                <a:gd name="connsiteX4" fmla="*/ 12819 w 88133"/>
                <a:gd name="connsiteY4" fmla="*/ 43270 h 57706"/>
                <a:gd name="connsiteX5" fmla="*/ -2992 w 88133"/>
                <a:gd name="connsiteY5" fmla="*/ 43270 h 57706"/>
                <a:gd name="connsiteX6" fmla="*/ 939 w 88133"/>
                <a:gd name="connsiteY6" fmla="*/ 50602 h 57706"/>
                <a:gd name="connsiteX7" fmla="*/ 12819 w 88133"/>
                <a:gd name="connsiteY7" fmla="*/ 43270 h 57706"/>
                <a:gd name="connsiteX8" fmla="*/ 2523 w 88133"/>
                <a:gd name="connsiteY8" fmla="*/ 53558 h 57706"/>
                <a:gd name="connsiteX9" fmla="*/ 3817 w 88133"/>
                <a:gd name="connsiteY9" fmla="*/ 55968 h 57706"/>
                <a:gd name="connsiteX10" fmla="*/ 10854 w 88133"/>
                <a:gd name="connsiteY10" fmla="*/ 56361 h 57706"/>
                <a:gd name="connsiteX11" fmla="*/ 2523 w 88133"/>
                <a:gd name="connsiteY11" fmla="*/ 53558 h 57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133" h="57706">
                  <a:moveTo>
                    <a:pt x="85141" y="-1345"/>
                  </a:moveTo>
                  <a:cubicBezTo>
                    <a:pt x="67340" y="3564"/>
                    <a:pt x="50261" y="8321"/>
                    <a:pt x="35490" y="12444"/>
                  </a:cubicBezTo>
                  <a:lnTo>
                    <a:pt x="35490" y="29290"/>
                  </a:lnTo>
                  <a:lnTo>
                    <a:pt x="85141" y="-1345"/>
                  </a:lnTo>
                  <a:moveTo>
                    <a:pt x="12819" y="43270"/>
                  </a:moveTo>
                  <a:lnTo>
                    <a:pt x="-2992" y="43270"/>
                  </a:lnTo>
                  <a:lnTo>
                    <a:pt x="939" y="50602"/>
                  </a:lnTo>
                  <a:lnTo>
                    <a:pt x="12819" y="43270"/>
                  </a:lnTo>
                  <a:moveTo>
                    <a:pt x="2523" y="53558"/>
                  </a:moveTo>
                  <a:lnTo>
                    <a:pt x="3817" y="55968"/>
                  </a:lnTo>
                  <a:lnTo>
                    <a:pt x="10854" y="56361"/>
                  </a:lnTo>
                  <a:lnTo>
                    <a:pt x="2523" y="53558"/>
                  </a:lnTo>
                </a:path>
              </a:pathLst>
            </a:custGeom>
            <a:solidFill>
              <a:srgbClr val="A7A9A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9" name="Vrije vorm 938">
              <a:extLst>
                <a:ext uri="{FF2B5EF4-FFF2-40B4-BE49-F238E27FC236}">
                  <a16:creationId xmlns:a16="http://schemas.microsoft.com/office/drawing/2014/main" id="{C3F097E7-A9A4-26B6-4F12-D399C14248D0}"/>
                </a:ext>
              </a:extLst>
            </p:cNvPr>
            <p:cNvSpPr/>
            <p:nvPr/>
          </p:nvSpPr>
          <p:spPr>
            <a:xfrm flipV="1">
              <a:off x="8885147" y="3714952"/>
              <a:ext cx="47813" cy="30825"/>
            </a:xfrm>
            <a:custGeom>
              <a:avLst/>
              <a:gdLst>
                <a:gd name="connsiteX0" fmla="*/ 44841 w 47813"/>
                <a:gd name="connsiteY0" fmla="*/ -1346 h 30825"/>
                <a:gd name="connsiteX1" fmla="*/ -2972 w 47813"/>
                <a:gd name="connsiteY1" fmla="*/ 12076 h 30825"/>
                <a:gd name="connsiteX2" fmla="*/ 6360 w 47813"/>
                <a:gd name="connsiteY2" fmla="*/ 29480 h 30825"/>
                <a:gd name="connsiteX3" fmla="*/ 22171 w 47813"/>
                <a:gd name="connsiteY3" fmla="*/ 29480 h 30825"/>
                <a:gd name="connsiteX4" fmla="*/ 44841 w 47813"/>
                <a:gd name="connsiteY4" fmla="*/ 15501 h 30825"/>
                <a:gd name="connsiteX5" fmla="*/ 44841 w 47813"/>
                <a:gd name="connsiteY5" fmla="*/ -1346 h 3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813" h="30825">
                  <a:moveTo>
                    <a:pt x="44841" y="-1346"/>
                  </a:moveTo>
                  <a:cubicBezTo>
                    <a:pt x="16694" y="6519"/>
                    <a:pt x="-2972" y="12076"/>
                    <a:pt x="-2972" y="12076"/>
                  </a:cubicBezTo>
                  <a:lnTo>
                    <a:pt x="6360" y="29480"/>
                  </a:lnTo>
                  <a:lnTo>
                    <a:pt x="22171" y="29480"/>
                  </a:lnTo>
                  <a:lnTo>
                    <a:pt x="44841" y="15501"/>
                  </a:lnTo>
                  <a:lnTo>
                    <a:pt x="44841" y="-1346"/>
                  </a:lnTo>
                </a:path>
              </a:pathLst>
            </a:custGeom>
            <a:solidFill>
              <a:srgbClr val="461F1E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0" name="Vrije vorm 939">
              <a:extLst>
                <a:ext uri="{FF2B5EF4-FFF2-40B4-BE49-F238E27FC236}">
                  <a16:creationId xmlns:a16="http://schemas.microsoft.com/office/drawing/2014/main" id="{FE5E7BA6-BC07-4098-B29A-7CF805DBE81E}"/>
                </a:ext>
              </a:extLst>
            </p:cNvPr>
            <p:cNvSpPr/>
            <p:nvPr/>
          </p:nvSpPr>
          <p:spPr>
            <a:xfrm flipV="1">
              <a:off x="8898410" y="3644408"/>
              <a:ext cx="343151" cy="148294"/>
            </a:xfrm>
            <a:custGeom>
              <a:avLst/>
              <a:gdLst>
                <a:gd name="connsiteX0" fmla="*/ 303236 w 343151"/>
                <a:gd name="connsiteY0" fmla="*/ -1356 h 148294"/>
                <a:gd name="connsiteX1" fmla="*/ 278410 w 343151"/>
                <a:gd name="connsiteY1" fmla="*/ 62287 h 148294"/>
                <a:gd name="connsiteX2" fmla="*/ 258491 w 343151"/>
                <a:gd name="connsiteY2" fmla="*/ 61678 h 148294"/>
                <a:gd name="connsiteX3" fmla="*/ 155865 w 343151"/>
                <a:gd name="connsiteY3" fmla="*/ 66740 h 148294"/>
                <a:gd name="connsiteX4" fmla="*/ 118981 w 343151"/>
                <a:gd name="connsiteY4" fmla="*/ 21364 h 148294"/>
                <a:gd name="connsiteX5" fmla="*/ 81121 w 343151"/>
                <a:gd name="connsiteY5" fmla="*/ 31778 h 148294"/>
                <a:gd name="connsiteX6" fmla="*/ 31469 w 343151"/>
                <a:gd name="connsiteY6" fmla="*/ 62414 h 148294"/>
                <a:gd name="connsiteX7" fmla="*/ 8798 w 343151"/>
                <a:gd name="connsiteY7" fmla="*/ 76394 h 148294"/>
                <a:gd name="connsiteX8" fmla="*/ -3082 w 343151"/>
                <a:gd name="connsiteY8" fmla="*/ 83726 h 148294"/>
                <a:gd name="connsiteX9" fmla="*/ -1497 w 343151"/>
                <a:gd name="connsiteY9" fmla="*/ 86682 h 148294"/>
                <a:gd name="connsiteX10" fmla="*/ 6833 w 343151"/>
                <a:gd name="connsiteY10" fmla="*/ 89485 h 148294"/>
                <a:gd name="connsiteX11" fmla="*/ 261268 w 343151"/>
                <a:gd name="connsiteY11" fmla="*/ 103820 h 148294"/>
                <a:gd name="connsiteX12" fmla="*/ 340069 w 343151"/>
                <a:gd name="connsiteY12" fmla="*/ 146939 h 148294"/>
                <a:gd name="connsiteX13" fmla="*/ 303236 w 343151"/>
                <a:gd name="connsiteY13" fmla="*/ -1356 h 148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3151" h="148294">
                  <a:moveTo>
                    <a:pt x="303236" y="-1356"/>
                  </a:moveTo>
                  <a:lnTo>
                    <a:pt x="278410" y="62287"/>
                  </a:lnTo>
                  <a:cubicBezTo>
                    <a:pt x="272907" y="61856"/>
                    <a:pt x="266086" y="61678"/>
                    <a:pt x="258491" y="61678"/>
                  </a:cubicBezTo>
                  <a:cubicBezTo>
                    <a:pt x="218057" y="61678"/>
                    <a:pt x="155865" y="66740"/>
                    <a:pt x="155865" y="66740"/>
                  </a:cubicBezTo>
                  <a:cubicBezTo>
                    <a:pt x="155865" y="66740"/>
                    <a:pt x="138672" y="46367"/>
                    <a:pt x="118981" y="21364"/>
                  </a:cubicBezTo>
                  <a:cubicBezTo>
                    <a:pt x="106390" y="24801"/>
                    <a:pt x="93572" y="28328"/>
                    <a:pt x="81121" y="31778"/>
                  </a:cubicBezTo>
                  <a:lnTo>
                    <a:pt x="31469" y="62414"/>
                  </a:lnTo>
                  <a:lnTo>
                    <a:pt x="8798" y="76394"/>
                  </a:lnTo>
                  <a:lnTo>
                    <a:pt x="-3082" y="83726"/>
                  </a:lnTo>
                  <a:lnTo>
                    <a:pt x="-1497" y="86682"/>
                  </a:lnTo>
                  <a:lnTo>
                    <a:pt x="6833" y="89485"/>
                  </a:lnTo>
                  <a:lnTo>
                    <a:pt x="261268" y="103820"/>
                  </a:lnTo>
                  <a:lnTo>
                    <a:pt x="340069" y="146939"/>
                  </a:lnTo>
                  <a:lnTo>
                    <a:pt x="303236" y="-1356"/>
                  </a:lnTo>
                </a:path>
              </a:pathLst>
            </a:custGeom>
            <a:solidFill>
              <a:srgbClr val="CC434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1" name="Vrije vorm 940">
              <a:extLst>
                <a:ext uri="{FF2B5EF4-FFF2-40B4-BE49-F238E27FC236}">
                  <a16:creationId xmlns:a16="http://schemas.microsoft.com/office/drawing/2014/main" id="{09610ED4-4858-3D81-48A2-A3D033912611}"/>
                </a:ext>
              </a:extLst>
            </p:cNvPr>
            <p:cNvSpPr/>
            <p:nvPr/>
          </p:nvSpPr>
          <p:spPr>
            <a:xfrm flipV="1">
              <a:off x="9204727" y="3321470"/>
              <a:ext cx="627014" cy="475177"/>
            </a:xfrm>
            <a:custGeom>
              <a:avLst/>
              <a:gdLst>
                <a:gd name="connsiteX0" fmla="*/ -1841 w 627014"/>
                <a:gd name="connsiteY0" fmla="*/ -1499 h 475177"/>
                <a:gd name="connsiteX1" fmla="*/ -3388 w 627014"/>
                <a:gd name="connsiteY1" fmla="*/ 2446 h 475177"/>
                <a:gd name="connsiteX2" fmla="*/ 33445 w 627014"/>
                <a:gd name="connsiteY2" fmla="*/ 150741 h 475177"/>
                <a:gd name="connsiteX3" fmla="*/ 623626 w 627014"/>
                <a:gd name="connsiteY3" fmla="*/ 473679 h 475177"/>
                <a:gd name="connsiteX4" fmla="*/ 482189 w 627014"/>
                <a:gd name="connsiteY4" fmla="*/ 313789 h 475177"/>
                <a:gd name="connsiteX5" fmla="*/ 232915 w 627014"/>
                <a:gd name="connsiteY5" fmla="*/ 121463 h 475177"/>
                <a:gd name="connsiteX6" fmla="*/ 11649 w 627014"/>
                <a:gd name="connsiteY6" fmla="*/ 3410 h 475177"/>
                <a:gd name="connsiteX7" fmla="*/ -1841 w 627014"/>
                <a:gd name="connsiteY7" fmla="*/ -1499 h 475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7014" h="475177">
                  <a:moveTo>
                    <a:pt x="-1841" y="-1499"/>
                  </a:moveTo>
                  <a:lnTo>
                    <a:pt x="-3388" y="2446"/>
                  </a:lnTo>
                  <a:lnTo>
                    <a:pt x="33445" y="150741"/>
                  </a:lnTo>
                  <a:lnTo>
                    <a:pt x="623626" y="473679"/>
                  </a:lnTo>
                  <a:cubicBezTo>
                    <a:pt x="623626" y="473679"/>
                    <a:pt x="540387" y="375771"/>
                    <a:pt x="482189" y="313789"/>
                  </a:cubicBezTo>
                  <a:cubicBezTo>
                    <a:pt x="451543" y="281149"/>
                    <a:pt x="281172" y="158378"/>
                    <a:pt x="232915" y="121463"/>
                  </a:cubicBezTo>
                  <a:cubicBezTo>
                    <a:pt x="198377" y="95051"/>
                    <a:pt x="49725" y="19914"/>
                    <a:pt x="11649" y="3410"/>
                  </a:cubicBezTo>
                  <a:cubicBezTo>
                    <a:pt x="7186" y="1470"/>
                    <a:pt x="2698" y="-167"/>
                    <a:pt x="-1841" y="-1499"/>
                  </a:cubicBezTo>
                </a:path>
              </a:pathLst>
            </a:custGeom>
            <a:solidFill>
              <a:srgbClr val="E0F5F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2" name="Vrije vorm 941">
              <a:extLst>
                <a:ext uri="{FF2B5EF4-FFF2-40B4-BE49-F238E27FC236}">
                  <a16:creationId xmlns:a16="http://schemas.microsoft.com/office/drawing/2014/main" id="{AA9007EF-6167-297F-77F3-1E1E96299170}"/>
                </a:ext>
              </a:extLst>
            </p:cNvPr>
            <p:cNvSpPr/>
            <p:nvPr/>
          </p:nvSpPr>
          <p:spPr>
            <a:xfrm flipV="1">
              <a:off x="9020473" y="3724606"/>
              <a:ext cx="185801" cy="76874"/>
            </a:xfrm>
            <a:custGeom>
              <a:avLst/>
              <a:gdLst>
                <a:gd name="connsiteX0" fmla="*/ 147277 w 185801"/>
                <a:gd name="connsiteY0" fmla="*/ -1317 h 76874"/>
                <a:gd name="connsiteX1" fmla="*/ 47276 w 185801"/>
                <a:gd name="connsiteY1" fmla="*/ 16583 h 76874"/>
                <a:gd name="connsiteX2" fmla="*/ -3112 w 185801"/>
                <a:gd name="connsiteY2" fmla="*/ 30182 h 76874"/>
                <a:gd name="connsiteX3" fmla="*/ 33772 w 185801"/>
                <a:gd name="connsiteY3" fmla="*/ 75558 h 76874"/>
                <a:gd name="connsiteX4" fmla="*/ 136398 w 185801"/>
                <a:gd name="connsiteY4" fmla="*/ 70497 h 76874"/>
                <a:gd name="connsiteX5" fmla="*/ 156317 w 185801"/>
                <a:gd name="connsiteY5" fmla="*/ 71106 h 76874"/>
                <a:gd name="connsiteX6" fmla="*/ 181143 w 185801"/>
                <a:gd name="connsiteY6" fmla="*/ 7462 h 76874"/>
                <a:gd name="connsiteX7" fmla="*/ 182690 w 185801"/>
                <a:gd name="connsiteY7" fmla="*/ 3517 h 76874"/>
                <a:gd name="connsiteX8" fmla="*/ 147277 w 185801"/>
                <a:gd name="connsiteY8" fmla="*/ -1317 h 76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801" h="76874">
                  <a:moveTo>
                    <a:pt x="147277" y="-1317"/>
                  </a:moveTo>
                  <a:cubicBezTo>
                    <a:pt x="121031" y="-1317"/>
                    <a:pt x="89903" y="5255"/>
                    <a:pt x="47276" y="16583"/>
                  </a:cubicBezTo>
                  <a:cubicBezTo>
                    <a:pt x="31908" y="20655"/>
                    <a:pt x="14601" y="25336"/>
                    <a:pt x="-3112" y="30182"/>
                  </a:cubicBezTo>
                  <a:cubicBezTo>
                    <a:pt x="16579" y="55185"/>
                    <a:pt x="33772" y="75558"/>
                    <a:pt x="33772" y="75558"/>
                  </a:cubicBezTo>
                  <a:cubicBezTo>
                    <a:pt x="33772" y="75558"/>
                    <a:pt x="95964" y="70497"/>
                    <a:pt x="136398" y="70497"/>
                  </a:cubicBezTo>
                  <a:cubicBezTo>
                    <a:pt x="143993" y="70497"/>
                    <a:pt x="150814" y="70674"/>
                    <a:pt x="156317" y="71106"/>
                  </a:cubicBezTo>
                  <a:lnTo>
                    <a:pt x="181143" y="7462"/>
                  </a:lnTo>
                  <a:lnTo>
                    <a:pt x="182690" y="3517"/>
                  </a:lnTo>
                  <a:cubicBezTo>
                    <a:pt x="171532" y="218"/>
                    <a:pt x="159981" y="-1317"/>
                    <a:pt x="147277" y="-1317"/>
                  </a:cubicBezTo>
                </a:path>
              </a:pathLst>
            </a:custGeom>
            <a:solidFill>
              <a:srgbClr val="BA75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3" name="Vrije vorm 942">
              <a:extLst>
                <a:ext uri="{FF2B5EF4-FFF2-40B4-BE49-F238E27FC236}">
                  <a16:creationId xmlns:a16="http://schemas.microsoft.com/office/drawing/2014/main" id="{2F7FEC57-9C04-A27A-AEFA-206DF5A3171E}"/>
                </a:ext>
              </a:extLst>
            </p:cNvPr>
            <p:cNvSpPr/>
            <p:nvPr/>
          </p:nvSpPr>
          <p:spPr>
            <a:xfrm flipV="1">
              <a:off x="8719239" y="2943056"/>
              <a:ext cx="1235179" cy="815599"/>
            </a:xfrm>
            <a:custGeom>
              <a:avLst/>
              <a:gdLst>
                <a:gd name="connsiteX0" fmla="*/ 1228626 w 1235179"/>
                <a:gd name="connsiteY0" fmla="*/ 697877 h 815599"/>
                <a:gd name="connsiteX1" fmla="*/ 1213246 w 1235179"/>
                <a:gd name="connsiteY1" fmla="*/ 739689 h 815599"/>
                <a:gd name="connsiteX2" fmla="*/ 830320 w 1235179"/>
                <a:gd name="connsiteY2" fmla="*/ 713937 h 815599"/>
                <a:gd name="connsiteX3" fmla="*/ 419018 w 1235179"/>
                <a:gd name="connsiteY3" fmla="*/ 275611 h 815599"/>
                <a:gd name="connsiteX4" fmla="*/ -3264 w 1235179"/>
                <a:gd name="connsiteY4" fmla="*/ 202834 h 815599"/>
                <a:gd name="connsiteX5" fmla="*/ 43598 w 1235179"/>
                <a:gd name="connsiteY5" fmla="*/ 45786 h 815599"/>
                <a:gd name="connsiteX6" fmla="*/ 238491 w 1235179"/>
                <a:gd name="connsiteY6" fmla="*/ 10735 h 815599"/>
                <a:gd name="connsiteX7" fmla="*/ 484126 w 1235179"/>
                <a:gd name="connsiteY7" fmla="*/ 11408 h 815599"/>
                <a:gd name="connsiteX8" fmla="*/ 938981 w 1235179"/>
                <a:gd name="connsiteY8" fmla="*/ 296961 h 815599"/>
                <a:gd name="connsiteX9" fmla="*/ 1228626 w 1235179"/>
                <a:gd name="connsiteY9" fmla="*/ 697877 h 815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5179" h="815599">
                  <a:moveTo>
                    <a:pt x="1228626" y="697877"/>
                  </a:moveTo>
                  <a:cubicBezTo>
                    <a:pt x="1226458" y="709294"/>
                    <a:pt x="1217849" y="729845"/>
                    <a:pt x="1213246" y="739689"/>
                  </a:cubicBezTo>
                  <a:cubicBezTo>
                    <a:pt x="1149178" y="876580"/>
                    <a:pt x="924730" y="797726"/>
                    <a:pt x="830320" y="713937"/>
                  </a:cubicBezTo>
                  <a:cubicBezTo>
                    <a:pt x="745877" y="639016"/>
                    <a:pt x="419018" y="275611"/>
                    <a:pt x="419018" y="275611"/>
                  </a:cubicBezTo>
                  <a:lnTo>
                    <a:pt x="-3264" y="202834"/>
                  </a:lnTo>
                  <a:lnTo>
                    <a:pt x="43598" y="45786"/>
                  </a:lnTo>
                  <a:cubicBezTo>
                    <a:pt x="43598" y="45786"/>
                    <a:pt x="128372" y="22038"/>
                    <a:pt x="238491" y="10735"/>
                  </a:cubicBezTo>
                  <a:cubicBezTo>
                    <a:pt x="382198" y="-4018"/>
                    <a:pt x="404830" y="-7786"/>
                    <a:pt x="484126" y="11408"/>
                  </a:cubicBezTo>
                  <a:cubicBezTo>
                    <a:pt x="557361" y="29129"/>
                    <a:pt x="802642" y="198444"/>
                    <a:pt x="938981" y="296961"/>
                  </a:cubicBezTo>
                  <a:cubicBezTo>
                    <a:pt x="1074447" y="394830"/>
                    <a:pt x="1258841" y="538419"/>
                    <a:pt x="1228626" y="697877"/>
                  </a:cubicBezTo>
                </a:path>
              </a:pathLst>
            </a:custGeom>
            <a:solidFill>
              <a:srgbClr val="E0F5F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4" name="Vrije vorm 943">
              <a:extLst>
                <a:ext uri="{FF2B5EF4-FFF2-40B4-BE49-F238E27FC236}">
                  <a16:creationId xmlns:a16="http://schemas.microsoft.com/office/drawing/2014/main" id="{32682E06-E92D-9FA4-81E1-A82F75B9BAE5}"/>
                </a:ext>
              </a:extLst>
            </p:cNvPr>
            <p:cNvSpPr/>
            <p:nvPr/>
          </p:nvSpPr>
          <p:spPr>
            <a:xfrm flipV="1">
              <a:off x="8715017" y="2941529"/>
              <a:ext cx="1239954" cy="820262"/>
            </a:xfrm>
            <a:custGeom>
              <a:avLst/>
              <a:gdLst>
                <a:gd name="connsiteX0" fmla="*/ 1232850 w 1239954"/>
                <a:gd name="connsiteY0" fmla="*/ 701014 h 820262"/>
                <a:gd name="connsiteX1" fmla="*/ 1233991 w 1239954"/>
                <a:gd name="connsiteY1" fmla="*/ 693428 h 820262"/>
                <a:gd name="connsiteX2" fmla="*/ 1236692 w 1239954"/>
                <a:gd name="connsiteY2" fmla="*/ 670987 h 820262"/>
                <a:gd name="connsiteX3" fmla="*/ 1221007 w 1239954"/>
                <a:gd name="connsiteY3" fmla="*/ 585752 h 820262"/>
                <a:gd name="connsiteX4" fmla="*/ 1146149 w 1239954"/>
                <a:gd name="connsiteY4" fmla="*/ 470453 h 820262"/>
                <a:gd name="connsiteX5" fmla="*/ 1010760 w 1239954"/>
                <a:gd name="connsiteY5" fmla="*/ 347580 h 820262"/>
                <a:gd name="connsiteX6" fmla="*/ 830854 w 1239954"/>
                <a:gd name="connsiteY6" fmla="*/ 217273 h 820262"/>
                <a:gd name="connsiteX7" fmla="*/ 617374 w 1239954"/>
                <a:gd name="connsiteY7" fmla="*/ 76488 h 820262"/>
                <a:gd name="connsiteX8" fmla="*/ 557971 w 1239954"/>
                <a:gd name="connsiteY8" fmla="*/ 42148 h 820262"/>
                <a:gd name="connsiteX9" fmla="*/ 493612 w 1239954"/>
                <a:gd name="connsiteY9" fmla="*/ 12971 h 820262"/>
                <a:gd name="connsiteX10" fmla="*/ 422734 w 1239954"/>
                <a:gd name="connsiteY10" fmla="*/ -450 h 820262"/>
                <a:gd name="connsiteX11" fmla="*/ 349170 w 1239954"/>
                <a:gd name="connsiteY11" fmla="*/ 286 h 820262"/>
                <a:gd name="connsiteX12" fmla="*/ 274907 w 1239954"/>
                <a:gd name="connsiteY12" fmla="*/ 7301 h 820262"/>
                <a:gd name="connsiteX13" fmla="*/ 199478 w 1239954"/>
                <a:gd name="connsiteY13" fmla="*/ 15788 h 820262"/>
                <a:gd name="connsiteX14" fmla="*/ 46934 w 1239954"/>
                <a:gd name="connsiteY14" fmla="*/ 45738 h 820262"/>
                <a:gd name="connsiteX15" fmla="*/ 45185 w 1239954"/>
                <a:gd name="connsiteY15" fmla="*/ 46195 h 820262"/>
                <a:gd name="connsiteX16" fmla="*/ 44665 w 1239954"/>
                <a:gd name="connsiteY16" fmla="*/ 47971 h 820262"/>
                <a:gd name="connsiteX17" fmla="*/ 20346 w 1239954"/>
                <a:gd name="connsiteY17" fmla="*/ 129451 h 820262"/>
                <a:gd name="connsiteX18" fmla="*/ -2198 w 1239954"/>
                <a:gd name="connsiteY18" fmla="*/ 205032 h 820262"/>
                <a:gd name="connsiteX19" fmla="*/ -3263 w 1239954"/>
                <a:gd name="connsiteY19" fmla="*/ 208596 h 820262"/>
                <a:gd name="connsiteX20" fmla="*/ 401 w 1239954"/>
                <a:gd name="connsiteY20" fmla="*/ 209231 h 820262"/>
                <a:gd name="connsiteX21" fmla="*/ 422709 w 1239954"/>
                <a:gd name="connsiteY21" fmla="*/ 281830 h 820262"/>
                <a:gd name="connsiteX22" fmla="*/ 420921 w 1239954"/>
                <a:gd name="connsiteY22" fmla="*/ 280841 h 820262"/>
                <a:gd name="connsiteX23" fmla="*/ 715650 w 1239954"/>
                <a:gd name="connsiteY23" fmla="*/ 600772 h 820262"/>
                <a:gd name="connsiteX24" fmla="*/ 781861 w 1239954"/>
                <a:gd name="connsiteY24" fmla="*/ 669325 h 820262"/>
                <a:gd name="connsiteX25" fmla="*/ 847020 w 1239954"/>
                <a:gd name="connsiteY25" fmla="*/ 730407 h 820262"/>
                <a:gd name="connsiteX26" fmla="*/ 987519 w 1239954"/>
                <a:gd name="connsiteY26" fmla="*/ 802448 h 820262"/>
                <a:gd name="connsiteX27" fmla="*/ 1114856 w 1239954"/>
                <a:gd name="connsiteY27" fmla="*/ 816491 h 820262"/>
                <a:gd name="connsiteX28" fmla="*/ 1164737 w 1239954"/>
                <a:gd name="connsiteY28" fmla="*/ 800723 h 820262"/>
                <a:gd name="connsiteX29" fmla="*/ 1198832 w 1239954"/>
                <a:gd name="connsiteY29" fmla="*/ 773398 h 820262"/>
                <a:gd name="connsiteX30" fmla="*/ 1227259 w 1239954"/>
                <a:gd name="connsiteY30" fmla="*/ 720892 h 820262"/>
                <a:gd name="connsiteX31" fmla="*/ 1231899 w 1239954"/>
                <a:gd name="connsiteY31" fmla="*/ 706164 h 820262"/>
                <a:gd name="connsiteX32" fmla="*/ 1232850 w 1239954"/>
                <a:gd name="connsiteY32" fmla="*/ 701014 h 820262"/>
                <a:gd name="connsiteX33" fmla="*/ 1231379 w 1239954"/>
                <a:gd name="connsiteY33" fmla="*/ 706025 h 820262"/>
                <a:gd name="connsiteX34" fmla="*/ 1226257 w 1239954"/>
                <a:gd name="connsiteY34" fmla="*/ 720512 h 820262"/>
                <a:gd name="connsiteX35" fmla="*/ 1197272 w 1239954"/>
                <a:gd name="connsiteY35" fmla="*/ 772028 h 820262"/>
                <a:gd name="connsiteX36" fmla="*/ 1114426 w 1239954"/>
                <a:gd name="connsiteY36" fmla="*/ 813497 h 820262"/>
                <a:gd name="connsiteX37" fmla="*/ 988686 w 1239954"/>
                <a:gd name="connsiteY37" fmla="*/ 798744 h 820262"/>
                <a:gd name="connsiteX38" fmla="*/ 849886 w 1239954"/>
                <a:gd name="connsiteY38" fmla="*/ 726740 h 820262"/>
                <a:gd name="connsiteX39" fmla="*/ 785424 w 1239954"/>
                <a:gd name="connsiteY39" fmla="*/ 665811 h 820262"/>
                <a:gd name="connsiteX40" fmla="*/ 719505 w 1239954"/>
                <a:gd name="connsiteY40" fmla="*/ 597119 h 820262"/>
                <a:gd name="connsiteX41" fmla="*/ 425574 w 1239954"/>
                <a:gd name="connsiteY41" fmla="*/ 276655 h 820262"/>
                <a:gd name="connsiteX42" fmla="*/ 424839 w 1239954"/>
                <a:gd name="connsiteY42" fmla="*/ 275843 h 820262"/>
                <a:gd name="connsiteX43" fmla="*/ 423774 w 1239954"/>
                <a:gd name="connsiteY43" fmla="*/ 275665 h 820262"/>
                <a:gd name="connsiteX44" fmla="*/ 1530 w 1239954"/>
                <a:gd name="connsiteY44" fmla="*/ 202723 h 820262"/>
                <a:gd name="connsiteX45" fmla="*/ 4129 w 1239954"/>
                <a:gd name="connsiteY45" fmla="*/ 206922 h 820262"/>
                <a:gd name="connsiteX46" fmla="*/ 26673 w 1239954"/>
                <a:gd name="connsiteY46" fmla="*/ 131341 h 820262"/>
                <a:gd name="connsiteX47" fmla="*/ 50979 w 1239954"/>
                <a:gd name="connsiteY47" fmla="*/ 49861 h 820262"/>
                <a:gd name="connsiteX48" fmla="*/ 48709 w 1239954"/>
                <a:gd name="connsiteY48" fmla="*/ 52094 h 820262"/>
                <a:gd name="connsiteX49" fmla="*/ 200366 w 1239954"/>
                <a:gd name="connsiteY49" fmla="*/ 22257 h 820262"/>
                <a:gd name="connsiteX50" fmla="*/ 275566 w 1239954"/>
                <a:gd name="connsiteY50" fmla="*/ 13745 h 820262"/>
                <a:gd name="connsiteX51" fmla="*/ 349651 w 1239954"/>
                <a:gd name="connsiteY51" fmla="*/ 6679 h 820262"/>
                <a:gd name="connsiteX52" fmla="*/ 422164 w 1239954"/>
                <a:gd name="connsiteY52" fmla="*/ 5842 h 820262"/>
                <a:gd name="connsiteX53" fmla="*/ 491925 w 1239954"/>
                <a:gd name="connsiteY53" fmla="*/ 18959 h 820262"/>
                <a:gd name="connsiteX54" fmla="*/ 555068 w 1239954"/>
                <a:gd name="connsiteY54" fmla="*/ 47527 h 820262"/>
                <a:gd name="connsiteX55" fmla="*/ 614267 w 1239954"/>
                <a:gd name="connsiteY55" fmla="*/ 81601 h 820262"/>
                <a:gd name="connsiteX56" fmla="*/ 827799 w 1239954"/>
                <a:gd name="connsiteY56" fmla="*/ 221675 h 820262"/>
                <a:gd name="connsiteX57" fmla="*/ 1007983 w 1239954"/>
                <a:gd name="connsiteY57" fmla="*/ 351183 h 820262"/>
                <a:gd name="connsiteX58" fmla="*/ 1143474 w 1239954"/>
                <a:gd name="connsiteY58" fmla="*/ 472838 h 820262"/>
                <a:gd name="connsiteX59" fmla="*/ 1218687 w 1239954"/>
                <a:gd name="connsiteY59" fmla="*/ 586678 h 820262"/>
                <a:gd name="connsiteX60" fmla="*/ 1235399 w 1239954"/>
                <a:gd name="connsiteY60" fmla="*/ 670949 h 820262"/>
                <a:gd name="connsiteX61" fmla="*/ 1233344 w 1239954"/>
                <a:gd name="connsiteY61" fmla="*/ 693339 h 820262"/>
                <a:gd name="connsiteX62" fmla="*/ 1232850 w 1239954"/>
                <a:gd name="connsiteY62" fmla="*/ 701014 h 820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239954" h="820262">
                  <a:moveTo>
                    <a:pt x="1232850" y="701014"/>
                  </a:moveTo>
                  <a:cubicBezTo>
                    <a:pt x="1232850" y="701014"/>
                    <a:pt x="1233344" y="698477"/>
                    <a:pt x="1233991" y="693428"/>
                  </a:cubicBezTo>
                  <a:cubicBezTo>
                    <a:pt x="1234625" y="688151"/>
                    <a:pt x="1235525" y="680691"/>
                    <a:pt x="1236692" y="670987"/>
                  </a:cubicBezTo>
                  <a:cubicBezTo>
                    <a:pt x="1236185" y="651274"/>
                    <a:pt x="1235411" y="621183"/>
                    <a:pt x="1221007" y="585752"/>
                  </a:cubicBezTo>
                  <a:cubicBezTo>
                    <a:pt x="1207200" y="550410"/>
                    <a:pt x="1182183" y="510489"/>
                    <a:pt x="1146149" y="470453"/>
                  </a:cubicBezTo>
                  <a:cubicBezTo>
                    <a:pt x="1110267" y="430252"/>
                    <a:pt x="1064520" y="388960"/>
                    <a:pt x="1010760" y="347580"/>
                  </a:cubicBezTo>
                  <a:cubicBezTo>
                    <a:pt x="957102" y="306009"/>
                    <a:pt x="896317" y="263183"/>
                    <a:pt x="830854" y="217273"/>
                  </a:cubicBezTo>
                  <a:cubicBezTo>
                    <a:pt x="765150" y="171732"/>
                    <a:pt x="694438" y="123514"/>
                    <a:pt x="617374" y="76488"/>
                  </a:cubicBezTo>
                  <a:cubicBezTo>
                    <a:pt x="598076" y="64779"/>
                    <a:pt x="578410" y="53083"/>
                    <a:pt x="557971" y="42148"/>
                  </a:cubicBezTo>
                  <a:cubicBezTo>
                    <a:pt x="537545" y="31200"/>
                    <a:pt x="516777" y="20164"/>
                    <a:pt x="493612" y="12971"/>
                  </a:cubicBezTo>
                  <a:cubicBezTo>
                    <a:pt x="470611" y="6641"/>
                    <a:pt x="447066" y="1884"/>
                    <a:pt x="422734" y="-450"/>
                  </a:cubicBezTo>
                  <a:cubicBezTo>
                    <a:pt x="398390" y="-2695"/>
                    <a:pt x="373755" y="-1528"/>
                    <a:pt x="349170" y="286"/>
                  </a:cubicBezTo>
                  <a:cubicBezTo>
                    <a:pt x="324559" y="2176"/>
                    <a:pt x="299834" y="4776"/>
                    <a:pt x="274907" y="7301"/>
                  </a:cubicBezTo>
                  <a:cubicBezTo>
                    <a:pt x="250005" y="9876"/>
                    <a:pt x="224786" y="12286"/>
                    <a:pt x="199478" y="15788"/>
                  </a:cubicBezTo>
                  <a:cubicBezTo>
                    <a:pt x="148875" y="22815"/>
                    <a:pt x="97892" y="32329"/>
                    <a:pt x="46934" y="45738"/>
                  </a:cubicBezTo>
                  <a:lnTo>
                    <a:pt x="45185" y="46195"/>
                  </a:lnTo>
                  <a:lnTo>
                    <a:pt x="44665" y="47971"/>
                  </a:lnTo>
                  <a:cubicBezTo>
                    <a:pt x="36955" y="73812"/>
                    <a:pt x="28676" y="101542"/>
                    <a:pt x="20346" y="129451"/>
                  </a:cubicBezTo>
                  <a:cubicBezTo>
                    <a:pt x="12776" y="154822"/>
                    <a:pt x="5257" y="180041"/>
                    <a:pt x="-2198" y="205032"/>
                  </a:cubicBezTo>
                  <a:lnTo>
                    <a:pt x="-3263" y="208596"/>
                  </a:lnTo>
                  <a:lnTo>
                    <a:pt x="401" y="209231"/>
                  </a:lnTo>
                  <a:cubicBezTo>
                    <a:pt x="148470" y="234678"/>
                    <a:pt x="290744" y="259136"/>
                    <a:pt x="422709" y="281830"/>
                  </a:cubicBezTo>
                  <a:lnTo>
                    <a:pt x="420921" y="280841"/>
                  </a:lnTo>
                  <a:cubicBezTo>
                    <a:pt x="526590" y="397777"/>
                    <a:pt x="625539" y="505693"/>
                    <a:pt x="715650" y="600772"/>
                  </a:cubicBezTo>
                  <a:cubicBezTo>
                    <a:pt x="738181" y="624545"/>
                    <a:pt x="760218" y="647455"/>
                    <a:pt x="781861" y="669325"/>
                  </a:cubicBezTo>
                  <a:cubicBezTo>
                    <a:pt x="803632" y="691043"/>
                    <a:pt x="824299" y="712532"/>
                    <a:pt x="847020" y="730407"/>
                  </a:cubicBezTo>
                  <a:cubicBezTo>
                    <a:pt x="892818" y="765444"/>
                    <a:pt x="941709" y="788063"/>
                    <a:pt x="987519" y="802448"/>
                  </a:cubicBezTo>
                  <a:cubicBezTo>
                    <a:pt x="1033380" y="816770"/>
                    <a:pt x="1077339" y="821857"/>
                    <a:pt x="1114856" y="816491"/>
                  </a:cubicBezTo>
                  <a:cubicBezTo>
                    <a:pt x="1133558" y="813815"/>
                    <a:pt x="1150549" y="808385"/>
                    <a:pt x="1164737" y="800723"/>
                  </a:cubicBezTo>
                  <a:cubicBezTo>
                    <a:pt x="1178988" y="793112"/>
                    <a:pt x="1190260" y="783331"/>
                    <a:pt x="1198832" y="773398"/>
                  </a:cubicBezTo>
                  <a:cubicBezTo>
                    <a:pt x="1215973" y="753177"/>
                    <a:pt x="1222339" y="733388"/>
                    <a:pt x="1227259" y="720892"/>
                  </a:cubicBezTo>
                  <a:cubicBezTo>
                    <a:pt x="1229579" y="714499"/>
                    <a:pt x="1231062" y="709539"/>
                    <a:pt x="1231899" y="706164"/>
                  </a:cubicBezTo>
                  <a:cubicBezTo>
                    <a:pt x="1232723" y="702790"/>
                    <a:pt x="1232850" y="701014"/>
                    <a:pt x="1232850" y="701014"/>
                  </a:cubicBezTo>
                  <a:cubicBezTo>
                    <a:pt x="1232736" y="700988"/>
                    <a:pt x="1232368" y="702714"/>
                    <a:pt x="1231379" y="706025"/>
                  </a:cubicBezTo>
                  <a:cubicBezTo>
                    <a:pt x="1230378" y="709323"/>
                    <a:pt x="1228742" y="714207"/>
                    <a:pt x="1226257" y="720512"/>
                  </a:cubicBezTo>
                  <a:cubicBezTo>
                    <a:pt x="1221033" y="732880"/>
                    <a:pt x="1214351" y="752416"/>
                    <a:pt x="1197272" y="772028"/>
                  </a:cubicBezTo>
                  <a:cubicBezTo>
                    <a:pt x="1180561" y="791678"/>
                    <a:pt x="1151551" y="808918"/>
                    <a:pt x="1114426" y="813497"/>
                  </a:cubicBezTo>
                  <a:cubicBezTo>
                    <a:pt x="1077491" y="818483"/>
                    <a:pt x="1034052" y="813205"/>
                    <a:pt x="988686" y="798744"/>
                  </a:cubicBezTo>
                  <a:cubicBezTo>
                    <a:pt x="943383" y="784244"/>
                    <a:pt x="894923" y="761511"/>
                    <a:pt x="849886" y="726740"/>
                  </a:cubicBezTo>
                  <a:cubicBezTo>
                    <a:pt x="827659" y="709120"/>
                    <a:pt x="807055" y="687555"/>
                    <a:pt x="785424" y="665811"/>
                  </a:cubicBezTo>
                  <a:cubicBezTo>
                    <a:pt x="763895" y="643903"/>
                    <a:pt x="741947" y="620942"/>
                    <a:pt x="719505" y="597119"/>
                  </a:cubicBezTo>
                  <a:cubicBezTo>
                    <a:pt x="629748" y="501824"/>
                    <a:pt x="531041" y="393692"/>
                    <a:pt x="425574" y="276655"/>
                  </a:cubicBezTo>
                  <a:lnTo>
                    <a:pt x="424839" y="275843"/>
                  </a:lnTo>
                  <a:lnTo>
                    <a:pt x="423774" y="275665"/>
                  </a:lnTo>
                  <a:cubicBezTo>
                    <a:pt x="291821" y="252869"/>
                    <a:pt x="149560" y="228297"/>
                    <a:pt x="1530" y="202723"/>
                  </a:cubicBezTo>
                  <a:lnTo>
                    <a:pt x="4129" y="206922"/>
                  </a:lnTo>
                  <a:cubicBezTo>
                    <a:pt x="11585" y="181918"/>
                    <a:pt x="19103" y="156712"/>
                    <a:pt x="26673" y="131341"/>
                  </a:cubicBezTo>
                  <a:cubicBezTo>
                    <a:pt x="35003" y="103432"/>
                    <a:pt x="43270" y="75702"/>
                    <a:pt x="50979" y="49861"/>
                  </a:cubicBezTo>
                  <a:lnTo>
                    <a:pt x="48709" y="52094"/>
                  </a:lnTo>
                  <a:cubicBezTo>
                    <a:pt x="99135" y="38812"/>
                    <a:pt x="150067" y="29260"/>
                    <a:pt x="200366" y="22257"/>
                  </a:cubicBezTo>
                  <a:cubicBezTo>
                    <a:pt x="225522" y="18756"/>
                    <a:pt x="250626" y="16346"/>
                    <a:pt x="275566" y="13745"/>
                  </a:cubicBezTo>
                  <a:cubicBezTo>
                    <a:pt x="300481" y="11195"/>
                    <a:pt x="325193" y="8569"/>
                    <a:pt x="349651" y="6679"/>
                  </a:cubicBezTo>
                  <a:cubicBezTo>
                    <a:pt x="374110" y="4840"/>
                    <a:pt x="398378" y="3673"/>
                    <a:pt x="422164" y="5842"/>
                  </a:cubicBezTo>
                  <a:cubicBezTo>
                    <a:pt x="445887" y="8075"/>
                    <a:pt x="469407" y="12781"/>
                    <a:pt x="491925" y="18959"/>
                  </a:cubicBezTo>
                  <a:cubicBezTo>
                    <a:pt x="513974" y="25746"/>
                    <a:pt x="534857" y="36693"/>
                    <a:pt x="555068" y="47527"/>
                  </a:cubicBezTo>
                  <a:cubicBezTo>
                    <a:pt x="575393" y="58348"/>
                    <a:pt x="595007" y="69968"/>
                    <a:pt x="614267" y="81601"/>
                  </a:cubicBezTo>
                  <a:cubicBezTo>
                    <a:pt x="691230" y="128347"/>
                    <a:pt x="762019" y="176362"/>
                    <a:pt x="827799" y="221675"/>
                  </a:cubicBezTo>
                  <a:cubicBezTo>
                    <a:pt x="893338" y="267356"/>
                    <a:pt x="954299" y="309954"/>
                    <a:pt x="1007983" y="351183"/>
                  </a:cubicBezTo>
                  <a:cubicBezTo>
                    <a:pt x="1061794" y="392233"/>
                    <a:pt x="1107541" y="433094"/>
                    <a:pt x="1143474" y="472838"/>
                  </a:cubicBezTo>
                  <a:cubicBezTo>
                    <a:pt x="1179571" y="512417"/>
                    <a:pt x="1204651" y="551806"/>
                    <a:pt x="1218687" y="586678"/>
                  </a:cubicBezTo>
                  <a:cubicBezTo>
                    <a:pt x="1233307" y="621615"/>
                    <a:pt x="1234473" y="651350"/>
                    <a:pt x="1235399" y="670949"/>
                  </a:cubicBezTo>
                  <a:cubicBezTo>
                    <a:pt x="1234511" y="680628"/>
                    <a:pt x="1233839" y="688062"/>
                    <a:pt x="1233344" y="693339"/>
                  </a:cubicBezTo>
                  <a:cubicBezTo>
                    <a:pt x="1232913" y="698388"/>
                    <a:pt x="1232850" y="701014"/>
                    <a:pt x="1232850" y="70101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5" name="Vrije vorm 944">
              <a:extLst>
                <a:ext uri="{FF2B5EF4-FFF2-40B4-BE49-F238E27FC236}">
                  <a16:creationId xmlns:a16="http://schemas.microsoft.com/office/drawing/2014/main" id="{DE5346D3-FA60-E90C-6925-3810448520AD}"/>
                </a:ext>
              </a:extLst>
            </p:cNvPr>
            <p:cNvSpPr/>
            <p:nvPr/>
          </p:nvSpPr>
          <p:spPr>
            <a:xfrm flipV="1">
              <a:off x="9577881" y="2774047"/>
              <a:ext cx="365555" cy="124319"/>
            </a:xfrm>
            <a:custGeom>
              <a:avLst/>
              <a:gdLst>
                <a:gd name="connsiteX0" fmla="*/ 361998 w 365555"/>
                <a:gd name="connsiteY0" fmla="*/ 122149 h 124319"/>
                <a:gd name="connsiteX1" fmla="*/ 357662 w 365555"/>
                <a:gd name="connsiteY1" fmla="*/ 120678 h 124319"/>
                <a:gd name="connsiteX2" fmla="*/ 345629 w 365555"/>
                <a:gd name="connsiteY2" fmla="*/ 115629 h 124319"/>
                <a:gd name="connsiteX3" fmla="*/ 301492 w 365555"/>
                <a:gd name="connsiteY3" fmla="*/ 96879 h 124319"/>
                <a:gd name="connsiteX4" fmla="*/ 153614 w 365555"/>
                <a:gd name="connsiteY4" fmla="*/ 40911 h 124319"/>
                <a:gd name="connsiteX5" fmla="*/ 26632 w 365555"/>
                <a:gd name="connsiteY5" fmla="*/ 1915 h 124319"/>
                <a:gd name="connsiteX6" fmla="*/ 28762 w 365555"/>
                <a:gd name="connsiteY6" fmla="*/ 1052 h 124319"/>
                <a:gd name="connsiteX7" fmla="*/ 2579 w 365555"/>
                <a:gd name="connsiteY7" fmla="*/ 61195 h 124319"/>
                <a:gd name="connsiteX8" fmla="*/ -1858 w 365555"/>
                <a:gd name="connsiteY8" fmla="*/ 78866 h 124319"/>
                <a:gd name="connsiteX9" fmla="*/ -3481 w 365555"/>
                <a:gd name="connsiteY9" fmla="*/ 85094 h 124319"/>
                <a:gd name="connsiteX10" fmla="*/ -2974 w 365555"/>
                <a:gd name="connsiteY10" fmla="*/ 78663 h 124319"/>
                <a:gd name="connsiteX11" fmla="*/ 475 w 365555"/>
                <a:gd name="connsiteY11" fmla="*/ 60636 h 124319"/>
                <a:gd name="connsiteX12" fmla="*/ 25491 w 365555"/>
                <a:gd name="connsiteY12" fmla="*/ -914 h 124319"/>
                <a:gd name="connsiteX13" fmla="*/ 26213 w 365555"/>
                <a:gd name="connsiteY13" fmla="*/ -2145 h 124319"/>
                <a:gd name="connsiteX14" fmla="*/ 27621 w 365555"/>
                <a:gd name="connsiteY14" fmla="*/ -1777 h 124319"/>
                <a:gd name="connsiteX15" fmla="*/ 155149 w 365555"/>
                <a:gd name="connsiteY15" fmla="*/ 36407 h 124319"/>
                <a:gd name="connsiteX16" fmla="*/ 302824 w 365555"/>
                <a:gd name="connsiteY16" fmla="*/ 93784 h 124319"/>
                <a:gd name="connsiteX17" fmla="*/ 346403 w 365555"/>
                <a:gd name="connsiteY17" fmla="*/ 113941 h 124319"/>
                <a:gd name="connsiteX18" fmla="*/ 358067 w 365555"/>
                <a:gd name="connsiteY18" fmla="*/ 119815 h 124319"/>
                <a:gd name="connsiteX19" fmla="*/ 361998 w 365555"/>
                <a:gd name="connsiteY19" fmla="*/ 122149 h 12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65555" h="124319">
                  <a:moveTo>
                    <a:pt x="361998" y="122149"/>
                  </a:moveTo>
                  <a:cubicBezTo>
                    <a:pt x="361935" y="122301"/>
                    <a:pt x="360438" y="121781"/>
                    <a:pt x="357662" y="120678"/>
                  </a:cubicBezTo>
                  <a:cubicBezTo>
                    <a:pt x="354403" y="119307"/>
                    <a:pt x="350434" y="117646"/>
                    <a:pt x="345629" y="115629"/>
                  </a:cubicBezTo>
                  <a:cubicBezTo>
                    <a:pt x="334535" y="110910"/>
                    <a:pt x="319624" y="104580"/>
                    <a:pt x="301492" y="96879"/>
                  </a:cubicBezTo>
                  <a:cubicBezTo>
                    <a:pt x="264114" y="81339"/>
                    <a:pt x="212117" y="60687"/>
                    <a:pt x="153614" y="40911"/>
                  </a:cubicBezTo>
                  <a:cubicBezTo>
                    <a:pt x="106296" y="24863"/>
                    <a:pt x="62058" y="11721"/>
                    <a:pt x="26632" y="1915"/>
                  </a:cubicBezTo>
                  <a:lnTo>
                    <a:pt x="28762" y="1052"/>
                  </a:lnTo>
                  <a:cubicBezTo>
                    <a:pt x="14447" y="24546"/>
                    <a:pt x="6877" y="46099"/>
                    <a:pt x="2579" y="61195"/>
                  </a:cubicBezTo>
                  <a:cubicBezTo>
                    <a:pt x="424" y="68768"/>
                    <a:pt x="-933" y="74781"/>
                    <a:pt x="-1858" y="78866"/>
                  </a:cubicBezTo>
                  <a:cubicBezTo>
                    <a:pt x="-2759" y="82963"/>
                    <a:pt x="-3279" y="85132"/>
                    <a:pt x="-3481" y="85094"/>
                  </a:cubicBezTo>
                  <a:cubicBezTo>
                    <a:pt x="-3659" y="85069"/>
                    <a:pt x="-3519" y="82849"/>
                    <a:pt x="-2974" y="78663"/>
                  </a:cubicBezTo>
                  <a:cubicBezTo>
                    <a:pt x="-2404" y="74489"/>
                    <a:pt x="-1377" y="68375"/>
                    <a:pt x="475" y="60636"/>
                  </a:cubicBezTo>
                  <a:cubicBezTo>
                    <a:pt x="4177" y="45236"/>
                    <a:pt x="11302" y="23201"/>
                    <a:pt x="25491" y="-914"/>
                  </a:cubicBezTo>
                  <a:lnTo>
                    <a:pt x="26213" y="-2145"/>
                  </a:lnTo>
                  <a:lnTo>
                    <a:pt x="27621" y="-1777"/>
                  </a:lnTo>
                  <a:cubicBezTo>
                    <a:pt x="63262" y="7484"/>
                    <a:pt x="107716" y="20309"/>
                    <a:pt x="155149" y="36407"/>
                  </a:cubicBezTo>
                  <a:cubicBezTo>
                    <a:pt x="213790" y="56222"/>
                    <a:pt x="265712" y="77432"/>
                    <a:pt x="302824" y="93784"/>
                  </a:cubicBezTo>
                  <a:cubicBezTo>
                    <a:pt x="321348" y="102017"/>
                    <a:pt x="336221" y="108956"/>
                    <a:pt x="346403" y="113941"/>
                  </a:cubicBezTo>
                  <a:cubicBezTo>
                    <a:pt x="351068" y="116276"/>
                    <a:pt x="354911" y="118217"/>
                    <a:pt x="358067" y="119815"/>
                  </a:cubicBezTo>
                  <a:cubicBezTo>
                    <a:pt x="360718" y="121198"/>
                    <a:pt x="362074" y="121997"/>
                    <a:pt x="361998" y="122149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6" name="Vrije vorm 945">
              <a:extLst>
                <a:ext uri="{FF2B5EF4-FFF2-40B4-BE49-F238E27FC236}">
                  <a16:creationId xmlns:a16="http://schemas.microsoft.com/office/drawing/2014/main" id="{88D5DD70-F3A2-A270-E1D9-7415B41DADE9}"/>
                </a:ext>
              </a:extLst>
            </p:cNvPr>
            <p:cNvSpPr/>
            <p:nvPr/>
          </p:nvSpPr>
          <p:spPr>
            <a:xfrm flipV="1">
              <a:off x="9866825" y="4088607"/>
              <a:ext cx="161584" cy="442981"/>
            </a:xfrm>
            <a:custGeom>
              <a:avLst/>
              <a:gdLst>
                <a:gd name="connsiteX0" fmla="*/ -3682 w 161584"/>
                <a:gd name="connsiteY0" fmla="*/ -828 h 442981"/>
                <a:gd name="connsiteX1" fmla="*/ 57838 w 161584"/>
                <a:gd name="connsiteY1" fmla="*/ -828 h 442981"/>
                <a:gd name="connsiteX2" fmla="*/ 121412 w 161584"/>
                <a:gd name="connsiteY2" fmla="*/ 55522 h 442981"/>
                <a:gd name="connsiteX3" fmla="*/ 157902 w 161584"/>
                <a:gd name="connsiteY3" fmla="*/ 438361 h 442981"/>
                <a:gd name="connsiteX4" fmla="*/ 114032 w 161584"/>
                <a:gd name="connsiteY4" fmla="*/ 442154 h 442981"/>
                <a:gd name="connsiteX5" fmla="*/ 77693 w 161584"/>
                <a:gd name="connsiteY5" fmla="*/ 60799 h 442981"/>
                <a:gd name="connsiteX6" fmla="*/ 57838 w 161584"/>
                <a:gd name="connsiteY6" fmla="*/ 43229 h 442981"/>
                <a:gd name="connsiteX7" fmla="*/ -3682 w 161584"/>
                <a:gd name="connsiteY7" fmla="*/ 43229 h 442981"/>
                <a:gd name="connsiteX8" fmla="*/ -3682 w 161584"/>
                <a:gd name="connsiteY8" fmla="*/ -828 h 44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584" h="442981">
                  <a:moveTo>
                    <a:pt x="-3682" y="-828"/>
                  </a:moveTo>
                  <a:lnTo>
                    <a:pt x="57838" y="-828"/>
                  </a:lnTo>
                  <a:cubicBezTo>
                    <a:pt x="90208" y="-828"/>
                    <a:pt x="117532" y="23402"/>
                    <a:pt x="121412" y="55522"/>
                  </a:cubicBezTo>
                  <a:cubicBezTo>
                    <a:pt x="133546" y="155954"/>
                    <a:pt x="157662" y="435557"/>
                    <a:pt x="157902" y="438361"/>
                  </a:cubicBezTo>
                  <a:lnTo>
                    <a:pt x="114032" y="442154"/>
                  </a:lnTo>
                  <a:cubicBezTo>
                    <a:pt x="113791" y="439338"/>
                    <a:pt x="89738" y="160495"/>
                    <a:pt x="77693" y="60799"/>
                  </a:cubicBezTo>
                  <a:cubicBezTo>
                    <a:pt x="76489" y="50790"/>
                    <a:pt x="67956" y="43229"/>
                    <a:pt x="57838" y="43229"/>
                  </a:cubicBezTo>
                  <a:lnTo>
                    <a:pt x="-3682" y="43229"/>
                  </a:lnTo>
                  <a:lnTo>
                    <a:pt x="-3682" y="-828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7" name="Vrije vorm 946">
              <a:extLst>
                <a:ext uri="{FF2B5EF4-FFF2-40B4-BE49-F238E27FC236}">
                  <a16:creationId xmlns:a16="http://schemas.microsoft.com/office/drawing/2014/main" id="{D57BA1B1-26E6-533C-5FA2-19CCD67443BE}"/>
                </a:ext>
              </a:extLst>
            </p:cNvPr>
            <p:cNvSpPr/>
            <p:nvPr/>
          </p:nvSpPr>
          <p:spPr>
            <a:xfrm flipV="1">
              <a:off x="9865785" y="4085791"/>
              <a:ext cx="165489" cy="446960"/>
            </a:xfrm>
            <a:custGeom>
              <a:avLst/>
              <a:gdLst>
                <a:gd name="connsiteX0" fmla="*/ -2642 w 165489"/>
                <a:gd name="connsiteY0" fmla="*/ 334 h 446960"/>
                <a:gd name="connsiteX1" fmla="*/ -2439 w 165489"/>
                <a:gd name="connsiteY1" fmla="*/ 3379 h 446960"/>
                <a:gd name="connsiteX2" fmla="*/ -2198 w 165489"/>
                <a:gd name="connsiteY2" fmla="*/ 11941 h 446960"/>
                <a:gd name="connsiteX3" fmla="*/ -1615 w 165489"/>
                <a:gd name="connsiteY3" fmla="*/ 44391 h 446960"/>
                <a:gd name="connsiteX4" fmla="*/ -2642 w 165489"/>
                <a:gd name="connsiteY4" fmla="*/ 43376 h 446960"/>
                <a:gd name="connsiteX5" fmla="*/ 31592 w 165489"/>
                <a:gd name="connsiteY5" fmla="*/ 43047 h 446960"/>
                <a:gd name="connsiteX6" fmla="*/ 52031 w 165489"/>
                <a:gd name="connsiteY6" fmla="*/ 42907 h 446960"/>
                <a:gd name="connsiteX7" fmla="*/ 63327 w 165489"/>
                <a:gd name="connsiteY7" fmla="*/ 43313 h 446960"/>
                <a:gd name="connsiteX8" fmla="*/ 74143 w 165489"/>
                <a:gd name="connsiteY8" fmla="*/ 49085 h 446960"/>
                <a:gd name="connsiteX9" fmla="*/ 80204 w 165489"/>
                <a:gd name="connsiteY9" fmla="*/ 60388 h 446960"/>
                <a:gd name="connsiteX10" fmla="*/ 81561 w 165489"/>
                <a:gd name="connsiteY10" fmla="*/ 72921 h 446960"/>
                <a:gd name="connsiteX11" fmla="*/ 84185 w 165489"/>
                <a:gd name="connsiteY11" fmla="*/ 99193 h 446960"/>
                <a:gd name="connsiteX12" fmla="*/ 89929 w 165489"/>
                <a:gd name="connsiteY12" fmla="*/ 156963 h 446960"/>
                <a:gd name="connsiteX13" fmla="*/ 117671 w 165489"/>
                <a:gd name="connsiteY13" fmla="*/ 443087 h 446960"/>
                <a:gd name="connsiteX14" fmla="*/ 114856 w 165489"/>
                <a:gd name="connsiteY14" fmla="*/ 440703 h 446960"/>
                <a:gd name="connsiteX15" fmla="*/ 147378 w 165489"/>
                <a:gd name="connsiteY15" fmla="*/ 437899 h 446960"/>
                <a:gd name="connsiteX16" fmla="*/ 158713 w 165489"/>
                <a:gd name="connsiteY16" fmla="*/ 436922 h 446960"/>
                <a:gd name="connsiteX17" fmla="*/ 156343 w 165489"/>
                <a:gd name="connsiteY17" fmla="*/ 439751 h 446960"/>
                <a:gd name="connsiteX18" fmla="*/ 120917 w 165489"/>
                <a:gd name="connsiteY18" fmla="*/ 59880 h 446960"/>
                <a:gd name="connsiteX19" fmla="*/ 87279 w 165489"/>
                <a:gd name="connsiteY19" fmla="*/ 8630 h 446960"/>
                <a:gd name="connsiteX20" fmla="*/ 39757 w 165489"/>
                <a:gd name="connsiteY20" fmla="*/ 1311 h 446960"/>
                <a:gd name="connsiteX21" fmla="*/ 8566 w 165489"/>
                <a:gd name="connsiteY21" fmla="*/ 753 h 446960"/>
                <a:gd name="connsiteX22" fmla="*/ 312 w 165489"/>
                <a:gd name="connsiteY22" fmla="*/ 524 h 446960"/>
                <a:gd name="connsiteX23" fmla="*/ -2642 w 165489"/>
                <a:gd name="connsiteY23" fmla="*/ 334 h 446960"/>
                <a:gd name="connsiteX24" fmla="*/ -56 w 165489"/>
                <a:gd name="connsiteY24" fmla="*/ 144 h 446960"/>
                <a:gd name="connsiteX25" fmla="*/ 7945 w 165489"/>
                <a:gd name="connsiteY25" fmla="*/ -72 h 446960"/>
                <a:gd name="connsiteX26" fmla="*/ 39288 w 165489"/>
                <a:gd name="connsiteY26" fmla="*/ -643 h 446960"/>
                <a:gd name="connsiteX27" fmla="*/ 62186 w 165489"/>
                <a:gd name="connsiteY27" fmla="*/ -744 h 446960"/>
                <a:gd name="connsiteX28" fmla="*/ 88584 w 165489"/>
                <a:gd name="connsiteY28" fmla="*/ 6055 h 446960"/>
                <a:gd name="connsiteX29" fmla="*/ 124556 w 165489"/>
                <a:gd name="connsiteY29" fmla="*/ 59436 h 446960"/>
                <a:gd name="connsiteX30" fmla="*/ 161554 w 165489"/>
                <a:gd name="connsiteY30" fmla="*/ 439295 h 446960"/>
                <a:gd name="connsiteX31" fmla="*/ 161807 w 165489"/>
                <a:gd name="connsiteY31" fmla="*/ 441895 h 446960"/>
                <a:gd name="connsiteX32" fmla="*/ 159170 w 165489"/>
                <a:gd name="connsiteY32" fmla="*/ 442123 h 446960"/>
                <a:gd name="connsiteX33" fmla="*/ 147835 w 165489"/>
                <a:gd name="connsiteY33" fmla="*/ 443113 h 446960"/>
                <a:gd name="connsiteX34" fmla="*/ 115300 w 165489"/>
                <a:gd name="connsiteY34" fmla="*/ 445916 h 446960"/>
                <a:gd name="connsiteX35" fmla="*/ 112713 w 165489"/>
                <a:gd name="connsiteY35" fmla="*/ 446132 h 446960"/>
                <a:gd name="connsiteX36" fmla="*/ 112473 w 165489"/>
                <a:gd name="connsiteY36" fmla="*/ 443532 h 446960"/>
                <a:gd name="connsiteX37" fmla="*/ 85694 w 165489"/>
                <a:gd name="connsiteY37" fmla="*/ 157446 h 446960"/>
                <a:gd name="connsiteX38" fmla="*/ 80419 w 165489"/>
                <a:gd name="connsiteY38" fmla="*/ 99637 h 446960"/>
                <a:gd name="connsiteX39" fmla="*/ 78049 w 165489"/>
                <a:gd name="connsiteY39" fmla="*/ 73340 h 446960"/>
                <a:gd name="connsiteX40" fmla="*/ 76844 w 165489"/>
                <a:gd name="connsiteY40" fmla="*/ 61009 h 446960"/>
                <a:gd name="connsiteX41" fmla="*/ 71835 w 165489"/>
                <a:gd name="connsiteY41" fmla="*/ 51406 h 446960"/>
                <a:gd name="connsiteX42" fmla="*/ 62681 w 165489"/>
                <a:gd name="connsiteY42" fmla="*/ 46370 h 446960"/>
                <a:gd name="connsiteX43" fmla="*/ 52031 w 165489"/>
                <a:gd name="connsiteY43" fmla="*/ 45888 h 446960"/>
                <a:gd name="connsiteX44" fmla="*/ 31592 w 165489"/>
                <a:gd name="connsiteY44" fmla="*/ 45736 h 446960"/>
                <a:gd name="connsiteX45" fmla="*/ -2642 w 165489"/>
                <a:gd name="connsiteY45" fmla="*/ 45419 h 446960"/>
                <a:gd name="connsiteX46" fmla="*/ -3682 w 165489"/>
                <a:gd name="connsiteY46" fmla="*/ 45406 h 446960"/>
                <a:gd name="connsiteX47" fmla="*/ -3657 w 165489"/>
                <a:gd name="connsiteY47" fmla="*/ 44391 h 446960"/>
                <a:gd name="connsiteX48" fmla="*/ -3073 w 165489"/>
                <a:gd name="connsiteY48" fmla="*/ 11345 h 446960"/>
                <a:gd name="connsiteX49" fmla="*/ -2832 w 165489"/>
                <a:gd name="connsiteY49" fmla="*/ 3024 h 446960"/>
                <a:gd name="connsiteX50" fmla="*/ -2642 w 165489"/>
                <a:gd name="connsiteY50" fmla="*/ 334 h 44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65489" h="446960">
                  <a:moveTo>
                    <a:pt x="-2642" y="334"/>
                  </a:moveTo>
                  <a:cubicBezTo>
                    <a:pt x="-2579" y="397"/>
                    <a:pt x="-2515" y="1438"/>
                    <a:pt x="-2439" y="3379"/>
                  </a:cubicBezTo>
                  <a:cubicBezTo>
                    <a:pt x="-2376" y="5611"/>
                    <a:pt x="-2300" y="8415"/>
                    <a:pt x="-2198" y="11941"/>
                  </a:cubicBezTo>
                  <a:cubicBezTo>
                    <a:pt x="-2059" y="19692"/>
                    <a:pt x="-1869" y="30526"/>
                    <a:pt x="-1615" y="44391"/>
                  </a:cubicBezTo>
                  <a:lnTo>
                    <a:pt x="-2642" y="43376"/>
                  </a:lnTo>
                  <a:cubicBezTo>
                    <a:pt x="7298" y="43275"/>
                    <a:pt x="18748" y="43173"/>
                    <a:pt x="31592" y="43047"/>
                  </a:cubicBezTo>
                  <a:cubicBezTo>
                    <a:pt x="38058" y="43008"/>
                    <a:pt x="44879" y="42958"/>
                    <a:pt x="52031" y="42907"/>
                  </a:cubicBezTo>
                  <a:cubicBezTo>
                    <a:pt x="55606" y="42996"/>
                    <a:pt x="59220" y="42526"/>
                    <a:pt x="63327" y="43313"/>
                  </a:cubicBezTo>
                  <a:cubicBezTo>
                    <a:pt x="67284" y="44125"/>
                    <a:pt x="71138" y="46078"/>
                    <a:pt x="74143" y="49085"/>
                  </a:cubicBezTo>
                  <a:cubicBezTo>
                    <a:pt x="77186" y="52041"/>
                    <a:pt x="79380" y="56011"/>
                    <a:pt x="80204" y="60388"/>
                  </a:cubicBezTo>
                  <a:cubicBezTo>
                    <a:pt x="80825" y="64637"/>
                    <a:pt x="81091" y="68646"/>
                    <a:pt x="81561" y="72921"/>
                  </a:cubicBezTo>
                  <a:cubicBezTo>
                    <a:pt x="82410" y="81370"/>
                    <a:pt x="83285" y="90136"/>
                    <a:pt x="84185" y="99193"/>
                  </a:cubicBezTo>
                  <a:cubicBezTo>
                    <a:pt x="85985" y="117334"/>
                    <a:pt x="87900" y="136628"/>
                    <a:pt x="89929" y="156963"/>
                  </a:cubicBezTo>
                  <a:cubicBezTo>
                    <a:pt x="97841" y="238532"/>
                    <a:pt x="107350" y="336706"/>
                    <a:pt x="117671" y="443087"/>
                  </a:cubicBezTo>
                  <a:lnTo>
                    <a:pt x="114856" y="440703"/>
                  </a:lnTo>
                  <a:cubicBezTo>
                    <a:pt x="125177" y="439815"/>
                    <a:pt x="136233" y="438863"/>
                    <a:pt x="147378" y="437899"/>
                  </a:cubicBezTo>
                  <a:cubicBezTo>
                    <a:pt x="151258" y="437557"/>
                    <a:pt x="155138" y="437227"/>
                    <a:pt x="158713" y="436922"/>
                  </a:cubicBezTo>
                  <a:lnTo>
                    <a:pt x="156343" y="439751"/>
                  </a:lnTo>
                  <a:cubicBezTo>
                    <a:pt x="142484" y="291139"/>
                    <a:pt x="129995" y="157166"/>
                    <a:pt x="120917" y="59880"/>
                  </a:cubicBezTo>
                  <a:cubicBezTo>
                    <a:pt x="119231" y="35778"/>
                    <a:pt x="104016" y="17079"/>
                    <a:pt x="87279" y="8630"/>
                  </a:cubicBezTo>
                  <a:cubicBezTo>
                    <a:pt x="70263" y="-579"/>
                    <a:pt x="52982" y="1932"/>
                    <a:pt x="39757" y="1311"/>
                  </a:cubicBezTo>
                  <a:cubicBezTo>
                    <a:pt x="26520" y="1070"/>
                    <a:pt x="16085" y="892"/>
                    <a:pt x="8566" y="753"/>
                  </a:cubicBezTo>
                  <a:cubicBezTo>
                    <a:pt x="5193" y="664"/>
                    <a:pt x="2467" y="588"/>
                    <a:pt x="312" y="524"/>
                  </a:cubicBezTo>
                  <a:cubicBezTo>
                    <a:pt x="-1578" y="461"/>
                    <a:pt x="-2579" y="397"/>
                    <a:pt x="-2642" y="334"/>
                  </a:cubicBezTo>
                  <a:cubicBezTo>
                    <a:pt x="-2706" y="271"/>
                    <a:pt x="-1831" y="207"/>
                    <a:pt x="-56" y="144"/>
                  </a:cubicBezTo>
                  <a:cubicBezTo>
                    <a:pt x="2036" y="80"/>
                    <a:pt x="4674" y="17"/>
                    <a:pt x="7945" y="-72"/>
                  </a:cubicBezTo>
                  <a:cubicBezTo>
                    <a:pt x="15489" y="-211"/>
                    <a:pt x="25974" y="-402"/>
                    <a:pt x="39288" y="-643"/>
                  </a:cubicBezTo>
                  <a:cubicBezTo>
                    <a:pt x="46147" y="-668"/>
                    <a:pt x="53780" y="-972"/>
                    <a:pt x="62186" y="-744"/>
                  </a:cubicBezTo>
                  <a:cubicBezTo>
                    <a:pt x="70580" y="-376"/>
                    <a:pt x="79773" y="1590"/>
                    <a:pt x="88584" y="6055"/>
                  </a:cubicBezTo>
                  <a:cubicBezTo>
                    <a:pt x="106209" y="14555"/>
                    <a:pt x="122552" y="34281"/>
                    <a:pt x="124556" y="59436"/>
                  </a:cubicBezTo>
                  <a:cubicBezTo>
                    <a:pt x="134027" y="156722"/>
                    <a:pt x="147074" y="290695"/>
                    <a:pt x="161554" y="439295"/>
                  </a:cubicBezTo>
                  <a:lnTo>
                    <a:pt x="161807" y="441895"/>
                  </a:lnTo>
                  <a:lnTo>
                    <a:pt x="159170" y="442123"/>
                  </a:lnTo>
                  <a:cubicBezTo>
                    <a:pt x="155582" y="442441"/>
                    <a:pt x="151714" y="442770"/>
                    <a:pt x="147835" y="443113"/>
                  </a:cubicBezTo>
                  <a:cubicBezTo>
                    <a:pt x="136690" y="444064"/>
                    <a:pt x="125621" y="445016"/>
                    <a:pt x="115300" y="445916"/>
                  </a:cubicBezTo>
                  <a:lnTo>
                    <a:pt x="112713" y="446132"/>
                  </a:lnTo>
                  <a:lnTo>
                    <a:pt x="112473" y="443532"/>
                  </a:lnTo>
                  <a:cubicBezTo>
                    <a:pt x="102519" y="337163"/>
                    <a:pt x="93327" y="239001"/>
                    <a:pt x="85694" y="157446"/>
                  </a:cubicBezTo>
                  <a:cubicBezTo>
                    <a:pt x="83843" y="137098"/>
                    <a:pt x="82080" y="117778"/>
                    <a:pt x="80419" y="99637"/>
                  </a:cubicBezTo>
                  <a:cubicBezTo>
                    <a:pt x="79608" y="90580"/>
                    <a:pt x="78809" y="81801"/>
                    <a:pt x="78049" y="73340"/>
                  </a:cubicBezTo>
                  <a:cubicBezTo>
                    <a:pt x="77630" y="69166"/>
                    <a:pt x="77364" y="64841"/>
                    <a:pt x="76844" y="61009"/>
                  </a:cubicBezTo>
                  <a:cubicBezTo>
                    <a:pt x="76210" y="57318"/>
                    <a:pt x="74396" y="53943"/>
                    <a:pt x="71835" y="51406"/>
                  </a:cubicBezTo>
                  <a:cubicBezTo>
                    <a:pt x="69325" y="48819"/>
                    <a:pt x="66053" y="47119"/>
                    <a:pt x="62681" y="46370"/>
                  </a:cubicBezTo>
                  <a:cubicBezTo>
                    <a:pt x="59397" y="45660"/>
                    <a:pt x="55593" y="46015"/>
                    <a:pt x="52031" y="45888"/>
                  </a:cubicBezTo>
                  <a:cubicBezTo>
                    <a:pt x="44879" y="45837"/>
                    <a:pt x="38058" y="45787"/>
                    <a:pt x="31592" y="45736"/>
                  </a:cubicBezTo>
                  <a:cubicBezTo>
                    <a:pt x="18735" y="45609"/>
                    <a:pt x="7298" y="45508"/>
                    <a:pt x="-2642" y="45419"/>
                  </a:cubicBezTo>
                  <a:lnTo>
                    <a:pt x="-3682" y="45406"/>
                  </a:lnTo>
                  <a:lnTo>
                    <a:pt x="-3657" y="44391"/>
                  </a:lnTo>
                  <a:cubicBezTo>
                    <a:pt x="-3416" y="30272"/>
                    <a:pt x="-3213" y="19248"/>
                    <a:pt x="-3073" y="11345"/>
                  </a:cubicBezTo>
                  <a:cubicBezTo>
                    <a:pt x="-2985" y="7920"/>
                    <a:pt x="-2896" y="5180"/>
                    <a:pt x="-2832" y="3024"/>
                  </a:cubicBezTo>
                  <a:cubicBezTo>
                    <a:pt x="-2769" y="1171"/>
                    <a:pt x="-2706" y="271"/>
                    <a:pt x="-2642" y="33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8" name="Vrije vorm 947">
              <a:extLst>
                <a:ext uri="{FF2B5EF4-FFF2-40B4-BE49-F238E27FC236}">
                  <a16:creationId xmlns:a16="http://schemas.microsoft.com/office/drawing/2014/main" id="{D72979D8-0C42-3D30-6D50-D538D7D90524}"/>
                </a:ext>
              </a:extLst>
            </p:cNvPr>
            <p:cNvSpPr/>
            <p:nvPr/>
          </p:nvSpPr>
          <p:spPr>
            <a:xfrm flipV="1">
              <a:off x="8820229" y="4475506"/>
              <a:ext cx="1115115" cy="109882"/>
            </a:xfrm>
            <a:custGeom>
              <a:avLst/>
              <a:gdLst>
                <a:gd name="connsiteX0" fmla="*/ 62982 w 1115115"/>
                <a:gd name="connsiteY0" fmla="*/ -631 h 109882"/>
                <a:gd name="connsiteX1" fmla="*/ 1045548 w 1115115"/>
                <a:gd name="connsiteY1" fmla="*/ -631 h 109882"/>
                <a:gd name="connsiteX2" fmla="*/ 1111823 w 1115115"/>
                <a:gd name="connsiteY2" fmla="*/ 54310 h 109882"/>
                <a:gd name="connsiteX3" fmla="*/ 1045548 w 1115115"/>
                <a:gd name="connsiteY3" fmla="*/ 109252 h 109882"/>
                <a:gd name="connsiteX4" fmla="*/ 62982 w 1115115"/>
                <a:gd name="connsiteY4" fmla="*/ 109252 h 109882"/>
                <a:gd name="connsiteX5" fmla="*/ -3292 w 1115115"/>
                <a:gd name="connsiteY5" fmla="*/ 54310 h 109882"/>
                <a:gd name="connsiteX6" fmla="*/ 62982 w 1115115"/>
                <a:gd name="connsiteY6" fmla="*/ -631 h 10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5115" h="109882">
                  <a:moveTo>
                    <a:pt x="62982" y="-631"/>
                  </a:moveTo>
                  <a:lnTo>
                    <a:pt x="1045548" y="-631"/>
                  </a:lnTo>
                  <a:cubicBezTo>
                    <a:pt x="1082153" y="-631"/>
                    <a:pt x="1111823" y="23966"/>
                    <a:pt x="1111823" y="54310"/>
                  </a:cubicBezTo>
                  <a:cubicBezTo>
                    <a:pt x="1111823" y="84654"/>
                    <a:pt x="1082153" y="109252"/>
                    <a:pt x="1045548" y="109252"/>
                  </a:cubicBezTo>
                  <a:lnTo>
                    <a:pt x="62982" y="109252"/>
                  </a:lnTo>
                  <a:cubicBezTo>
                    <a:pt x="26377" y="109252"/>
                    <a:pt x="-3292" y="84654"/>
                    <a:pt x="-3292" y="54310"/>
                  </a:cubicBezTo>
                  <a:cubicBezTo>
                    <a:pt x="-3292" y="23966"/>
                    <a:pt x="26377" y="-631"/>
                    <a:pt x="62982" y="-631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9" name="Vrije vorm 948">
              <a:extLst>
                <a:ext uri="{FF2B5EF4-FFF2-40B4-BE49-F238E27FC236}">
                  <a16:creationId xmlns:a16="http://schemas.microsoft.com/office/drawing/2014/main" id="{15A76D60-9A2F-EEED-13CD-1A9F43D7D3A8}"/>
                </a:ext>
              </a:extLst>
            </p:cNvPr>
            <p:cNvSpPr/>
            <p:nvPr/>
          </p:nvSpPr>
          <p:spPr>
            <a:xfrm flipV="1">
              <a:off x="9947218" y="2998259"/>
              <a:ext cx="266644" cy="1184964"/>
            </a:xfrm>
            <a:custGeom>
              <a:avLst/>
              <a:gdLst>
                <a:gd name="connsiteX0" fmla="*/ 128250 w 266644"/>
                <a:gd name="connsiteY0" fmla="*/ 56459 h 1184964"/>
                <a:gd name="connsiteX1" fmla="*/ 262333 w 266644"/>
                <a:gd name="connsiteY1" fmla="*/ 1108794 h 1184964"/>
                <a:gd name="connsiteX2" fmla="*/ 204972 w 266644"/>
                <a:gd name="connsiteY2" fmla="*/ 1182954 h 1184964"/>
                <a:gd name="connsiteX3" fmla="*/ 130836 w 266644"/>
                <a:gd name="connsiteY3" fmla="*/ 1125565 h 1184964"/>
                <a:gd name="connsiteX4" fmla="*/ -3234 w 266644"/>
                <a:gd name="connsiteY4" fmla="*/ 73229 h 1184964"/>
                <a:gd name="connsiteX5" fmla="*/ 54127 w 266644"/>
                <a:gd name="connsiteY5" fmla="*/ -931 h 1184964"/>
                <a:gd name="connsiteX6" fmla="*/ 128250 w 266644"/>
                <a:gd name="connsiteY6" fmla="*/ 56459 h 1184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6644" h="1184964">
                  <a:moveTo>
                    <a:pt x="128250" y="56459"/>
                  </a:moveTo>
                  <a:lnTo>
                    <a:pt x="262333" y="1108794"/>
                  </a:lnTo>
                  <a:cubicBezTo>
                    <a:pt x="266961" y="1145126"/>
                    <a:pt x="241273" y="1178324"/>
                    <a:pt x="204972" y="1182954"/>
                  </a:cubicBezTo>
                  <a:cubicBezTo>
                    <a:pt x="168659" y="1187584"/>
                    <a:pt x="135477" y="1161896"/>
                    <a:pt x="130836" y="1125565"/>
                  </a:cubicBezTo>
                  <a:lnTo>
                    <a:pt x="-3234" y="73229"/>
                  </a:lnTo>
                  <a:cubicBezTo>
                    <a:pt x="-7862" y="36898"/>
                    <a:pt x="17826" y="3699"/>
                    <a:pt x="54127" y="-931"/>
                  </a:cubicBezTo>
                  <a:cubicBezTo>
                    <a:pt x="90441" y="-5561"/>
                    <a:pt x="123622" y="20127"/>
                    <a:pt x="128250" y="56459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50" name="Vrije vorm 949">
              <a:extLst>
                <a:ext uri="{FF2B5EF4-FFF2-40B4-BE49-F238E27FC236}">
                  <a16:creationId xmlns:a16="http://schemas.microsoft.com/office/drawing/2014/main" id="{65635C29-D337-5DD1-5B61-74989B61DE73}"/>
                </a:ext>
              </a:extLst>
            </p:cNvPr>
            <p:cNvSpPr/>
            <p:nvPr/>
          </p:nvSpPr>
          <p:spPr>
            <a:xfrm flipV="1">
              <a:off x="8746563" y="4544338"/>
              <a:ext cx="276876" cy="1075283"/>
            </a:xfrm>
            <a:custGeom>
              <a:avLst/>
              <a:gdLst>
                <a:gd name="connsiteX0" fmla="*/ 143477 w 276876"/>
                <a:gd name="connsiteY0" fmla="*/ 1075146 h 1075283"/>
                <a:gd name="connsiteX1" fmla="*/ -2956 w 276876"/>
                <a:gd name="connsiteY1" fmla="*/ -138 h 1075283"/>
                <a:gd name="connsiteX2" fmla="*/ 55293 w 276876"/>
                <a:gd name="connsiteY2" fmla="*/ -113 h 1075283"/>
                <a:gd name="connsiteX3" fmla="*/ 273921 w 276876"/>
                <a:gd name="connsiteY3" fmla="*/ 1034095 h 1075283"/>
                <a:gd name="connsiteX4" fmla="*/ 143477 w 276876"/>
                <a:gd name="connsiteY4" fmla="*/ 1075146 h 1075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876" h="1075283">
                  <a:moveTo>
                    <a:pt x="143477" y="1075146"/>
                  </a:moveTo>
                  <a:lnTo>
                    <a:pt x="-2956" y="-138"/>
                  </a:lnTo>
                  <a:lnTo>
                    <a:pt x="55293" y="-113"/>
                  </a:lnTo>
                  <a:lnTo>
                    <a:pt x="273921" y="1034095"/>
                  </a:lnTo>
                  <a:lnTo>
                    <a:pt x="143477" y="1075146"/>
                  </a:ln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31" name="Vrije vorm 1030">
              <a:extLst>
                <a:ext uri="{FF2B5EF4-FFF2-40B4-BE49-F238E27FC236}">
                  <a16:creationId xmlns:a16="http://schemas.microsoft.com/office/drawing/2014/main" id="{B432E1D1-D5CE-19BA-FC28-ADED31971187}"/>
                </a:ext>
              </a:extLst>
            </p:cNvPr>
            <p:cNvSpPr/>
            <p:nvPr/>
          </p:nvSpPr>
          <p:spPr>
            <a:xfrm flipV="1">
              <a:off x="5687637" y="2072073"/>
              <a:ext cx="195247" cy="15763"/>
            </a:xfrm>
            <a:custGeom>
              <a:avLst/>
              <a:gdLst>
                <a:gd name="connsiteX0" fmla="*/ 108369 w 111559"/>
                <a:gd name="connsiteY0" fmla="*/ -3873 h 18230"/>
                <a:gd name="connsiteX1" fmla="*/ -2444 w 111559"/>
                <a:gd name="connsiteY1" fmla="*/ 4714 h 18230"/>
                <a:gd name="connsiteX2" fmla="*/ -1698 w 111559"/>
                <a:gd name="connsiteY2" fmla="*/ 14357 h 18230"/>
                <a:gd name="connsiteX3" fmla="*/ 109115 w 111559"/>
                <a:gd name="connsiteY3" fmla="*/ 5770 h 18230"/>
                <a:gd name="connsiteX4" fmla="*/ 108369 w 111559"/>
                <a:gd name="connsiteY4" fmla="*/ -3873 h 18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559" h="18230">
                  <a:moveTo>
                    <a:pt x="108369" y="-3873"/>
                  </a:moveTo>
                  <a:lnTo>
                    <a:pt x="-2444" y="4714"/>
                  </a:lnTo>
                  <a:lnTo>
                    <a:pt x="-1698" y="14357"/>
                  </a:lnTo>
                  <a:lnTo>
                    <a:pt x="109115" y="5770"/>
                  </a:lnTo>
                  <a:lnTo>
                    <a:pt x="108369" y="-3873"/>
                  </a:ln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51" name="Vrije vorm 950">
              <a:extLst>
                <a:ext uri="{FF2B5EF4-FFF2-40B4-BE49-F238E27FC236}">
                  <a16:creationId xmlns:a16="http://schemas.microsoft.com/office/drawing/2014/main" id="{A32A2684-12CA-9D0D-32C9-F236451898FB}"/>
                </a:ext>
              </a:extLst>
            </p:cNvPr>
            <p:cNvSpPr/>
            <p:nvPr/>
          </p:nvSpPr>
          <p:spPr>
            <a:xfrm flipV="1">
              <a:off x="9727176" y="4544338"/>
              <a:ext cx="272819" cy="1075283"/>
            </a:xfrm>
            <a:custGeom>
              <a:avLst/>
              <a:gdLst>
                <a:gd name="connsiteX0" fmla="*/ 126833 w 272819"/>
                <a:gd name="connsiteY0" fmla="*/ 1075146 h 1075283"/>
                <a:gd name="connsiteX1" fmla="*/ 269195 w 272819"/>
                <a:gd name="connsiteY1" fmla="*/ -138 h 1075283"/>
                <a:gd name="connsiteX2" fmla="*/ 210947 w 272819"/>
                <a:gd name="connsiteY2" fmla="*/ -113 h 1075283"/>
                <a:gd name="connsiteX3" fmla="*/ -3624 w 272819"/>
                <a:gd name="connsiteY3" fmla="*/ 1034095 h 1075283"/>
                <a:gd name="connsiteX4" fmla="*/ 126833 w 272819"/>
                <a:gd name="connsiteY4" fmla="*/ 1075146 h 1075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819" h="1075283">
                  <a:moveTo>
                    <a:pt x="126833" y="1075146"/>
                  </a:moveTo>
                  <a:lnTo>
                    <a:pt x="269195" y="-138"/>
                  </a:lnTo>
                  <a:lnTo>
                    <a:pt x="210947" y="-113"/>
                  </a:lnTo>
                  <a:lnTo>
                    <a:pt x="-3624" y="1034095"/>
                  </a:lnTo>
                  <a:lnTo>
                    <a:pt x="126833" y="1075146"/>
                  </a:ln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52" name="Vrije vorm 951">
              <a:extLst>
                <a:ext uri="{FF2B5EF4-FFF2-40B4-BE49-F238E27FC236}">
                  <a16:creationId xmlns:a16="http://schemas.microsoft.com/office/drawing/2014/main" id="{320CA094-1924-B871-E5D4-39280F965D62}"/>
                </a:ext>
              </a:extLst>
            </p:cNvPr>
            <p:cNvSpPr/>
            <p:nvPr/>
          </p:nvSpPr>
          <p:spPr>
            <a:xfrm flipV="1">
              <a:off x="8886504" y="4582776"/>
              <a:ext cx="996297" cy="5226"/>
            </a:xfrm>
            <a:custGeom>
              <a:avLst/>
              <a:gdLst>
                <a:gd name="connsiteX0" fmla="*/ -3297 w 996297"/>
                <a:gd name="connsiteY0" fmla="*/ 2031 h 5226"/>
                <a:gd name="connsiteX1" fmla="*/ 494833 w 996297"/>
                <a:gd name="connsiteY1" fmla="*/ -582 h 5226"/>
                <a:gd name="connsiteX2" fmla="*/ 993001 w 996297"/>
                <a:gd name="connsiteY2" fmla="*/ 2031 h 5226"/>
                <a:gd name="connsiteX3" fmla="*/ 494833 w 996297"/>
                <a:gd name="connsiteY3" fmla="*/ 4645 h 5226"/>
                <a:gd name="connsiteX4" fmla="*/ -3297 w 996297"/>
                <a:gd name="connsiteY4" fmla="*/ 2031 h 5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6297" h="5226">
                  <a:moveTo>
                    <a:pt x="-3297" y="2031"/>
                  </a:moveTo>
                  <a:cubicBezTo>
                    <a:pt x="-3297" y="585"/>
                    <a:pt x="219744" y="-582"/>
                    <a:pt x="494833" y="-582"/>
                  </a:cubicBezTo>
                  <a:cubicBezTo>
                    <a:pt x="769998" y="-582"/>
                    <a:pt x="993001" y="585"/>
                    <a:pt x="993001" y="2031"/>
                  </a:cubicBezTo>
                  <a:cubicBezTo>
                    <a:pt x="993001" y="3478"/>
                    <a:pt x="769998" y="4645"/>
                    <a:pt x="494833" y="4645"/>
                  </a:cubicBezTo>
                  <a:cubicBezTo>
                    <a:pt x="219744" y="4645"/>
                    <a:pt x="-3297" y="3478"/>
                    <a:pt x="-3297" y="2031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1027" name="Groep 1026">
              <a:extLst>
                <a:ext uri="{FF2B5EF4-FFF2-40B4-BE49-F238E27FC236}">
                  <a16:creationId xmlns:a16="http://schemas.microsoft.com/office/drawing/2014/main" id="{93589F47-4668-90BC-B026-486A8DC20ACE}"/>
                </a:ext>
              </a:extLst>
            </p:cNvPr>
            <p:cNvGrpSpPr/>
            <p:nvPr/>
          </p:nvGrpSpPr>
          <p:grpSpPr>
            <a:xfrm>
              <a:off x="5479385" y="1607668"/>
              <a:ext cx="1152242" cy="650063"/>
              <a:chOff x="4322932" y="2042402"/>
              <a:chExt cx="621507" cy="650063"/>
            </a:xfrm>
            <a:solidFill>
              <a:srgbClr val="493832"/>
            </a:solidFill>
          </p:grpSpPr>
          <p:sp>
            <p:nvSpPr>
              <p:cNvPr id="1025" name="Vrije vorm 1024">
                <a:extLst>
                  <a:ext uri="{FF2B5EF4-FFF2-40B4-BE49-F238E27FC236}">
                    <a16:creationId xmlns:a16="http://schemas.microsoft.com/office/drawing/2014/main" id="{85390727-EC43-B812-CEC5-DABE0C4C3FB8}"/>
                  </a:ext>
                </a:extLst>
              </p:cNvPr>
              <p:cNvSpPr/>
              <p:nvPr/>
            </p:nvSpPr>
            <p:spPr>
              <a:xfrm flipV="1">
                <a:off x="4322932" y="2042402"/>
                <a:ext cx="621507" cy="650063"/>
              </a:xfrm>
              <a:custGeom>
                <a:avLst/>
                <a:gdLst>
                  <a:gd name="connsiteX0" fmla="*/ 565688 w 621507"/>
                  <a:gd name="connsiteY0" fmla="*/ 571347 h 586812"/>
                  <a:gd name="connsiteX1" fmla="*/ 415806 w 621507"/>
                  <a:gd name="connsiteY1" fmla="*/ 535167 h 586812"/>
                  <a:gd name="connsiteX2" fmla="*/ 329004 w 621507"/>
                  <a:gd name="connsiteY2" fmla="*/ 572146 h 586812"/>
                  <a:gd name="connsiteX3" fmla="*/ 187301 w 621507"/>
                  <a:gd name="connsiteY3" fmla="*/ 561769 h 586812"/>
                  <a:gd name="connsiteX4" fmla="*/ 122700 w 621507"/>
                  <a:gd name="connsiteY4" fmla="*/ 462656 h 586812"/>
                  <a:gd name="connsiteX5" fmla="*/ 7196 w 621507"/>
                  <a:gd name="connsiteY5" fmla="*/ 376318 h 586812"/>
                  <a:gd name="connsiteX6" fmla="*/ 19305 w 621507"/>
                  <a:gd name="connsiteY6" fmla="*/ 231778 h 586812"/>
                  <a:gd name="connsiteX7" fmla="*/ 157543 w 621507"/>
                  <a:gd name="connsiteY7" fmla="*/ 6278 h 586812"/>
                  <a:gd name="connsiteX8" fmla="*/ 177741 w 621507"/>
                  <a:gd name="connsiteY8" fmla="*/ -1511 h 586812"/>
                  <a:gd name="connsiteX9" fmla="*/ 183561 w 621507"/>
                  <a:gd name="connsiteY9" fmla="*/ 13014 h 586812"/>
                  <a:gd name="connsiteX10" fmla="*/ 165822 w 621507"/>
                  <a:gd name="connsiteY10" fmla="*/ 150514 h 586812"/>
                  <a:gd name="connsiteX11" fmla="*/ 159204 w 621507"/>
                  <a:gd name="connsiteY11" fmla="*/ 288394 h 586812"/>
                  <a:gd name="connsiteX12" fmla="*/ 242722 w 621507"/>
                  <a:gd name="connsiteY12" fmla="*/ 391376 h 586812"/>
                  <a:gd name="connsiteX13" fmla="*/ 342723 w 621507"/>
                  <a:gd name="connsiteY13" fmla="*/ 381329 h 586812"/>
                  <a:gd name="connsiteX14" fmla="*/ 433114 w 621507"/>
                  <a:gd name="connsiteY14" fmla="*/ 332794 h 586812"/>
                  <a:gd name="connsiteX15" fmla="*/ 531073 w 621507"/>
                  <a:gd name="connsiteY15" fmla="*/ 306852 h 586812"/>
                  <a:gd name="connsiteX16" fmla="*/ 610902 w 621507"/>
                  <a:gd name="connsiteY16" fmla="*/ 361641 h 586812"/>
                  <a:gd name="connsiteX17" fmla="*/ 566804 w 621507"/>
                  <a:gd name="connsiteY17" fmla="*/ 439315 h 586812"/>
                  <a:gd name="connsiteX18" fmla="*/ 620513 w 621507"/>
                  <a:gd name="connsiteY18" fmla="*/ 505787 h 586812"/>
                  <a:gd name="connsiteX19" fmla="*/ 565688 w 621507"/>
                  <a:gd name="connsiteY19" fmla="*/ 571347 h 586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21507" h="586812">
                    <a:moveTo>
                      <a:pt x="565688" y="571347"/>
                    </a:moveTo>
                    <a:cubicBezTo>
                      <a:pt x="514451" y="580988"/>
                      <a:pt x="467753" y="530867"/>
                      <a:pt x="415806" y="535167"/>
                    </a:cubicBezTo>
                    <a:cubicBezTo>
                      <a:pt x="384248" y="537768"/>
                      <a:pt x="358192" y="559853"/>
                      <a:pt x="329004" y="572146"/>
                    </a:cubicBezTo>
                    <a:cubicBezTo>
                      <a:pt x="285375" y="590527"/>
                      <a:pt x="226886" y="587762"/>
                      <a:pt x="187301" y="561769"/>
                    </a:cubicBezTo>
                    <a:cubicBezTo>
                      <a:pt x="147716" y="535789"/>
                      <a:pt x="123215" y="510012"/>
                      <a:pt x="122700" y="462656"/>
                    </a:cubicBezTo>
                    <a:cubicBezTo>
                      <a:pt x="82077" y="480315"/>
                      <a:pt x="23728" y="425132"/>
                      <a:pt x="7196" y="376318"/>
                    </a:cubicBezTo>
                    <a:cubicBezTo>
                      <a:pt x="-9338" y="327491"/>
                      <a:pt x="1450" y="280136"/>
                      <a:pt x="19305" y="231778"/>
                    </a:cubicBezTo>
                    <a:cubicBezTo>
                      <a:pt x="50038" y="148535"/>
                      <a:pt x="97307" y="71432"/>
                      <a:pt x="157543" y="6278"/>
                    </a:cubicBezTo>
                    <a:cubicBezTo>
                      <a:pt x="162881" y="519"/>
                      <a:pt x="171046" y="-5621"/>
                      <a:pt x="177741" y="-1511"/>
                    </a:cubicBezTo>
                    <a:cubicBezTo>
                      <a:pt x="182381" y="1331"/>
                      <a:pt x="183294" y="7585"/>
                      <a:pt x="183561" y="13014"/>
                    </a:cubicBezTo>
                    <a:cubicBezTo>
                      <a:pt x="185792" y="59304"/>
                      <a:pt x="174875" y="105061"/>
                      <a:pt x="165822" y="150514"/>
                    </a:cubicBezTo>
                    <a:cubicBezTo>
                      <a:pt x="156782" y="195966"/>
                      <a:pt x="149580" y="243056"/>
                      <a:pt x="159204" y="288394"/>
                    </a:cubicBezTo>
                    <a:cubicBezTo>
                      <a:pt x="168815" y="333720"/>
                      <a:pt x="198560" y="377409"/>
                      <a:pt x="242722" y="391376"/>
                    </a:cubicBezTo>
                    <a:cubicBezTo>
                      <a:pt x="275346" y="401677"/>
                      <a:pt x="311215" y="394674"/>
                      <a:pt x="342723" y="381329"/>
                    </a:cubicBezTo>
                    <a:cubicBezTo>
                      <a:pt x="374218" y="367983"/>
                      <a:pt x="402760" y="348613"/>
                      <a:pt x="433114" y="332794"/>
                    </a:cubicBezTo>
                    <a:cubicBezTo>
                      <a:pt x="463455" y="316987"/>
                      <a:pt x="496928" y="304543"/>
                      <a:pt x="531073" y="306852"/>
                    </a:cubicBezTo>
                    <a:cubicBezTo>
                      <a:pt x="565206" y="309160"/>
                      <a:pt x="599858" y="329242"/>
                      <a:pt x="610902" y="361641"/>
                    </a:cubicBezTo>
                    <a:cubicBezTo>
                      <a:pt x="621958" y="394040"/>
                      <a:pt x="600847" y="435966"/>
                      <a:pt x="566804" y="439315"/>
                    </a:cubicBezTo>
                    <a:cubicBezTo>
                      <a:pt x="597031" y="445531"/>
                      <a:pt x="620779" y="474923"/>
                      <a:pt x="620513" y="505787"/>
                    </a:cubicBezTo>
                    <a:cubicBezTo>
                      <a:pt x="620259" y="536664"/>
                      <a:pt x="596017" y="565651"/>
                      <a:pt x="565688" y="571347"/>
                    </a:cubicBezTo>
                  </a:path>
                </a:pathLst>
              </a:custGeom>
              <a:grpFill/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26" name="Vrije vorm 1025">
                <a:extLst>
                  <a:ext uri="{FF2B5EF4-FFF2-40B4-BE49-F238E27FC236}">
                    <a16:creationId xmlns:a16="http://schemas.microsoft.com/office/drawing/2014/main" id="{21FDFCD4-045C-25F4-70AA-8C347C2DCC91}"/>
                  </a:ext>
                </a:extLst>
              </p:cNvPr>
              <p:cNvSpPr/>
              <p:nvPr/>
            </p:nvSpPr>
            <p:spPr>
              <a:xfrm flipV="1">
                <a:off x="4392681" y="2134330"/>
                <a:ext cx="487015" cy="431232"/>
              </a:xfrm>
              <a:custGeom>
                <a:avLst/>
                <a:gdLst>
                  <a:gd name="connsiteX0" fmla="*/ 446285 w 487015"/>
                  <a:gd name="connsiteY0" fmla="*/ 336025 h 431232"/>
                  <a:gd name="connsiteX1" fmla="*/ 382559 w 487015"/>
                  <a:gd name="connsiteY1" fmla="*/ 390827 h 431232"/>
                  <a:gd name="connsiteX2" fmla="*/ 206038 w 487015"/>
                  <a:gd name="connsiteY2" fmla="*/ 426144 h 431232"/>
                  <a:gd name="connsiteX3" fmla="*/ 50062 w 487015"/>
                  <a:gd name="connsiteY3" fmla="*/ 339399 h 431232"/>
                  <a:gd name="connsiteX4" fmla="*/ 207 w 487015"/>
                  <a:gd name="connsiteY4" fmla="*/ 203841 h 431232"/>
                  <a:gd name="connsiteX5" fmla="*/ 16527 w 487015"/>
                  <a:gd name="connsiteY5" fmla="*/ 44674 h 431232"/>
                  <a:gd name="connsiteX6" fmla="*/ 53097 w 487015"/>
                  <a:gd name="connsiteY6" fmla="*/ 5336 h 431232"/>
                  <a:gd name="connsiteX7" fmla="*/ 89617 w 487015"/>
                  <a:gd name="connsiteY7" fmla="*/ 2736 h 431232"/>
                  <a:gd name="connsiteX8" fmla="*/ 96933 w 487015"/>
                  <a:gd name="connsiteY8" fmla="*/ 24732 h 431232"/>
                  <a:gd name="connsiteX9" fmla="*/ 75188 w 487015"/>
                  <a:gd name="connsiteY9" fmla="*/ 234223 h 431232"/>
                  <a:gd name="connsiteX10" fmla="*/ 128048 w 487015"/>
                  <a:gd name="connsiteY10" fmla="*/ 299427 h 431232"/>
                  <a:gd name="connsiteX11" fmla="*/ 207053 w 487015"/>
                  <a:gd name="connsiteY11" fmla="*/ 322325 h 431232"/>
                  <a:gd name="connsiteX12" fmla="*/ 313951 w 487015"/>
                  <a:gd name="connsiteY12" fmla="*/ 258896 h 431232"/>
                  <a:gd name="connsiteX13" fmla="*/ 486021 w 487015"/>
                  <a:gd name="connsiteY13" fmla="*/ 245856 h 431232"/>
                  <a:gd name="connsiteX14" fmla="*/ 446285 w 487015"/>
                  <a:gd name="connsiteY14" fmla="*/ 336025 h 431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87015" h="431232">
                    <a:moveTo>
                      <a:pt x="446285" y="336025"/>
                    </a:moveTo>
                    <a:cubicBezTo>
                      <a:pt x="430981" y="359849"/>
                      <a:pt x="407385" y="377228"/>
                      <a:pt x="382559" y="390827"/>
                    </a:cubicBezTo>
                    <a:cubicBezTo>
                      <a:pt x="329027" y="420131"/>
                      <a:pt x="266531" y="434098"/>
                      <a:pt x="206038" y="426144"/>
                    </a:cubicBezTo>
                    <a:cubicBezTo>
                      <a:pt x="145545" y="418190"/>
                      <a:pt x="87563" y="387554"/>
                      <a:pt x="50062" y="339399"/>
                    </a:cubicBezTo>
                    <a:cubicBezTo>
                      <a:pt x="20048" y="300873"/>
                      <a:pt x="3856" y="252554"/>
                      <a:pt x="207" y="203841"/>
                    </a:cubicBezTo>
                    <a:cubicBezTo>
                      <a:pt x="-3443" y="155128"/>
                      <a:pt x="1008" y="90989"/>
                      <a:pt x="16527" y="44674"/>
                    </a:cubicBezTo>
                    <a:cubicBezTo>
                      <a:pt x="23332" y="24339"/>
                      <a:pt x="36198" y="18517"/>
                      <a:pt x="53097" y="5336"/>
                    </a:cubicBezTo>
                    <a:cubicBezTo>
                      <a:pt x="63663" y="-2897"/>
                      <a:pt x="80298" y="-6893"/>
                      <a:pt x="89617" y="2736"/>
                    </a:cubicBezTo>
                    <a:cubicBezTo>
                      <a:pt x="95108" y="8394"/>
                      <a:pt x="96160" y="16880"/>
                      <a:pt x="96933" y="24732"/>
                    </a:cubicBezTo>
                    <a:cubicBezTo>
                      <a:pt x="103945" y="95759"/>
                      <a:pt x="109968" y="171911"/>
                      <a:pt x="75188" y="234223"/>
                    </a:cubicBezTo>
                    <a:cubicBezTo>
                      <a:pt x="88895" y="258846"/>
                      <a:pt x="105631" y="282352"/>
                      <a:pt x="128048" y="299427"/>
                    </a:cubicBezTo>
                    <a:cubicBezTo>
                      <a:pt x="150465" y="316502"/>
                      <a:pt x="179209" y="326612"/>
                      <a:pt x="207053" y="322325"/>
                    </a:cubicBezTo>
                    <a:cubicBezTo>
                      <a:pt x="248412" y="315956"/>
                      <a:pt x="278437" y="281045"/>
                      <a:pt x="313951" y="258896"/>
                    </a:cubicBezTo>
                    <a:cubicBezTo>
                      <a:pt x="364706" y="227246"/>
                      <a:pt x="431082" y="222222"/>
                      <a:pt x="486021" y="245856"/>
                    </a:cubicBezTo>
                    <a:lnTo>
                      <a:pt x="446285" y="336025"/>
                    </a:lnTo>
                  </a:path>
                </a:pathLst>
              </a:custGeom>
              <a:grpFill/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1029" name="Vrije vorm 1028">
              <a:extLst>
                <a:ext uri="{FF2B5EF4-FFF2-40B4-BE49-F238E27FC236}">
                  <a16:creationId xmlns:a16="http://schemas.microsoft.com/office/drawing/2014/main" id="{7EE3BA95-9CC4-07D9-3C01-4BC2248C6BD4}"/>
                </a:ext>
              </a:extLst>
            </p:cNvPr>
            <p:cNvSpPr/>
            <p:nvPr/>
          </p:nvSpPr>
          <p:spPr>
            <a:xfrm flipV="1">
              <a:off x="5865885" y="2015573"/>
              <a:ext cx="266515" cy="149167"/>
            </a:xfrm>
            <a:custGeom>
              <a:avLst/>
              <a:gdLst>
                <a:gd name="connsiteX0" fmla="*/ 56246 w 117549"/>
                <a:gd name="connsiteY0" fmla="*/ 103954 h 117480"/>
                <a:gd name="connsiteX1" fmla="*/ 7156 w 117549"/>
                <a:gd name="connsiteY1" fmla="*/ 54888 h 117480"/>
                <a:gd name="connsiteX2" fmla="*/ 56246 w 117549"/>
                <a:gd name="connsiteY2" fmla="*/ 5822 h 117480"/>
                <a:gd name="connsiteX3" fmla="*/ 105347 w 117549"/>
                <a:gd name="connsiteY3" fmla="*/ 54888 h 117480"/>
                <a:gd name="connsiteX4" fmla="*/ 56246 w 117549"/>
                <a:gd name="connsiteY4" fmla="*/ 103954 h 117480"/>
                <a:gd name="connsiteX5" fmla="*/ 56246 w 117549"/>
                <a:gd name="connsiteY5" fmla="*/ -3852 h 117480"/>
                <a:gd name="connsiteX6" fmla="*/ -2534 w 117549"/>
                <a:gd name="connsiteY6" fmla="*/ 54888 h 117480"/>
                <a:gd name="connsiteX7" fmla="*/ 56246 w 117549"/>
                <a:gd name="connsiteY7" fmla="*/ 113628 h 117480"/>
                <a:gd name="connsiteX8" fmla="*/ 115015 w 117549"/>
                <a:gd name="connsiteY8" fmla="*/ 54888 h 117480"/>
                <a:gd name="connsiteX9" fmla="*/ 56246 w 11754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49" h="117480">
                  <a:moveTo>
                    <a:pt x="56246" y="103954"/>
                  </a:moveTo>
                  <a:cubicBezTo>
                    <a:pt x="29177" y="103954"/>
                    <a:pt x="7156" y="81943"/>
                    <a:pt x="7156" y="54888"/>
                  </a:cubicBezTo>
                  <a:cubicBezTo>
                    <a:pt x="7156" y="27833"/>
                    <a:pt x="29177" y="5822"/>
                    <a:pt x="56246" y="5822"/>
                  </a:cubicBezTo>
                  <a:cubicBezTo>
                    <a:pt x="83315" y="5822"/>
                    <a:pt x="105347" y="27833"/>
                    <a:pt x="105347" y="54888"/>
                  </a:cubicBezTo>
                  <a:cubicBezTo>
                    <a:pt x="105347" y="81943"/>
                    <a:pt x="83315" y="103954"/>
                    <a:pt x="56246" y="103954"/>
                  </a:cubicBezTo>
                  <a:close/>
                  <a:moveTo>
                    <a:pt x="56246" y="-3852"/>
                  </a:moveTo>
                  <a:cubicBezTo>
                    <a:pt x="23830" y="-3852"/>
                    <a:pt x="-2534" y="22499"/>
                    <a:pt x="-2534" y="54888"/>
                  </a:cubicBezTo>
                  <a:cubicBezTo>
                    <a:pt x="-2534" y="87288"/>
                    <a:pt x="23830" y="113628"/>
                    <a:pt x="56246" y="113628"/>
                  </a:cubicBezTo>
                  <a:cubicBezTo>
                    <a:pt x="88651" y="113628"/>
                    <a:pt x="115015" y="87288"/>
                    <a:pt x="115015" y="54888"/>
                  </a:cubicBezTo>
                  <a:cubicBezTo>
                    <a:pt x="115015" y="22499"/>
                    <a:pt x="88651" y="-3852"/>
                    <a:pt x="56246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30" name="Vrije vorm 1029">
              <a:extLst>
                <a:ext uri="{FF2B5EF4-FFF2-40B4-BE49-F238E27FC236}">
                  <a16:creationId xmlns:a16="http://schemas.microsoft.com/office/drawing/2014/main" id="{395993A7-C4A2-FCE1-9E9E-2EE5A1FCE769}"/>
                </a:ext>
              </a:extLst>
            </p:cNvPr>
            <p:cNvSpPr/>
            <p:nvPr/>
          </p:nvSpPr>
          <p:spPr>
            <a:xfrm flipV="1">
              <a:off x="6209874" y="2006132"/>
              <a:ext cx="261407" cy="159657"/>
            </a:xfrm>
            <a:custGeom>
              <a:avLst/>
              <a:gdLst>
                <a:gd name="connsiteX0" fmla="*/ 56107 w 117539"/>
                <a:gd name="connsiteY0" fmla="*/ 103954 h 117480"/>
                <a:gd name="connsiteX1" fmla="*/ 7017 w 117539"/>
                <a:gd name="connsiteY1" fmla="*/ 54888 h 117480"/>
                <a:gd name="connsiteX2" fmla="*/ 56107 w 117539"/>
                <a:gd name="connsiteY2" fmla="*/ 5822 h 117480"/>
                <a:gd name="connsiteX3" fmla="*/ 105198 w 117539"/>
                <a:gd name="connsiteY3" fmla="*/ 54888 h 117480"/>
                <a:gd name="connsiteX4" fmla="*/ 56107 w 117539"/>
                <a:gd name="connsiteY4" fmla="*/ 103954 h 117480"/>
                <a:gd name="connsiteX5" fmla="*/ 56107 w 117539"/>
                <a:gd name="connsiteY5" fmla="*/ -3852 h 117480"/>
                <a:gd name="connsiteX6" fmla="*/ -2662 w 117539"/>
                <a:gd name="connsiteY6" fmla="*/ 54888 h 117480"/>
                <a:gd name="connsiteX7" fmla="*/ 56107 w 117539"/>
                <a:gd name="connsiteY7" fmla="*/ 113628 h 117480"/>
                <a:gd name="connsiteX8" fmla="*/ 114877 w 117539"/>
                <a:gd name="connsiteY8" fmla="*/ 54888 h 117480"/>
                <a:gd name="connsiteX9" fmla="*/ 56107 w 11753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39" h="117480">
                  <a:moveTo>
                    <a:pt x="56107" y="103954"/>
                  </a:moveTo>
                  <a:cubicBezTo>
                    <a:pt x="29039" y="103954"/>
                    <a:pt x="7017" y="81943"/>
                    <a:pt x="7017" y="54888"/>
                  </a:cubicBezTo>
                  <a:cubicBezTo>
                    <a:pt x="7017" y="27833"/>
                    <a:pt x="29039" y="5822"/>
                    <a:pt x="56107" y="5822"/>
                  </a:cubicBezTo>
                  <a:cubicBezTo>
                    <a:pt x="83176" y="5822"/>
                    <a:pt x="105198" y="27833"/>
                    <a:pt x="105198" y="54888"/>
                  </a:cubicBezTo>
                  <a:cubicBezTo>
                    <a:pt x="105198" y="81943"/>
                    <a:pt x="83176" y="103954"/>
                    <a:pt x="56107" y="103954"/>
                  </a:cubicBezTo>
                  <a:close/>
                  <a:moveTo>
                    <a:pt x="56107" y="-3852"/>
                  </a:moveTo>
                  <a:cubicBezTo>
                    <a:pt x="23702" y="-3852"/>
                    <a:pt x="-2662" y="22499"/>
                    <a:pt x="-2662" y="54888"/>
                  </a:cubicBezTo>
                  <a:cubicBezTo>
                    <a:pt x="-2662" y="87288"/>
                    <a:pt x="23702" y="113628"/>
                    <a:pt x="56107" y="113628"/>
                  </a:cubicBezTo>
                  <a:cubicBezTo>
                    <a:pt x="88513" y="113628"/>
                    <a:pt x="114877" y="87288"/>
                    <a:pt x="114877" y="54888"/>
                  </a:cubicBezTo>
                  <a:cubicBezTo>
                    <a:pt x="114877" y="22499"/>
                    <a:pt x="88513" y="-3852"/>
                    <a:pt x="56107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32" name="Vrije vorm 1031">
              <a:extLst>
                <a:ext uri="{FF2B5EF4-FFF2-40B4-BE49-F238E27FC236}">
                  <a16:creationId xmlns:a16="http://schemas.microsoft.com/office/drawing/2014/main" id="{8E39B96F-1479-E8EA-9DF6-1C4D378316CF}"/>
                </a:ext>
              </a:extLst>
            </p:cNvPr>
            <p:cNvSpPr/>
            <p:nvPr/>
          </p:nvSpPr>
          <p:spPr>
            <a:xfrm flipV="1">
              <a:off x="6100181" y="2062877"/>
              <a:ext cx="144000" cy="14148"/>
            </a:xfrm>
            <a:custGeom>
              <a:avLst/>
              <a:gdLst>
                <a:gd name="connsiteX0" fmla="*/ 3008 w 52302"/>
                <a:gd name="connsiteY0" fmla="*/ -3866 h 16363"/>
                <a:gd name="connsiteX1" fmla="*/ -2598 w 52302"/>
                <a:gd name="connsiteY1" fmla="*/ 4027 h 16363"/>
                <a:gd name="connsiteX2" fmla="*/ 49705 w 52302"/>
                <a:gd name="connsiteY2" fmla="*/ 3923 h 16363"/>
                <a:gd name="connsiteX3" fmla="*/ 43819 w 52302"/>
                <a:gd name="connsiteY3" fmla="*/ -3752 h 16363"/>
                <a:gd name="connsiteX4" fmla="*/ 3008 w 52302"/>
                <a:gd name="connsiteY4" fmla="*/ -3866 h 1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02" h="16363">
                  <a:moveTo>
                    <a:pt x="3008" y="-3866"/>
                  </a:moveTo>
                  <a:lnTo>
                    <a:pt x="-2598" y="4027"/>
                  </a:lnTo>
                  <a:cubicBezTo>
                    <a:pt x="6760" y="10687"/>
                    <a:pt x="29735" y="19233"/>
                    <a:pt x="49705" y="3923"/>
                  </a:cubicBezTo>
                  <a:lnTo>
                    <a:pt x="43819" y="-3752"/>
                  </a:lnTo>
                  <a:cubicBezTo>
                    <a:pt x="24584" y="10977"/>
                    <a:pt x="3879" y="-3255"/>
                    <a:pt x="3008" y="-3866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</p:spTree>
    <p:extLst>
      <p:ext uri="{BB962C8B-B14F-4D97-AF65-F5344CB8AC3E}">
        <p14:creationId xmlns:p14="http://schemas.microsoft.com/office/powerpoint/2010/main" val="42063131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3" name="Groep 1032">
            <a:extLst>
              <a:ext uri="{FF2B5EF4-FFF2-40B4-BE49-F238E27FC236}">
                <a16:creationId xmlns:a16="http://schemas.microsoft.com/office/drawing/2014/main" id="{B449037B-8683-42F6-79CC-6C5D853196C7}"/>
              </a:ext>
            </a:extLst>
          </p:cNvPr>
          <p:cNvGrpSpPr/>
          <p:nvPr/>
        </p:nvGrpSpPr>
        <p:grpSpPr>
          <a:xfrm>
            <a:off x="3011904" y="554816"/>
            <a:ext cx="6168191" cy="6303184"/>
            <a:chOff x="4561092" y="354291"/>
            <a:chExt cx="5825202" cy="5543152"/>
          </a:xfrm>
        </p:grpSpPr>
        <p:sp>
          <p:nvSpPr>
            <p:cNvPr id="747" name="Vrije vorm 746">
              <a:extLst>
                <a:ext uri="{FF2B5EF4-FFF2-40B4-BE49-F238E27FC236}">
                  <a16:creationId xmlns:a16="http://schemas.microsoft.com/office/drawing/2014/main" id="{063D7D84-BC20-3430-AACB-5ED0F8F38275}"/>
                </a:ext>
              </a:extLst>
            </p:cNvPr>
            <p:cNvSpPr/>
            <p:nvPr/>
          </p:nvSpPr>
          <p:spPr>
            <a:xfrm flipV="1">
              <a:off x="4806340" y="1672441"/>
              <a:ext cx="613939" cy="585974"/>
            </a:xfrm>
            <a:custGeom>
              <a:avLst/>
              <a:gdLst>
                <a:gd name="connsiteX0" fmla="*/ 613562 w 613939"/>
                <a:gd name="connsiteY0" fmla="*/ 120470 h 585974"/>
                <a:gd name="connsiteX1" fmla="*/ 570036 w 613939"/>
                <a:gd name="connsiteY1" fmla="*/ 196888 h 585974"/>
                <a:gd name="connsiteX2" fmla="*/ 577693 w 613939"/>
                <a:gd name="connsiteY2" fmla="*/ 356131 h 585974"/>
                <a:gd name="connsiteX3" fmla="*/ 226429 w 613939"/>
                <a:gd name="connsiteY3" fmla="*/ 575440 h 585974"/>
                <a:gd name="connsiteX4" fmla="*/ 7231 w 613939"/>
                <a:gd name="connsiteY4" fmla="*/ 223998 h 585974"/>
                <a:gd name="connsiteX5" fmla="*/ 358496 w 613939"/>
                <a:gd name="connsiteY5" fmla="*/ 4689 h 585974"/>
                <a:gd name="connsiteX6" fmla="*/ 519224 w 613939"/>
                <a:gd name="connsiteY6" fmla="*/ 104880 h 585974"/>
                <a:gd name="connsiteX7" fmla="*/ 519156 w 613939"/>
                <a:gd name="connsiteY7" fmla="*/ 104727 h 585974"/>
                <a:gd name="connsiteX8" fmla="*/ 613562 w 613939"/>
                <a:gd name="connsiteY8" fmla="*/ 120470 h 585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3939" h="585974">
                  <a:moveTo>
                    <a:pt x="613562" y="120470"/>
                  </a:moveTo>
                  <a:lnTo>
                    <a:pt x="570036" y="196888"/>
                  </a:lnTo>
                  <a:cubicBezTo>
                    <a:pt x="586741" y="246565"/>
                    <a:pt x="590373" y="301329"/>
                    <a:pt x="577693" y="356131"/>
                  </a:cubicBezTo>
                  <a:cubicBezTo>
                    <a:pt x="541220" y="513737"/>
                    <a:pt x="383958" y="611924"/>
                    <a:pt x="226429" y="575440"/>
                  </a:cubicBezTo>
                  <a:cubicBezTo>
                    <a:pt x="68899" y="538956"/>
                    <a:pt x="-29237" y="381604"/>
                    <a:pt x="7231" y="223998"/>
                  </a:cubicBezTo>
                  <a:cubicBezTo>
                    <a:pt x="43699" y="66392"/>
                    <a:pt x="200961" y="-31795"/>
                    <a:pt x="358496" y="4689"/>
                  </a:cubicBezTo>
                  <a:cubicBezTo>
                    <a:pt x="424270" y="19924"/>
                    <a:pt x="479632" y="56281"/>
                    <a:pt x="519224" y="104880"/>
                  </a:cubicBezTo>
                  <a:lnTo>
                    <a:pt x="519156" y="104727"/>
                  </a:lnTo>
                  <a:lnTo>
                    <a:pt x="613562" y="120470"/>
                  </a:ln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0" name="Vrije vorm 559">
              <a:extLst>
                <a:ext uri="{FF2B5EF4-FFF2-40B4-BE49-F238E27FC236}">
                  <a16:creationId xmlns:a16="http://schemas.microsoft.com/office/drawing/2014/main" id="{2C7BDF5D-3F8C-4AD7-973E-0BC54475C01D}"/>
                </a:ext>
              </a:extLst>
            </p:cNvPr>
            <p:cNvSpPr/>
            <p:nvPr/>
          </p:nvSpPr>
          <p:spPr>
            <a:xfrm flipV="1">
              <a:off x="6306137" y="354291"/>
              <a:ext cx="82377" cy="1771926"/>
            </a:xfrm>
            <a:custGeom>
              <a:avLst/>
              <a:gdLst>
                <a:gd name="connsiteX0" fmla="*/ 81156 w 82377"/>
                <a:gd name="connsiteY0" fmla="*/ -3570 h 1771926"/>
                <a:gd name="connsiteX1" fmla="*/ -1221 w 82377"/>
                <a:gd name="connsiteY1" fmla="*/ -3570 h 1771926"/>
                <a:gd name="connsiteX2" fmla="*/ -1221 w 82377"/>
                <a:gd name="connsiteY2" fmla="*/ 1768356 h 1771926"/>
                <a:gd name="connsiteX3" fmla="*/ 81156 w 82377"/>
                <a:gd name="connsiteY3" fmla="*/ 1768356 h 1771926"/>
                <a:gd name="connsiteX4" fmla="*/ 81156 w 82377"/>
                <a:gd name="connsiteY4" fmla="*/ -3570 h 177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77" h="1771926">
                  <a:moveTo>
                    <a:pt x="81156" y="-3570"/>
                  </a:moveTo>
                  <a:lnTo>
                    <a:pt x="-1221" y="-3570"/>
                  </a:lnTo>
                  <a:lnTo>
                    <a:pt x="-1221" y="1768356"/>
                  </a:lnTo>
                  <a:lnTo>
                    <a:pt x="81156" y="1768356"/>
                  </a:lnTo>
                  <a:lnTo>
                    <a:pt x="81156" y="-3570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1" name="Vrije vorm 560">
              <a:extLst>
                <a:ext uri="{FF2B5EF4-FFF2-40B4-BE49-F238E27FC236}">
                  <a16:creationId xmlns:a16="http://schemas.microsoft.com/office/drawing/2014/main" id="{DEF28636-E8B7-A662-7035-F4FEB928C018}"/>
                </a:ext>
              </a:extLst>
            </p:cNvPr>
            <p:cNvSpPr/>
            <p:nvPr/>
          </p:nvSpPr>
          <p:spPr>
            <a:xfrm flipV="1">
              <a:off x="5111252" y="367991"/>
              <a:ext cx="1182370" cy="1760700"/>
            </a:xfrm>
            <a:custGeom>
              <a:avLst/>
              <a:gdLst>
                <a:gd name="connsiteX0" fmla="*/ -780 w 1182370"/>
                <a:gd name="connsiteY0" fmla="*/ 1755945 h 1760700"/>
                <a:gd name="connsiteX1" fmla="*/ -780 w 1182370"/>
                <a:gd name="connsiteY1" fmla="*/ -2371 h 1760700"/>
                <a:gd name="connsiteX2" fmla="*/ 409 w 1182370"/>
                <a:gd name="connsiteY2" fmla="*/ -3563 h 1760700"/>
                <a:gd name="connsiteX3" fmla="*/ 1180399 w 1182370"/>
                <a:gd name="connsiteY3" fmla="*/ -3563 h 1760700"/>
                <a:gd name="connsiteX4" fmla="*/ 1181591 w 1182370"/>
                <a:gd name="connsiteY4" fmla="*/ -2371 h 1760700"/>
                <a:gd name="connsiteX5" fmla="*/ 1181591 w 1182370"/>
                <a:gd name="connsiteY5" fmla="*/ 1755945 h 1760700"/>
                <a:gd name="connsiteX6" fmla="*/ 1180399 w 1182370"/>
                <a:gd name="connsiteY6" fmla="*/ 1757137 h 1760700"/>
                <a:gd name="connsiteX7" fmla="*/ 409 w 1182370"/>
                <a:gd name="connsiteY7" fmla="*/ 1757137 h 1760700"/>
                <a:gd name="connsiteX8" fmla="*/ -780 w 1182370"/>
                <a:gd name="connsiteY8" fmla="*/ 1755945 h 1760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2370" h="1760700">
                  <a:moveTo>
                    <a:pt x="-780" y="1755945"/>
                  </a:moveTo>
                  <a:lnTo>
                    <a:pt x="-780" y="-2371"/>
                  </a:lnTo>
                  <a:lnTo>
                    <a:pt x="409" y="-3563"/>
                  </a:lnTo>
                  <a:lnTo>
                    <a:pt x="1180399" y="-3563"/>
                  </a:lnTo>
                  <a:lnTo>
                    <a:pt x="1181591" y="-2371"/>
                  </a:lnTo>
                  <a:lnTo>
                    <a:pt x="1181591" y="1755945"/>
                  </a:lnTo>
                  <a:lnTo>
                    <a:pt x="1180399" y="1757137"/>
                  </a:lnTo>
                  <a:lnTo>
                    <a:pt x="409" y="1757137"/>
                  </a:lnTo>
                  <a:lnTo>
                    <a:pt x="-780" y="1755945"/>
                  </a:lnTo>
                </a:path>
              </a:pathLst>
            </a:custGeom>
            <a:solidFill>
              <a:srgbClr val="F3F2F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2" name="Vrije vorm 561">
              <a:extLst>
                <a:ext uri="{FF2B5EF4-FFF2-40B4-BE49-F238E27FC236}">
                  <a16:creationId xmlns:a16="http://schemas.microsoft.com/office/drawing/2014/main" id="{9DCA552C-97D4-D8F1-4741-A9A9A1CD0EAF}"/>
                </a:ext>
              </a:extLst>
            </p:cNvPr>
            <p:cNvSpPr/>
            <p:nvPr/>
          </p:nvSpPr>
          <p:spPr>
            <a:xfrm flipV="1">
              <a:off x="5097557" y="354291"/>
              <a:ext cx="1209771" cy="1788101"/>
            </a:xfrm>
            <a:custGeom>
              <a:avLst/>
              <a:gdLst>
                <a:gd name="connsiteX0" fmla="*/ 27803 w 1209771"/>
                <a:gd name="connsiteY0" fmla="*/ 23838 h 1788101"/>
                <a:gd name="connsiteX1" fmla="*/ 1180400 w 1209771"/>
                <a:gd name="connsiteY1" fmla="*/ 23838 h 1788101"/>
                <a:gd name="connsiteX2" fmla="*/ 1181592 w 1209771"/>
                <a:gd name="connsiteY2" fmla="*/ 25030 h 1788101"/>
                <a:gd name="connsiteX3" fmla="*/ 1181592 w 1209771"/>
                <a:gd name="connsiteY3" fmla="*/ 1755944 h 1788101"/>
                <a:gd name="connsiteX4" fmla="*/ 1180400 w 1209771"/>
                <a:gd name="connsiteY4" fmla="*/ 1757137 h 1788101"/>
                <a:gd name="connsiteX5" fmla="*/ 27803 w 1209771"/>
                <a:gd name="connsiteY5" fmla="*/ 1757137 h 1788101"/>
                <a:gd name="connsiteX6" fmla="*/ 26615 w 1209771"/>
                <a:gd name="connsiteY6" fmla="*/ 1755944 h 1788101"/>
                <a:gd name="connsiteX7" fmla="*/ 26615 w 1209771"/>
                <a:gd name="connsiteY7" fmla="*/ 25030 h 1788101"/>
                <a:gd name="connsiteX8" fmla="*/ 1207800 w 1209771"/>
                <a:gd name="connsiteY8" fmla="*/ -3563 h 1788101"/>
                <a:gd name="connsiteX9" fmla="*/ 404 w 1209771"/>
                <a:gd name="connsiteY9" fmla="*/ -3563 h 1788101"/>
                <a:gd name="connsiteX10" fmla="*/ -780 w 1209771"/>
                <a:gd name="connsiteY10" fmla="*/ -2384 h 1788101"/>
                <a:gd name="connsiteX11" fmla="*/ -780 w 1209771"/>
                <a:gd name="connsiteY11" fmla="*/ 1783359 h 1788101"/>
                <a:gd name="connsiteX12" fmla="*/ 404 w 1209771"/>
                <a:gd name="connsiteY12" fmla="*/ 1784538 h 1788101"/>
                <a:gd name="connsiteX13" fmla="*/ 1207800 w 1209771"/>
                <a:gd name="connsiteY13" fmla="*/ 1784538 h 1788101"/>
                <a:gd name="connsiteX14" fmla="*/ 1208992 w 1209771"/>
                <a:gd name="connsiteY14" fmla="*/ 1783359 h 1788101"/>
                <a:gd name="connsiteX15" fmla="*/ 1208992 w 1209771"/>
                <a:gd name="connsiteY15" fmla="*/ -2384 h 1788101"/>
                <a:gd name="connsiteX16" fmla="*/ 1207800 w 1209771"/>
                <a:gd name="connsiteY16" fmla="*/ -3563 h 178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09771" h="1788101">
                  <a:moveTo>
                    <a:pt x="27803" y="23838"/>
                  </a:moveTo>
                  <a:lnTo>
                    <a:pt x="1180400" y="23838"/>
                  </a:lnTo>
                  <a:lnTo>
                    <a:pt x="1181592" y="25030"/>
                  </a:lnTo>
                  <a:lnTo>
                    <a:pt x="1181592" y="1755944"/>
                  </a:lnTo>
                  <a:lnTo>
                    <a:pt x="1180400" y="1757137"/>
                  </a:lnTo>
                  <a:lnTo>
                    <a:pt x="27803" y="1757137"/>
                  </a:lnTo>
                  <a:lnTo>
                    <a:pt x="26615" y="1755944"/>
                  </a:lnTo>
                  <a:lnTo>
                    <a:pt x="26615" y="25030"/>
                  </a:lnTo>
                  <a:close/>
                  <a:moveTo>
                    <a:pt x="1207800" y="-3563"/>
                  </a:moveTo>
                  <a:lnTo>
                    <a:pt x="404" y="-3563"/>
                  </a:lnTo>
                  <a:lnTo>
                    <a:pt x="-780" y="-2384"/>
                  </a:lnTo>
                  <a:lnTo>
                    <a:pt x="-780" y="1783359"/>
                  </a:lnTo>
                  <a:lnTo>
                    <a:pt x="404" y="1784538"/>
                  </a:lnTo>
                  <a:lnTo>
                    <a:pt x="1207800" y="1784538"/>
                  </a:lnTo>
                  <a:lnTo>
                    <a:pt x="1208992" y="1783359"/>
                  </a:lnTo>
                  <a:lnTo>
                    <a:pt x="1208992" y="-2384"/>
                  </a:lnTo>
                  <a:lnTo>
                    <a:pt x="1207800" y="-3563"/>
                  </a:lnTo>
                </a:path>
              </a:pathLst>
            </a:custGeom>
            <a:solidFill>
              <a:srgbClr val="E7E8E5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3" name="Vrije vorm 562">
              <a:extLst>
                <a:ext uri="{FF2B5EF4-FFF2-40B4-BE49-F238E27FC236}">
                  <a16:creationId xmlns:a16="http://schemas.microsoft.com/office/drawing/2014/main" id="{B21DCBA4-0F4F-96A7-0616-5CD7D3C43191}"/>
                </a:ext>
              </a:extLst>
            </p:cNvPr>
            <p:cNvSpPr/>
            <p:nvPr/>
          </p:nvSpPr>
          <p:spPr>
            <a:xfrm flipV="1">
              <a:off x="5230304" y="476606"/>
              <a:ext cx="946352" cy="1542304"/>
            </a:xfrm>
            <a:custGeom>
              <a:avLst/>
              <a:gdLst>
                <a:gd name="connsiteX0" fmla="*/ -781 w 946352"/>
                <a:gd name="connsiteY0" fmla="*/ 1537549 h 1542304"/>
                <a:gd name="connsiteX1" fmla="*/ -781 w 946352"/>
                <a:gd name="connsiteY1" fmla="*/ -2371 h 1542304"/>
                <a:gd name="connsiteX2" fmla="*/ 407 w 946352"/>
                <a:gd name="connsiteY2" fmla="*/ -3564 h 1542304"/>
                <a:gd name="connsiteX3" fmla="*/ 944380 w 946352"/>
                <a:gd name="connsiteY3" fmla="*/ -3564 h 1542304"/>
                <a:gd name="connsiteX4" fmla="*/ 945572 w 946352"/>
                <a:gd name="connsiteY4" fmla="*/ -2371 h 1542304"/>
                <a:gd name="connsiteX5" fmla="*/ 945572 w 946352"/>
                <a:gd name="connsiteY5" fmla="*/ 1537549 h 1542304"/>
                <a:gd name="connsiteX6" fmla="*/ 944380 w 946352"/>
                <a:gd name="connsiteY6" fmla="*/ 1538741 h 1542304"/>
                <a:gd name="connsiteX7" fmla="*/ 407 w 946352"/>
                <a:gd name="connsiteY7" fmla="*/ 1538741 h 1542304"/>
                <a:gd name="connsiteX8" fmla="*/ -781 w 946352"/>
                <a:gd name="connsiteY8" fmla="*/ 1537549 h 1542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46352" h="1542304">
                  <a:moveTo>
                    <a:pt x="-781" y="1537549"/>
                  </a:moveTo>
                  <a:lnTo>
                    <a:pt x="-781" y="-2371"/>
                  </a:lnTo>
                  <a:lnTo>
                    <a:pt x="407" y="-3564"/>
                  </a:lnTo>
                  <a:lnTo>
                    <a:pt x="944380" y="-3564"/>
                  </a:lnTo>
                  <a:lnTo>
                    <a:pt x="945572" y="-2371"/>
                  </a:lnTo>
                  <a:lnTo>
                    <a:pt x="945572" y="1537549"/>
                  </a:lnTo>
                  <a:lnTo>
                    <a:pt x="944380" y="1538741"/>
                  </a:lnTo>
                  <a:lnTo>
                    <a:pt x="407" y="1538741"/>
                  </a:lnTo>
                  <a:lnTo>
                    <a:pt x="-781" y="1537549"/>
                  </a:ln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4" name="Vrije vorm 563">
              <a:extLst>
                <a:ext uri="{FF2B5EF4-FFF2-40B4-BE49-F238E27FC236}">
                  <a16:creationId xmlns:a16="http://schemas.microsoft.com/office/drawing/2014/main" id="{CD46DC90-0962-194C-41B8-B784FD823E6D}"/>
                </a:ext>
              </a:extLst>
            </p:cNvPr>
            <p:cNvSpPr/>
            <p:nvPr/>
          </p:nvSpPr>
          <p:spPr>
            <a:xfrm flipV="1">
              <a:off x="5436757" y="913854"/>
              <a:ext cx="531363" cy="623117"/>
            </a:xfrm>
            <a:custGeom>
              <a:avLst/>
              <a:gdLst>
                <a:gd name="connsiteX0" fmla="*/ 529772 w 531363"/>
                <a:gd name="connsiteY0" fmla="*/ -3584 h 623117"/>
                <a:gd name="connsiteX1" fmla="*/ 33 w 531363"/>
                <a:gd name="connsiteY1" fmla="*/ -3584 h 623117"/>
                <a:gd name="connsiteX2" fmla="*/ -780 w 531363"/>
                <a:gd name="connsiteY2" fmla="*/ -2772 h 623117"/>
                <a:gd name="connsiteX3" fmla="*/ -780 w 531363"/>
                <a:gd name="connsiteY3" fmla="*/ 618722 h 623117"/>
                <a:gd name="connsiteX4" fmla="*/ 36 w 531363"/>
                <a:gd name="connsiteY4" fmla="*/ 619534 h 623117"/>
                <a:gd name="connsiteX5" fmla="*/ 529772 w 531363"/>
                <a:gd name="connsiteY5" fmla="*/ 619534 h 623117"/>
                <a:gd name="connsiteX6" fmla="*/ 530583 w 531363"/>
                <a:gd name="connsiteY6" fmla="*/ 618722 h 623117"/>
                <a:gd name="connsiteX7" fmla="*/ 530583 w 531363"/>
                <a:gd name="connsiteY7" fmla="*/ -2772 h 623117"/>
                <a:gd name="connsiteX8" fmla="*/ 529772 w 531363"/>
                <a:gd name="connsiteY8" fmla="*/ -3584 h 62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1363" h="623117">
                  <a:moveTo>
                    <a:pt x="529772" y="-3584"/>
                  </a:moveTo>
                  <a:lnTo>
                    <a:pt x="33" y="-3584"/>
                  </a:lnTo>
                  <a:lnTo>
                    <a:pt x="-780" y="-2772"/>
                  </a:lnTo>
                  <a:lnTo>
                    <a:pt x="-780" y="618722"/>
                  </a:lnTo>
                  <a:lnTo>
                    <a:pt x="36" y="619534"/>
                  </a:lnTo>
                  <a:lnTo>
                    <a:pt x="529772" y="619534"/>
                  </a:lnTo>
                  <a:lnTo>
                    <a:pt x="530583" y="618722"/>
                  </a:lnTo>
                  <a:lnTo>
                    <a:pt x="530583" y="-2772"/>
                  </a:lnTo>
                  <a:lnTo>
                    <a:pt x="529772" y="-3584"/>
                  </a:lnTo>
                </a:path>
              </a:pathLst>
            </a:custGeom>
            <a:solidFill>
              <a:srgbClr val="E7E8E5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5" name="Vrije vorm 564">
              <a:extLst>
                <a:ext uri="{FF2B5EF4-FFF2-40B4-BE49-F238E27FC236}">
                  <a16:creationId xmlns:a16="http://schemas.microsoft.com/office/drawing/2014/main" id="{61A8314E-03FA-BD37-35E8-DFE0931AF3A2}"/>
                </a:ext>
              </a:extLst>
            </p:cNvPr>
            <p:cNvSpPr/>
            <p:nvPr/>
          </p:nvSpPr>
          <p:spPr>
            <a:xfrm flipV="1">
              <a:off x="5445714" y="969554"/>
              <a:ext cx="480362" cy="500437"/>
            </a:xfrm>
            <a:custGeom>
              <a:avLst/>
              <a:gdLst>
                <a:gd name="connsiteX0" fmla="*/ 479580 w 480362"/>
                <a:gd name="connsiteY0" fmla="*/ 5697 h 500437"/>
                <a:gd name="connsiteX1" fmla="*/ 404139 w 480362"/>
                <a:gd name="connsiteY1" fmla="*/ -1940 h 500437"/>
                <a:gd name="connsiteX2" fmla="*/ 319335 w 480362"/>
                <a:gd name="connsiteY2" fmla="*/ 31969 h 500437"/>
                <a:gd name="connsiteX3" fmla="*/ 253438 w 480362"/>
                <a:gd name="connsiteY3" fmla="*/ 135648 h 500437"/>
                <a:gd name="connsiteX4" fmla="*/ 303838 w 480362"/>
                <a:gd name="connsiteY4" fmla="*/ 277397 h 500437"/>
                <a:gd name="connsiteX5" fmla="*/ 342049 w 480362"/>
                <a:gd name="connsiteY5" fmla="*/ 299800 h 500437"/>
                <a:gd name="connsiteX6" fmla="*/ 389849 w 480362"/>
                <a:gd name="connsiteY6" fmla="*/ 305318 h 500437"/>
                <a:gd name="connsiteX7" fmla="*/ 437650 w 480362"/>
                <a:gd name="connsiteY7" fmla="*/ 284438 h 500437"/>
                <a:gd name="connsiteX8" fmla="*/ 456491 w 480362"/>
                <a:gd name="connsiteY8" fmla="*/ 228723 h 500437"/>
                <a:gd name="connsiteX9" fmla="*/ 430245 w 480362"/>
                <a:gd name="connsiteY9" fmla="*/ 180911 h 500437"/>
                <a:gd name="connsiteX10" fmla="*/ 390217 w 480362"/>
                <a:gd name="connsiteY10" fmla="*/ 151404 h 500437"/>
                <a:gd name="connsiteX11" fmla="*/ 294725 w 480362"/>
                <a:gd name="connsiteY11" fmla="*/ 124117 h 500437"/>
                <a:gd name="connsiteX12" fmla="*/ 192953 w 480362"/>
                <a:gd name="connsiteY12" fmla="*/ 147294 h 500437"/>
                <a:gd name="connsiteX13" fmla="*/ 118057 w 480362"/>
                <a:gd name="connsiteY13" fmla="*/ 224968 h 500437"/>
                <a:gd name="connsiteX14" fmla="*/ 104625 w 480362"/>
                <a:gd name="connsiteY14" fmla="*/ 333747 h 500437"/>
                <a:gd name="connsiteX15" fmla="*/ 161935 w 480362"/>
                <a:gd name="connsiteY15" fmla="*/ 423371 h 500437"/>
                <a:gd name="connsiteX16" fmla="*/ 209971 w 480362"/>
                <a:gd name="connsiteY16" fmla="*/ 447626 h 500437"/>
                <a:gd name="connsiteX17" fmla="*/ 264057 w 480362"/>
                <a:gd name="connsiteY17" fmla="*/ 449325 h 500437"/>
                <a:gd name="connsiteX18" fmla="*/ 313149 w 480362"/>
                <a:gd name="connsiteY18" fmla="*/ 421620 h 500437"/>
                <a:gd name="connsiteX19" fmla="*/ 332391 w 480362"/>
                <a:gd name="connsiteY19" fmla="*/ 369127 h 500437"/>
                <a:gd name="connsiteX20" fmla="*/ 319587 w 480362"/>
                <a:gd name="connsiteY20" fmla="*/ 319120 h 500437"/>
                <a:gd name="connsiteX21" fmla="*/ 289286 w 480362"/>
                <a:gd name="connsiteY21" fmla="*/ 282687 h 500437"/>
                <a:gd name="connsiteX22" fmla="*/ 214014 w 480362"/>
                <a:gd name="connsiteY22" fmla="*/ 242664 h 500437"/>
                <a:gd name="connsiteX23" fmla="*/ 134818 w 480362"/>
                <a:gd name="connsiteY23" fmla="*/ 236550 h 500437"/>
                <a:gd name="connsiteX24" fmla="*/ 65895 w 480362"/>
                <a:gd name="connsiteY24" fmla="*/ 262961 h 500437"/>
                <a:gd name="connsiteX25" fmla="*/ 70 w 480362"/>
                <a:gd name="connsiteY25" fmla="*/ 367288 h 500437"/>
                <a:gd name="connsiteX26" fmla="*/ 24459 w 480362"/>
                <a:gd name="connsiteY26" fmla="*/ 456721 h 500437"/>
                <a:gd name="connsiteX27" fmla="*/ 69569 w 480362"/>
                <a:gd name="connsiteY27" fmla="*/ 492786 h 500437"/>
                <a:gd name="connsiteX28" fmla="*/ 89365 w 480362"/>
                <a:gd name="connsiteY28" fmla="*/ 496148 h 500437"/>
                <a:gd name="connsiteX29" fmla="*/ 73680 w 480362"/>
                <a:gd name="connsiteY29" fmla="*/ 484985 h 500437"/>
                <a:gd name="connsiteX30" fmla="*/ 38599 w 480362"/>
                <a:gd name="connsiteY30" fmla="*/ 447270 h 500437"/>
                <a:gd name="connsiteX31" fmla="*/ 24236 w 480362"/>
                <a:gd name="connsiteY31" fmla="*/ 370878 h 500437"/>
                <a:gd name="connsiteX32" fmla="*/ 82763 w 480362"/>
                <a:gd name="connsiteY32" fmla="*/ 288865 h 500437"/>
                <a:gd name="connsiteX33" fmla="*/ 203504 w 480362"/>
                <a:gd name="connsiteY33" fmla="*/ 277359 h 500437"/>
                <a:gd name="connsiteX34" fmla="*/ 263918 w 480362"/>
                <a:gd name="connsiteY34" fmla="*/ 311560 h 500437"/>
                <a:gd name="connsiteX35" fmla="*/ 292134 w 480362"/>
                <a:gd name="connsiteY35" fmla="*/ 368201 h 500437"/>
                <a:gd name="connsiteX36" fmla="*/ 255766 w 480362"/>
                <a:gd name="connsiteY36" fmla="*/ 408402 h 500437"/>
                <a:gd name="connsiteX37" fmla="*/ 221031 w 480362"/>
                <a:gd name="connsiteY37" fmla="*/ 406765 h 500437"/>
                <a:gd name="connsiteX38" fmla="*/ 188249 w 480362"/>
                <a:gd name="connsiteY38" fmla="*/ 389589 h 500437"/>
                <a:gd name="connsiteX39" fmla="*/ 146917 w 480362"/>
                <a:gd name="connsiteY39" fmla="*/ 323675 h 500437"/>
                <a:gd name="connsiteX40" fmla="*/ 157061 w 480362"/>
                <a:gd name="connsiteY40" fmla="*/ 244681 h 500437"/>
                <a:gd name="connsiteX41" fmla="*/ 214232 w 480362"/>
                <a:gd name="connsiteY41" fmla="*/ 185224 h 500437"/>
                <a:gd name="connsiteX42" fmla="*/ 292892 w 480362"/>
                <a:gd name="connsiteY42" fmla="*/ 166906 h 500437"/>
                <a:gd name="connsiteX43" fmla="*/ 370251 w 480362"/>
                <a:gd name="connsiteY43" fmla="*/ 188065 h 500437"/>
                <a:gd name="connsiteX44" fmla="*/ 401121 w 480362"/>
                <a:gd name="connsiteY44" fmla="*/ 209834 h 500437"/>
                <a:gd name="connsiteX45" fmla="*/ 416780 w 480362"/>
                <a:gd name="connsiteY45" fmla="*/ 235370 h 500437"/>
                <a:gd name="connsiteX46" fmla="*/ 410453 w 480362"/>
                <a:gd name="connsiteY46" fmla="*/ 255920 h 500437"/>
                <a:gd name="connsiteX47" fmla="*/ 384866 w 480362"/>
                <a:gd name="connsiteY47" fmla="*/ 267198 h 500437"/>
                <a:gd name="connsiteX48" fmla="*/ 354738 w 480362"/>
                <a:gd name="connsiteY48" fmla="*/ 264636 h 500437"/>
                <a:gd name="connsiteX49" fmla="*/ 326670 w 480362"/>
                <a:gd name="connsiteY49" fmla="*/ 249248 h 500437"/>
                <a:gd name="connsiteX50" fmla="*/ 290059 w 480362"/>
                <a:gd name="connsiteY50" fmla="*/ 198797 h 500437"/>
                <a:gd name="connsiteX51" fmla="*/ 283898 w 480362"/>
                <a:gd name="connsiteY51" fmla="*/ 140849 h 500437"/>
                <a:gd name="connsiteX52" fmla="*/ 334521 w 480362"/>
                <a:gd name="connsiteY52" fmla="*/ 51111 h 500437"/>
                <a:gd name="connsiteX53" fmla="*/ 407309 w 480362"/>
                <a:gd name="connsiteY53" fmla="*/ 14767 h 500437"/>
                <a:gd name="connsiteX54" fmla="*/ 479580 w 480362"/>
                <a:gd name="connsiteY54" fmla="*/ 5697 h 500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80362" h="500437">
                  <a:moveTo>
                    <a:pt x="479580" y="5697"/>
                  </a:moveTo>
                  <a:cubicBezTo>
                    <a:pt x="480265" y="3693"/>
                    <a:pt x="454044" y="-7801"/>
                    <a:pt x="404139" y="-1940"/>
                  </a:cubicBezTo>
                  <a:cubicBezTo>
                    <a:pt x="379566" y="1384"/>
                    <a:pt x="348988" y="10226"/>
                    <a:pt x="319335" y="31969"/>
                  </a:cubicBezTo>
                  <a:cubicBezTo>
                    <a:pt x="290317" y="53712"/>
                    <a:pt x="262764" y="88787"/>
                    <a:pt x="253438" y="135648"/>
                  </a:cubicBezTo>
                  <a:cubicBezTo>
                    <a:pt x="243750" y="182166"/>
                    <a:pt x="259292" y="240140"/>
                    <a:pt x="303838" y="277397"/>
                  </a:cubicBezTo>
                  <a:cubicBezTo>
                    <a:pt x="314907" y="286645"/>
                    <a:pt x="327776" y="294447"/>
                    <a:pt x="342049" y="299800"/>
                  </a:cubicBezTo>
                  <a:cubicBezTo>
                    <a:pt x="357214" y="305432"/>
                    <a:pt x="373593" y="307297"/>
                    <a:pt x="389849" y="305318"/>
                  </a:cubicBezTo>
                  <a:cubicBezTo>
                    <a:pt x="406015" y="303339"/>
                    <a:pt x="423145" y="297707"/>
                    <a:pt x="437650" y="284438"/>
                  </a:cubicBezTo>
                  <a:cubicBezTo>
                    <a:pt x="452282" y="271143"/>
                    <a:pt x="460295" y="248702"/>
                    <a:pt x="456491" y="228723"/>
                  </a:cubicBezTo>
                  <a:cubicBezTo>
                    <a:pt x="453030" y="208565"/>
                    <a:pt x="442050" y="193114"/>
                    <a:pt x="430245" y="180911"/>
                  </a:cubicBezTo>
                  <a:cubicBezTo>
                    <a:pt x="418073" y="168479"/>
                    <a:pt x="404278" y="159282"/>
                    <a:pt x="390217" y="151404"/>
                  </a:cubicBezTo>
                  <a:cubicBezTo>
                    <a:pt x="361647" y="135610"/>
                    <a:pt x="328964" y="125715"/>
                    <a:pt x="294725" y="124117"/>
                  </a:cubicBezTo>
                  <a:cubicBezTo>
                    <a:pt x="260634" y="122481"/>
                    <a:pt x="224593" y="129483"/>
                    <a:pt x="192953" y="147294"/>
                  </a:cubicBezTo>
                  <a:cubicBezTo>
                    <a:pt x="161613" y="164901"/>
                    <a:pt x="134818" y="191592"/>
                    <a:pt x="118057" y="224968"/>
                  </a:cubicBezTo>
                  <a:cubicBezTo>
                    <a:pt x="101074" y="257938"/>
                    <a:pt x="95665" y="297961"/>
                    <a:pt x="104625" y="333747"/>
                  </a:cubicBezTo>
                  <a:cubicBezTo>
                    <a:pt x="113243" y="369393"/>
                    <a:pt x="133495" y="401272"/>
                    <a:pt x="161935" y="423371"/>
                  </a:cubicBezTo>
                  <a:cubicBezTo>
                    <a:pt x="176208" y="434432"/>
                    <a:pt x="192345" y="442602"/>
                    <a:pt x="209971" y="447626"/>
                  </a:cubicBezTo>
                  <a:cubicBezTo>
                    <a:pt x="227722" y="452192"/>
                    <a:pt x="246013" y="453042"/>
                    <a:pt x="264057" y="449325"/>
                  </a:cubicBezTo>
                  <a:cubicBezTo>
                    <a:pt x="281912" y="445570"/>
                    <a:pt x="300153" y="436779"/>
                    <a:pt x="313149" y="421620"/>
                  </a:cubicBezTo>
                  <a:cubicBezTo>
                    <a:pt x="326329" y="406575"/>
                    <a:pt x="332217" y="386938"/>
                    <a:pt x="332391" y="369127"/>
                  </a:cubicBezTo>
                  <a:cubicBezTo>
                    <a:pt x="332668" y="351215"/>
                    <a:pt x="327789" y="333747"/>
                    <a:pt x="319587" y="319120"/>
                  </a:cubicBezTo>
                  <a:cubicBezTo>
                    <a:pt x="311535" y="304468"/>
                    <a:pt x="300698" y="292569"/>
                    <a:pt x="289286" y="282687"/>
                  </a:cubicBezTo>
                  <a:cubicBezTo>
                    <a:pt x="266295" y="263215"/>
                    <a:pt x="240497" y="250402"/>
                    <a:pt x="214014" y="242664"/>
                  </a:cubicBezTo>
                  <a:cubicBezTo>
                    <a:pt x="187546" y="235053"/>
                    <a:pt x="160394" y="233048"/>
                    <a:pt x="134818" y="236550"/>
                  </a:cubicBezTo>
                  <a:cubicBezTo>
                    <a:pt x="109321" y="240152"/>
                    <a:pt x="85304" y="249540"/>
                    <a:pt x="65895" y="262961"/>
                  </a:cubicBezTo>
                  <a:cubicBezTo>
                    <a:pt x="26727" y="289563"/>
                    <a:pt x="4102" y="329967"/>
                    <a:pt x="70" y="367288"/>
                  </a:cubicBezTo>
                  <a:cubicBezTo>
                    <a:pt x="-4368" y="405294"/>
                    <a:pt x="9535" y="436462"/>
                    <a:pt x="24459" y="456721"/>
                  </a:cubicBezTo>
                  <a:cubicBezTo>
                    <a:pt x="39807" y="477373"/>
                    <a:pt x="57444" y="487941"/>
                    <a:pt x="69569" y="492786"/>
                  </a:cubicBezTo>
                  <a:cubicBezTo>
                    <a:pt x="81986" y="497493"/>
                    <a:pt x="89053" y="497328"/>
                    <a:pt x="89365" y="496148"/>
                  </a:cubicBezTo>
                  <a:cubicBezTo>
                    <a:pt x="89885" y="494448"/>
                    <a:pt x="83749" y="491708"/>
                    <a:pt x="73680" y="484985"/>
                  </a:cubicBezTo>
                  <a:cubicBezTo>
                    <a:pt x="63824" y="478147"/>
                    <a:pt x="49887" y="466591"/>
                    <a:pt x="38599" y="447270"/>
                  </a:cubicBezTo>
                  <a:cubicBezTo>
                    <a:pt x="27569" y="428318"/>
                    <a:pt x="18460" y="400816"/>
                    <a:pt x="24236" y="370878"/>
                  </a:cubicBezTo>
                  <a:cubicBezTo>
                    <a:pt x="29486" y="341041"/>
                    <a:pt x="49882" y="308972"/>
                    <a:pt x="82763" y="288865"/>
                  </a:cubicBezTo>
                  <a:cubicBezTo>
                    <a:pt x="114962" y="268403"/>
                    <a:pt x="160127" y="263126"/>
                    <a:pt x="203504" y="277359"/>
                  </a:cubicBezTo>
                  <a:cubicBezTo>
                    <a:pt x="224994" y="284298"/>
                    <a:pt x="246415" y="295893"/>
                    <a:pt x="263918" y="311560"/>
                  </a:cubicBezTo>
                  <a:cubicBezTo>
                    <a:pt x="281292" y="327150"/>
                    <a:pt x="293119" y="347206"/>
                    <a:pt x="292134" y="368201"/>
                  </a:cubicBezTo>
                  <a:cubicBezTo>
                    <a:pt x="291580" y="389246"/>
                    <a:pt x="278321" y="404089"/>
                    <a:pt x="255766" y="408402"/>
                  </a:cubicBezTo>
                  <a:cubicBezTo>
                    <a:pt x="244776" y="410546"/>
                    <a:pt x="232443" y="409861"/>
                    <a:pt x="221031" y="406765"/>
                  </a:cubicBezTo>
                  <a:cubicBezTo>
                    <a:pt x="209700" y="403302"/>
                    <a:pt x="198175" y="397517"/>
                    <a:pt x="188249" y="389589"/>
                  </a:cubicBezTo>
                  <a:cubicBezTo>
                    <a:pt x="168194" y="373808"/>
                    <a:pt x="153029" y="349858"/>
                    <a:pt x="146917" y="323675"/>
                  </a:cubicBezTo>
                  <a:cubicBezTo>
                    <a:pt x="140627" y="297529"/>
                    <a:pt x="144377" y="269811"/>
                    <a:pt x="157061" y="244681"/>
                  </a:cubicBezTo>
                  <a:cubicBezTo>
                    <a:pt x="169547" y="219602"/>
                    <a:pt x="190354" y="198734"/>
                    <a:pt x="214232" y="185224"/>
                  </a:cubicBezTo>
                  <a:cubicBezTo>
                    <a:pt x="238000" y="171675"/>
                    <a:pt x="265671" y="165891"/>
                    <a:pt x="292892" y="166906"/>
                  </a:cubicBezTo>
                  <a:cubicBezTo>
                    <a:pt x="320153" y="167882"/>
                    <a:pt x="346902" y="175595"/>
                    <a:pt x="370251" y="188065"/>
                  </a:cubicBezTo>
                  <a:cubicBezTo>
                    <a:pt x="382048" y="194446"/>
                    <a:pt x="392918" y="201639"/>
                    <a:pt x="401121" y="209834"/>
                  </a:cubicBezTo>
                  <a:cubicBezTo>
                    <a:pt x="409528" y="218054"/>
                    <a:pt x="415373" y="227454"/>
                    <a:pt x="416780" y="235370"/>
                  </a:cubicBezTo>
                  <a:cubicBezTo>
                    <a:pt x="418314" y="243413"/>
                    <a:pt x="415867" y="250377"/>
                    <a:pt x="410453" y="255920"/>
                  </a:cubicBezTo>
                  <a:cubicBezTo>
                    <a:pt x="404747" y="261578"/>
                    <a:pt x="395073" y="265841"/>
                    <a:pt x="384866" y="267198"/>
                  </a:cubicBezTo>
                  <a:cubicBezTo>
                    <a:pt x="374609" y="268758"/>
                    <a:pt x="363985" y="267794"/>
                    <a:pt x="354738" y="264636"/>
                  </a:cubicBezTo>
                  <a:cubicBezTo>
                    <a:pt x="344576" y="261147"/>
                    <a:pt x="335095" y="255844"/>
                    <a:pt x="326670" y="249248"/>
                  </a:cubicBezTo>
                  <a:cubicBezTo>
                    <a:pt x="309812" y="236030"/>
                    <a:pt x="297151" y="217927"/>
                    <a:pt x="290059" y="198797"/>
                  </a:cubicBezTo>
                  <a:cubicBezTo>
                    <a:pt x="282848" y="179617"/>
                    <a:pt x="281159" y="159776"/>
                    <a:pt x="283898" y="140849"/>
                  </a:cubicBezTo>
                  <a:cubicBezTo>
                    <a:pt x="289520" y="102831"/>
                    <a:pt x="310916" y="71370"/>
                    <a:pt x="334521" y="51111"/>
                  </a:cubicBezTo>
                  <a:cubicBezTo>
                    <a:pt x="358596" y="30738"/>
                    <a:pt x="385183" y="20260"/>
                    <a:pt x="407309" y="14767"/>
                  </a:cubicBezTo>
                  <a:cubicBezTo>
                    <a:pt x="452244" y="4314"/>
                    <a:pt x="479225" y="9490"/>
                    <a:pt x="479580" y="5697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6" name="Vrije vorm 565">
              <a:extLst>
                <a:ext uri="{FF2B5EF4-FFF2-40B4-BE49-F238E27FC236}">
                  <a16:creationId xmlns:a16="http://schemas.microsoft.com/office/drawing/2014/main" id="{056EAAB8-5066-924F-CB20-6A3ACFC59599}"/>
                </a:ext>
              </a:extLst>
            </p:cNvPr>
            <p:cNvSpPr/>
            <p:nvPr/>
          </p:nvSpPr>
          <p:spPr>
            <a:xfrm flipV="1">
              <a:off x="9469421" y="5193678"/>
              <a:ext cx="417748" cy="335228"/>
            </a:xfrm>
            <a:custGeom>
              <a:avLst/>
              <a:gdLst>
                <a:gd name="connsiteX0" fmla="*/ 30330 w 417748"/>
                <a:gd name="connsiteY0" fmla="*/ 4642 h 335228"/>
                <a:gd name="connsiteX1" fmla="*/ 6480 w 417748"/>
                <a:gd name="connsiteY1" fmla="*/ 108699 h 335228"/>
                <a:gd name="connsiteX2" fmla="*/ 56740 w 417748"/>
                <a:gd name="connsiteY2" fmla="*/ 143332 h 335228"/>
                <a:gd name="connsiteX3" fmla="*/ 111844 w 417748"/>
                <a:gd name="connsiteY3" fmla="*/ 171265 h 335228"/>
                <a:gd name="connsiteX4" fmla="*/ 169801 w 417748"/>
                <a:gd name="connsiteY4" fmla="*/ 270619 h 335228"/>
                <a:gd name="connsiteX5" fmla="*/ 279971 w 417748"/>
                <a:gd name="connsiteY5" fmla="*/ 335241 h 335228"/>
                <a:gd name="connsiteX6" fmla="*/ 393704 w 417748"/>
                <a:gd name="connsiteY6" fmla="*/ 245030 h 335228"/>
                <a:gd name="connsiteX7" fmla="*/ 414232 w 417748"/>
                <a:gd name="connsiteY7" fmla="*/ 95583 h 335228"/>
                <a:gd name="connsiteX8" fmla="*/ 392183 w 417748"/>
                <a:gd name="connsiteY8" fmla="*/ 17184 h 335228"/>
                <a:gd name="connsiteX9" fmla="*/ 317464 w 417748"/>
                <a:gd name="connsiteY9" fmla="*/ 351 h 335228"/>
                <a:gd name="connsiteX10" fmla="*/ 36479 w 417748"/>
                <a:gd name="connsiteY10" fmla="*/ 8790 h 335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7748" h="335228">
                  <a:moveTo>
                    <a:pt x="30330" y="4642"/>
                  </a:moveTo>
                  <a:cubicBezTo>
                    <a:pt x="14544" y="17883"/>
                    <a:pt x="-20692" y="59859"/>
                    <a:pt x="6480" y="108699"/>
                  </a:cubicBezTo>
                  <a:cubicBezTo>
                    <a:pt x="16446" y="126598"/>
                    <a:pt x="37595" y="135453"/>
                    <a:pt x="56740" y="143332"/>
                  </a:cubicBezTo>
                  <a:cubicBezTo>
                    <a:pt x="75886" y="151221"/>
                    <a:pt x="96008" y="158074"/>
                    <a:pt x="111844" y="171265"/>
                  </a:cubicBezTo>
                  <a:cubicBezTo>
                    <a:pt x="141729" y="196130"/>
                    <a:pt x="149971" y="237449"/>
                    <a:pt x="169801" y="270619"/>
                  </a:cubicBezTo>
                  <a:cubicBezTo>
                    <a:pt x="192573" y="308701"/>
                    <a:pt x="235074" y="337244"/>
                    <a:pt x="279971" y="335241"/>
                  </a:cubicBezTo>
                  <a:cubicBezTo>
                    <a:pt x="331386" y="332957"/>
                    <a:pt x="374267" y="291867"/>
                    <a:pt x="393704" y="245030"/>
                  </a:cubicBezTo>
                  <a:cubicBezTo>
                    <a:pt x="413141" y="198182"/>
                    <a:pt x="413826" y="146171"/>
                    <a:pt x="414232" y="95583"/>
                  </a:cubicBezTo>
                  <a:cubicBezTo>
                    <a:pt x="414447" y="67610"/>
                    <a:pt x="413179" y="36073"/>
                    <a:pt x="392183" y="17184"/>
                  </a:cubicBezTo>
                  <a:cubicBezTo>
                    <a:pt x="372834" y="-229"/>
                    <a:pt x="343697" y="-447"/>
                    <a:pt x="317464" y="351"/>
                  </a:cubicBezTo>
                  <a:cubicBezTo>
                    <a:pt x="223802" y="3155"/>
                    <a:pt x="130141" y="5970"/>
                    <a:pt x="36479" y="8790"/>
                  </a:cubicBezTo>
                </a:path>
              </a:pathLst>
            </a:custGeom>
            <a:solidFill>
              <a:srgbClr val="F3F2F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7" name="Vrije vorm 566">
              <a:extLst>
                <a:ext uri="{FF2B5EF4-FFF2-40B4-BE49-F238E27FC236}">
                  <a16:creationId xmlns:a16="http://schemas.microsoft.com/office/drawing/2014/main" id="{2458A56C-B982-5572-40F1-770412FBB76C}"/>
                </a:ext>
              </a:extLst>
            </p:cNvPr>
            <p:cNvSpPr/>
            <p:nvPr/>
          </p:nvSpPr>
          <p:spPr>
            <a:xfrm flipV="1">
              <a:off x="9301724" y="4768466"/>
              <a:ext cx="738946" cy="850417"/>
            </a:xfrm>
            <a:custGeom>
              <a:avLst/>
              <a:gdLst>
                <a:gd name="connsiteX0" fmla="*/ 702171 w 738946"/>
                <a:gd name="connsiteY0" fmla="*/ 634471 h 850417"/>
                <a:gd name="connsiteX1" fmla="*/ 627807 w 738946"/>
                <a:gd name="connsiteY1" fmla="*/ 634471 h 850417"/>
                <a:gd name="connsiteX2" fmla="*/ 646040 w 738946"/>
                <a:gd name="connsiteY2" fmla="*/ 843173 h 850417"/>
                <a:gd name="connsiteX3" fmla="*/ 727200 w 738946"/>
                <a:gd name="connsiteY3" fmla="*/ 843173 h 850417"/>
                <a:gd name="connsiteX4" fmla="*/ 638711 w 738946"/>
                <a:gd name="connsiteY4" fmla="*/ 105252 h 850417"/>
                <a:gd name="connsiteX5" fmla="*/ 581591 w 738946"/>
                <a:gd name="connsiteY5" fmla="*/ 105252 h 850417"/>
                <a:gd name="connsiteX6" fmla="*/ 598696 w 738946"/>
                <a:gd name="connsiteY6" fmla="*/ 301027 h 850417"/>
                <a:gd name="connsiteX7" fmla="*/ 662180 w 738946"/>
                <a:gd name="connsiteY7" fmla="*/ 301027 h 850417"/>
                <a:gd name="connsiteX8" fmla="*/ 80634 w 738946"/>
                <a:gd name="connsiteY8" fmla="*/ 843173 h 850417"/>
                <a:gd name="connsiteX9" fmla="*/ 115122 w 738946"/>
                <a:gd name="connsiteY9" fmla="*/ 634471 h 850417"/>
                <a:gd name="connsiteX10" fmla="*/ 40948 w 738946"/>
                <a:gd name="connsiteY10" fmla="*/ 634471 h 850417"/>
                <a:gd name="connsiteX11" fmla="*/ 5167 w 738946"/>
                <a:gd name="connsiteY11" fmla="*/ 843173 h 850417"/>
                <a:gd name="connsiteX12" fmla="*/ 529708 w 738946"/>
                <a:gd name="connsiteY12" fmla="*/ 634471 h 850417"/>
                <a:gd name="connsiteX13" fmla="*/ 536795 w 738946"/>
                <a:gd name="connsiteY13" fmla="*/ 843173 h 850417"/>
                <a:gd name="connsiteX14" fmla="*/ 638673 w 738946"/>
                <a:gd name="connsiteY14" fmla="*/ 843173 h 850417"/>
                <a:gd name="connsiteX15" fmla="*/ 620453 w 738946"/>
                <a:gd name="connsiteY15" fmla="*/ 634471 h 850417"/>
                <a:gd name="connsiteX16" fmla="*/ 511741 w 738946"/>
                <a:gd name="connsiteY16" fmla="*/ 105252 h 850417"/>
                <a:gd name="connsiteX17" fmla="*/ 518385 w 738946"/>
                <a:gd name="connsiteY17" fmla="*/ 301027 h 850417"/>
                <a:gd name="connsiteX18" fmla="*/ 591329 w 738946"/>
                <a:gd name="connsiteY18" fmla="*/ 301027 h 850417"/>
                <a:gd name="connsiteX19" fmla="*/ 574237 w 738946"/>
                <a:gd name="connsiteY19" fmla="*/ 105252 h 850417"/>
                <a:gd name="connsiteX20" fmla="*/ 168831 w 738946"/>
                <a:gd name="connsiteY20" fmla="*/ 301027 h 850417"/>
                <a:gd name="connsiteX21" fmla="*/ 200199 w 738946"/>
                <a:gd name="connsiteY21" fmla="*/ 105252 h 850417"/>
                <a:gd name="connsiteX22" fmla="*/ 131681 w 738946"/>
                <a:gd name="connsiteY22" fmla="*/ 105252 h 850417"/>
                <a:gd name="connsiteX23" fmla="*/ 98119 w 738946"/>
                <a:gd name="connsiteY23" fmla="*/ 301027 h 850417"/>
                <a:gd name="connsiteX24" fmla="*/ 160158 w 738946"/>
                <a:gd name="connsiteY24" fmla="*/ 355070 h 850417"/>
                <a:gd name="connsiteX25" fmla="*/ 88850 w 738946"/>
                <a:gd name="connsiteY25" fmla="*/ 355070 h 850417"/>
                <a:gd name="connsiteX26" fmla="*/ 50217 w 738946"/>
                <a:gd name="connsiteY26" fmla="*/ 580427 h 850417"/>
                <a:gd name="connsiteX27" fmla="*/ 123870 w 738946"/>
                <a:gd name="connsiteY27" fmla="*/ 580427 h 850417"/>
                <a:gd name="connsiteX28" fmla="*/ 160158 w 738946"/>
                <a:gd name="connsiteY28" fmla="*/ 355070 h 850417"/>
                <a:gd name="connsiteX29" fmla="*/ 258841 w 738946"/>
                <a:gd name="connsiteY29" fmla="*/ 580427 h 850417"/>
                <a:gd name="connsiteX30" fmla="*/ 276731 w 738946"/>
                <a:gd name="connsiteY30" fmla="*/ 355070 h 850417"/>
                <a:gd name="connsiteX31" fmla="*/ 167576 w 738946"/>
                <a:gd name="connsiteY31" fmla="*/ 355070 h 850417"/>
                <a:gd name="connsiteX32" fmla="*/ 156469 w 738946"/>
                <a:gd name="connsiteY32" fmla="*/ 424217 h 850417"/>
                <a:gd name="connsiteX33" fmla="*/ 131300 w 738946"/>
                <a:gd name="connsiteY33" fmla="*/ 580427 h 850417"/>
                <a:gd name="connsiteX34" fmla="*/ 254543 w 738946"/>
                <a:gd name="connsiteY34" fmla="*/ 634471 h 850417"/>
                <a:gd name="connsiteX35" fmla="*/ 122552 w 738946"/>
                <a:gd name="connsiteY35" fmla="*/ 634471 h 850417"/>
                <a:gd name="connsiteX36" fmla="*/ 109441 w 738946"/>
                <a:gd name="connsiteY36" fmla="*/ 715123 h 850417"/>
                <a:gd name="connsiteX37" fmla="*/ 87620 w 738946"/>
                <a:gd name="connsiteY37" fmla="*/ 843173 h 850417"/>
                <a:gd name="connsiteX38" fmla="*/ 237958 w 738946"/>
                <a:gd name="connsiteY38" fmla="*/ 843173 h 850417"/>
                <a:gd name="connsiteX39" fmla="*/ 386648 w 738946"/>
                <a:gd name="connsiteY39" fmla="*/ 634471 h 850417"/>
                <a:gd name="connsiteX40" fmla="*/ 261897 w 738946"/>
                <a:gd name="connsiteY40" fmla="*/ 634471 h 850417"/>
                <a:gd name="connsiteX41" fmla="*/ 245312 w 738946"/>
                <a:gd name="connsiteY41" fmla="*/ 843173 h 850417"/>
                <a:gd name="connsiteX42" fmla="*/ 381728 w 738946"/>
                <a:gd name="connsiteY42" fmla="*/ 843173 h 850417"/>
                <a:gd name="connsiteX43" fmla="*/ 393989 w 738946"/>
                <a:gd name="connsiteY43" fmla="*/ 634471 h 850417"/>
                <a:gd name="connsiteX44" fmla="*/ 389070 w 738946"/>
                <a:gd name="connsiteY44" fmla="*/ 843173 h 850417"/>
                <a:gd name="connsiteX45" fmla="*/ 529441 w 738946"/>
                <a:gd name="connsiteY45" fmla="*/ 843173 h 850417"/>
                <a:gd name="connsiteX46" fmla="*/ 522366 w 738946"/>
                <a:gd name="connsiteY46" fmla="*/ 634471 h 850417"/>
                <a:gd name="connsiteX47" fmla="*/ 400557 w 738946"/>
                <a:gd name="connsiteY47" fmla="*/ 355070 h 850417"/>
                <a:gd name="connsiteX48" fmla="*/ 395257 w 738946"/>
                <a:gd name="connsiteY48" fmla="*/ 580427 h 850417"/>
                <a:gd name="connsiteX49" fmla="*/ 520528 w 738946"/>
                <a:gd name="connsiteY49" fmla="*/ 580427 h 850417"/>
                <a:gd name="connsiteX50" fmla="*/ 512870 w 738946"/>
                <a:gd name="connsiteY50" fmla="*/ 355070 h 850417"/>
                <a:gd name="connsiteX51" fmla="*/ 284085 w 738946"/>
                <a:gd name="connsiteY51" fmla="*/ 355070 h 850417"/>
                <a:gd name="connsiteX52" fmla="*/ 266182 w 738946"/>
                <a:gd name="connsiteY52" fmla="*/ 580427 h 850417"/>
                <a:gd name="connsiteX53" fmla="*/ 387916 w 738946"/>
                <a:gd name="connsiteY53" fmla="*/ 580427 h 850417"/>
                <a:gd name="connsiteX54" fmla="*/ 393216 w 738946"/>
                <a:gd name="connsiteY54" fmla="*/ 355070 h 850417"/>
                <a:gd name="connsiteX55" fmla="*/ 296587 w 738946"/>
                <a:gd name="connsiteY55" fmla="*/ 105252 h 850417"/>
                <a:gd name="connsiteX56" fmla="*/ 207617 w 738946"/>
                <a:gd name="connsiteY56" fmla="*/ 105252 h 850417"/>
                <a:gd name="connsiteX57" fmla="*/ 176248 w 738946"/>
                <a:gd name="connsiteY57" fmla="*/ 301027 h 850417"/>
                <a:gd name="connsiteX58" fmla="*/ 281030 w 738946"/>
                <a:gd name="connsiteY58" fmla="*/ 301027 h 850417"/>
                <a:gd name="connsiteX59" fmla="*/ 288384 w 738946"/>
                <a:gd name="connsiteY59" fmla="*/ 301027 h 850417"/>
                <a:gd name="connsiteX60" fmla="*/ 394496 w 738946"/>
                <a:gd name="connsiteY60" fmla="*/ 301027 h 850417"/>
                <a:gd name="connsiteX61" fmla="*/ 399099 w 738946"/>
                <a:gd name="connsiteY61" fmla="*/ 105252 h 850417"/>
                <a:gd name="connsiteX62" fmla="*/ 303928 w 738946"/>
                <a:gd name="connsiteY62" fmla="*/ 105252 h 850417"/>
                <a:gd name="connsiteX63" fmla="*/ 406440 w 738946"/>
                <a:gd name="connsiteY63" fmla="*/ 105252 h 850417"/>
                <a:gd name="connsiteX64" fmla="*/ 401838 w 738946"/>
                <a:gd name="connsiteY64" fmla="*/ 301027 h 850417"/>
                <a:gd name="connsiteX65" fmla="*/ 511044 w 738946"/>
                <a:gd name="connsiteY65" fmla="*/ 301027 h 850417"/>
                <a:gd name="connsiteX66" fmla="*/ 504388 w 738946"/>
                <a:gd name="connsiteY66" fmla="*/ 105252 h 850417"/>
                <a:gd name="connsiteX67" fmla="*/ 623090 w 738946"/>
                <a:gd name="connsiteY67" fmla="*/ 580427 h 850417"/>
                <a:gd name="connsiteX68" fmla="*/ 695692 w 738946"/>
                <a:gd name="connsiteY68" fmla="*/ 580427 h 850417"/>
                <a:gd name="connsiteX69" fmla="*/ 668659 w 738946"/>
                <a:gd name="connsiteY69" fmla="*/ 355070 h 850417"/>
                <a:gd name="connsiteX70" fmla="*/ 603412 w 738946"/>
                <a:gd name="connsiteY70" fmla="*/ 355070 h 850417"/>
                <a:gd name="connsiteX71" fmla="*/ 596046 w 738946"/>
                <a:gd name="connsiteY71" fmla="*/ 355070 h 850417"/>
                <a:gd name="connsiteX72" fmla="*/ 520224 w 738946"/>
                <a:gd name="connsiteY72" fmla="*/ 355070 h 850417"/>
                <a:gd name="connsiteX73" fmla="*/ 527870 w 738946"/>
                <a:gd name="connsiteY73" fmla="*/ 580427 h 850417"/>
                <a:gd name="connsiteX74" fmla="*/ 615737 w 738946"/>
                <a:gd name="connsiteY74" fmla="*/ 580427 h 850417"/>
                <a:gd name="connsiteX75" fmla="*/ 735454 w 738946"/>
                <a:gd name="connsiteY75" fmla="*/ 850379 h 850417"/>
                <a:gd name="connsiteX76" fmla="*/ -3493 w 738946"/>
                <a:gd name="connsiteY76" fmla="*/ 850379 h 850417"/>
                <a:gd name="connsiteX77" fmla="*/ 129614 w 738946"/>
                <a:gd name="connsiteY77" fmla="*/ 73881 h 850417"/>
                <a:gd name="connsiteX78" fmla="*/ 192706 w 738946"/>
                <a:gd name="connsiteY78" fmla="*/ 4744 h 850417"/>
                <a:gd name="connsiteX79" fmla="*/ 195292 w 738946"/>
                <a:gd name="connsiteY79" fmla="*/ 4055 h 850417"/>
                <a:gd name="connsiteX80" fmla="*/ 201873 w 738946"/>
                <a:gd name="connsiteY80" fmla="*/ 2395 h 850417"/>
                <a:gd name="connsiteX81" fmla="*/ 216898 w 738946"/>
                <a:gd name="connsiteY81" fmla="*/ 695 h 850417"/>
                <a:gd name="connsiteX82" fmla="*/ 217025 w 738946"/>
                <a:gd name="connsiteY82" fmla="*/ -38 h 850417"/>
                <a:gd name="connsiteX83" fmla="*/ 220626 w 738946"/>
                <a:gd name="connsiteY83" fmla="*/ 517 h 850417"/>
                <a:gd name="connsiteX84" fmla="*/ 220651 w 738946"/>
                <a:gd name="connsiteY84" fmla="*/ 517 h 850417"/>
                <a:gd name="connsiteX85" fmla="*/ 549982 w 738946"/>
                <a:gd name="connsiteY85" fmla="*/ 517 h 850417"/>
                <a:gd name="connsiteX86" fmla="*/ 568075 w 738946"/>
                <a:gd name="connsiteY86" fmla="*/ 2280 h 850417"/>
                <a:gd name="connsiteX87" fmla="*/ 642845 w 738946"/>
                <a:gd name="connsiteY87" fmla="*/ 78181 h 850417"/>
                <a:gd name="connsiteX88" fmla="*/ 707002 w 738946"/>
                <a:gd name="connsiteY88" fmla="*/ 613192 h 850417"/>
                <a:gd name="connsiteX89" fmla="*/ 709905 w 738946"/>
                <a:gd name="connsiteY89" fmla="*/ 634471 h 850417"/>
                <a:gd name="connsiteX90" fmla="*/ 709563 w 738946"/>
                <a:gd name="connsiteY90" fmla="*/ 634471 h 850417"/>
                <a:gd name="connsiteX91" fmla="*/ 734972 w 738946"/>
                <a:gd name="connsiteY91" fmla="*/ 846355 h 850417"/>
                <a:gd name="connsiteX92" fmla="*/ 735454 w 738946"/>
                <a:gd name="connsiteY92" fmla="*/ 850379 h 850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738946" h="850417">
                  <a:moveTo>
                    <a:pt x="702171" y="634471"/>
                  </a:moveTo>
                  <a:lnTo>
                    <a:pt x="627807" y="634471"/>
                  </a:lnTo>
                  <a:lnTo>
                    <a:pt x="646040" y="843173"/>
                  </a:lnTo>
                  <a:lnTo>
                    <a:pt x="727200" y="843173"/>
                  </a:lnTo>
                  <a:close/>
                  <a:moveTo>
                    <a:pt x="638711" y="105252"/>
                  </a:moveTo>
                  <a:lnTo>
                    <a:pt x="581591" y="105252"/>
                  </a:lnTo>
                  <a:lnTo>
                    <a:pt x="598696" y="301027"/>
                  </a:lnTo>
                  <a:lnTo>
                    <a:pt x="662180" y="301027"/>
                  </a:lnTo>
                  <a:close/>
                  <a:moveTo>
                    <a:pt x="80634" y="843173"/>
                  </a:moveTo>
                  <a:cubicBezTo>
                    <a:pt x="83563" y="828090"/>
                    <a:pt x="97054" y="745960"/>
                    <a:pt x="115122" y="634471"/>
                  </a:cubicBezTo>
                  <a:lnTo>
                    <a:pt x="40948" y="634471"/>
                  </a:lnTo>
                  <a:lnTo>
                    <a:pt x="5167" y="843173"/>
                  </a:lnTo>
                  <a:close/>
                  <a:moveTo>
                    <a:pt x="529708" y="634471"/>
                  </a:moveTo>
                  <a:lnTo>
                    <a:pt x="536795" y="843173"/>
                  </a:lnTo>
                  <a:lnTo>
                    <a:pt x="638673" y="843173"/>
                  </a:lnTo>
                  <a:lnTo>
                    <a:pt x="620453" y="634471"/>
                  </a:lnTo>
                  <a:close/>
                  <a:moveTo>
                    <a:pt x="511741" y="105252"/>
                  </a:moveTo>
                  <a:lnTo>
                    <a:pt x="518385" y="301027"/>
                  </a:lnTo>
                  <a:lnTo>
                    <a:pt x="591329" y="301027"/>
                  </a:lnTo>
                  <a:lnTo>
                    <a:pt x="574237" y="105252"/>
                  </a:lnTo>
                  <a:close/>
                  <a:moveTo>
                    <a:pt x="168831" y="301027"/>
                  </a:moveTo>
                  <a:cubicBezTo>
                    <a:pt x="179697" y="233273"/>
                    <a:pt x="190398" y="166470"/>
                    <a:pt x="200199" y="105252"/>
                  </a:cubicBezTo>
                  <a:lnTo>
                    <a:pt x="131681" y="105252"/>
                  </a:lnTo>
                  <a:lnTo>
                    <a:pt x="98119" y="301027"/>
                  </a:lnTo>
                  <a:close/>
                  <a:moveTo>
                    <a:pt x="160158" y="355070"/>
                  </a:moveTo>
                  <a:lnTo>
                    <a:pt x="88850" y="355070"/>
                  </a:lnTo>
                  <a:lnTo>
                    <a:pt x="50217" y="580427"/>
                  </a:lnTo>
                  <a:lnTo>
                    <a:pt x="123870" y="580427"/>
                  </a:lnTo>
                  <a:cubicBezTo>
                    <a:pt x="135117" y="510786"/>
                    <a:pt x="147593" y="433259"/>
                    <a:pt x="160158" y="355070"/>
                  </a:cubicBezTo>
                  <a:close/>
                  <a:moveTo>
                    <a:pt x="258841" y="580427"/>
                  </a:moveTo>
                  <a:lnTo>
                    <a:pt x="276731" y="355070"/>
                  </a:lnTo>
                  <a:lnTo>
                    <a:pt x="167576" y="355070"/>
                  </a:lnTo>
                  <a:cubicBezTo>
                    <a:pt x="163911" y="377938"/>
                    <a:pt x="160184" y="401066"/>
                    <a:pt x="156469" y="424217"/>
                  </a:cubicBezTo>
                  <a:cubicBezTo>
                    <a:pt x="147910" y="477406"/>
                    <a:pt x="139352" y="530587"/>
                    <a:pt x="131300" y="580427"/>
                  </a:cubicBezTo>
                  <a:close/>
                  <a:moveTo>
                    <a:pt x="254543" y="634471"/>
                  </a:moveTo>
                  <a:lnTo>
                    <a:pt x="122552" y="634471"/>
                  </a:lnTo>
                  <a:cubicBezTo>
                    <a:pt x="117873" y="663290"/>
                    <a:pt x="113448" y="690574"/>
                    <a:pt x="109441" y="715123"/>
                  </a:cubicBezTo>
                  <a:cubicBezTo>
                    <a:pt x="95672" y="799507"/>
                    <a:pt x="90499" y="831236"/>
                    <a:pt x="87620" y="843173"/>
                  </a:cubicBezTo>
                  <a:lnTo>
                    <a:pt x="237958" y="843173"/>
                  </a:lnTo>
                  <a:close/>
                  <a:moveTo>
                    <a:pt x="386648" y="634471"/>
                  </a:moveTo>
                  <a:lnTo>
                    <a:pt x="261897" y="634471"/>
                  </a:lnTo>
                  <a:lnTo>
                    <a:pt x="245312" y="843173"/>
                  </a:lnTo>
                  <a:lnTo>
                    <a:pt x="381728" y="843173"/>
                  </a:lnTo>
                  <a:close/>
                  <a:moveTo>
                    <a:pt x="393989" y="634471"/>
                  </a:moveTo>
                  <a:lnTo>
                    <a:pt x="389070" y="843173"/>
                  </a:lnTo>
                  <a:lnTo>
                    <a:pt x="529441" y="843173"/>
                  </a:lnTo>
                  <a:lnTo>
                    <a:pt x="522366" y="634471"/>
                  </a:lnTo>
                  <a:close/>
                  <a:moveTo>
                    <a:pt x="400557" y="355070"/>
                  </a:moveTo>
                  <a:lnTo>
                    <a:pt x="395257" y="580427"/>
                  </a:lnTo>
                  <a:lnTo>
                    <a:pt x="520528" y="580427"/>
                  </a:lnTo>
                  <a:lnTo>
                    <a:pt x="512870" y="355070"/>
                  </a:lnTo>
                  <a:close/>
                  <a:moveTo>
                    <a:pt x="284085" y="355070"/>
                  </a:moveTo>
                  <a:lnTo>
                    <a:pt x="266182" y="580427"/>
                  </a:lnTo>
                  <a:lnTo>
                    <a:pt x="387916" y="580427"/>
                  </a:lnTo>
                  <a:lnTo>
                    <a:pt x="393216" y="355070"/>
                  </a:lnTo>
                  <a:close/>
                  <a:moveTo>
                    <a:pt x="296587" y="105252"/>
                  </a:moveTo>
                  <a:lnTo>
                    <a:pt x="207617" y="105252"/>
                  </a:lnTo>
                  <a:cubicBezTo>
                    <a:pt x="199160" y="158095"/>
                    <a:pt x="188167" y="226801"/>
                    <a:pt x="176248" y="301027"/>
                  </a:cubicBezTo>
                  <a:lnTo>
                    <a:pt x="281030" y="301027"/>
                  </a:lnTo>
                  <a:close/>
                  <a:moveTo>
                    <a:pt x="288384" y="301027"/>
                  </a:moveTo>
                  <a:lnTo>
                    <a:pt x="394496" y="301027"/>
                  </a:lnTo>
                  <a:lnTo>
                    <a:pt x="399099" y="105252"/>
                  </a:lnTo>
                  <a:lnTo>
                    <a:pt x="303928" y="105252"/>
                  </a:lnTo>
                  <a:close/>
                  <a:moveTo>
                    <a:pt x="406440" y="105252"/>
                  </a:moveTo>
                  <a:lnTo>
                    <a:pt x="401838" y="301027"/>
                  </a:lnTo>
                  <a:lnTo>
                    <a:pt x="511044" y="301027"/>
                  </a:lnTo>
                  <a:lnTo>
                    <a:pt x="504388" y="105252"/>
                  </a:lnTo>
                  <a:close/>
                  <a:moveTo>
                    <a:pt x="623090" y="580427"/>
                  </a:moveTo>
                  <a:lnTo>
                    <a:pt x="695692" y="580427"/>
                  </a:lnTo>
                  <a:lnTo>
                    <a:pt x="668659" y="355070"/>
                  </a:lnTo>
                  <a:lnTo>
                    <a:pt x="603412" y="355070"/>
                  </a:lnTo>
                  <a:close/>
                  <a:moveTo>
                    <a:pt x="596046" y="355070"/>
                  </a:moveTo>
                  <a:lnTo>
                    <a:pt x="520224" y="355070"/>
                  </a:lnTo>
                  <a:lnTo>
                    <a:pt x="527870" y="580427"/>
                  </a:lnTo>
                  <a:lnTo>
                    <a:pt x="615737" y="580427"/>
                  </a:lnTo>
                  <a:close/>
                  <a:moveTo>
                    <a:pt x="735454" y="850379"/>
                  </a:moveTo>
                  <a:lnTo>
                    <a:pt x="-3493" y="850379"/>
                  </a:lnTo>
                  <a:lnTo>
                    <a:pt x="129614" y="73881"/>
                  </a:lnTo>
                  <a:cubicBezTo>
                    <a:pt x="135434" y="39955"/>
                    <a:pt x="160513" y="13827"/>
                    <a:pt x="192706" y="4744"/>
                  </a:cubicBezTo>
                  <a:lnTo>
                    <a:pt x="195292" y="4055"/>
                  </a:lnTo>
                  <a:cubicBezTo>
                    <a:pt x="197486" y="3500"/>
                    <a:pt x="199616" y="2776"/>
                    <a:pt x="201873" y="2395"/>
                  </a:cubicBezTo>
                  <a:cubicBezTo>
                    <a:pt x="206742" y="1404"/>
                    <a:pt x="211775" y="898"/>
                    <a:pt x="216898" y="695"/>
                  </a:cubicBezTo>
                  <a:lnTo>
                    <a:pt x="217025" y="-38"/>
                  </a:lnTo>
                  <a:lnTo>
                    <a:pt x="220626" y="517"/>
                  </a:lnTo>
                  <a:lnTo>
                    <a:pt x="220651" y="517"/>
                  </a:lnTo>
                  <a:lnTo>
                    <a:pt x="549982" y="517"/>
                  </a:lnTo>
                  <a:cubicBezTo>
                    <a:pt x="556182" y="517"/>
                    <a:pt x="562230" y="1141"/>
                    <a:pt x="568075" y="2280"/>
                  </a:cubicBezTo>
                  <a:cubicBezTo>
                    <a:pt x="606975" y="8168"/>
                    <a:pt x="638103" y="38702"/>
                    <a:pt x="642845" y="78181"/>
                  </a:cubicBezTo>
                  <a:lnTo>
                    <a:pt x="707002" y="613192"/>
                  </a:lnTo>
                  <a:lnTo>
                    <a:pt x="709905" y="634471"/>
                  </a:lnTo>
                  <a:lnTo>
                    <a:pt x="709563" y="634471"/>
                  </a:lnTo>
                  <a:lnTo>
                    <a:pt x="734972" y="846355"/>
                  </a:lnTo>
                  <a:lnTo>
                    <a:pt x="735454" y="850379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8" name="Vrije vorm 567">
              <a:extLst>
                <a:ext uri="{FF2B5EF4-FFF2-40B4-BE49-F238E27FC236}">
                  <a16:creationId xmlns:a16="http://schemas.microsoft.com/office/drawing/2014/main" id="{1E628E75-4817-D6AF-8DFF-3A11800ABDF5}"/>
                </a:ext>
              </a:extLst>
            </p:cNvPr>
            <p:cNvSpPr/>
            <p:nvPr/>
          </p:nvSpPr>
          <p:spPr>
            <a:xfrm flipV="1">
              <a:off x="4561092" y="5616490"/>
              <a:ext cx="5825202" cy="2230"/>
            </a:xfrm>
            <a:custGeom>
              <a:avLst/>
              <a:gdLst>
                <a:gd name="connsiteX0" fmla="*/ 5823212 w 5825202"/>
                <a:gd name="connsiteY0" fmla="*/ 1455 h 2230"/>
                <a:gd name="connsiteX1" fmla="*/ 2910750 w 5825202"/>
                <a:gd name="connsiteY1" fmla="*/ 340 h 2230"/>
                <a:gd name="connsiteX2" fmla="*/ -1991 w 5825202"/>
                <a:gd name="connsiteY2" fmla="*/ 1455 h 2230"/>
                <a:gd name="connsiteX3" fmla="*/ 2910750 w 5825202"/>
                <a:gd name="connsiteY3" fmla="*/ 2570 h 2230"/>
                <a:gd name="connsiteX4" fmla="*/ 5823212 w 5825202"/>
                <a:gd name="connsiteY4" fmla="*/ 1455 h 2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25202" h="2230">
                  <a:moveTo>
                    <a:pt x="5823212" y="1455"/>
                  </a:moveTo>
                  <a:cubicBezTo>
                    <a:pt x="5823212" y="836"/>
                    <a:pt x="4519100" y="340"/>
                    <a:pt x="2910750" y="340"/>
                  </a:cubicBezTo>
                  <a:cubicBezTo>
                    <a:pt x="1301855" y="340"/>
                    <a:pt x="-1991" y="836"/>
                    <a:pt x="-1991" y="1455"/>
                  </a:cubicBezTo>
                  <a:cubicBezTo>
                    <a:pt x="-1991" y="2064"/>
                    <a:pt x="1301855" y="2570"/>
                    <a:pt x="2910750" y="2570"/>
                  </a:cubicBezTo>
                  <a:cubicBezTo>
                    <a:pt x="4519100" y="2570"/>
                    <a:pt x="5823212" y="2064"/>
                    <a:pt x="5823212" y="1455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48" name="Vrije vorm 747">
              <a:extLst>
                <a:ext uri="{FF2B5EF4-FFF2-40B4-BE49-F238E27FC236}">
                  <a16:creationId xmlns:a16="http://schemas.microsoft.com/office/drawing/2014/main" id="{729757CB-5EF4-E510-8DFB-878456A7E83F}"/>
                </a:ext>
              </a:extLst>
            </p:cNvPr>
            <p:cNvSpPr/>
            <p:nvPr/>
          </p:nvSpPr>
          <p:spPr>
            <a:xfrm flipV="1">
              <a:off x="4803409" y="1669452"/>
              <a:ext cx="616880" cy="591181"/>
            </a:xfrm>
            <a:custGeom>
              <a:avLst/>
              <a:gdLst>
                <a:gd name="connsiteX0" fmla="*/ 616494 w 616880"/>
                <a:gd name="connsiteY0" fmla="*/ 122689 h 591181"/>
                <a:gd name="connsiteX1" fmla="*/ 610719 w 616880"/>
                <a:gd name="connsiteY1" fmla="*/ 121496 h 591181"/>
                <a:gd name="connsiteX2" fmla="*/ 592934 w 616880"/>
                <a:gd name="connsiteY2" fmla="*/ 118198 h 591181"/>
                <a:gd name="connsiteX3" fmla="*/ 522325 w 616880"/>
                <a:gd name="connsiteY3" fmla="*/ 105551 h 591181"/>
                <a:gd name="connsiteX4" fmla="*/ 520686 w 616880"/>
                <a:gd name="connsiteY4" fmla="*/ 106692 h 591181"/>
                <a:gd name="connsiteX5" fmla="*/ 520800 w 616880"/>
                <a:gd name="connsiteY5" fmla="*/ 107542 h 591181"/>
                <a:gd name="connsiteX6" fmla="*/ 520865 w 616880"/>
                <a:gd name="connsiteY6" fmla="*/ 107695 h 591181"/>
                <a:gd name="connsiteX7" fmla="*/ 523257 w 616880"/>
                <a:gd name="connsiteY7" fmla="*/ 106198 h 591181"/>
                <a:gd name="connsiteX8" fmla="*/ 407762 w 616880"/>
                <a:gd name="connsiteY8" fmla="*/ 19428 h 591181"/>
                <a:gd name="connsiteX9" fmla="*/ 316066 w 616880"/>
                <a:gd name="connsiteY9" fmla="*/ -2099 h 591181"/>
                <a:gd name="connsiteX10" fmla="*/ 210238 w 616880"/>
                <a:gd name="connsiteY10" fmla="*/ 9330 h 591181"/>
                <a:gd name="connsiteX11" fmla="*/ 106862 w 616880"/>
                <a:gd name="connsiteY11" fmla="*/ 64665 h 591181"/>
                <a:gd name="connsiteX12" fmla="*/ 28722 w 616880"/>
                <a:gd name="connsiteY12" fmla="*/ 164234 h 591181"/>
                <a:gd name="connsiteX13" fmla="*/ 34452 w 616880"/>
                <a:gd name="connsiteY13" fmla="*/ 431660 h 591181"/>
                <a:gd name="connsiteX14" fmla="*/ 130051 w 616880"/>
                <a:gd name="connsiteY14" fmla="*/ 537686 h 591181"/>
                <a:gd name="connsiteX15" fmla="*/ 257528 w 616880"/>
                <a:gd name="connsiteY15" fmla="*/ 585904 h 591181"/>
                <a:gd name="connsiteX16" fmla="*/ 385171 w 616880"/>
                <a:gd name="connsiteY16" fmla="*/ 573942 h 591181"/>
                <a:gd name="connsiteX17" fmla="*/ 488478 w 616880"/>
                <a:gd name="connsiteY17" fmla="*/ 515740 h 591181"/>
                <a:gd name="connsiteX18" fmla="*/ 586049 w 616880"/>
                <a:gd name="connsiteY18" fmla="*/ 342100 h 591181"/>
                <a:gd name="connsiteX19" fmla="*/ 574261 w 616880"/>
                <a:gd name="connsiteY19" fmla="*/ 198676 h 591181"/>
                <a:gd name="connsiteX20" fmla="*/ 574157 w 616880"/>
                <a:gd name="connsiteY20" fmla="*/ 199792 h 591181"/>
                <a:gd name="connsiteX21" fmla="*/ 606034 w 616880"/>
                <a:gd name="connsiteY21" fmla="*/ 142123 h 591181"/>
                <a:gd name="connsiteX22" fmla="*/ 614003 w 616880"/>
                <a:gd name="connsiteY22" fmla="*/ 127509 h 591181"/>
                <a:gd name="connsiteX23" fmla="*/ 616494 w 616880"/>
                <a:gd name="connsiteY23" fmla="*/ 122689 h 591181"/>
                <a:gd name="connsiteX24" fmla="*/ 613335 w 616880"/>
                <a:gd name="connsiteY24" fmla="*/ 127788 h 591181"/>
                <a:gd name="connsiteX25" fmla="*/ 604642 w 616880"/>
                <a:gd name="connsiteY25" fmla="*/ 142428 h 591181"/>
                <a:gd name="connsiteX26" fmla="*/ 571774 w 616880"/>
                <a:gd name="connsiteY26" fmla="*/ 198435 h 591181"/>
                <a:gd name="connsiteX27" fmla="*/ 571671 w 616880"/>
                <a:gd name="connsiteY27" fmla="*/ 199551 h 591181"/>
                <a:gd name="connsiteX28" fmla="*/ 581809 w 616880"/>
                <a:gd name="connsiteY28" fmla="*/ 341376 h 591181"/>
                <a:gd name="connsiteX29" fmla="*/ 484867 w 616880"/>
                <a:gd name="connsiteY29" fmla="*/ 511567 h 591181"/>
                <a:gd name="connsiteX30" fmla="*/ 383349 w 616880"/>
                <a:gd name="connsiteY30" fmla="*/ 568233 h 591181"/>
                <a:gd name="connsiteX31" fmla="*/ 258340 w 616880"/>
                <a:gd name="connsiteY31" fmla="*/ 579638 h 591181"/>
                <a:gd name="connsiteX32" fmla="*/ 133701 w 616880"/>
                <a:gd name="connsiteY32" fmla="*/ 532270 h 591181"/>
                <a:gd name="connsiteX33" fmla="*/ 40277 w 616880"/>
                <a:gd name="connsiteY33" fmla="*/ 428552 h 591181"/>
                <a:gd name="connsiteX34" fmla="*/ 34428 w 616880"/>
                <a:gd name="connsiteY34" fmla="*/ 166962 h 591181"/>
                <a:gd name="connsiteX35" fmla="*/ 211847 w 616880"/>
                <a:gd name="connsiteY35" fmla="*/ 14646 h 591181"/>
                <a:gd name="connsiteX36" fmla="*/ 315708 w 616880"/>
                <a:gd name="connsiteY36" fmla="*/ 2899 h 591181"/>
                <a:gd name="connsiteX37" fmla="*/ 406097 w 616880"/>
                <a:gd name="connsiteY37" fmla="*/ 23475 h 591181"/>
                <a:gd name="connsiteX38" fmla="*/ 521052 w 616880"/>
                <a:gd name="connsiteY38" fmla="*/ 107999 h 591181"/>
                <a:gd name="connsiteX39" fmla="*/ 523054 w 616880"/>
                <a:gd name="connsiteY39" fmla="*/ 108215 h 591181"/>
                <a:gd name="connsiteX40" fmla="*/ 523450 w 616880"/>
                <a:gd name="connsiteY40" fmla="*/ 106502 h 591181"/>
                <a:gd name="connsiteX41" fmla="*/ 523380 w 616880"/>
                <a:gd name="connsiteY41" fmla="*/ 106363 h 591181"/>
                <a:gd name="connsiteX42" fmla="*/ 521855 w 616880"/>
                <a:gd name="connsiteY42" fmla="*/ 108354 h 591181"/>
                <a:gd name="connsiteX43" fmla="*/ 591775 w 616880"/>
                <a:gd name="connsiteY43" fmla="*/ 119124 h 591181"/>
                <a:gd name="connsiteX44" fmla="*/ 610061 w 616880"/>
                <a:gd name="connsiteY44" fmla="*/ 121852 h 591181"/>
                <a:gd name="connsiteX45" fmla="*/ 616494 w 616880"/>
                <a:gd name="connsiteY45" fmla="*/ 122689 h 59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16880" h="591181">
                  <a:moveTo>
                    <a:pt x="616494" y="122689"/>
                  </a:moveTo>
                  <a:cubicBezTo>
                    <a:pt x="616608" y="122638"/>
                    <a:pt x="614666" y="122232"/>
                    <a:pt x="610719" y="121496"/>
                  </a:cubicBezTo>
                  <a:cubicBezTo>
                    <a:pt x="606405" y="120697"/>
                    <a:pt x="600516" y="119606"/>
                    <a:pt x="592934" y="118198"/>
                  </a:cubicBezTo>
                  <a:cubicBezTo>
                    <a:pt x="576570" y="115268"/>
                    <a:pt x="552939" y="111031"/>
                    <a:pt x="522325" y="105551"/>
                  </a:cubicBezTo>
                  <a:lnTo>
                    <a:pt x="520686" y="106692"/>
                  </a:lnTo>
                  <a:lnTo>
                    <a:pt x="520800" y="107542"/>
                  </a:lnTo>
                  <a:lnTo>
                    <a:pt x="520865" y="107695"/>
                  </a:lnTo>
                  <a:lnTo>
                    <a:pt x="523257" y="106198"/>
                  </a:lnTo>
                  <a:cubicBezTo>
                    <a:pt x="499547" y="76767"/>
                    <a:pt x="462140" y="42085"/>
                    <a:pt x="407762" y="19428"/>
                  </a:cubicBezTo>
                  <a:cubicBezTo>
                    <a:pt x="380793" y="7922"/>
                    <a:pt x="349650" y="400"/>
                    <a:pt x="316066" y="-2099"/>
                  </a:cubicBezTo>
                  <a:cubicBezTo>
                    <a:pt x="282519" y="-4624"/>
                    <a:pt x="246289" y="-1491"/>
                    <a:pt x="210238" y="9330"/>
                  </a:cubicBezTo>
                  <a:cubicBezTo>
                    <a:pt x="174231" y="20075"/>
                    <a:pt x="138481" y="38507"/>
                    <a:pt x="106862" y="64665"/>
                  </a:cubicBezTo>
                  <a:cubicBezTo>
                    <a:pt x="75254" y="90747"/>
                    <a:pt x="47849" y="124617"/>
                    <a:pt x="28722" y="164234"/>
                  </a:cubicBezTo>
                  <a:cubicBezTo>
                    <a:pt x="-10163" y="242910"/>
                    <a:pt x="-11851" y="346349"/>
                    <a:pt x="34452" y="431660"/>
                  </a:cubicBezTo>
                  <a:cubicBezTo>
                    <a:pt x="57680" y="474791"/>
                    <a:pt x="90667" y="511833"/>
                    <a:pt x="130051" y="537686"/>
                  </a:cubicBezTo>
                  <a:cubicBezTo>
                    <a:pt x="169125" y="563933"/>
                    <a:pt x="213373" y="580043"/>
                    <a:pt x="257528" y="585904"/>
                  </a:cubicBezTo>
                  <a:cubicBezTo>
                    <a:pt x="301766" y="591613"/>
                    <a:pt x="345703" y="586678"/>
                    <a:pt x="385171" y="573942"/>
                  </a:cubicBezTo>
                  <a:cubicBezTo>
                    <a:pt x="424721" y="561206"/>
                    <a:pt x="459820" y="540642"/>
                    <a:pt x="488478" y="515740"/>
                  </a:cubicBezTo>
                  <a:cubicBezTo>
                    <a:pt x="546129" y="465632"/>
                    <a:pt x="576732" y="399832"/>
                    <a:pt x="586049" y="342100"/>
                  </a:cubicBezTo>
                  <a:cubicBezTo>
                    <a:pt x="595816" y="283834"/>
                    <a:pt x="586430" y="233840"/>
                    <a:pt x="574261" y="198676"/>
                  </a:cubicBezTo>
                  <a:lnTo>
                    <a:pt x="574157" y="199792"/>
                  </a:lnTo>
                  <a:cubicBezTo>
                    <a:pt x="587946" y="174852"/>
                    <a:pt x="598619" y="155545"/>
                    <a:pt x="606034" y="142123"/>
                  </a:cubicBezTo>
                  <a:cubicBezTo>
                    <a:pt x="609422" y="135920"/>
                    <a:pt x="612056" y="131074"/>
                    <a:pt x="614003" y="127509"/>
                  </a:cubicBezTo>
                  <a:cubicBezTo>
                    <a:pt x="615761" y="124262"/>
                    <a:pt x="616603" y="122638"/>
                    <a:pt x="616494" y="122689"/>
                  </a:cubicBezTo>
                  <a:cubicBezTo>
                    <a:pt x="616385" y="122740"/>
                    <a:pt x="615320" y="124465"/>
                    <a:pt x="613335" y="127788"/>
                  </a:cubicBezTo>
                  <a:cubicBezTo>
                    <a:pt x="611215" y="131353"/>
                    <a:pt x="608336" y="136199"/>
                    <a:pt x="604642" y="142428"/>
                  </a:cubicBezTo>
                  <a:cubicBezTo>
                    <a:pt x="597000" y="155456"/>
                    <a:pt x="585994" y="174205"/>
                    <a:pt x="571774" y="198435"/>
                  </a:cubicBezTo>
                  <a:lnTo>
                    <a:pt x="571671" y="199551"/>
                  </a:lnTo>
                  <a:cubicBezTo>
                    <a:pt x="583186" y="234576"/>
                    <a:pt x="591893" y="284037"/>
                    <a:pt x="581809" y="341376"/>
                  </a:cubicBezTo>
                  <a:cubicBezTo>
                    <a:pt x="572161" y="398208"/>
                    <a:pt x="541651" y="462638"/>
                    <a:pt x="484867" y="511567"/>
                  </a:cubicBezTo>
                  <a:cubicBezTo>
                    <a:pt x="456637" y="535860"/>
                    <a:pt x="422135" y="555890"/>
                    <a:pt x="383349" y="568233"/>
                  </a:cubicBezTo>
                  <a:cubicBezTo>
                    <a:pt x="344638" y="580589"/>
                    <a:pt x="301633" y="585321"/>
                    <a:pt x="258340" y="579638"/>
                  </a:cubicBezTo>
                  <a:cubicBezTo>
                    <a:pt x="215131" y="573802"/>
                    <a:pt x="171879" y="557971"/>
                    <a:pt x="133701" y="532270"/>
                  </a:cubicBezTo>
                  <a:cubicBezTo>
                    <a:pt x="95213" y="506962"/>
                    <a:pt x="62990" y="470719"/>
                    <a:pt x="40277" y="428552"/>
                  </a:cubicBezTo>
                  <a:cubicBezTo>
                    <a:pt x="-4983" y="345144"/>
                    <a:pt x="-3462" y="244065"/>
                    <a:pt x="34428" y="166962"/>
                  </a:cubicBezTo>
                  <a:cubicBezTo>
                    <a:pt x="71718" y="88844"/>
                    <a:pt x="141349" y="35551"/>
                    <a:pt x="211847" y="14646"/>
                  </a:cubicBezTo>
                  <a:cubicBezTo>
                    <a:pt x="247167" y="3875"/>
                    <a:pt x="282718" y="615"/>
                    <a:pt x="315708" y="2899"/>
                  </a:cubicBezTo>
                  <a:cubicBezTo>
                    <a:pt x="348734" y="5157"/>
                    <a:pt x="379452" y="12349"/>
                    <a:pt x="406097" y="23475"/>
                  </a:cubicBezTo>
                  <a:cubicBezTo>
                    <a:pt x="459836" y="45370"/>
                    <a:pt x="497136" y="79190"/>
                    <a:pt x="521052" y="107999"/>
                  </a:cubicBezTo>
                  <a:lnTo>
                    <a:pt x="523054" y="108215"/>
                  </a:lnTo>
                  <a:lnTo>
                    <a:pt x="523450" y="106502"/>
                  </a:lnTo>
                  <a:lnTo>
                    <a:pt x="523380" y="106363"/>
                  </a:lnTo>
                  <a:lnTo>
                    <a:pt x="521855" y="108354"/>
                  </a:lnTo>
                  <a:cubicBezTo>
                    <a:pt x="552171" y="113023"/>
                    <a:pt x="575573" y="116625"/>
                    <a:pt x="591775" y="119124"/>
                  </a:cubicBezTo>
                  <a:cubicBezTo>
                    <a:pt x="599570" y="120291"/>
                    <a:pt x="605623" y="121192"/>
                    <a:pt x="610061" y="121852"/>
                  </a:cubicBezTo>
                  <a:cubicBezTo>
                    <a:pt x="614206" y="122461"/>
                    <a:pt x="616494" y="122689"/>
                    <a:pt x="616494" y="122689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49" name="Vrije vorm 748">
              <a:extLst>
                <a:ext uri="{FF2B5EF4-FFF2-40B4-BE49-F238E27FC236}">
                  <a16:creationId xmlns:a16="http://schemas.microsoft.com/office/drawing/2014/main" id="{A92C6401-52CF-604F-FB85-705A1325898D}"/>
                </a:ext>
              </a:extLst>
            </p:cNvPr>
            <p:cNvSpPr/>
            <p:nvPr/>
          </p:nvSpPr>
          <p:spPr>
            <a:xfrm flipV="1">
              <a:off x="4957863" y="1935452"/>
              <a:ext cx="59483" cy="59520"/>
            </a:xfrm>
            <a:custGeom>
              <a:avLst/>
              <a:gdLst>
                <a:gd name="connsiteX0" fmla="*/ 59192 w 59483"/>
                <a:gd name="connsiteY0" fmla="*/ 26838 h 59520"/>
                <a:gd name="connsiteX1" fmla="*/ 29450 w 59483"/>
                <a:gd name="connsiteY1" fmla="*/ -2923 h 59520"/>
                <a:gd name="connsiteX2" fmla="*/ -292 w 59483"/>
                <a:gd name="connsiteY2" fmla="*/ 26838 h 59520"/>
                <a:gd name="connsiteX3" fmla="*/ 29450 w 59483"/>
                <a:gd name="connsiteY3" fmla="*/ 56598 h 59520"/>
                <a:gd name="connsiteX4" fmla="*/ 59192 w 59483"/>
                <a:gd name="connsiteY4" fmla="*/ 26838 h 5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83" h="59520">
                  <a:moveTo>
                    <a:pt x="59192" y="26838"/>
                  </a:moveTo>
                  <a:cubicBezTo>
                    <a:pt x="59192" y="10410"/>
                    <a:pt x="45879" y="-2923"/>
                    <a:pt x="29450" y="-2923"/>
                  </a:cubicBezTo>
                  <a:cubicBezTo>
                    <a:pt x="13022" y="-2923"/>
                    <a:pt x="-292" y="10410"/>
                    <a:pt x="-292" y="26838"/>
                  </a:cubicBezTo>
                  <a:cubicBezTo>
                    <a:pt x="-292" y="43278"/>
                    <a:pt x="13022" y="56598"/>
                    <a:pt x="29450" y="56598"/>
                  </a:cubicBezTo>
                  <a:cubicBezTo>
                    <a:pt x="45879" y="56598"/>
                    <a:pt x="59192" y="43278"/>
                    <a:pt x="59192" y="26838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0" name="Vrije vorm 749">
              <a:extLst>
                <a:ext uri="{FF2B5EF4-FFF2-40B4-BE49-F238E27FC236}">
                  <a16:creationId xmlns:a16="http://schemas.microsoft.com/office/drawing/2014/main" id="{BB1902D3-1A3B-B401-60CC-A03AB957ACC6}"/>
                </a:ext>
              </a:extLst>
            </p:cNvPr>
            <p:cNvSpPr/>
            <p:nvPr/>
          </p:nvSpPr>
          <p:spPr>
            <a:xfrm flipV="1">
              <a:off x="5076885" y="1935452"/>
              <a:ext cx="59488" cy="59520"/>
            </a:xfrm>
            <a:custGeom>
              <a:avLst/>
              <a:gdLst>
                <a:gd name="connsiteX0" fmla="*/ 59116 w 59488"/>
                <a:gd name="connsiteY0" fmla="*/ 26838 h 59520"/>
                <a:gd name="connsiteX1" fmla="*/ 29374 w 59488"/>
                <a:gd name="connsiteY1" fmla="*/ -2923 h 59520"/>
                <a:gd name="connsiteX2" fmla="*/ -373 w 59488"/>
                <a:gd name="connsiteY2" fmla="*/ 26838 h 59520"/>
                <a:gd name="connsiteX3" fmla="*/ 29374 w 59488"/>
                <a:gd name="connsiteY3" fmla="*/ 56598 h 59520"/>
                <a:gd name="connsiteX4" fmla="*/ 59116 w 59488"/>
                <a:gd name="connsiteY4" fmla="*/ 26838 h 5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88" h="59520">
                  <a:moveTo>
                    <a:pt x="59116" y="26838"/>
                  </a:moveTo>
                  <a:cubicBezTo>
                    <a:pt x="59116" y="10410"/>
                    <a:pt x="45797" y="-2923"/>
                    <a:pt x="29374" y="-2923"/>
                  </a:cubicBezTo>
                  <a:cubicBezTo>
                    <a:pt x="12945" y="-2923"/>
                    <a:pt x="-373" y="10410"/>
                    <a:pt x="-373" y="26838"/>
                  </a:cubicBezTo>
                  <a:cubicBezTo>
                    <a:pt x="-373" y="43278"/>
                    <a:pt x="12945" y="56598"/>
                    <a:pt x="29374" y="56598"/>
                  </a:cubicBezTo>
                  <a:cubicBezTo>
                    <a:pt x="45797" y="56598"/>
                    <a:pt x="59116" y="43278"/>
                    <a:pt x="59116" y="26838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1" name="Vrije vorm 750">
              <a:extLst>
                <a:ext uri="{FF2B5EF4-FFF2-40B4-BE49-F238E27FC236}">
                  <a16:creationId xmlns:a16="http://schemas.microsoft.com/office/drawing/2014/main" id="{CFD2FDCF-80D3-CAAD-3F7F-023EE9D8EB5B}"/>
                </a:ext>
              </a:extLst>
            </p:cNvPr>
            <p:cNvSpPr/>
            <p:nvPr/>
          </p:nvSpPr>
          <p:spPr>
            <a:xfrm flipV="1">
              <a:off x="5199589" y="1935449"/>
              <a:ext cx="59495" cy="59523"/>
            </a:xfrm>
            <a:custGeom>
              <a:avLst/>
              <a:gdLst>
                <a:gd name="connsiteX0" fmla="*/ 55047 w 59495"/>
                <a:gd name="connsiteY0" fmla="*/ 41717 h 59523"/>
                <a:gd name="connsiteX1" fmla="*/ 44161 w 59495"/>
                <a:gd name="connsiteY1" fmla="*/ 1072 h 59523"/>
                <a:gd name="connsiteX2" fmla="*/ 3532 w 59495"/>
                <a:gd name="connsiteY2" fmla="*/ 11957 h 59523"/>
                <a:gd name="connsiteX3" fmla="*/ 14419 w 59495"/>
                <a:gd name="connsiteY3" fmla="*/ 52614 h 59523"/>
                <a:gd name="connsiteX4" fmla="*/ 55047 w 59495"/>
                <a:gd name="connsiteY4" fmla="*/ 41717 h 59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95" h="59523">
                  <a:moveTo>
                    <a:pt x="55047" y="41717"/>
                  </a:moveTo>
                  <a:cubicBezTo>
                    <a:pt x="63263" y="27484"/>
                    <a:pt x="58389" y="9293"/>
                    <a:pt x="44161" y="1072"/>
                  </a:cubicBezTo>
                  <a:cubicBezTo>
                    <a:pt x="29936" y="-7148"/>
                    <a:pt x="11743" y="-2277"/>
                    <a:pt x="3532" y="11957"/>
                  </a:cubicBezTo>
                  <a:cubicBezTo>
                    <a:pt x="-4680" y="26190"/>
                    <a:pt x="194" y="44394"/>
                    <a:pt x="14419" y="52614"/>
                  </a:cubicBezTo>
                  <a:cubicBezTo>
                    <a:pt x="28648" y="60822"/>
                    <a:pt x="46835" y="55950"/>
                    <a:pt x="55047" y="41717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2" name="Vrije vorm 751">
              <a:extLst>
                <a:ext uri="{FF2B5EF4-FFF2-40B4-BE49-F238E27FC236}">
                  <a16:creationId xmlns:a16="http://schemas.microsoft.com/office/drawing/2014/main" id="{00E955C2-3665-2DFD-0C8C-9ECB4D5A900D}"/>
                </a:ext>
              </a:extLst>
            </p:cNvPr>
            <p:cNvSpPr/>
            <p:nvPr/>
          </p:nvSpPr>
          <p:spPr>
            <a:xfrm flipV="1">
              <a:off x="6952781" y="2467308"/>
              <a:ext cx="388667" cy="514605"/>
            </a:xfrm>
            <a:custGeom>
              <a:avLst/>
              <a:gdLst>
                <a:gd name="connsiteX0" fmla="*/ 100856 w 388667"/>
                <a:gd name="connsiteY0" fmla="*/ 438619 h 514605"/>
                <a:gd name="connsiteX1" fmla="*/ 83612 w 388667"/>
                <a:gd name="connsiteY1" fmla="*/ 353207 h 514605"/>
                <a:gd name="connsiteX2" fmla="*/ 56542 w 388667"/>
                <a:gd name="connsiteY2" fmla="*/ 274886 h 514605"/>
                <a:gd name="connsiteX3" fmla="*/ 55882 w 388667"/>
                <a:gd name="connsiteY3" fmla="*/ 188078 h 514605"/>
                <a:gd name="connsiteX4" fmla="*/ -1567 w 388667"/>
                <a:gd name="connsiteY4" fmla="*/ 101055 h 514605"/>
                <a:gd name="connsiteX5" fmla="*/ 108666 w 388667"/>
                <a:gd name="connsiteY5" fmla="*/ -2244 h 514605"/>
                <a:gd name="connsiteX6" fmla="*/ 208490 w 388667"/>
                <a:gd name="connsiteY6" fmla="*/ 161375 h 514605"/>
                <a:gd name="connsiteX7" fmla="*/ 352273 w 388667"/>
                <a:gd name="connsiteY7" fmla="*/ 316685 h 514605"/>
                <a:gd name="connsiteX8" fmla="*/ 386900 w 388667"/>
                <a:gd name="connsiteY8" fmla="*/ 464523 h 514605"/>
                <a:gd name="connsiteX9" fmla="*/ 378024 w 388667"/>
                <a:gd name="connsiteY9" fmla="*/ 473213 h 514605"/>
                <a:gd name="connsiteX10" fmla="*/ 378240 w 388667"/>
                <a:gd name="connsiteY10" fmla="*/ 500334 h 514605"/>
                <a:gd name="connsiteX11" fmla="*/ 339923 w 388667"/>
                <a:gd name="connsiteY11" fmla="*/ 496478 h 514605"/>
                <a:gd name="connsiteX12" fmla="*/ 304497 w 388667"/>
                <a:gd name="connsiteY12" fmla="*/ 497493 h 514605"/>
                <a:gd name="connsiteX13" fmla="*/ 225784 w 388667"/>
                <a:gd name="connsiteY13" fmla="*/ 380849 h 514605"/>
                <a:gd name="connsiteX14" fmla="*/ 164176 w 388667"/>
                <a:gd name="connsiteY14" fmla="*/ 333442 h 514605"/>
                <a:gd name="connsiteX15" fmla="*/ 131907 w 388667"/>
                <a:gd name="connsiteY15" fmla="*/ 326986 h 514605"/>
                <a:gd name="connsiteX16" fmla="*/ 149519 w 388667"/>
                <a:gd name="connsiteY16" fmla="*/ 377284 h 514605"/>
                <a:gd name="connsiteX17" fmla="*/ 139781 w 388667"/>
                <a:gd name="connsiteY17" fmla="*/ 439913 h 514605"/>
                <a:gd name="connsiteX18" fmla="*/ 100856 w 388667"/>
                <a:gd name="connsiteY18" fmla="*/ 438619 h 514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8667" h="514605">
                  <a:moveTo>
                    <a:pt x="100856" y="438619"/>
                  </a:moveTo>
                  <a:cubicBezTo>
                    <a:pt x="100856" y="438619"/>
                    <a:pt x="94668" y="380252"/>
                    <a:pt x="83612" y="353207"/>
                  </a:cubicBezTo>
                  <a:cubicBezTo>
                    <a:pt x="72556" y="326161"/>
                    <a:pt x="55895" y="316710"/>
                    <a:pt x="56542" y="274886"/>
                  </a:cubicBezTo>
                  <a:cubicBezTo>
                    <a:pt x="57176" y="233074"/>
                    <a:pt x="55882" y="188078"/>
                    <a:pt x="55882" y="188078"/>
                  </a:cubicBezTo>
                  <a:cubicBezTo>
                    <a:pt x="55882" y="188078"/>
                    <a:pt x="-5713" y="101410"/>
                    <a:pt x="-1567" y="101055"/>
                  </a:cubicBezTo>
                  <a:cubicBezTo>
                    <a:pt x="2566" y="100699"/>
                    <a:pt x="108666" y="-2244"/>
                    <a:pt x="108666" y="-2244"/>
                  </a:cubicBezTo>
                  <a:lnTo>
                    <a:pt x="208490" y="161375"/>
                  </a:lnTo>
                  <a:lnTo>
                    <a:pt x="352273" y="316685"/>
                  </a:lnTo>
                  <a:lnTo>
                    <a:pt x="386900" y="464523"/>
                  </a:lnTo>
                  <a:lnTo>
                    <a:pt x="378024" y="473213"/>
                  </a:lnTo>
                  <a:lnTo>
                    <a:pt x="378240" y="500334"/>
                  </a:lnTo>
                  <a:cubicBezTo>
                    <a:pt x="378240" y="500334"/>
                    <a:pt x="356089" y="524767"/>
                    <a:pt x="339923" y="496478"/>
                  </a:cubicBezTo>
                  <a:cubicBezTo>
                    <a:pt x="339923" y="496478"/>
                    <a:pt x="332797" y="531528"/>
                    <a:pt x="304497" y="497493"/>
                  </a:cubicBezTo>
                  <a:cubicBezTo>
                    <a:pt x="276184" y="463457"/>
                    <a:pt x="230590" y="383360"/>
                    <a:pt x="225784" y="380849"/>
                  </a:cubicBezTo>
                  <a:cubicBezTo>
                    <a:pt x="220979" y="378324"/>
                    <a:pt x="164176" y="333442"/>
                    <a:pt x="164176" y="333442"/>
                  </a:cubicBezTo>
                  <a:lnTo>
                    <a:pt x="131907" y="326986"/>
                  </a:lnTo>
                  <a:cubicBezTo>
                    <a:pt x="131907" y="326986"/>
                    <a:pt x="150584" y="350454"/>
                    <a:pt x="149519" y="377284"/>
                  </a:cubicBezTo>
                  <a:cubicBezTo>
                    <a:pt x="148441" y="404101"/>
                    <a:pt x="159763" y="424436"/>
                    <a:pt x="139781" y="439913"/>
                  </a:cubicBezTo>
                  <a:cubicBezTo>
                    <a:pt x="119799" y="455389"/>
                    <a:pt x="100856" y="438619"/>
                    <a:pt x="100856" y="438619"/>
                  </a:cubicBezTo>
                </a:path>
              </a:pathLst>
            </a:custGeom>
            <a:solidFill>
              <a:srgbClr val="F9A78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3" name="Vrije vorm 752">
              <a:extLst>
                <a:ext uri="{FF2B5EF4-FFF2-40B4-BE49-F238E27FC236}">
                  <a16:creationId xmlns:a16="http://schemas.microsoft.com/office/drawing/2014/main" id="{C17702AE-A594-D539-E9E5-22A86F663E40}"/>
                </a:ext>
              </a:extLst>
            </p:cNvPr>
            <p:cNvSpPr/>
            <p:nvPr/>
          </p:nvSpPr>
          <p:spPr>
            <a:xfrm flipV="1">
              <a:off x="7104672" y="2572770"/>
              <a:ext cx="206137" cy="167947"/>
            </a:xfrm>
            <a:custGeom>
              <a:avLst/>
              <a:gdLst>
                <a:gd name="connsiteX0" fmla="*/ -1792 w 206137"/>
                <a:gd name="connsiteY0" fmla="*/ -2285 h 167947"/>
                <a:gd name="connsiteX1" fmla="*/ 6918 w 206137"/>
                <a:gd name="connsiteY1" fmla="*/ 5250 h 167947"/>
                <a:gd name="connsiteX2" fmla="*/ 33152 w 206137"/>
                <a:gd name="connsiteY2" fmla="*/ 22528 h 167947"/>
                <a:gd name="connsiteX3" fmla="*/ 133052 w 206137"/>
                <a:gd name="connsiteY3" fmla="*/ 58745 h 167947"/>
                <a:gd name="connsiteX4" fmla="*/ 134041 w 206137"/>
                <a:gd name="connsiteY4" fmla="*/ 58986 h 167947"/>
                <a:gd name="connsiteX5" fmla="*/ 134662 w 206137"/>
                <a:gd name="connsiteY5" fmla="*/ 59760 h 167947"/>
                <a:gd name="connsiteX6" fmla="*/ 149738 w 206137"/>
                <a:gd name="connsiteY6" fmla="*/ 78586 h 167947"/>
                <a:gd name="connsiteX7" fmla="*/ 157218 w 206137"/>
                <a:gd name="connsiteY7" fmla="*/ 87948 h 167947"/>
                <a:gd name="connsiteX8" fmla="*/ 157840 w 206137"/>
                <a:gd name="connsiteY8" fmla="*/ 88721 h 167947"/>
                <a:gd name="connsiteX9" fmla="*/ 157852 w 206137"/>
                <a:gd name="connsiteY9" fmla="*/ 89635 h 167947"/>
                <a:gd name="connsiteX10" fmla="*/ 158727 w 206137"/>
                <a:gd name="connsiteY10" fmla="*/ 136470 h 167947"/>
                <a:gd name="connsiteX11" fmla="*/ 164002 w 206137"/>
                <a:gd name="connsiteY11" fmla="*/ 154839 h 167947"/>
                <a:gd name="connsiteX12" fmla="*/ 179445 w 206137"/>
                <a:gd name="connsiteY12" fmla="*/ 160687 h 167947"/>
                <a:gd name="connsiteX13" fmla="*/ 177518 w 206137"/>
                <a:gd name="connsiteY13" fmla="*/ 162362 h 167947"/>
                <a:gd name="connsiteX14" fmla="*/ 204296 w 206137"/>
                <a:gd name="connsiteY14" fmla="*/ 92337 h 167947"/>
                <a:gd name="connsiteX15" fmla="*/ 197969 w 206137"/>
                <a:gd name="connsiteY15" fmla="*/ 111746 h 167947"/>
                <a:gd name="connsiteX16" fmla="*/ 182133 w 206137"/>
                <a:gd name="connsiteY16" fmla="*/ 163770 h 167947"/>
                <a:gd name="connsiteX17" fmla="*/ 181689 w 206137"/>
                <a:gd name="connsiteY17" fmla="*/ 165267 h 167947"/>
                <a:gd name="connsiteX18" fmla="*/ 180193 w 206137"/>
                <a:gd name="connsiteY18" fmla="*/ 165457 h 167947"/>
                <a:gd name="connsiteX19" fmla="*/ 160046 w 206137"/>
                <a:gd name="connsiteY19" fmla="*/ 158251 h 167947"/>
                <a:gd name="connsiteX20" fmla="*/ 153186 w 206137"/>
                <a:gd name="connsiteY20" fmla="*/ 136521 h 167947"/>
                <a:gd name="connsiteX21" fmla="*/ 152007 w 206137"/>
                <a:gd name="connsiteY21" fmla="*/ 89914 h 167947"/>
                <a:gd name="connsiteX22" fmla="*/ 152641 w 206137"/>
                <a:gd name="connsiteY22" fmla="*/ 91601 h 167947"/>
                <a:gd name="connsiteX23" fmla="*/ 145160 w 206137"/>
                <a:gd name="connsiteY23" fmla="*/ 82252 h 167947"/>
                <a:gd name="connsiteX24" fmla="*/ 130123 w 206137"/>
                <a:gd name="connsiteY24" fmla="*/ 63401 h 167947"/>
                <a:gd name="connsiteX25" fmla="*/ 131720 w 206137"/>
                <a:gd name="connsiteY25" fmla="*/ 64403 h 167947"/>
                <a:gd name="connsiteX26" fmla="*/ 31250 w 206137"/>
                <a:gd name="connsiteY26" fmla="*/ 25902 h 167947"/>
                <a:gd name="connsiteX27" fmla="*/ 5498 w 206137"/>
                <a:gd name="connsiteY27" fmla="*/ 6798 h 167947"/>
                <a:gd name="connsiteX28" fmla="*/ -1792 w 206137"/>
                <a:gd name="connsiteY28" fmla="*/ -2285 h 167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06137" h="167947">
                  <a:moveTo>
                    <a:pt x="-1792" y="-2285"/>
                  </a:moveTo>
                  <a:cubicBezTo>
                    <a:pt x="-1450" y="-2577"/>
                    <a:pt x="1416" y="379"/>
                    <a:pt x="6918" y="5250"/>
                  </a:cubicBezTo>
                  <a:cubicBezTo>
                    <a:pt x="12649" y="9919"/>
                    <a:pt x="21347" y="16185"/>
                    <a:pt x="33152" y="22528"/>
                  </a:cubicBezTo>
                  <a:cubicBezTo>
                    <a:pt x="56735" y="35125"/>
                    <a:pt x="92047" y="48521"/>
                    <a:pt x="133052" y="58745"/>
                  </a:cubicBezTo>
                  <a:lnTo>
                    <a:pt x="134041" y="58986"/>
                  </a:lnTo>
                  <a:lnTo>
                    <a:pt x="134662" y="59760"/>
                  </a:lnTo>
                  <a:cubicBezTo>
                    <a:pt x="139505" y="65799"/>
                    <a:pt x="144577" y="72129"/>
                    <a:pt x="149738" y="78586"/>
                  </a:cubicBezTo>
                  <a:cubicBezTo>
                    <a:pt x="152261" y="81732"/>
                    <a:pt x="154759" y="84852"/>
                    <a:pt x="157218" y="87948"/>
                  </a:cubicBezTo>
                  <a:lnTo>
                    <a:pt x="157840" y="88721"/>
                  </a:lnTo>
                  <a:lnTo>
                    <a:pt x="157852" y="89635"/>
                  </a:lnTo>
                  <a:cubicBezTo>
                    <a:pt x="158157" y="105936"/>
                    <a:pt x="158448" y="121628"/>
                    <a:pt x="158727" y="136470"/>
                  </a:cubicBezTo>
                  <a:cubicBezTo>
                    <a:pt x="158714" y="143460"/>
                    <a:pt x="160210" y="150234"/>
                    <a:pt x="164002" y="154839"/>
                  </a:cubicBezTo>
                  <a:cubicBezTo>
                    <a:pt x="167679" y="159495"/>
                    <a:pt x="174133" y="161182"/>
                    <a:pt x="179445" y="160687"/>
                  </a:cubicBezTo>
                  <a:lnTo>
                    <a:pt x="177518" y="162362"/>
                  </a:lnTo>
                  <a:cubicBezTo>
                    <a:pt x="191173" y="119091"/>
                    <a:pt x="202648" y="91550"/>
                    <a:pt x="204296" y="92337"/>
                  </a:cubicBezTo>
                  <a:cubicBezTo>
                    <a:pt x="204664" y="92565"/>
                    <a:pt x="201811" y="99251"/>
                    <a:pt x="197969" y="111746"/>
                  </a:cubicBezTo>
                  <a:cubicBezTo>
                    <a:pt x="194014" y="124153"/>
                    <a:pt x="188523" y="142052"/>
                    <a:pt x="182133" y="163770"/>
                  </a:cubicBezTo>
                  <a:lnTo>
                    <a:pt x="181689" y="165267"/>
                  </a:lnTo>
                  <a:lnTo>
                    <a:pt x="180193" y="165457"/>
                  </a:lnTo>
                  <a:cubicBezTo>
                    <a:pt x="173219" y="166294"/>
                    <a:pt x="165308" y="164366"/>
                    <a:pt x="160046" y="158251"/>
                  </a:cubicBezTo>
                  <a:cubicBezTo>
                    <a:pt x="154923" y="152226"/>
                    <a:pt x="153300" y="144145"/>
                    <a:pt x="153186" y="136521"/>
                  </a:cubicBezTo>
                  <a:cubicBezTo>
                    <a:pt x="152819" y="121742"/>
                    <a:pt x="152413" y="106139"/>
                    <a:pt x="152007" y="89914"/>
                  </a:cubicBezTo>
                  <a:lnTo>
                    <a:pt x="152641" y="91601"/>
                  </a:lnTo>
                  <a:cubicBezTo>
                    <a:pt x="150169" y="88519"/>
                    <a:pt x="147671" y="85398"/>
                    <a:pt x="145160" y="82252"/>
                  </a:cubicBezTo>
                  <a:cubicBezTo>
                    <a:pt x="140013" y="75795"/>
                    <a:pt x="134941" y="69439"/>
                    <a:pt x="130123" y="63401"/>
                  </a:cubicBezTo>
                  <a:lnTo>
                    <a:pt x="131720" y="64403"/>
                  </a:lnTo>
                  <a:cubicBezTo>
                    <a:pt x="90158" y="53836"/>
                    <a:pt x="54821" y="39666"/>
                    <a:pt x="31250" y="25902"/>
                  </a:cubicBezTo>
                  <a:cubicBezTo>
                    <a:pt x="19496" y="19001"/>
                    <a:pt x="10912" y="12062"/>
                    <a:pt x="5498" y="6798"/>
                  </a:cubicBezTo>
                  <a:cubicBezTo>
                    <a:pt x="300" y="1305"/>
                    <a:pt x="-2033" y="-2120"/>
                    <a:pt x="-1792" y="-2285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4" name="Vrije vorm 753">
              <a:extLst>
                <a:ext uri="{FF2B5EF4-FFF2-40B4-BE49-F238E27FC236}">
                  <a16:creationId xmlns:a16="http://schemas.microsoft.com/office/drawing/2014/main" id="{5B9CE72B-9274-0C2C-56B5-5E0765FC1ACF}"/>
                </a:ext>
              </a:extLst>
            </p:cNvPr>
            <p:cNvSpPr/>
            <p:nvPr/>
          </p:nvSpPr>
          <p:spPr>
            <a:xfrm flipV="1">
              <a:off x="7218887" y="2481806"/>
              <a:ext cx="73001" cy="133318"/>
            </a:xfrm>
            <a:custGeom>
              <a:avLst/>
              <a:gdLst>
                <a:gd name="connsiteX0" fmla="*/ -1749 w 73001"/>
                <a:gd name="connsiteY0" fmla="*/ -2386 h 133318"/>
                <a:gd name="connsiteX1" fmla="*/ 37239 w 73001"/>
                <a:gd name="connsiteY1" fmla="*/ 62843 h 133318"/>
                <a:gd name="connsiteX2" fmla="*/ 71067 w 73001"/>
                <a:gd name="connsiteY2" fmla="*/ 130902 h 133318"/>
                <a:gd name="connsiteX3" fmla="*/ 32079 w 73001"/>
                <a:gd name="connsiteY3" fmla="*/ 65660 h 133318"/>
                <a:gd name="connsiteX4" fmla="*/ -1749 w 73001"/>
                <a:gd name="connsiteY4" fmla="*/ -2386 h 13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001" h="133318">
                  <a:moveTo>
                    <a:pt x="-1749" y="-2386"/>
                  </a:moveTo>
                  <a:cubicBezTo>
                    <a:pt x="-329" y="-3173"/>
                    <a:pt x="17130" y="26042"/>
                    <a:pt x="37239" y="62843"/>
                  </a:cubicBezTo>
                  <a:cubicBezTo>
                    <a:pt x="57349" y="99657"/>
                    <a:pt x="72488" y="130115"/>
                    <a:pt x="71067" y="130902"/>
                  </a:cubicBezTo>
                  <a:cubicBezTo>
                    <a:pt x="69648" y="131676"/>
                    <a:pt x="52201" y="102473"/>
                    <a:pt x="32079" y="65660"/>
                  </a:cubicBezTo>
                  <a:cubicBezTo>
                    <a:pt x="11982" y="28859"/>
                    <a:pt x="-3170" y="-1612"/>
                    <a:pt x="-1749" y="-2386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5" name="Vrije vorm 754">
              <a:extLst>
                <a:ext uri="{FF2B5EF4-FFF2-40B4-BE49-F238E27FC236}">
                  <a16:creationId xmlns:a16="http://schemas.microsoft.com/office/drawing/2014/main" id="{1D0A643C-E30A-1445-E3BE-70EB58373F38}"/>
                </a:ext>
              </a:extLst>
            </p:cNvPr>
            <p:cNvSpPr/>
            <p:nvPr/>
          </p:nvSpPr>
          <p:spPr>
            <a:xfrm flipV="1">
              <a:off x="7293829" y="2504100"/>
              <a:ext cx="40996" cy="68159"/>
            </a:xfrm>
            <a:custGeom>
              <a:avLst/>
              <a:gdLst>
                <a:gd name="connsiteX0" fmla="*/ -1239 w 40996"/>
                <a:gd name="connsiteY0" fmla="*/ -2408 h 68159"/>
                <a:gd name="connsiteX1" fmla="*/ 2755 w 40996"/>
                <a:gd name="connsiteY1" fmla="*/ 9364 h 68159"/>
                <a:gd name="connsiteX2" fmla="*/ 11656 w 40996"/>
                <a:gd name="connsiteY2" fmla="*/ 36854 h 68159"/>
                <a:gd name="connsiteX3" fmla="*/ 29026 w 40996"/>
                <a:gd name="connsiteY3" fmla="*/ 58736 h 68159"/>
                <a:gd name="connsiteX4" fmla="*/ 39106 w 40996"/>
                <a:gd name="connsiteY4" fmla="*/ 65409 h 68159"/>
                <a:gd name="connsiteX5" fmla="*/ 26782 w 40996"/>
                <a:gd name="connsiteY5" fmla="*/ 62225 h 68159"/>
                <a:gd name="connsiteX6" fmla="*/ 6356 w 40996"/>
                <a:gd name="connsiteY6" fmla="*/ 39378 h 68159"/>
                <a:gd name="connsiteX7" fmla="*/ -1341 w 40996"/>
                <a:gd name="connsiteY7" fmla="*/ 10087 h 68159"/>
                <a:gd name="connsiteX8" fmla="*/ -1239 w 40996"/>
                <a:gd name="connsiteY8" fmla="*/ -2408 h 6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96" h="68159">
                  <a:moveTo>
                    <a:pt x="-1239" y="-2408"/>
                  </a:moveTo>
                  <a:cubicBezTo>
                    <a:pt x="-415" y="-2535"/>
                    <a:pt x="942" y="2032"/>
                    <a:pt x="2755" y="9364"/>
                  </a:cubicBezTo>
                  <a:cubicBezTo>
                    <a:pt x="4619" y="16658"/>
                    <a:pt x="6926" y="26781"/>
                    <a:pt x="11656" y="36854"/>
                  </a:cubicBezTo>
                  <a:cubicBezTo>
                    <a:pt x="16385" y="46875"/>
                    <a:pt x="23207" y="54487"/>
                    <a:pt x="29026" y="58736"/>
                  </a:cubicBezTo>
                  <a:cubicBezTo>
                    <a:pt x="34833" y="63075"/>
                    <a:pt x="39334" y="64508"/>
                    <a:pt x="39106" y="65409"/>
                  </a:cubicBezTo>
                  <a:cubicBezTo>
                    <a:pt x="39005" y="66081"/>
                    <a:pt x="33870" y="66094"/>
                    <a:pt x="26782" y="62225"/>
                  </a:cubicBezTo>
                  <a:cubicBezTo>
                    <a:pt x="19732" y="58483"/>
                    <a:pt x="11529" y="50377"/>
                    <a:pt x="6356" y="39378"/>
                  </a:cubicBezTo>
                  <a:cubicBezTo>
                    <a:pt x="1221" y="28405"/>
                    <a:pt x="-491" y="17673"/>
                    <a:pt x="-1341" y="10087"/>
                  </a:cubicBezTo>
                  <a:cubicBezTo>
                    <a:pt x="-2127" y="2463"/>
                    <a:pt x="-2025" y="-2281"/>
                    <a:pt x="-1239" y="-2408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6" name="Vrije vorm 755">
              <a:extLst>
                <a:ext uri="{FF2B5EF4-FFF2-40B4-BE49-F238E27FC236}">
                  <a16:creationId xmlns:a16="http://schemas.microsoft.com/office/drawing/2014/main" id="{90014DA8-6816-0F25-A927-B000C3C1DE67}"/>
                </a:ext>
              </a:extLst>
            </p:cNvPr>
            <p:cNvSpPr/>
            <p:nvPr/>
          </p:nvSpPr>
          <p:spPr>
            <a:xfrm flipV="1">
              <a:off x="7173282" y="2615043"/>
              <a:ext cx="71907" cy="36664"/>
            </a:xfrm>
            <a:custGeom>
              <a:avLst/>
              <a:gdLst>
                <a:gd name="connsiteX0" fmla="*/ -1808 w 71907"/>
                <a:gd name="connsiteY0" fmla="*/ 32103 h 36664"/>
                <a:gd name="connsiteX1" fmla="*/ 37523 w 71907"/>
                <a:gd name="connsiteY1" fmla="*/ 22120 h 36664"/>
                <a:gd name="connsiteX2" fmla="*/ 69982 w 71907"/>
                <a:gd name="connsiteY2" fmla="*/ -2275 h 36664"/>
                <a:gd name="connsiteX3" fmla="*/ 63972 w 71907"/>
                <a:gd name="connsiteY3" fmla="*/ 8762 h 36664"/>
                <a:gd name="connsiteX4" fmla="*/ 40071 w 71907"/>
                <a:gd name="connsiteY4" fmla="*/ 27422 h 36664"/>
                <a:gd name="connsiteX5" fmla="*/ 10554 w 71907"/>
                <a:gd name="connsiteY5" fmla="*/ 34336 h 36664"/>
                <a:gd name="connsiteX6" fmla="*/ -1808 w 71907"/>
                <a:gd name="connsiteY6" fmla="*/ 32103 h 36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907" h="36664">
                  <a:moveTo>
                    <a:pt x="-1808" y="32103"/>
                  </a:moveTo>
                  <a:cubicBezTo>
                    <a:pt x="-1758" y="30327"/>
                    <a:pt x="17287" y="32065"/>
                    <a:pt x="37523" y="22120"/>
                  </a:cubicBezTo>
                  <a:cubicBezTo>
                    <a:pt x="57974" y="12580"/>
                    <a:pt x="68561" y="-3340"/>
                    <a:pt x="69982" y="-2275"/>
                  </a:cubicBezTo>
                  <a:cubicBezTo>
                    <a:pt x="70590" y="-1907"/>
                    <a:pt x="68828" y="2635"/>
                    <a:pt x="63972" y="8762"/>
                  </a:cubicBezTo>
                  <a:cubicBezTo>
                    <a:pt x="59153" y="14863"/>
                    <a:pt x="50887" y="22221"/>
                    <a:pt x="40071" y="27422"/>
                  </a:cubicBezTo>
                  <a:cubicBezTo>
                    <a:pt x="29230" y="32585"/>
                    <a:pt x="18314" y="34425"/>
                    <a:pt x="10554" y="34336"/>
                  </a:cubicBezTo>
                  <a:cubicBezTo>
                    <a:pt x="2731" y="34298"/>
                    <a:pt x="-1910" y="32814"/>
                    <a:pt x="-1808" y="32103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7" name="Vrije vorm 756">
              <a:extLst>
                <a:ext uri="{FF2B5EF4-FFF2-40B4-BE49-F238E27FC236}">
                  <a16:creationId xmlns:a16="http://schemas.microsoft.com/office/drawing/2014/main" id="{04162B91-F17B-CDB7-2B31-E01969AFF46D}"/>
                </a:ext>
              </a:extLst>
            </p:cNvPr>
            <p:cNvSpPr/>
            <p:nvPr/>
          </p:nvSpPr>
          <p:spPr>
            <a:xfrm flipV="1">
              <a:off x="6152046" y="4481874"/>
              <a:ext cx="139040" cy="744101"/>
            </a:xfrm>
            <a:custGeom>
              <a:avLst/>
              <a:gdLst>
                <a:gd name="connsiteX0" fmla="*/ -1135 w 139040"/>
                <a:gd name="connsiteY0" fmla="*/ -342 h 744101"/>
                <a:gd name="connsiteX1" fmla="*/ 137906 w 139040"/>
                <a:gd name="connsiteY1" fmla="*/ -342 h 744101"/>
                <a:gd name="connsiteX2" fmla="*/ 137906 w 139040"/>
                <a:gd name="connsiteY2" fmla="*/ 743760 h 744101"/>
                <a:gd name="connsiteX3" fmla="*/ -1135 w 139040"/>
                <a:gd name="connsiteY3" fmla="*/ 743760 h 744101"/>
                <a:gd name="connsiteX4" fmla="*/ -1135 w 139040"/>
                <a:gd name="connsiteY4" fmla="*/ -342 h 744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040" h="744101">
                  <a:moveTo>
                    <a:pt x="-1135" y="-342"/>
                  </a:moveTo>
                  <a:lnTo>
                    <a:pt x="137906" y="-342"/>
                  </a:lnTo>
                  <a:lnTo>
                    <a:pt x="137906" y="743760"/>
                  </a:lnTo>
                  <a:lnTo>
                    <a:pt x="-1135" y="743760"/>
                  </a:lnTo>
                  <a:lnTo>
                    <a:pt x="-1135" y="-342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8" name="Vrije vorm 757">
              <a:extLst>
                <a:ext uri="{FF2B5EF4-FFF2-40B4-BE49-F238E27FC236}">
                  <a16:creationId xmlns:a16="http://schemas.microsoft.com/office/drawing/2014/main" id="{E159E2DA-4E2C-665B-617D-336D8F368A32}"/>
                </a:ext>
              </a:extLst>
            </p:cNvPr>
            <p:cNvSpPr/>
            <p:nvPr/>
          </p:nvSpPr>
          <p:spPr>
            <a:xfrm flipV="1">
              <a:off x="5664067" y="4362046"/>
              <a:ext cx="1054931" cy="133642"/>
            </a:xfrm>
            <a:custGeom>
              <a:avLst/>
              <a:gdLst>
                <a:gd name="connsiteX0" fmla="*/ 1053817 w 1054931"/>
                <a:gd name="connsiteY0" fmla="*/ 132921 h 133642"/>
                <a:gd name="connsiteX1" fmla="*/ 625905 w 1054931"/>
                <a:gd name="connsiteY1" fmla="*/ -722 h 133642"/>
                <a:gd name="connsiteX2" fmla="*/ 486864 w 1054931"/>
                <a:gd name="connsiteY2" fmla="*/ -722 h 133642"/>
                <a:gd name="connsiteX3" fmla="*/ -1114 w 1054931"/>
                <a:gd name="connsiteY3" fmla="*/ 132921 h 133642"/>
                <a:gd name="connsiteX4" fmla="*/ 1053817 w 1054931"/>
                <a:gd name="connsiteY4" fmla="*/ 132921 h 133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4931" h="133642">
                  <a:moveTo>
                    <a:pt x="1053817" y="132921"/>
                  </a:moveTo>
                  <a:cubicBezTo>
                    <a:pt x="1051547" y="132921"/>
                    <a:pt x="625905" y="-722"/>
                    <a:pt x="625905" y="-722"/>
                  </a:cubicBezTo>
                  <a:lnTo>
                    <a:pt x="486864" y="-722"/>
                  </a:lnTo>
                  <a:lnTo>
                    <a:pt x="-1114" y="132921"/>
                  </a:lnTo>
                  <a:lnTo>
                    <a:pt x="1053817" y="132921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9" name="Vrije vorm 758">
              <a:extLst>
                <a:ext uri="{FF2B5EF4-FFF2-40B4-BE49-F238E27FC236}">
                  <a16:creationId xmlns:a16="http://schemas.microsoft.com/office/drawing/2014/main" id="{D55C25AC-A3E1-EBBA-DE31-10F78D7717D5}"/>
                </a:ext>
              </a:extLst>
            </p:cNvPr>
            <p:cNvSpPr/>
            <p:nvPr/>
          </p:nvSpPr>
          <p:spPr>
            <a:xfrm flipV="1">
              <a:off x="6152046" y="5132949"/>
              <a:ext cx="660056" cy="357011"/>
            </a:xfrm>
            <a:custGeom>
              <a:avLst/>
              <a:gdLst>
                <a:gd name="connsiteX0" fmla="*/ 658743 w 660056"/>
                <a:gd name="connsiteY0" fmla="*/ 67 h 357011"/>
                <a:gd name="connsiteX1" fmla="*/ 505705 w 660056"/>
                <a:gd name="connsiteY1" fmla="*/ 244127 h 357011"/>
                <a:gd name="connsiteX2" fmla="*/ 34696 w 660056"/>
                <a:gd name="connsiteY2" fmla="*/ 357078 h 357011"/>
                <a:gd name="connsiteX3" fmla="*/ -1313 w 660056"/>
                <a:gd name="connsiteY3" fmla="*/ 264052 h 357011"/>
                <a:gd name="connsiteX4" fmla="*/ 505705 w 660056"/>
                <a:gd name="connsiteY4" fmla="*/ 158385 h 357011"/>
                <a:gd name="connsiteX5" fmla="*/ 615710 w 660056"/>
                <a:gd name="connsiteY5" fmla="*/ 67 h 357011"/>
                <a:gd name="connsiteX6" fmla="*/ 658743 w 660056"/>
                <a:gd name="connsiteY6" fmla="*/ 67 h 35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0056" h="357011">
                  <a:moveTo>
                    <a:pt x="658743" y="67"/>
                  </a:moveTo>
                  <a:cubicBezTo>
                    <a:pt x="658743" y="67"/>
                    <a:pt x="594409" y="196590"/>
                    <a:pt x="505705" y="244127"/>
                  </a:cubicBezTo>
                  <a:cubicBezTo>
                    <a:pt x="363177" y="320517"/>
                    <a:pt x="34696" y="357078"/>
                    <a:pt x="34696" y="357078"/>
                  </a:cubicBezTo>
                  <a:lnTo>
                    <a:pt x="-1313" y="264052"/>
                  </a:lnTo>
                  <a:cubicBezTo>
                    <a:pt x="-1313" y="264052"/>
                    <a:pt x="436780" y="246826"/>
                    <a:pt x="505705" y="158385"/>
                  </a:cubicBezTo>
                  <a:cubicBezTo>
                    <a:pt x="569367" y="76701"/>
                    <a:pt x="615710" y="67"/>
                    <a:pt x="615710" y="67"/>
                  </a:cubicBezTo>
                  <a:lnTo>
                    <a:pt x="658743" y="67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0" name="Vrije vorm 759">
              <a:extLst>
                <a:ext uri="{FF2B5EF4-FFF2-40B4-BE49-F238E27FC236}">
                  <a16:creationId xmlns:a16="http://schemas.microsoft.com/office/drawing/2014/main" id="{E80891FA-D47F-C5CD-FE19-CBEF3C7D137F}"/>
                </a:ext>
              </a:extLst>
            </p:cNvPr>
            <p:cNvSpPr/>
            <p:nvPr/>
          </p:nvSpPr>
          <p:spPr>
            <a:xfrm flipV="1">
              <a:off x="6664655" y="5433372"/>
              <a:ext cx="186068" cy="186161"/>
            </a:xfrm>
            <a:custGeom>
              <a:avLst/>
              <a:gdLst>
                <a:gd name="connsiteX0" fmla="*/ -1501 w 186068"/>
                <a:gd name="connsiteY0" fmla="*/ 93334 h 186161"/>
                <a:gd name="connsiteX1" fmla="*/ 91539 w 186068"/>
                <a:gd name="connsiteY1" fmla="*/ 259 h 186161"/>
                <a:gd name="connsiteX2" fmla="*/ 184567 w 186068"/>
                <a:gd name="connsiteY2" fmla="*/ 93334 h 186161"/>
                <a:gd name="connsiteX3" fmla="*/ 91539 w 186068"/>
                <a:gd name="connsiteY3" fmla="*/ 186420 h 186161"/>
                <a:gd name="connsiteX4" fmla="*/ -1501 w 186068"/>
                <a:gd name="connsiteY4" fmla="*/ 93334 h 1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068" h="186161">
                  <a:moveTo>
                    <a:pt x="-1501" y="93334"/>
                  </a:moveTo>
                  <a:cubicBezTo>
                    <a:pt x="-1501" y="41934"/>
                    <a:pt x="40150" y="259"/>
                    <a:pt x="91539" y="259"/>
                  </a:cubicBezTo>
                  <a:cubicBezTo>
                    <a:pt x="142915" y="259"/>
                    <a:pt x="184567" y="41934"/>
                    <a:pt x="184567" y="93334"/>
                  </a:cubicBezTo>
                  <a:cubicBezTo>
                    <a:pt x="184567" y="144747"/>
                    <a:pt x="142915" y="186420"/>
                    <a:pt x="91539" y="186420"/>
                  </a:cubicBezTo>
                  <a:cubicBezTo>
                    <a:pt x="40150" y="186420"/>
                    <a:pt x="-1501" y="144747"/>
                    <a:pt x="-1501" y="9333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1" name="Vrije vorm 760">
              <a:extLst>
                <a:ext uri="{FF2B5EF4-FFF2-40B4-BE49-F238E27FC236}">
                  <a16:creationId xmlns:a16="http://schemas.microsoft.com/office/drawing/2014/main" id="{732D09B3-9A5B-3B94-8E7C-DA6822943C67}"/>
                </a:ext>
              </a:extLst>
            </p:cNvPr>
            <p:cNvSpPr/>
            <p:nvPr/>
          </p:nvSpPr>
          <p:spPr>
            <a:xfrm flipV="1">
              <a:off x="5624644" y="5129135"/>
              <a:ext cx="660065" cy="357010"/>
            </a:xfrm>
            <a:custGeom>
              <a:avLst/>
              <a:gdLst>
                <a:gd name="connsiteX0" fmla="*/ -953 w 660065"/>
                <a:gd name="connsiteY0" fmla="*/ 63 h 357010"/>
                <a:gd name="connsiteX1" fmla="*/ 152085 w 660065"/>
                <a:gd name="connsiteY1" fmla="*/ 244122 h 357010"/>
                <a:gd name="connsiteX2" fmla="*/ 623091 w 660065"/>
                <a:gd name="connsiteY2" fmla="*/ 357073 h 357010"/>
                <a:gd name="connsiteX3" fmla="*/ 659113 w 660065"/>
                <a:gd name="connsiteY3" fmla="*/ 264052 h 357010"/>
                <a:gd name="connsiteX4" fmla="*/ 152085 w 660065"/>
                <a:gd name="connsiteY4" fmla="*/ 158381 h 357010"/>
                <a:gd name="connsiteX5" fmla="*/ 42087 w 660065"/>
                <a:gd name="connsiteY5" fmla="*/ 63 h 357010"/>
                <a:gd name="connsiteX6" fmla="*/ -953 w 660065"/>
                <a:gd name="connsiteY6" fmla="*/ 63 h 357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0065" h="357010">
                  <a:moveTo>
                    <a:pt x="-953" y="63"/>
                  </a:moveTo>
                  <a:cubicBezTo>
                    <a:pt x="-953" y="63"/>
                    <a:pt x="63379" y="196591"/>
                    <a:pt x="152085" y="244122"/>
                  </a:cubicBezTo>
                  <a:cubicBezTo>
                    <a:pt x="294622" y="320519"/>
                    <a:pt x="623091" y="357073"/>
                    <a:pt x="623091" y="357073"/>
                  </a:cubicBezTo>
                  <a:lnTo>
                    <a:pt x="659113" y="264052"/>
                  </a:lnTo>
                  <a:cubicBezTo>
                    <a:pt x="659113" y="264052"/>
                    <a:pt x="221007" y="246828"/>
                    <a:pt x="152085" y="158381"/>
                  </a:cubicBezTo>
                  <a:cubicBezTo>
                    <a:pt x="88431" y="76697"/>
                    <a:pt x="42087" y="63"/>
                    <a:pt x="42087" y="63"/>
                  </a:cubicBezTo>
                  <a:lnTo>
                    <a:pt x="-953" y="63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2" name="Vrije vorm 761">
              <a:extLst>
                <a:ext uri="{FF2B5EF4-FFF2-40B4-BE49-F238E27FC236}">
                  <a16:creationId xmlns:a16="http://schemas.microsoft.com/office/drawing/2014/main" id="{D96AF6D9-2FAC-4F82-92B3-1BE4D02E4279}"/>
                </a:ext>
              </a:extLst>
            </p:cNvPr>
            <p:cNvSpPr/>
            <p:nvPr/>
          </p:nvSpPr>
          <p:spPr>
            <a:xfrm flipV="1">
              <a:off x="5556963" y="5433372"/>
              <a:ext cx="186073" cy="186161"/>
            </a:xfrm>
            <a:custGeom>
              <a:avLst/>
              <a:gdLst>
                <a:gd name="connsiteX0" fmla="*/ 185329 w 186073"/>
                <a:gd name="connsiteY0" fmla="*/ 93334 h 186161"/>
                <a:gd name="connsiteX1" fmla="*/ 92295 w 186073"/>
                <a:gd name="connsiteY1" fmla="*/ 259 h 186161"/>
                <a:gd name="connsiteX2" fmla="*/ -744 w 186073"/>
                <a:gd name="connsiteY2" fmla="*/ 93334 h 186161"/>
                <a:gd name="connsiteX3" fmla="*/ 92295 w 186073"/>
                <a:gd name="connsiteY3" fmla="*/ 186420 h 186161"/>
                <a:gd name="connsiteX4" fmla="*/ 185329 w 186073"/>
                <a:gd name="connsiteY4" fmla="*/ 93334 h 1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073" h="186161">
                  <a:moveTo>
                    <a:pt x="185329" y="93334"/>
                  </a:moveTo>
                  <a:cubicBezTo>
                    <a:pt x="185329" y="41934"/>
                    <a:pt x="143675" y="259"/>
                    <a:pt x="92295" y="259"/>
                  </a:cubicBezTo>
                  <a:cubicBezTo>
                    <a:pt x="40908" y="259"/>
                    <a:pt x="-744" y="41934"/>
                    <a:pt x="-744" y="93334"/>
                  </a:cubicBezTo>
                  <a:cubicBezTo>
                    <a:pt x="-744" y="144747"/>
                    <a:pt x="40908" y="186420"/>
                    <a:pt x="92295" y="186420"/>
                  </a:cubicBezTo>
                  <a:cubicBezTo>
                    <a:pt x="143675" y="186420"/>
                    <a:pt x="185329" y="144747"/>
                    <a:pt x="185329" y="9333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3" name="Vrije vorm 762">
              <a:extLst>
                <a:ext uri="{FF2B5EF4-FFF2-40B4-BE49-F238E27FC236}">
                  <a16:creationId xmlns:a16="http://schemas.microsoft.com/office/drawing/2014/main" id="{7289912F-2B6D-B720-B67A-C920A3C1CE75}"/>
                </a:ext>
              </a:extLst>
            </p:cNvPr>
            <p:cNvSpPr/>
            <p:nvPr/>
          </p:nvSpPr>
          <p:spPr>
            <a:xfrm flipV="1">
              <a:off x="6191656" y="5182870"/>
              <a:ext cx="77837" cy="264202"/>
            </a:xfrm>
            <a:custGeom>
              <a:avLst/>
              <a:gdLst>
                <a:gd name="connsiteX0" fmla="*/ 76697 w 77837"/>
                <a:gd name="connsiteY0" fmla="*/ 264272 h 264202"/>
                <a:gd name="connsiteX1" fmla="*/ 56308 w 77837"/>
                <a:gd name="connsiteY1" fmla="*/ 11422 h 264202"/>
                <a:gd name="connsiteX2" fmla="*/ -1141 w 77837"/>
                <a:gd name="connsiteY2" fmla="*/ 70 h 264202"/>
                <a:gd name="connsiteX3" fmla="*/ -1141 w 77837"/>
                <a:gd name="connsiteY3" fmla="*/ 264272 h 264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37" h="264202">
                  <a:moveTo>
                    <a:pt x="76697" y="264272"/>
                  </a:moveTo>
                  <a:lnTo>
                    <a:pt x="56308" y="11422"/>
                  </a:lnTo>
                  <a:lnTo>
                    <a:pt x="-1141" y="70"/>
                  </a:lnTo>
                  <a:lnTo>
                    <a:pt x="-1141" y="264272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4" name="Vrije vorm 763">
              <a:extLst>
                <a:ext uri="{FF2B5EF4-FFF2-40B4-BE49-F238E27FC236}">
                  <a16:creationId xmlns:a16="http://schemas.microsoft.com/office/drawing/2014/main" id="{00DAA388-6173-817A-931C-EFD589696A6A}"/>
                </a:ext>
              </a:extLst>
            </p:cNvPr>
            <p:cNvSpPr/>
            <p:nvPr/>
          </p:nvSpPr>
          <p:spPr>
            <a:xfrm flipV="1">
              <a:off x="6122655" y="5433372"/>
              <a:ext cx="186068" cy="186161"/>
            </a:xfrm>
            <a:custGeom>
              <a:avLst/>
              <a:gdLst>
                <a:gd name="connsiteX0" fmla="*/ 184937 w 186068"/>
                <a:gd name="connsiteY0" fmla="*/ 93334 h 186161"/>
                <a:gd name="connsiteX1" fmla="*/ 91897 w 186068"/>
                <a:gd name="connsiteY1" fmla="*/ 259 h 186161"/>
                <a:gd name="connsiteX2" fmla="*/ -1131 w 186068"/>
                <a:gd name="connsiteY2" fmla="*/ 93334 h 186161"/>
                <a:gd name="connsiteX3" fmla="*/ 91897 w 186068"/>
                <a:gd name="connsiteY3" fmla="*/ 186420 h 186161"/>
                <a:gd name="connsiteX4" fmla="*/ 184937 w 186068"/>
                <a:gd name="connsiteY4" fmla="*/ 93334 h 1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068" h="186161">
                  <a:moveTo>
                    <a:pt x="184937" y="93334"/>
                  </a:moveTo>
                  <a:cubicBezTo>
                    <a:pt x="184937" y="41934"/>
                    <a:pt x="143286" y="259"/>
                    <a:pt x="91897" y="259"/>
                  </a:cubicBezTo>
                  <a:cubicBezTo>
                    <a:pt x="40520" y="259"/>
                    <a:pt x="-1131" y="41934"/>
                    <a:pt x="-1131" y="93334"/>
                  </a:cubicBezTo>
                  <a:cubicBezTo>
                    <a:pt x="-1131" y="144747"/>
                    <a:pt x="40520" y="186420"/>
                    <a:pt x="91897" y="186420"/>
                  </a:cubicBezTo>
                  <a:cubicBezTo>
                    <a:pt x="143286" y="186420"/>
                    <a:pt x="184937" y="144747"/>
                    <a:pt x="184937" y="9333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5" name="Vrije vorm 764">
              <a:extLst>
                <a:ext uri="{FF2B5EF4-FFF2-40B4-BE49-F238E27FC236}">
                  <a16:creationId xmlns:a16="http://schemas.microsoft.com/office/drawing/2014/main" id="{7EAD3C3D-1B64-241E-239B-20DF4772BE6C}"/>
                </a:ext>
              </a:extLst>
            </p:cNvPr>
            <p:cNvSpPr/>
            <p:nvPr/>
          </p:nvSpPr>
          <p:spPr>
            <a:xfrm flipV="1">
              <a:off x="6155292" y="4495689"/>
              <a:ext cx="132536" cy="5873"/>
            </a:xfrm>
            <a:custGeom>
              <a:avLst/>
              <a:gdLst>
                <a:gd name="connsiteX0" fmla="*/ -1135 w 132536"/>
                <a:gd name="connsiteY0" fmla="*/ 2271 h 5873"/>
                <a:gd name="connsiteX1" fmla="*/ 65139 w 132536"/>
                <a:gd name="connsiteY1" fmla="*/ -659 h 5873"/>
                <a:gd name="connsiteX2" fmla="*/ 131401 w 132536"/>
                <a:gd name="connsiteY2" fmla="*/ 2271 h 5873"/>
                <a:gd name="connsiteX3" fmla="*/ 65139 w 132536"/>
                <a:gd name="connsiteY3" fmla="*/ 5214 h 5873"/>
                <a:gd name="connsiteX4" fmla="*/ -1135 w 132536"/>
                <a:gd name="connsiteY4" fmla="*/ 2271 h 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536" h="5873">
                  <a:moveTo>
                    <a:pt x="-1135" y="2271"/>
                  </a:moveTo>
                  <a:cubicBezTo>
                    <a:pt x="-1135" y="647"/>
                    <a:pt x="28547" y="-659"/>
                    <a:pt x="65139" y="-659"/>
                  </a:cubicBezTo>
                  <a:cubicBezTo>
                    <a:pt x="101744" y="-659"/>
                    <a:pt x="131401" y="647"/>
                    <a:pt x="131401" y="2271"/>
                  </a:cubicBezTo>
                  <a:cubicBezTo>
                    <a:pt x="131401" y="3895"/>
                    <a:pt x="101744" y="5214"/>
                    <a:pt x="65139" y="5214"/>
                  </a:cubicBezTo>
                  <a:cubicBezTo>
                    <a:pt x="28547" y="5214"/>
                    <a:pt x="-1135" y="3895"/>
                    <a:pt x="-1135" y="2271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6" name="Vrije vorm 765">
              <a:extLst>
                <a:ext uri="{FF2B5EF4-FFF2-40B4-BE49-F238E27FC236}">
                  <a16:creationId xmlns:a16="http://schemas.microsoft.com/office/drawing/2014/main" id="{C7EEB8B4-81A2-C9F9-04A1-B5C6E2EBAECF}"/>
                </a:ext>
              </a:extLst>
            </p:cNvPr>
            <p:cNvSpPr/>
            <p:nvPr/>
          </p:nvSpPr>
          <p:spPr>
            <a:xfrm flipV="1">
              <a:off x="6152631" y="5148597"/>
              <a:ext cx="133961" cy="18674"/>
            </a:xfrm>
            <a:custGeom>
              <a:avLst/>
              <a:gdLst>
                <a:gd name="connsiteX0" fmla="*/ -1110 w 133961"/>
                <a:gd name="connsiteY0" fmla="*/ 18444 h 18674"/>
                <a:gd name="connsiteX1" fmla="*/ 65405 w 133961"/>
                <a:gd name="connsiteY1" fmla="*/ 1 h 18674"/>
                <a:gd name="connsiteX2" fmla="*/ 132808 w 133961"/>
                <a:gd name="connsiteY2" fmla="*/ 14946 h 18674"/>
                <a:gd name="connsiteX3" fmla="*/ 65570 w 133961"/>
                <a:gd name="connsiteY3" fmla="*/ 5873 h 18674"/>
                <a:gd name="connsiteX4" fmla="*/ -1110 w 133961"/>
                <a:gd name="connsiteY4" fmla="*/ 18444 h 1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961" h="18674">
                  <a:moveTo>
                    <a:pt x="-1110" y="18444"/>
                  </a:moveTo>
                  <a:cubicBezTo>
                    <a:pt x="-2061" y="17394"/>
                    <a:pt x="26175" y="823"/>
                    <a:pt x="65405" y="1"/>
                  </a:cubicBezTo>
                  <a:cubicBezTo>
                    <a:pt x="104647" y="-1228"/>
                    <a:pt x="133708" y="13851"/>
                    <a:pt x="132808" y="14946"/>
                  </a:cubicBezTo>
                  <a:cubicBezTo>
                    <a:pt x="132250" y="16760"/>
                    <a:pt x="103265" y="4644"/>
                    <a:pt x="65570" y="5873"/>
                  </a:cubicBezTo>
                  <a:cubicBezTo>
                    <a:pt x="27862" y="6611"/>
                    <a:pt x="-464" y="20223"/>
                    <a:pt x="-1110" y="1844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7" name="Vrije vorm 766">
              <a:extLst>
                <a:ext uri="{FF2B5EF4-FFF2-40B4-BE49-F238E27FC236}">
                  <a16:creationId xmlns:a16="http://schemas.microsoft.com/office/drawing/2014/main" id="{FE623B8C-3353-6D62-9001-8875F2C8C12C}"/>
                </a:ext>
              </a:extLst>
            </p:cNvPr>
            <p:cNvSpPr/>
            <p:nvPr/>
          </p:nvSpPr>
          <p:spPr>
            <a:xfrm flipV="1">
              <a:off x="5395223" y="2336876"/>
              <a:ext cx="1236403" cy="1879653"/>
            </a:xfrm>
            <a:custGeom>
              <a:avLst/>
              <a:gdLst>
                <a:gd name="connsiteX0" fmla="*/ 943509 w 1236403"/>
                <a:gd name="connsiteY0" fmla="*/ 1877902 h 1879653"/>
                <a:gd name="connsiteX1" fmla="*/ 290918 w 1236403"/>
                <a:gd name="connsiteY1" fmla="*/ 1877902 h 1879653"/>
                <a:gd name="connsiteX2" fmla="*/ -993 w 1236403"/>
                <a:gd name="connsiteY2" fmla="*/ 1585854 h 1879653"/>
                <a:gd name="connsiteX3" fmla="*/ -993 w 1236403"/>
                <a:gd name="connsiteY3" fmla="*/ 144260 h 1879653"/>
                <a:gd name="connsiteX4" fmla="*/ 144948 w 1236403"/>
                <a:gd name="connsiteY4" fmla="*/ -1751 h 1879653"/>
                <a:gd name="connsiteX5" fmla="*/ 1089485 w 1236403"/>
                <a:gd name="connsiteY5" fmla="*/ -1751 h 1879653"/>
                <a:gd name="connsiteX6" fmla="*/ 1235411 w 1236403"/>
                <a:gd name="connsiteY6" fmla="*/ 144260 h 1879653"/>
                <a:gd name="connsiteX7" fmla="*/ 1235411 w 1236403"/>
                <a:gd name="connsiteY7" fmla="*/ 1585854 h 1879653"/>
                <a:gd name="connsiteX8" fmla="*/ 943509 w 1236403"/>
                <a:gd name="connsiteY8" fmla="*/ 1877902 h 187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36403" h="1879653">
                  <a:moveTo>
                    <a:pt x="943509" y="1877902"/>
                  </a:moveTo>
                  <a:lnTo>
                    <a:pt x="290918" y="1877902"/>
                  </a:lnTo>
                  <a:cubicBezTo>
                    <a:pt x="129702" y="1877902"/>
                    <a:pt x="-993" y="1747152"/>
                    <a:pt x="-993" y="1585854"/>
                  </a:cubicBezTo>
                  <a:lnTo>
                    <a:pt x="-993" y="144260"/>
                  </a:lnTo>
                  <a:cubicBezTo>
                    <a:pt x="-993" y="63618"/>
                    <a:pt x="64345" y="-1751"/>
                    <a:pt x="144948" y="-1751"/>
                  </a:cubicBezTo>
                  <a:lnTo>
                    <a:pt x="1089485" y="-1751"/>
                  </a:lnTo>
                  <a:cubicBezTo>
                    <a:pt x="1170074" y="-1751"/>
                    <a:pt x="1235411" y="63618"/>
                    <a:pt x="1235411" y="144260"/>
                  </a:cubicBezTo>
                  <a:lnTo>
                    <a:pt x="1235411" y="1585854"/>
                  </a:lnTo>
                  <a:cubicBezTo>
                    <a:pt x="1235411" y="1747152"/>
                    <a:pt x="1104725" y="1877902"/>
                    <a:pt x="943509" y="1877902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8" name="Vrije vorm 767">
              <a:extLst>
                <a:ext uri="{FF2B5EF4-FFF2-40B4-BE49-F238E27FC236}">
                  <a16:creationId xmlns:a16="http://schemas.microsoft.com/office/drawing/2014/main" id="{20CAB2AE-4A2F-89C4-DA73-983C631FBC5A}"/>
                </a:ext>
              </a:extLst>
            </p:cNvPr>
            <p:cNvSpPr/>
            <p:nvPr/>
          </p:nvSpPr>
          <p:spPr>
            <a:xfrm flipV="1">
              <a:off x="5395223" y="4183876"/>
              <a:ext cx="1474354" cy="178169"/>
            </a:xfrm>
            <a:custGeom>
              <a:avLst/>
              <a:gdLst>
                <a:gd name="connsiteX0" fmla="*/ 1396736 w 1474354"/>
                <a:gd name="connsiteY0" fmla="*/ -861 h 178169"/>
                <a:gd name="connsiteX1" fmla="*/ 75477 w 1474354"/>
                <a:gd name="connsiteY1" fmla="*/ -861 h 178169"/>
                <a:gd name="connsiteX2" fmla="*/ -1074 w 1474354"/>
                <a:gd name="connsiteY2" fmla="*/ 75722 h 178169"/>
                <a:gd name="connsiteX3" fmla="*/ -1074 w 1474354"/>
                <a:gd name="connsiteY3" fmla="*/ 100725 h 178169"/>
                <a:gd name="connsiteX4" fmla="*/ 75477 w 1474354"/>
                <a:gd name="connsiteY4" fmla="*/ 177309 h 178169"/>
                <a:gd name="connsiteX5" fmla="*/ 1396736 w 1474354"/>
                <a:gd name="connsiteY5" fmla="*/ 177309 h 178169"/>
                <a:gd name="connsiteX6" fmla="*/ 1473281 w 1474354"/>
                <a:gd name="connsiteY6" fmla="*/ 100725 h 178169"/>
                <a:gd name="connsiteX7" fmla="*/ 1473281 w 1474354"/>
                <a:gd name="connsiteY7" fmla="*/ 75722 h 178169"/>
                <a:gd name="connsiteX8" fmla="*/ 1396736 w 1474354"/>
                <a:gd name="connsiteY8" fmla="*/ -861 h 178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4354" h="178169">
                  <a:moveTo>
                    <a:pt x="1396736" y="-861"/>
                  </a:moveTo>
                  <a:lnTo>
                    <a:pt x="75477" y="-861"/>
                  </a:lnTo>
                  <a:cubicBezTo>
                    <a:pt x="33199" y="-861"/>
                    <a:pt x="-1074" y="33428"/>
                    <a:pt x="-1074" y="75722"/>
                  </a:cubicBezTo>
                  <a:lnTo>
                    <a:pt x="-1074" y="100725"/>
                  </a:lnTo>
                  <a:cubicBezTo>
                    <a:pt x="-1074" y="143019"/>
                    <a:pt x="33199" y="177309"/>
                    <a:pt x="75477" y="177309"/>
                  </a:cubicBezTo>
                  <a:lnTo>
                    <a:pt x="1396736" y="177309"/>
                  </a:lnTo>
                  <a:cubicBezTo>
                    <a:pt x="1439009" y="177309"/>
                    <a:pt x="1473281" y="143019"/>
                    <a:pt x="1473281" y="100725"/>
                  </a:cubicBezTo>
                  <a:lnTo>
                    <a:pt x="1473281" y="75722"/>
                  </a:lnTo>
                  <a:cubicBezTo>
                    <a:pt x="1473281" y="33428"/>
                    <a:pt x="1439009" y="-861"/>
                    <a:pt x="1396736" y="-861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9" name="Vrije vorm 768">
              <a:extLst>
                <a:ext uri="{FF2B5EF4-FFF2-40B4-BE49-F238E27FC236}">
                  <a16:creationId xmlns:a16="http://schemas.microsoft.com/office/drawing/2014/main" id="{91ED7766-6318-B24E-B410-AACCE32522A7}"/>
                </a:ext>
              </a:extLst>
            </p:cNvPr>
            <p:cNvSpPr/>
            <p:nvPr/>
          </p:nvSpPr>
          <p:spPr>
            <a:xfrm flipV="1">
              <a:off x="5442691" y="4179677"/>
              <a:ext cx="1215218" cy="6495"/>
            </a:xfrm>
            <a:custGeom>
              <a:avLst/>
              <a:gdLst>
                <a:gd name="connsiteX0" fmla="*/ 1214201 w 1215218"/>
                <a:gd name="connsiteY0" fmla="*/ 2306 h 6495"/>
                <a:gd name="connsiteX1" fmla="*/ 606624 w 1215218"/>
                <a:gd name="connsiteY1" fmla="*/ 5554 h 6495"/>
                <a:gd name="connsiteX2" fmla="*/ -1018 w 1215218"/>
                <a:gd name="connsiteY2" fmla="*/ 2306 h 6495"/>
                <a:gd name="connsiteX3" fmla="*/ 606624 w 1215218"/>
                <a:gd name="connsiteY3" fmla="*/ -941 h 6495"/>
                <a:gd name="connsiteX4" fmla="*/ 1214201 w 1215218"/>
                <a:gd name="connsiteY4" fmla="*/ 2306 h 6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5218" h="6495">
                  <a:moveTo>
                    <a:pt x="1214201" y="2306"/>
                  </a:moveTo>
                  <a:cubicBezTo>
                    <a:pt x="1214201" y="4095"/>
                    <a:pt x="942142" y="5554"/>
                    <a:pt x="606624" y="5554"/>
                  </a:cubicBezTo>
                  <a:cubicBezTo>
                    <a:pt x="270981" y="5554"/>
                    <a:pt x="-1018" y="4095"/>
                    <a:pt x="-1018" y="2306"/>
                  </a:cubicBezTo>
                  <a:cubicBezTo>
                    <a:pt x="-1018" y="517"/>
                    <a:pt x="270981" y="-941"/>
                    <a:pt x="606624" y="-941"/>
                  </a:cubicBezTo>
                  <a:cubicBezTo>
                    <a:pt x="942142" y="-941"/>
                    <a:pt x="1214201" y="517"/>
                    <a:pt x="1214201" y="2306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0" name="Vrije vorm 769">
              <a:extLst>
                <a:ext uri="{FF2B5EF4-FFF2-40B4-BE49-F238E27FC236}">
                  <a16:creationId xmlns:a16="http://schemas.microsoft.com/office/drawing/2014/main" id="{F5273404-1DF3-0021-E799-75138B6B2204}"/>
                </a:ext>
              </a:extLst>
            </p:cNvPr>
            <p:cNvSpPr/>
            <p:nvPr/>
          </p:nvSpPr>
          <p:spPr>
            <a:xfrm flipV="1">
              <a:off x="6656059" y="5066658"/>
              <a:ext cx="490071" cy="526511"/>
            </a:xfrm>
            <a:custGeom>
              <a:avLst/>
              <a:gdLst>
                <a:gd name="connsiteX0" fmla="*/ 335301 w 490071"/>
                <a:gd name="connsiteY0" fmla="*/ 465541 h 526511"/>
                <a:gd name="connsiteX1" fmla="*/ 265717 w 490071"/>
                <a:gd name="connsiteY1" fmla="*/ 208151 h 526511"/>
                <a:gd name="connsiteX2" fmla="*/ 488251 w 490071"/>
                <a:gd name="connsiteY2" fmla="*/ 83 h 526511"/>
                <a:gd name="connsiteX3" fmla="*/ -1599 w 490071"/>
                <a:gd name="connsiteY3" fmla="*/ 120972 h 526511"/>
                <a:gd name="connsiteX4" fmla="*/ 90820 w 490071"/>
                <a:gd name="connsiteY4" fmla="*/ 526595 h 526511"/>
                <a:gd name="connsiteX5" fmla="*/ 335301 w 490071"/>
                <a:gd name="connsiteY5" fmla="*/ 465541 h 526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0071" h="526511">
                  <a:moveTo>
                    <a:pt x="335301" y="465541"/>
                  </a:moveTo>
                  <a:lnTo>
                    <a:pt x="265717" y="208151"/>
                  </a:lnTo>
                  <a:cubicBezTo>
                    <a:pt x="265717" y="208151"/>
                    <a:pt x="496606" y="48932"/>
                    <a:pt x="488251" y="83"/>
                  </a:cubicBezTo>
                  <a:lnTo>
                    <a:pt x="-1599" y="120972"/>
                  </a:lnTo>
                  <a:lnTo>
                    <a:pt x="90820" y="526595"/>
                  </a:lnTo>
                  <a:lnTo>
                    <a:pt x="335301" y="465541"/>
                  </a:lnTo>
                </a:path>
              </a:pathLst>
            </a:custGeom>
            <a:solidFill>
              <a:srgbClr val="A24027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1" name="Vrije vorm 770">
              <a:extLst>
                <a:ext uri="{FF2B5EF4-FFF2-40B4-BE49-F238E27FC236}">
                  <a16:creationId xmlns:a16="http://schemas.microsoft.com/office/drawing/2014/main" id="{AE47727F-9374-A5F3-569C-4C18F854A71E}"/>
                </a:ext>
              </a:extLst>
            </p:cNvPr>
            <p:cNvSpPr/>
            <p:nvPr/>
          </p:nvSpPr>
          <p:spPr>
            <a:xfrm flipV="1">
              <a:off x="6757695" y="5325661"/>
              <a:ext cx="39574" cy="40175"/>
            </a:xfrm>
            <a:custGeom>
              <a:avLst/>
              <a:gdLst>
                <a:gd name="connsiteX0" fmla="*/ 17796 w 39574"/>
                <a:gd name="connsiteY0" fmla="*/ 40048 h 40175"/>
                <a:gd name="connsiteX1" fmla="*/ -1514 w 39574"/>
                <a:gd name="connsiteY1" fmla="*/ 19965 h 40175"/>
                <a:gd name="connsiteX2" fmla="*/ 17657 w 39574"/>
                <a:gd name="connsiteY2" fmla="*/ 99 h 40175"/>
                <a:gd name="connsiteX3" fmla="*/ 37994 w 39574"/>
                <a:gd name="connsiteY3" fmla="*/ 21475 h 40175"/>
                <a:gd name="connsiteX4" fmla="*/ 15818 w 39574"/>
                <a:gd name="connsiteY4" fmla="*/ 39870 h 40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74" h="40175">
                  <a:moveTo>
                    <a:pt x="17796" y="40048"/>
                  </a:moveTo>
                  <a:cubicBezTo>
                    <a:pt x="7691" y="39716"/>
                    <a:pt x="-1413" y="30371"/>
                    <a:pt x="-1514" y="19965"/>
                  </a:cubicBezTo>
                  <a:cubicBezTo>
                    <a:pt x="-1616" y="9578"/>
                    <a:pt x="7552" y="-41"/>
                    <a:pt x="17657" y="99"/>
                  </a:cubicBezTo>
                  <a:cubicBezTo>
                    <a:pt x="27762" y="252"/>
                    <a:pt x="39022" y="11139"/>
                    <a:pt x="37994" y="21475"/>
                  </a:cubicBezTo>
                  <a:cubicBezTo>
                    <a:pt x="36955" y="31827"/>
                    <a:pt x="25594" y="42496"/>
                    <a:pt x="15818" y="39870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1024" name="Groep 1023">
              <a:extLst>
                <a:ext uri="{FF2B5EF4-FFF2-40B4-BE49-F238E27FC236}">
                  <a16:creationId xmlns:a16="http://schemas.microsoft.com/office/drawing/2014/main" id="{2BE09080-C708-3E9C-C28B-8864CF97EA04}"/>
                </a:ext>
              </a:extLst>
            </p:cNvPr>
            <p:cNvGrpSpPr/>
            <p:nvPr/>
          </p:nvGrpSpPr>
          <p:grpSpPr>
            <a:xfrm>
              <a:off x="5584441" y="1786165"/>
              <a:ext cx="858874" cy="869636"/>
              <a:chOff x="2313721" y="3183866"/>
              <a:chExt cx="585803" cy="809698"/>
            </a:xfrm>
          </p:grpSpPr>
          <p:sp>
            <p:nvSpPr>
              <p:cNvPr id="309" name="Vrije vorm 308">
                <a:extLst>
                  <a:ext uri="{FF2B5EF4-FFF2-40B4-BE49-F238E27FC236}">
                    <a16:creationId xmlns:a16="http://schemas.microsoft.com/office/drawing/2014/main" id="{E20E3417-8959-A692-230B-6478E131AE82}"/>
                  </a:ext>
                </a:extLst>
              </p:cNvPr>
              <p:cNvSpPr/>
              <p:nvPr/>
            </p:nvSpPr>
            <p:spPr>
              <a:xfrm flipV="1">
                <a:off x="2537891" y="3696037"/>
                <a:ext cx="193296" cy="297527"/>
              </a:xfrm>
              <a:custGeom>
                <a:avLst/>
                <a:gdLst>
                  <a:gd name="connsiteX0" fmla="*/ 66547 w 71754"/>
                  <a:gd name="connsiteY0" fmla="*/ 110596 h 148616"/>
                  <a:gd name="connsiteX1" fmla="*/ 63780 w 71754"/>
                  <a:gd name="connsiteY1" fmla="*/ -3788 h 148616"/>
                  <a:gd name="connsiteX2" fmla="*/ -5207 w 71754"/>
                  <a:gd name="connsiteY2" fmla="*/ 27038 h 148616"/>
                  <a:gd name="connsiteX3" fmla="*/ -3031 w 71754"/>
                  <a:gd name="connsiteY3" fmla="*/ 144829 h 148616"/>
                  <a:gd name="connsiteX4" fmla="*/ 66547 w 71754"/>
                  <a:gd name="connsiteY4" fmla="*/ 11059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66547" y="110596"/>
                    </a:moveTo>
                    <a:lnTo>
                      <a:pt x="63780" y="-3788"/>
                    </a:lnTo>
                    <a:lnTo>
                      <a:pt x="-5207" y="27038"/>
                    </a:lnTo>
                    <a:lnTo>
                      <a:pt x="-3031" y="144829"/>
                    </a:lnTo>
                    <a:lnTo>
                      <a:pt x="66547" y="11059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2" name="Vrije vorm 321">
                <a:extLst>
                  <a:ext uri="{FF2B5EF4-FFF2-40B4-BE49-F238E27FC236}">
                    <a16:creationId xmlns:a16="http://schemas.microsoft.com/office/drawing/2014/main" id="{4F50029B-6D90-A82A-A7E2-C560113ADB33}"/>
                  </a:ext>
                </a:extLst>
              </p:cNvPr>
              <p:cNvSpPr/>
              <p:nvPr/>
            </p:nvSpPr>
            <p:spPr>
              <a:xfrm flipV="1">
                <a:off x="2313721" y="3183866"/>
                <a:ext cx="585803" cy="607746"/>
              </a:xfrm>
              <a:custGeom>
                <a:avLst/>
                <a:gdLst>
                  <a:gd name="connsiteX0" fmla="*/ 92306 w 217458"/>
                  <a:gd name="connsiteY0" fmla="*/ 294432 h 303572"/>
                  <a:gd name="connsiteX1" fmla="*/ 28511 w 217458"/>
                  <a:gd name="connsiteY1" fmla="*/ 234490 h 303572"/>
                  <a:gd name="connsiteX2" fmla="*/ 31858 w 217458"/>
                  <a:gd name="connsiteY2" fmla="*/ 158369 h 303572"/>
                  <a:gd name="connsiteX3" fmla="*/ 5007 w 217458"/>
                  <a:gd name="connsiteY3" fmla="*/ 165682 h 303572"/>
                  <a:gd name="connsiteX4" fmla="*/ 33091 w 217458"/>
                  <a:gd name="connsiteY4" fmla="*/ 91974 h 303572"/>
                  <a:gd name="connsiteX5" fmla="*/ 38988 w 217458"/>
                  <a:gd name="connsiteY5" fmla="*/ 51785 h 303572"/>
                  <a:gd name="connsiteX6" fmla="*/ 127531 w 217458"/>
                  <a:gd name="connsiteY6" fmla="*/ -3402 h 303572"/>
                  <a:gd name="connsiteX7" fmla="*/ 211306 w 217458"/>
                  <a:gd name="connsiteY7" fmla="*/ 60351 h 303572"/>
                  <a:gd name="connsiteX8" fmla="*/ 212260 w 217458"/>
                  <a:gd name="connsiteY8" fmla="*/ 246857 h 303572"/>
                  <a:gd name="connsiteX9" fmla="*/ 92306 w 217458"/>
                  <a:gd name="connsiteY9" fmla="*/ 294432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8" h="303572">
                    <a:moveTo>
                      <a:pt x="92306" y="294432"/>
                    </a:moveTo>
                    <a:cubicBezTo>
                      <a:pt x="26769" y="279495"/>
                      <a:pt x="28511" y="234490"/>
                      <a:pt x="28511" y="234490"/>
                    </a:cubicBezTo>
                    <a:cubicBezTo>
                      <a:pt x="28511" y="234490"/>
                      <a:pt x="30563" y="199739"/>
                      <a:pt x="31858" y="158369"/>
                    </a:cubicBezTo>
                    <a:cubicBezTo>
                      <a:pt x="25795" y="166707"/>
                      <a:pt x="15536" y="170187"/>
                      <a:pt x="5007" y="165682"/>
                    </a:cubicBezTo>
                    <a:cubicBezTo>
                      <a:pt x="-17305" y="156142"/>
                      <a:pt x="-828" y="85894"/>
                      <a:pt x="33091" y="91974"/>
                    </a:cubicBezTo>
                    <a:cubicBezTo>
                      <a:pt x="34552" y="72356"/>
                      <a:pt x="36469" y="57078"/>
                      <a:pt x="38988" y="51785"/>
                    </a:cubicBezTo>
                    <a:cubicBezTo>
                      <a:pt x="48511" y="31805"/>
                      <a:pt x="90399" y="1362"/>
                      <a:pt x="127531" y="-3402"/>
                    </a:cubicBezTo>
                    <a:cubicBezTo>
                      <a:pt x="164662" y="-8156"/>
                      <a:pt x="211306" y="16578"/>
                      <a:pt x="211306" y="60351"/>
                    </a:cubicBezTo>
                    <a:cubicBezTo>
                      <a:pt x="211306" y="104124"/>
                      <a:pt x="212260" y="246857"/>
                      <a:pt x="212260" y="246857"/>
                    </a:cubicBezTo>
                    <a:cubicBezTo>
                      <a:pt x="212260" y="246857"/>
                      <a:pt x="200829" y="319177"/>
                      <a:pt x="92306" y="29443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3" name="Vrije vorm 322">
                <a:extLst>
                  <a:ext uri="{FF2B5EF4-FFF2-40B4-BE49-F238E27FC236}">
                    <a16:creationId xmlns:a16="http://schemas.microsoft.com/office/drawing/2014/main" id="{9B3BE788-FE35-88B3-A8C8-08C9785C95E7}"/>
                  </a:ext>
                </a:extLst>
              </p:cNvPr>
              <p:cNvSpPr/>
              <p:nvPr/>
            </p:nvSpPr>
            <p:spPr>
              <a:xfrm flipV="1">
                <a:off x="2739254" y="3447551"/>
                <a:ext cx="91147" cy="165726"/>
              </a:xfrm>
              <a:custGeom>
                <a:avLst/>
                <a:gdLst>
                  <a:gd name="connsiteX0" fmla="*/ -5254 w 33835"/>
                  <a:gd name="connsiteY0" fmla="*/ 78822 h 82781"/>
                  <a:gd name="connsiteX1" fmla="*/ 8612 w 33835"/>
                  <a:gd name="connsiteY1" fmla="*/ 43014 h 82781"/>
                  <a:gd name="connsiteX2" fmla="*/ 27256 w 33835"/>
                  <a:gd name="connsiteY2" fmla="*/ 10593 h 82781"/>
                  <a:gd name="connsiteX3" fmla="*/ 28582 w 33835"/>
                  <a:gd name="connsiteY3" fmla="*/ 9174 h 82781"/>
                  <a:gd name="connsiteX4" fmla="*/ 27245 w 33835"/>
                  <a:gd name="connsiteY4" fmla="*/ 8108 h 82781"/>
                  <a:gd name="connsiteX5" fmla="*/ 10923 w 33835"/>
                  <a:gd name="connsiteY5" fmla="*/ -3959 h 82781"/>
                  <a:gd name="connsiteX6" fmla="*/ 25069 w 33835"/>
                  <a:gd name="connsiteY6" fmla="*/ 10604 h 82781"/>
                  <a:gd name="connsiteX7" fmla="*/ 25048 w 33835"/>
                  <a:gd name="connsiteY7" fmla="*/ 8128 h 82781"/>
                  <a:gd name="connsiteX8" fmla="*/ 12716 w 33835"/>
                  <a:gd name="connsiteY8" fmla="*/ 23645 h 82781"/>
                  <a:gd name="connsiteX9" fmla="*/ 4404 w 33835"/>
                  <a:gd name="connsiteY9" fmla="*/ 41326 h 82781"/>
                  <a:gd name="connsiteX10" fmla="*/ -5254 w 33835"/>
                  <a:gd name="connsiteY10" fmla="*/ 78822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5" h="82781">
                    <a:moveTo>
                      <a:pt x="-5254" y="78822"/>
                    </a:moveTo>
                    <a:cubicBezTo>
                      <a:pt x="-746" y="66723"/>
                      <a:pt x="3752" y="54760"/>
                      <a:pt x="8612" y="43014"/>
                    </a:cubicBezTo>
                    <a:cubicBezTo>
                      <a:pt x="13752" y="31486"/>
                      <a:pt x="18882" y="19646"/>
                      <a:pt x="27256" y="10593"/>
                    </a:cubicBezTo>
                    <a:lnTo>
                      <a:pt x="28582" y="9174"/>
                    </a:lnTo>
                    <a:lnTo>
                      <a:pt x="27245" y="8108"/>
                    </a:lnTo>
                    <a:cubicBezTo>
                      <a:pt x="21960" y="3913"/>
                      <a:pt x="16540" y="-137"/>
                      <a:pt x="10923" y="-3959"/>
                    </a:cubicBezTo>
                    <a:cubicBezTo>
                      <a:pt x="15473" y="1095"/>
                      <a:pt x="20198" y="5922"/>
                      <a:pt x="25069" y="10604"/>
                    </a:cubicBezTo>
                    <a:lnTo>
                      <a:pt x="25048" y="8128"/>
                    </a:lnTo>
                    <a:cubicBezTo>
                      <a:pt x="19732" y="12385"/>
                      <a:pt x="16042" y="18020"/>
                      <a:pt x="12716" y="23645"/>
                    </a:cubicBezTo>
                    <a:cubicBezTo>
                      <a:pt x="9317" y="29259"/>
                      <a:pt x="6653" y="35235"/>
                      <a:pt x="4404" y="41326"/>
                    </a:cubicBezTo>
                    <a:cubicBezTo>
                      <a:pt x="-342" y="53403"/>
                      <a:pt x="-3513" y="66019"/>
                      <a:pt x="-5254" y="7882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4" name="Vrije vorm 323">
                <a:extLst>
                  <a:ext uri="{FF2B5EF4-FFF2-40B4-BE49-F238E27FC236}">
                    <a16:creationId xmlns:a16="http://schemas.microsoft.com/office/drawing/2014/main" id="{C1A60963-48A5-24A8-A23E-C12511E59772}"/>
                  </a:ext>
                </a:extLst>
              </p:cNvPr>
              <p:cNvSpPr/>
              <p:nvPr/>
            </p:nvSpPr>
            <p:spPr>
              <a:xfrm flipV="1">
                <a:off x="2592091" y="3425343"/>
                <a:ext cx="51143" cy="69177"/>
              </a:xfrm>
              <a:custGeom>
                <a:avLst/>
                <a:gdLst>
                  <a:gd name="connsiteX0" fmla="*/ 13787 w 18985"/>
                  <a:gd name="connsiteY0" fmla="*/ 13279 h 34554"/>
                  <a:gd name="connsiteX1" fmla="*/ 4294 w 18985"/>
                  <a:gd name="connsiteY1" fmla="*/ -3998 h 34554"/>
                  <a:gd name="connsiteX2" fmla="*/ -5199 w 18985"/>
                  <a:gd name="connsiteY2" fmla="*/ 13279 h 34554"/>
                  <a:gd name="connsiteX3" fmla="*/ 4294 w 18985"/>
                  <a:gd name="connsiteY3" fmla="*/ 30556 h 34554"/>
                  <a:gd name="connsiteX4" fmla="*/ 13787 w 18985"/>
                  <a:gd name="connsiteY4" fmla="*/ 13279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13787" y="13279"/>
                    </a:moveTo>
                    <a:cubicBezTo>
                      <a:pt x="13787" y="3739"/>
                      <a:pt x="9538" y="-3998"/>
                      <a:pt x="4294" y="-3998"/>
                    </a:cubicBezTo>
                    <a:cubicBezTo>
                      <a:pt x="-950" y="-3998"/>
                      <a:pt x="-5199" y="3739"/>
                      <a:pt x="-5199" y="13279"/>
                    </a:cubicBezTo>
                    <a:cubicBezTo>
                      <a:pt x="-5199" y="22819"/>
                      <a:pt x="-950" y="30556"/>
                      <a:pt x="4294" y="30556"/>
                    </a:cubicBezTo>
                    <a:cubicBezTo>
                      <a:pt x="9538" y="30556"/>
                      <a:pt x="13787" y="22819"/>
                      <a:pt x="13787" y="13279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5" name="Vrije vorm 324">
                <a:extLst>
                  <a:ext uri="{FF2B5EF4-FFF2-40B4-BE49-F238E27FC236}">
                    <a16:creationId xmlns:a16="http://schemas.microsoft.com/office/drawing/2014/main" id="{1E16C501-F03C-3EFE-81E0-D3C29C0A5CA0}"/>
                  </a:ext>
                </a:extLst>
              </p:cNvPr>
              <p:cNvSpPr/>
              <p:nvPr/>
            </p:nvSpPr>
            <p:spPr>
              <a:xfrm flipV="1">
                <a:off x="2826682" y="3425939"/>
                <a:ext cx="51143" cy="69177"/>
              </a:xfrm>
              <a:custGeom>
                <a:avLst/>
                <a:gdLst>
                  <a:gd name="connsiteX0" fmla="*/ 13720 w 18985"/>
                  <a:gd name="connsiteY0" fmla="*/ 13284 h 34554"/>
                  <a:gd name="connsiteX1" fmla="*/ 4227 w 18985"/>
                  <a:gd name="connsiteY1" fmla="*/ -3994 h 34554"/>
                  <a:gd name="connsiteX2" fmla="*/ -5265 w 18985"/>
                  <a:gd name="connsiteY2" fmla="*/ 13284 h 34554"/>
                  <a:gd name="connsiteX3" fmla="*/ 4227 w 18985"/>
                  <a:gd name="connsiteY3" fmla="*/ 30560 h 34554"/>
                  <a:gd name="connsiteX4" fmla="*/ 13720 w 18985"/>
                  <a:gd name="connsiteY4" fmla="*/ 13284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13720" y="13284"/>
                    </a:moveTo>
                    <a:cubicBezTo>
                      <a:pt x="13720" y="3744"/>
                      <a:pt x="9461" y="-3994"/>
                      <a:pt x="4227" y="-3994"/>
                    </a:cubicBezTo>
                    <a:cubicBezTo>
                      <a:pt x="-1016" y="-3994"/>
                      <a:pt x="-5265" y="3744"/>
                      <a:pt x="-5265" y="13284"/>
                    </a:cubicBezTo>
                    <a:cubicBezTo>
                      <a:pt x="-5265" y="22833"/>
                      <a:pt x="-1016" y="30560"/>
                      <a:pt x="4227" y="30560"/>
                    </a:cubicBezTo>
                    <a:cubicBezTo>
                      <a:pt x="9461" y="30560"/>
                      <a:pt x="13720" y="22833"/>
                      <a:pt x="13720" y="13284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6" name="Vrije vorm 325">
                <a:extLst>
                  <a:ext uri="{FF2B5EF4-FFF2-40B4-BE49-F238E27FC236}">
                    <a16:creationId xmlns:a16="http://schemas.microsoft.com/office/drawing/2014/main" id="{13365F96-16B4-AC06-041A-69E1204FF4F3}"/>
                  </a:ext>
                </a:extLst>
              </p:cNvPr>
              <p:cNvSpPr/>
              <p:nvPr/>
            </p:nvSpPr>
            <p:spPr>
              <a:xfrm rot="11623917" flipV="1">
                <a:off x="2512902" y="3349552"/>
                <a:ext cx="120537" cy="62312"/>
              </a:xfrm>
              <a:custGeom>
                <a:avLst/>
                <a:gdLst>
                  <a:gd name="connsiteX0" fmla="*/ -5188 w 44745"/>
                  <a:gd name="connsiteY0" fmla="*/ -664 h 31125"/>
                  <a:gd name="connsiteX1" fmla="*/ 21062 w 44745"/>
                  <a:gd name="connsiteY1" fmla="*/ 8254 h 31125"/>
                  <a:gd name="connsiteX2" fmla="*/ 30907 w 44745"/>
                  <a:gd name="connsiteY2" fmla="*/ 15515 h 31125"/>
                  <a:gd name="connsiteX3" fmla="*/ 38762 w 44745"/>
                  <a:gd name="connsiteY3" fmla="*/ 27085 h 31125"/>
                  <a:gd name="connsiteX4" fmla="*/ 37291 w 44745"/>
                  <a:gd name="connsiteY4" fmla="*/ 11309 h 31125"/>
                  <a:gd name="connsiteX5" fmla="*/ 25497 w 44745"/>
                  <a:gd name="connsiteY5" fmla="*/ -478 h 31125"/>
                  <a:gd name="connsiteX6" fmla="*/ 9911 w 44745"/>
                  <a:gd name="connsiteY6" fmla="*/ -4041 h 31125"/>
                  <a:gd name="connsiteX7" fmla="*/ -5188 w 44745"/>
                  <a:gd name="connsiteY7" fmla="*/ -664 h 31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745" h="31125">
                    <a:moveTo>
                      <a:pt x="-5188" y="-664"/>
                    </a:moveTo>
                    <a:cubicBezTo>
                      <a:pt x="4709" y="2412"/>
                      <a:pt x="13538" y="4442"/>
                      <a:pt x="21062" y="8254"/>
                    </a:cubicBezTo>
                    <a:cubicBezTo>
                      <a:pt x="24803" y="10118"/>
                      <a:pt x="27953" y="12532"/>
                      <a:pt x="30907" y="15515"/>
                    </a:cubicBezTo>
                    <a:cubicBezTo>
                      <a:pt x="34005" y="18488"/>
                      <a:pt x="35923" y="22538"/>
                      <a:pt x="38762" y="27085"/>
                    </a:cubicBezTo>
                    <a:cubicBezTo>
                      <a:pt x="39985" y="22123"/>
                      <a:pt x="40016" y="16302"/>
                      <a:pt x="37291" y="11309"/>
                    </a:cubicBezTo>
                    <a:cubicBezTo>
                      <a:pt x="34855" y="6203"/>
                      <a:pt x="30409" y="2122"/>
                      <a:pt x="25497" y="-478"/>
                    </a:cubicBezTo>
                    <a:cubicBezTo>
                      <a:pt x="20492" y="-2881"/>
                      <a:pt x="15155" y="-4062"/>
                      <a:pt x="9911" y="-4041"/>
                    </a:cubicBezTo>
                    <a:cubicBezTo>
                      <a:pt x="4688" y="-4041"/>
                      <a:pt x="-504" y="-3150"/>
                      <a:pt x="-5188" y="-664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7" name="Vrije vorm 326">
                <a:extLst>
                  <a:ext uri="{FF2B5EF4-FFF2-40B4-BE49-F238E27FC236}">
                    <a16:creationId xmlns:a16="http://schemas.microsoft.com/office/drawing/2014/main" id="{6B5225BF-FD70-AAE8-B5C8-9A494B2CA399}"/>
                  </a:ext>
                </a:extLst>
              </p:cNvPr>
              <p:cNvSpPr/>
              <p:nvPr/>
            </p:nvSpPr>
            <p:spPr>
              <a:xfrm rot="10800000" flipV="1">
                <a:off x="2752446" y="3356953"/>
                <a:ext cx="103636" cy="47992"/>
              </a:xfrm>
              <a:custGeom>
                <a:avLst/>
                <a:gdLst>
                  <a:gd name="connsiteX0" fmla="*/ 33202 w 38471"/>
                  <a:gd name="connsiteY0" fmla="*/ 3017 h 23972"/>
                  <a:gd name="connsiteX1" fmla="*/ 21658 w 38471"/>
                  <a:gd name="connsiteY1" fmla="*/ -3260 h 23972"/>
                  <a:gd name="connsiteX2" fmla="*/ 7771 w 38471"/>
                  <a:gd name="connsiteY2" fmla="*/ -2825 h 23972"/>
                  <a:gd name="connsiteX3" fmla="*/ -3110 w 38471"/>
                  <a:gd name="connsiteY3" fmla="*/ 6683 h 23972"/>
                  <a:gd name="connsiteX4" fmla="*/ -4841 w 38471"/>
                  <a:gd name="connsiteY4" fmla="*/ 19931 h 23972"/>
                  <a:gd name="connsiteX5" fmla="*/ 2486 w 38471"/>
                  <a:gd name="connsiteY5" fmla="*/ 10599 h 23972"/>
                  <a:gd name="connsiteX6" fmla="*/ 10662 w 38471"/>
                  <a:gd name="connsiteY6" fmla="*/ 5420 h 23972"/>
                  <a:gd name="connsiteX7" fmla="*/ 33202 w 38471"/>
                  <a:gd name="connsiteY7" fmla="*/ 3017 h 23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71" h="23972">
                    <a:moveTo>
                      <a:pt x="33202" y="3017"/>
                    </a:moveTo>
                    <a:cubicBezTo>
                      <a:pt x="30042" y="-194"/>
                      <a:pt x="26000" y="-2162"/>
                      <a:pt x="21658" y="-3260"/>
                    </a:cubicBezTo>
                    <a:cubicBezTo>
                      <a:pt x="17305" y="-4379"/>
                      <a:pt x="12466" y="-4348"/>
                      <a:pt x="7771" y="-2825"/>
                    </a:cubicBezTo>
                    <a:cubicBezTo>
                      <a:pt x="3087" y="-1261"/>
                      <a:pt x="-1089" y="2364"/>
                      <a:pt x="-3110" y="6683"/>
                    </a:cubicBezTo>
                    <a:cubicBezTo>
                      <a:pt x="-5421" y="10910"/>
                      <a:pt x="-5660" y="15633"/>
                      <a:pt x="-4841" y="19931"/>
                    </a:cubicBezTo>
                    <a:cubicBezTo>
                      <a:pt x="-2095" y="16337"/>
                      <a:pt x="-136" y="12991"/>
                      <a:pt x="2486" y="10599"/>
                    </a:cubicBezTo>
                    <a:cubicBezTo>
                      <a:pt x="4973" y="8154"/>
                      <a:pt x="7533" y="6352"/>
                      <a:pt x="10662" y="5420"/>
                    </a:cubicBezTo>
                    <a:cubicBezTo>
                      <a:pt x="16860" y="3213"/>
                      <a:pt x="24445" y="3358"/>
                      <a:pt x="33202" y="3017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8" name="Vrije vorm 327">
                <a:extLst>
                  <a:ext uri="{FF2B5EF4-FFF2-40B4-BE49-F238E27FC236}">
                    <a16:creationId xmlns:a16="http://schemas.microsoft.com/office/drawing/2014/main" id="{2FF90951-77DE-8EC2-21E3-F644EEA5BA1D}"/>
                  </a:ext>
                </a:extLst>
              </p:cNvPr>
              <p:cNvSpPr/>
              <p:nvPr/>
            </p:nvSpPr>
            <p:spPr>
              <a:xfrm flipV="1">
                <a:off x="2585766" y="3630657"/>
                <a:ext cx="207729" cy="51473"/>
              </a:xfrm>
              <a:custGeom>
                <a:avLst/>
                <a:gdLst>
                  <a:gd name="connsiteX0" fmla="*/ -5224 w 77112"/>
                  <a:gd name="connsiteY0" fmla="*/ 21821 h 25711"/>
                  <a:gd name="connsiteX1" fmla="*/ 71888 w 77112"/>
                  <a:gd name="connsiteY1" fmla="*/ 17802 h 25711"/>
                  <a:gd name="connsiteX2" fmla="*/ -5224 w 77112"/>
                  <a:gd name="connsiteY2" fmla="*/ 21821 h 25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7112" h="25711">
                    <a:moveTo>
                      <a:pt x="-5224" y="21821"/>
                    </a:moveTo>
                    <a:lnTo>
                      <a:pt x="71888" y="17802"/>
                    </a:lnTo>
                    <a:cubicBezTo>
                      <a:pt x="71888" y="17802"/>
                      <a:pt x="31720" y="-33584"/>
                      <a:pt x="-5224" y="21821"/>
                    </a:cubicBezTo>
                  </a:path>
                </a:pathLst>
              </a:custGeom>
              <a:solidFill>
                <a:srgbClr val="FFFFF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0" name="Vrije vorm 329">
                <a:extLst>
                  <a:ext uri="{FF2B5EF4-FFF2-40B4-BE49-F238E27FC236}">
                    <a16:creationId xmlns:a16="http://schemas.microsoft.com/office/drawing/2014/main" id="{2EAD1A8D-3396-09FD-3A17-067E07548853}"/>
                  </a:ext>
                </a:extLst>
              </p:cNvPr>
              <p:cNvSpPr/>
              <p:nvPr/>
            </p:nvSpPr>
            <p:spPr>
              <a:xfrm flipV="1">
                <a:off x="2334709" y="3473947"/>
                <a:ext cx="74984" cy="103388"/>
              </a:xfrm>
              <a:custGeom>
                <a:avLst/>
                <a:gdLst>
                  <a:gd name="connsiteX0" fmla="*/ 305 w 27835"/>
                  <a:gd name="connsiteY0" fmla="*/ 46583 h 51643"/>
                  <a:gd name="connsiteX1" fmla="*/ 22710 w 27835"/>
                  <a:gd name="connsiteY1" fmla="*/ 13769 h 51643"/>
                  <a:gd name="connsiteX2" fmla="*/ 16886 w 27835"/>
                  <a:gd name="connsiteY2" fmla="*/ -3726 h 51643"/>
                  <a:gd name="connsiteX3" fmla="*/ 305 w 27835"/>
                  <a:gd name="connsiteY3" fmla="*/ 4658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35" h="51643">
                    <a:moveTo>
                      <a:pt x="305" y="46583"/>
                    </a:moveTo>
                    <a:cubicBezTo>
                      <a:pt x="11942" y="52466"/>
                      <a:pt x="22233" y="33749"/>
                      <a:pt x="22710" y="13769"/>
                    </a:cubicBezTo>
                    <a:cubicBezTo>
                      <a:pt x="13186" y="15188"/>
                      <a:pt x="11580" y="4115"/>
                      <a:pt x="16886" y="-3726"/>
                    </a:cubicBezTo>
                    <a:cubicBezTo>
                      <a:pt x="-2017" y="-7724"/>
                      <a:pt x="-12028" y="40337"/>
                      <a:pt x="305" y="4658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772" name="Vrije vorm 771">
              <a:extLst>
                <a:ext uri="{FF2B5EF4-FFF2-40B4-BE49-F238E27FC236}">
                  <a16:creationId xmlns:a16="http://schemas.microsoft.com/office/drawing/2014/main" id="{31146C67-0AB8-D659-0ECB-484889E4F3DE}"/>
                </a:ext>
              </a:extLst>
            </p:cNvPr>
            <p:cNvSpPr/>
            <p:nvPr/>
          </p:nvSpPr>
          <p:spPr>
            <a:xfrm flipV="1">
              <a:off x="6656059" y="5431771"/>
              <a:ext cx="491048" cy="161399"/>
            </a:xfrm>
            <a:custGeom>
              <a:avLst/>
              <a:gdLst>
                <a:gd name="connsiteX0" fmla="*/ -1600 w 491048"/>
                <a:gd name="connsiteY0" fmla="*/ 121135 h 161399"/>
                <a:gd name="connsiteX1" fmla="*/ 9266 w 491048"/>
                <a:gd name="connsiteY1" fmla="*/ 161645 h 161399"/>
                <a:gd name="connsiteX2" fmla="*/ 474874 w 491048"/>
                <a:gd name="connsiteY2" fmla="*/ 30588 h 161399"/>
                <a:gd name="connsiteX3" fmla="*/ 488250 w 491048"/>
                <a:gd name="connsiteY3" fmla="*/ 246 h 161399"/>
                <a:gd name="connsiteX4" fmla="*/ -1600 w 491048"/>
                <a:gd name="connsiteY4" fmla="*/ 121135 h 161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048" h="161399">
                  <a:moveTo>
                    <a:pt x="-1600" y="121135"/>
                  </a:moveTo>
                  <a:lnTo>
                    <a:pt x="9266" y="161645"/>
                  </a:lnTo>
                  <a:lnTo>
                    <a:pt x="474874" y="30588"/>
                  </a:lnTo>
                  <a:cubicBezTo>
                    <a:pt x="474874" y="30588"/>
                    <a:pt x="494400" y="15444"/>
                    <a:pt x="488250" y="246"/>
                  </a:cubicBezTo>
                  <a:lnTo>
                    <a:pt x="-1600" y="121135"/>
                  </a:ln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3" name="Vrije vorm 772">
              <a:extLst>
                <a:ext uri="{FF2B5EF4-FFF2-40B4-BE49-F238E27FC236}">
                  <a16:creationId xmlns:a16="http://schemas.microsoft.com/office/drawing/2014/main" id="{24CEC7FD-272E-8316-5158-9F634D65B458}"/>
                </a:ext>
              </a:extLst>
            </p:cNvPr>
            <p:cNvSpPr/>
            <p:nvPr/>
          </p:nvSpPr>
          <p:spPr>
            <a:xfrm flipV="1">
              <a:off x="6880806" y="5379360"/>
              <a:ext cx="51170" cy="23213"/>
            </a:xfrm>
            <a:custGeom>
              <a:avLst/>
              <a:gdLst>
                <a:gd name="connsiteX0" fmla="*/ 49512 w 51170"/>
                <a:gd name="connsiteY0" fmla="*/ 18205 h 23213"/>
                <a:gd name="connsiteX1" fmla="*/ 23025 w 51170"/>
                <a:gd name="connsiteY1" fmla="*/ 12601 h 23213"/>
                <a:gd name="connsiteX2" fmla="*/ -1243 w 51170"/>
                <a:gd name="connsiteY2" fmla="*/ 306 h 23213"/>
                <a:gd name="connsiteX3" fmla="*/ 20249 w 51170"/>
                <a:gd name="connsiteY3" fmla="*/ 20930 h 23213"/>
                <a:gd name="connsiteX4" fmla="*/ 49512 w 51170"/>
                <a:gd name="connsiteY4" fmla="*/ 18205 h 23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170" h="23213">
                  <a:moveTo>
                    <a:pt x="49512" y="18205"/>
                  </a:moveTo>
                  <a:cubicBezTo>
                    <a:pt x="48853" y="15772"/>
                    <a:pt x="36630" y="17610"/>
                    <a:pt x="23025" y="12601"/>
                  </a:cubicBezTo>
                  <a:cubicBezTo>
                    <a:pt x="9281" y="7958"/>
                    <a:pt x="735" y="-1215"/>
                    <a:pt x="-1243" y="306"/>
                  </a:cubicBezTo>
                  <a:cubicBezTo>
                    <a:pt x="-3335" y="1322"/>
                    <a:pt x="3664" y="15162"/>
                    <a:pt x="20249" y="20930"/>
                  </a:cubicBezTo>
                  <a:cubicBezTo>
                    <a:pt x="36782" y="26842"/>
                    <a:pt x="50552" y="20337"/>
                    <a:pt x="49512" y="18205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4" name="Vrije vorm 773">
              <a:extLst>
                <a:ext uri="{FF2B5EF4-FFF2-40B4-BE49-F238E27FC236}">
                  <a16:creationId xmlns:a16="http://schemas.microsoft.com/office/drawing/2014/main" id="{088571DB-1BE4-F0A5-2DA9-7778B1E3126B}"/>
                </a:ext>
              </a:extLst>
            </p:cNvPr>
            <p:cNvSpPr/>
            <p:nvPr/>
          </p:nvSpPr>
          <p:spPr>
            <a:xfrm flipV="1">
              <a:off x="6937605" y="5416979"/>
              <a:ext cx="40607" cy="32788"/>
            </a:xfrm>
            <a:custGeom>
              <a:avLst/>
              <a:gdLst>
                <a:gd name="connsiteX0" fmla="*/ 38957 w 40607"/>
                <a:gd name="connsiteY0" fmla="*/ 30892 h 32788"/>
                <a:gd name="connsiteX1" fmla="*/ 17060 w 40607"/>
                <a:gd name="connsiteY1" fmla="*/ 18346 h 32788"/>
                <a:gd name="connsiteX2" fmla="*/ -755 w 40607"/>
                <a:gd name="connsiteY2" fmla="*/ 209 h 32788"/>
                <a:gd name="connsiteX3" fmla="*/ 11912 w 40607"/>
                <a:gd name="connsiteY3" fmla="*/ 25388 h 32788"/>
                <a:gd name="connsiteX4" fmla="*/ 38957 w 40607"/>
                <a:gd name="connsiteY4" fmla="*/ 30892 h 3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07" h="32788">
                  <a:moveTo>
                    <a:pt x="38957" y="30892"/>
                  </a:moveTo>
                  <a:cubicBezTo>
                    <a:pt x="38944" y="28380"/>
                    <a:pt x="27609" y="26745"/>
                    <a:pt x="17060" y="18346"/>
                  </a:cubicBezTo>
                  <a:cubicBezTo>
                    <a:pt x="6270" y="10254"/>
                    <a:pt x="1604" y="-505"/>
                    <a:pt x="-755" y="209"/>
                  </a:cubicBezTo>
                  <a:cubicBezTo>
                    <a:pt x="-3100" y="373"/>
                    <a:pt x="-1388" y="15189"/>
                    <a:pt x="11912" y="25388"/>
                  </a:cubicBezTo>
                  <a:cubicBezTo>
                    <a:pt x="25136" y="35699"/>
                    <a:pt x="39451" y="33252"/>
                    <a:pt x="38957" y="30892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5" name="Vrije vorm 774">
              <a:extLst>
                <a:ext uri="{FF2B5EF4-FFF2-40B4-BE49-F238E27FC236}">
                  <a16:creationId xmlns:a16="http://schemas.microsoft.com/office/drawing/2014/main" id="{34E35096-4414-C05E-C622-6F5E1504DCC8}"/>
                </a:ext>
              </a:extLst>
            </p:cNvPr>
            <p:cNvSpPr/>
            <p:nvPr/>
          </p:nvSpPr>
          <p:spPr>
            <a:xfrm flipV="1">
              <a:off x="6991234" y="5451393"/>
              <a:ext cx="30237" cy="38134"/>
            </a:xfrm>
            <a:custGeom>
              <a:avLst/>
              <a:gdLst>
                <a:gd name="connsiteX0" fmla="*/ -276 w 30237"/>
                <a:gd name="connsiteY0" fmla="*/ 218 h 38134"/>
                <a:gd name="connsiteX1" fmla="*/ 6254 w 30237"/>
                <a:gd name="connsiteY1" fmla="*/ 25311 h 38134"/>
                <a:gd name="connsiteX2" fmla="*/ 28506 w 30237"/>
                <a:gd name="connsiteY2" fmla="*/ 37581 h 38134"/>
                <a:gd name="connsiteX3" fmla="*/ 12961 w 30237"/>
                <a:gd name="connsiteY3" fmla="*/ 19831 h 38134"/>
                <a:gd name="connsiteX4" fmla="*/ -276 w 30237"/>
                <a:gd name="connsiteY4" fmla="*/ 218 h 38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37" h="38134">
                  <a:moveTo>
                    <a:pt x="-276" y="218"/>
                  </a:moveTo>
                  <a:cubicBezTo>
                    <a:pt x="-2571" y="232"/>
                    <a:pt x="-3027" y="13349"/>
                    <a:pt x="6254" y="25311"/>
                  </a:cubicBezTo>
                  <a:cubicBezTo>
                    <a:pt x="15459" y="37337"/>
                    <a:pt x="27974" y="39874"/>
                    <a:pt x="28506" y="37581"/>
                  </a:cubicBezTo>
                  <a:cubicBezTo>
                    <a:pt x="29381" y="35216"/>
                    <a:pt x="20442" y="29775"/>
                    <a:pt x="12961" y="19831"/>
                  </a:cubicBezTo>
                  <a:cubicBezTo>
                    <a:pt x="5265" y="10078"/>
                    <a:pt x="2159" y="-135"/>
                    <a:pt x="-276" y="218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6" name="Vrije vorm 775">
              <a:extLst>
                <a:ext uri="{FF2B5EF4-FFF2-40B4-BE49-F238E27FC236}">
                  <a16:creationId xmlns:a16="http://schemas.microsoft.com/office/drawing/2014/main" id="{C40ABA11-0921-C8F0-82D4-801B5913BA9F}"/>
                </a:ext>
              </a:extLst>
            </p:cNvPr>
            <p:cNvSpPr/>
            <p:nvPr/>
          </p:nvSpPr>
          <p:spPr>
            <a:xfrm flipV="1">
              <a:off x="6889888" y="5308067"/>
              <a:ext cx="51739" cy="16358"/>
            </a:xfrm>
            <a:custGeom>
              <a:avLst/>
              <a:gdLst>
                <a:gd name="connsiteX0" fmla="*/ 49946 w 51739"/>
                <a:gd name="connsiteY0" fmla="*/ 465 h 16358"/>
                <a:gd name="connsiteX1" fmla="*/ 24499 w 51739"/>
                <a:gd name="connsiteY1" fmla="*/ 6956 h 16358"/>
                <a:gd name="connsiteX2" fmla="*/ -1557 w 51739"/>
                <a:gd name="connsiteY2" fmla="*/ 9989 h 16358"/>
                <a:gd name="connsiteX3" fmla="*/ 26020 w 51739"/>
                <a:gd name="connsiteY3" fmla="*/ 15633 h 16358"/>
                <a:gd name="connsiteX4" fmla="*/ 49946 w 51739"/>
                <a:gd name="connsiteY4" fmla="*/ 465 h 16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739" h="16358">
                  <a:moveTo>
                    <a:pt x="49946" y="465"/>
                  </a:moveTo>
                  <a:cubicBezTo>
                    <a:pt x="48425" y="-1528"/>
                    <a:pt x="38243" y="4572"/>
                    <a:pt x="24499" y="6956"/>
                  </a:cubicBezTo>
                  <a:cubicBezTo>
                    <a:pt x="10805" y="9647"/>
                    <a:pt x="-796" y="7565"/>
                    <a:pt x="-1557" y="9989"/>
                  </a:cubicBezTo>
                  <a:cubicBezTo>
                    <a:pt x="-2521" y="12109"/>
                    <a:pt x="9880" y="18690"/>
                    <a:pt x="26020" y="15633"/>
                  </a:cubicBezTo>
                  <a:cubicBezTo>
                    <a:pt x="42187" y="12719"/>
                    <a:pt x="51582" y="2110"/>
                    <a:pt x="49946" y="465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7" name="Vrije vorm 776">
              <a:extLst>
                <a:ext uri="{FF2B5EF4-FFF2-40B4-BE49-F238E27FC236}">
                  <a16:creationId xmlns:a16="http://schemas.microsoft.com/office/drawing/2014/main" id="{7E3295EF-41AD-FC39-1D13-F84041C4B1F7}"/>
                </a:ext>
              </a:extLst>
            </p:cNvPr>
            <p:cNvSpPr/>
            <p:nvPr/>
          </p:nvSpPr>
          <p:spPr>
            <a:xfrm flipV="1">
              <a:off x="6339952" y="5290861"/>
              <a:ext cx="388288" cy="606281"/>
            </a:xfrm>
            <a:custGeom>
              <a:avLst/>
              <a:gdLst>
                <a:gd name="connsiteX0" fmla="*/ 220526 w 388288"/>
                <a:gd name="connsiteY0" fmla="*/ 606601 h 606281"/>
                <a:gd name="connsiteX1" fmla="*/ 272219 w 388288"/>
                <a:gd name="connsiteY1" fmla="*/ 287776 h 606281"/>
                <a:gd name="connsiteX2" fmla="*/ 383784 w 388288"/>
                <a:gd name="connsiteY2" fmla="*/ 47750 h 606281"/>
                <a:gd name="connsiteX3" fmla="*/ 366616 w 388288"/>
                <a:gd name="connsiteY3" fmla="*/ 2677 h 606281"/>
                <a:gd name="connsiteX4" fmla="*/ 337302 w 388288"/>
                <a:gd name="connsiteY4" fmla="*/ 5635 h 606281"/>
                <a:gd name="connsiteX5" fmla="*/ 77275 w 388288"/>
                <a:gd name="connsiteY5" fmla="*/ 200994 h 606281"/>
                <a:gd name="connsiteX6" fmla="*/ -1349 w 388288"/>
                <a:gd name="connsiteY6" fmla="*/ 537048 h 606281"/>
                <a:gd name="connsiteX7" fmla="*/ 220526 w 388288"/>
                <a:gd name="connsiteY7" fmla="*/ 606601 h 60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8288" h="606281">
                  <a:moveTo>
                    <a:pt x="220526" y="606601"/>
                  </a:moveTo>
                  <a:lnTo>
                    <a:pt x="272219" y="287776"/>
                  </a:lnTo>
                  <a:lnTo>
                    <a:pt x="383784" y="47750"/>
                  </a:lnTo>
                  <a:cubicBezTo>
                    <a:pt x="391822" y="30446"/>
                    <a:pt x="383936" y="9758"/>
                    <a:pt x="366616" y="2677"/>
                  </a:cubicBezTo>
                  <a:cubicBezTo>
                    <a:pt x="356929" y="-1283"/>
                    <a:pt x="346050" y="-227"/>
                    <a:pt x="337302" y="5635"/>
                  </a:cubicBezTo>
                  <a:cubicBezTo>
                    <a:pt x="281602" y="42864"/>
                    <a:pt x="81472" y="184245"/>
                    <a:pt x="77275" y="200994"/>
                  </a:cubicBezTo>
                  <a:cubicBezTo>
                    <a:pt x="70632" y="227553"/>
                    <a:pt x="-1349" y="537048"/>
                    <a:pt x="-1349" y="537048"/>
                  </a:cubicBezTo>
                  <a:lnTo>
                    <a:pt x="220526" y="606601"/>
                  </a:lnTo>
                </a:path>
              </a:pathLst>
            </a:custGeom>
            <a:solidFill>
              <a:srgbClr val="A24027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8" name="Vrije vorm 777">
              <a:extLst>
                <a:ext uri="{FF2B5EF4-FFF2-40B4-BE49-F238E27FC236}">
                  <a16:creationId xmlns:a16="http://schemas.microsoft.com/office/drawing/2014/main" id="{5A960B85-6B4C-C29D-0112-43A82AE1D834}"/>
                </a:ext>
              </a:extLst>
            </p:cNvPr>
            <p:cNvSpPr/>
            <p:nvPr/>
          </p:nvSpPr>
          <p:spPr>
            <a:xfrm flipV="1">
              <a:off x="6412224" y="5671568"/>
              <a:ext cx="295692" cy="225875"/>
            </a:xfrm>
            <a:custGeom>
              <a:avLst/>
              <a:gdLst>
                <a:gd name="connsiteX0" fmla="*/ 294327 w 295692"/>
                <a:gd name="connsiteY0" fmla="*/ 3147 h 225875"/>
                <a:gd name="connsiteX1" fmla="*/ -1366 w 295692"/>
                <a:gd name="connsiteY1" fmla="*/ 226365 h 225875"/>
                <a:gd name="connsiteX2" fmla="*/ 1119 w 295692"/>
                <a:gd name="connsiteY2" fmla="*/ 212916 h 225875"/>
                <a:gd name="connsiteX3" fmla="*/ 18286 w 295692"/>
                <a:gd name="connsiteY3" fmla="*/ 183372 h 225875"/>
                <a:gd name="connsiteX4" fmla="*/ 264074 w 295692"/>
                <a:gd name="connsiteY4" fmla="*/ 5902 h 225875"/>
                <a:gd name="connsiteX5" fmla="*/ 294327 w 295692"/>
                <a:gd name="connsiteY5" fmla="*/ 3147 h 22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5692" h="225875">
                  <a:moveTo>
                    <a:pt x="294327" y="3147"/>
                  </a:moveTo>
                  <a:lnTo>
                    <a:pt x="-1366" y="226365"/>
                  </a:lnTo>
                  <a:lnTo>
                    <a:pt x="1119" y="212916"/>
                  </a:lnTo>
                  <a:cubicBezTo>
                    <a:pt x="4808" y="199447"/>
                    <a:pt x="9310" y="190796"/>
                    <a:pt x="18286" y="183372"/>
                  </a:cubicBezTo>
                  <a:cubicBezTo>
                    <a:pt x="42263" y="163522"/>
                    <a:pt x="109641" y="110187"/>
                    <a:pt x="264074" y="5902"/>
                  </a:cubicBezTo>
                  <a:cubicBezTo>
                    <a:pt x="273063" y="-163"/>
                    <a:pt x="284462" y="-1204"/>
                    <a:pt x="294327" y="3147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9" name="Vrije vorm 778">
              <a:extLst>
                <a:ext uri="{FF2B5EF4-FFF2-40B4-BE49-F238E27FC236}">
                  <a16:creationId xmlns:a16="http://schemas.microsoft.com/office/drawing/2014/main" id="{55FE1EC7-EF98-016C-1C03-7DD9AB866202}"/>
                </a:ext>
              </a:extLst>
            </p:cNvPr>
            <p:cNvSpPr/>
            <p:nvPr/>
          </p:nvSpPr>
          <p:spPr>
            <a:xfrm flipV="1">
              <a:off x="6611093" y="5723707"/>
              <a:ext cx="57343" cy="46176"/>
            </a:xfrm>
            <a:custGeom>
              <a:avLst/>
              <a:gdLst>
                <a:gd name="connsiteX0" fmla="*/ -795 w 57343"/>
                <a:gd name="connsiteY0" fmla="*/ 468 h 46176"/>
                <a:gd name="connsiteX1" fmla="*/ 21686 w 57343"/>
                <a:gd name="connsiteY1" fmla="*/ 30457 h 46176"/>
                <a:gd name="connsiteX2" fmla="*/ 55920 w 57343"/>
                <a:gd name="connsiteY2" fmla="*/ 44426 h 46176"/>
                <a:gd name="connsiteX3" fmla="*/ 44267 w 57343"/>
                <a:gd name="connsiteY3" fmla="*/ 46581 h 46176"/>
                <a:gd name="connsiteX4" fmla="*/ 17540 w 57343"/>
                <a:gd name="connsiteY4" fmla="*/ 36131 h 46176"/>
                <a:gd name="connsiteX5" fmla="*/ 397 w 57343"/>
                <a:gd name="connsiteY5" fmla="*/ 12583 h 46176"/>
                <a:gd name="connsiteX6" fmla="*/ -795 w 57343"/>
                <a:gd name="connsiteY6" fmla="*/ 468 h 46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343" h="46176">
                  <a:moveTo>
                    <a:pt x="-795" y="468"/>
                  </a:moveTo>
                  <a:cubicBezTo>
                    <a:pt x="1107" y="-78"/>
                    <a:pt x="4987" y="17924"/>
                    <a:pt x="21686" y="30457"/>
                  </a:cubicBezTo>
                  <a:cubicBezTo>
                    <a:pt x="38017" y="43509"/>
                    <a:pt x="55894" y="42385"/>
                    <a:pt x="55920" y="44426"/>
                  </a:cubicBezTo>
                  <a:cubicBezTo>
                    <a:pt x="56047" y="45248"/>
                    <a:pt x="51672" y="46948"/>
                    <a:pt x="44267" y="46581"/>
                  </a:cubicBezTo>
                  <a:cubicBezTo>
                    <a:pt x="36914" y="46264"/>
                    <a:pt x="26656" y="43182"/>
                    <a:pt x="17540" y="36131"/>
                  </a:cubicBezTo>
                  <a:cubicBezTo>
                    <a:pt x="8436" y="29065"/>
                    <a:pt x="2718" y="19778"/>
                    <a:pt x="397" y="12583"/>
                  </a:cubicBezTo>
                  <a:cubicBezTo>
                    <a:pt x="-1999" y="5353"/>
                    <a:pt x="-1606" y="572"/>
                    <a:pt x="-795" y="468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0" name="Vrije vorm 779">
              <a:extLst>
                <a:ext uri="{FF2B5EF4-FFF2-40B4-BE49-F238E27FC236}">
                  <a16:creationId xmlns:a16="http://schemas.microsoft.com/office/drawing/2014/main" id="{C93A96C8-D7D6-F0E1-5AAF-9631A00EFE20}"/>
                </a:ext>
              </a:extLst>
            </p:cNvPr>
            <p:cNvSpPr/>
            <p:nvPr/>
          </p:nvSpPr>
          <p:spPr>
            <a:xfrm flipV="1">
              <a:off x="6641279" y="5776840"/>
              <a:ext cx="54506" cy="31305"/>
            </a:xfrm>
            <a:custGeom>
              <a:avLst/>
              <a:gdLst>
                <a:gd name="connsiteX0" fmla="*/ -1153 w 54506"/>
                <a:gd name="connsiteY0" fmla="*/ 565 h 31305"/>
                <a:gd name="connsiteX1" fmla="*/ 23648 w 54506"/>
                <a:gd name="connsiteY1" fmla="*/ 19568 h 31305"/>
                <a:gd name="connsiteX2" fmla="*/ 53051 w 54506"/>
                <a:gd name="connsiteY2" fmla="*/ 29474 h 31305"/>
                <a:gd name="connsiteX3" fmla="*/ 20478 w 54506"/>
                <a:gd name="connsiteY3" fmla="*/ 25871 h 31305"/>
                <a:gd name="connsiteX4" fmla="*/ -1153 w 54506"/>
                <a:gd name="connsiteY4" fmla="*/ 565 h 31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6" h="31305">
                  <a:moveTo>
                    <a:pt x="-1153" y="565"/>
                  </a:moveTo>
                  <a:cubicBezTo>
                    <a:pt x="571" y="-526"/>
                    <a:pt x="8559" y="11739"/>
                    <a:pt x="23648" y="19568"/>
                  </a:cubicBezTo>
                  <a:cubicBezTo>
                    <a:pt x="38571" y="27749"/>
                    <a:pt x="52911" y="27393"/>
                    <a:pt x="53051" y="29474"/>
                  </a:cubicBezTo>
                  <a:cubicBezTo>
                    <a:pt x="53634" y="31263"/>
                    <a:pt x="37531" y="35093"/>
                    <a:pt x="20478" y="25871"/>
                  </a:cubicBezTo>
                  <a:cubicBezTo>
                    <a:pt x="3323" y="16838"/>
                    <a:pt x="-2916" y="1095"/>
                    <a:pt x="-1153" y="565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1" name="Vrije vorm 780">
              <a:extLst>
                <a:ext uri="{FF2B5EF4-FFF2-40B4-BE49-F238E27FC236}">
                  <a16:creationId xmlns:a16="http://schemas.microsoft.com/office/drawing/2014/main" id="{29054B15-6F63-3BF0-B5C8-F06174AA64F2}"/>
                </a:ext>
              </a:extLst>
            </p:cNvPr>
            <p:cNvSpPr/>
            <p:nvPr/>
          </p:nvSpPr>
          <p:spPr>
            <a:xfrm flipV="1">
              <a:off x="6560551" y="5670669"/>
              <a:ext cx="80257" cy="52788"/>
            </a:xfrm>
            <a:custGeom>
              <a:avLst/>
              <a:gdLst>
                <a:gd name="connsiteX0" fmla="*/ -1222 w 80257"/>
                <a:gd name="connsiteY0" fmla="*/ 467 h 52788"/>
                <a:gd name="connsiteX1" fmla="*/ 35129 w 80257"/>
                <a:gd name="connsiteY1" fmla="*/ 32474 h 52788"/>
                <a:gd name="connsiteX2" fmla="*/ 78860 w 80257"/>
                <a:gd name="connsiteY2" fmla="*/ 52424 h 52788"/>
                <a:gd name="connsiteX3" fmla="*/ 31452 w 80257"/>
                <a:gd name="connsiteY3" fmla="*/ 38475 h 52788"/>
                <a:gd name="connsiteX4" fmla="*/ -1222 w 80257"/>
                <a:gd name="connsiteY4" fmla="*/ 467 h 5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257" h="52788">
                  <a:moveTo>
                    <a:pt x="-1222" y="467"/>
                  </a:moveTo>
                  <a:cubicBezTo>
                    <a:pt x="502" y="-752"/>
                    <a:pt x="12700" y="18173"/>
                    <a:pt x="35129" y="32474"/>
                  </a:cubicBezTo>
                  <a:cubicBezTo>
                    <a:pt x="57344" y="47122"/>
                    <a:pt x="79190" y="50294"/>
                    <a:pt x="78860" y="52424"/>
                  </a:cubicBezTo>
                  <a:cubicBezTo>
                    <a:pt x="79050" y="54214"/>
                    <a:pt x="55315" y="54124"/>
                    <a:pt x="31452" y="38475"/>
                  </a:cubicBezTo>
                  <a:cubicBezTo>
                    <a:pt x="7438" y="23074"/>
                    <a:pt x="-2883" y="1077"/>
                    <a:pt x="-1222" y="467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2" name="Vrije vorm 781">
              <a:extLst>
                <a:ext uri="{FF2B5EF4-FFF2-40B4-BE49-F238E27FC236}">
                  <a16:creationId xmlns:a16="http://schemas.microsoft.com/office/drawing/2014/main" id="{BA157B54-EBA0-6796-0FCE-98919058688F}"/>
                </a:ext>
              </a:extLst>
            </p:cNvPr>
            <p:cNvSpPr/>
            <p:nvPr/>
          </p:nvSpPr>
          <p:spPr>
            <a:xfrm flipV="1">
              <a:off x="6537054" y="5604276"/>
              <a:ext cx="79901" cy="23742"/>
            </a:xfrm>
            <a:custGeom>
              <a:avLst/>
              <a:gdLst>
                <a:gd name="connsiteX0" fmla="*/ -1304 w 79901"/>
                <a:gd name="connsiteY0" fmla="*/ 528 h 23742"/>
                <a:gd name="connsiteX1" fmla="*/ 37596 w 79901"/>
                <a:gd name="connsiteY1" fmla="*/ 14622 h 23742"/>
                <a:gd name="connsiteX2" fmla="*/ 78512 w 79901"/>
                <a:gd name="connsiteY2" fmla="*/ 19860 h 23742"/>
                <a:gd name="connsiteX3" fmla="*/ 36011 w 79901"/>
                <a:gd name="connsiteY3" fmla="*/ 21535 h 23742"/>
                <a:gd name="connsiteX4" fmla="*/ -1304 w 79901"/>
                <a:gd name="connsiteY4" fmla="*/ 528 h 23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901" h="23742">
                  <a:moveTo>
                    <a:pt x="-1304" y="528"/>
                  </a:moveTo>
                  <a:cubicBezTo>
                    <a:pt x="-125" y="-1211"/>
                    <a:pt x="15559" y="9458"/>
                    <a:pt x="37596" y="14622"/>
                  </a:cubicBezTo>
                  <a:cubicBezTo>
                    <a:pt x="59556" y="20113"/>
                    <a:pt x="78220" y="17753"/>
                    <a:pt x="78512" y="19860"/>
                  </a:cubicBezTo>
                  <a:cubicBezTo>
                    <a:pt x="79082" y="21584"/>
                    <a:pt x="59632" y="27371"/>
                    <a:pt x="36011" y="21535"/>
                  </a:cubicBezTo>
                  <a:cubicBezTo>
                    <a:pt x="12351" y="15915"/>
                    <a:pt x="-2560" y="1807"/>
                    <a:pt x="-1304" y="528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3" name="Vrije vorm 782">
              <a:extLst>
                <a:ext uri="{FF2B5EF4-FFF2-40B4-BE49-F238E27FC236}">
                  <a16:creationId xmlns:a16="http://schemas.microsoft.com/office/drawing/2014/main" id="{9AFC3DE3-FEC4-A77F-6D49-A0601BADBB2F}"/>
                </a:ext>
              </a:extLst>
            </p:cNvPr>
            <p:cNvSpPr/>
            <p:nvPr/>
          </p:nvSpPr>
          <p:spPr>
            <a:xfrm flipV="1">
              <a:off x="6519570" y="5510981"/>
              <a:ext cx="83083" cy="23796"/>
            </a:xfrm>
            <a:custGeom>
              <a:avLst/>
              <a:gdLst>
                <a:gd name="connsiteX0" fmla="*/ -1295 w 83083"/>
                <a:gd name="connsiteY0" fmla="*/ 390 h 23796"/>
                <a:gd name="connsiteX1" fmla="*/ 38822 w 83083"/>
                <a:gd name="connsiteY1" fmla="*/ 16187 h 23796"/>
                <a:gd name="connsiteX2" fmla="*/ 81691 w 83083"/>
                <a:gd name="connsiteY2" fmla="*/ 13626 h 23796"/>
                <a:gd name="connsiteX3" fmla="*/ 70077 w 83083"/>
                <a:gd name="connsiteY3" fmla="*/ 20549 h 23796"/>
                <a:gd name="connsiteX4" fmla="*/ 37770 w 83083"/>
                <a:gd name="connsiteY4" fmla="*/ 23200 h 23796"/>
                <a:gd name="connsiteX5" fmla="*/ 7758 w 83083"/>
                <a:gd name="connsiteY5" fmla="*/ 10618 h 23796"/>
                <a:gd name="connsiteX6" fmla="*/ -1295 w 83083"/>
                <a:gd name="connsiteY6" fmla="*/ 390 h 23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083" h="23796">
                  <a:moveTo>
                    <a:pt x="-1295" y="390"/>
                  </a:moveTo>
                  <a:cubicBezTo>
                    <a:pt x="11" y="-1255"/>
                    <a:pt x="15188" y="12685"/>
                    <a:pt x="38822" y="16187"/>
                  </a:cubicBezTo>
                  <a:cubicBezTo>
                    <a:pt x="62380" y="20206"/>
                    <a:pt x="80943" y="11643"/>
                    <a:pt x="81691" y="13626"/>
                  </a:cubicBezTo>
                  <a:cubicBezTo>
                    <a:pt x="82084" y="14385"/>
                    <a:pt x="77963" y="17710"/>
                    <a:pt x="70077" y="20549"/>
                  </a:cubicBezTo>
                  <a:cubicBezTo>
                    <a:pt x="62228" y="23403"/>
                    <a:pt x="50475" y="25207"/>
                    <a:pt x="37770" y="23200"/>
                  </a:cubicBezTo>
                  <a:cubicBezTo>
                    <a:pt x="25065" y="21149"/>
                    <a:pt x="14390" y="15781"/>
                    <a:pt x="7758" y="10618"/>
                  </a:cubicBezTo>
                  <a:cubicBezTo>
                    <a:pt x="1064" y="5454"/>
                    <a:pt x="-1878" y="1000"/>
                    <a:pt x="-1295" y="390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4" name="Vrije vorm 783">
              <a:extLst>
                <a:ext uri="{FF2B5EF4-FFF2-40B4-BE49-F238E27FC236}">
                  <a16:creationId xmlns:a16="http://schemas.microsoft.com/office/drawing/2014/main" id="{E96FC41E-96B2-7EF7-8FDF-4625C644CF96}"/>
                </a:ext>
              </a:extLst>
            </p:cNvPr>
            <p:cNvSpPr/>
            <p:nvPr/>
          </p:nvSpPr>
          <p:spPr>
            <a:xfrm flipV="1">
              <a:off x="6503902" y="5442308"/>
              <a:ext cx="93958" cy="58929"/>
            </a:xfrm>
            <a:custGeom>
              <a:avLst/>
              <a:gdLst>
                <a:gd name="connsiteX0" fmla="*/ 50668 w 93958"/>
                <a:gd name="connsiteY0" fmla="*/ 224 h 58929"/>
                <a:gd name="connsiteX1" fmla="*/ 48868 w 93958"/>
                <a:gd name="connsiteY1" fmla="*/ 12324 h 58929"/>
                <a:gd name="connsiteX2" fmla="*/ 33767 w 93958"/>
                <a:gd name="connsiteY2" fmla="*/ 41957 h 58929"/>
                <a:gd name="connsiteX3" fmla="*/ 15078 w 93958"/>
                <a:gd name="connsiteY3" fmla="*/ 56610 h 58929"/>
                <a:gd name="connsiteX4" fmla="*/ 1295 w 93958"/>
                <a:gd name="connsiteY4" fmla="*/ 50887 h 58929"/>
                <a:gd name="connsiteX5" fmla="*/ -923 w 93958"/>
                <a:gd name="connsiteY5" fmla="*/ 35590 h 58929"/>
                <a:gd name="connsiteX6" fmla="*/ 46104 w 93958"/>
                <a:gd name="connsiteY6" fmla="*/ 729 h 58929"/>
                <a:gd name="connsiteX7" fmla="*/ 91863 w 93958"/>
                <a:gd name="connsiteY7" fmla="*/ 38598 h 58929"/>
                <a:gd name="connsiteX8" fmla="*/ 89860 w 93958"/>
                <a:gd name="connsiteY8" fmla="*/ 54163 h 58929"/>
                <a:gd name="connsiteX9" fmla="*/ 75558 w 93958"/>
                <a:gd name="connsiteY9" fmla="*/ 58399 h 58929"/>
                <a:gd name="connsiteX10" fmla="*/ 57249 w 93958"/>
                <a:gd name="connsiteY10" fmla="*/ 43542 h 58929"/>
                <a:gd name="connsiteX11" fmla="*/ 40753 w 93958"/>
                <a:gd name="connsiteY11" fmla="*/ 14747 h 58929"/>
                <a:gd name="connsiteX12" fmla="*/ 38040 w 93958"/>
                <a:gd name="connsiteY12" fmla="*/ 2844 h 58929"/>
                <a:gd name="connsiteX13" fmla="*/ 60875 w 93958"/>
                <a:gd name="connsiteY13" fmla="*/ 40193 h 58929"/>
                <a:gd name="connsiteX14" fmla="*/ 77155 w 93958"/>
                <a:gd name="connsiteY14" fmla="*/ 52740 h 58929"/>
                <a:gd name="connsiteX15" fmla="*/ 84953 w 93958"/>
                <a:gd name="connsiteY15" fmla="*/ 50480 h 58929"/>
                <a:gd name="connsiteX16" fmla="*/ 85689 w 93958"/>
                <a:gd name="connsiteY16" fmla="*/ 40168 h 58929"/>
                <a:gd name="connsiteX17" fmla="*/ 45660 w 93958"/>
                <a:gd name="connsiteY17" fmla="*/ 7806 h 58929"/>
                <a:gd name="connsiteX18" fmla="*/ 5315 w 93958"/>
                <a:gd name="connsiteY18" fmla="*/ 36819 h 58929"/>
                <a:gd name="connsiteX19" fmla="*/ 6431 w 93958"/>
                <a:gd name="connsiteY19" fmla="*/ 47552 h 58929"/>
                <a:gd name="connsiteX20" fmla="*/ 13987 w 93958"/>
                <a:gd name="connsiteY20" fmla="*/ 50823 h 58929"/>
                <a:gd name="connsiteX21" fmla="*/ 30039 w 93958"/>
                <a:gd name="connsiteY21" fmla="*/ 38722 h 58929"/>
                <a:gd name="connsiteX22" fmla="*/ 50668 w 93958"/>
                <a:gd name="connsiteY22" fmla="*/ 224 h 58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3958" h="58929">
                  <a:moveTo>
                    <a:pt x="50668" y="224"/>
                  </a:moveTo>
                  <a:cubicBezTo>
                    <a:pt x="51061" y="298"/>
                    <a:pt x="50973" y="4698"/>
                    <a:pt x="48868" y="12324"/>
                  </a:cubicBezTo>
                  <a:cubicBezTo>
                    <a:pt x="46750" y="19871"/>
                    <a:pt x="42490" y="30768"/>
                    <a:pt x="33767" y="41957"/>
                  </a:cubicBezTo>
                  <a:cubicBezTo>
                    <a:pt x="29342" y="47210"/>
                    <a:pt x="24460" y="54108"/>
                    <a:pt x="15078" y="56610"/>
                  </a:cubicBezTo>
                  <a:cubicBezTo>
                    <a:pt x="10399" y="57878"/>
                    <a:pt x="4174" y="55798"/>
                    <a:pt x="1295" y="50887"/>
                  </a:cubicBezTo>
                  <a:cubicBezTo>
                    <a:pt x="-1583" y="46080"/>
                    <a:pt x="-1760" y="40649"/>
                    <a:pt x="-923" y="35590"/>
                  </a:cubicBezTo>
                  <a:cubicBezTo>
                    <a:pt x="3121" y="15496"/>
                    <a:pt x="23548" y="-702"/>
                    <a:pt x="46104" y="729"/>
                  </a:cubicBezTo>
                  <a:cubicBezTo>
                    <a:pt x="68686" y="2558"/>
                    <a:pt x="86323" y="19480"/>
                    <a:pt x="91863" y="38598"/>
                  </a:cubicBezTo>
                  <a:cubicBezTo>
                    <a:pt x="92941" y="43479"/>
                    <a:pt x="93245" y="49261"/>
                    <a:pt x="89860" y="54163"/>
                  </a:cubicBezTo>
                  <a:cubicBezTo>
                    <a:pt x="86500" y="59108"/>
                    <a:pt x="79831" y="60034"/>
                    <a:pt x="75558" y="58399"/>
                  </a:cubicBezTo>
                  <a:cubicBezTo>
                    <a:pt x="66657" y="55188"/>
                    <a:pt x="61877" y="48627"/>
                    <a:pt x="57249" y="43542"/>
                  </a:cubicBezTo>
                  <a:cubicBezTo>
                    <a:pt x="48234" y="32656"/>
                    <a:pt x="43365" y="22116"/>
                    <a:pt x="40753" y="14747"/>
                  </a:cubicBezTo>
                  <a:cubicBezTo>
                    <a:pt x="38129" y="7315"/>
                    <a:pt x="37660" y="2935"/>
                    <a:pt x="38040" y="2844"/>
                  </a:cubicBezTo>
                  <a:cubicBezTo>
                    <a:pt x="39282" y="2225"/>
                    <a:pt x="42959" y="19970"/>
                    <a:pt x="60875" y="40193"/>
                  </a:cubicBezTo>
                  <a:cubicBezTo>
                    <a:pt x="65465" y="44940"/>
                    <a:pt x="70676" y="50813"/>
                    <a:pt x="77155" y="52740"/>
                  </a:cubicBezTo>
                  <a:cubicBezTo>
                    <a:pt x="80312" y="53701"/>
                    <a:pt x="83318" y="52929"/>
                    <a:pt x="84953" y="50480"/>
                  </a:cubicBezTo>
                  <a:cubicBezTo>
                    <a:pt x="86614" y="48146"/>
                    <a:pt x="86703" y="44038"/>
                    <a:pt x="85689" y="40168"/>
                  </a:cubicBezTo>
                  <a:cubicBezTo>
                    <a:pt x="80921" y="24475"/>
                    <a:pt x="64768" y="9049"/>
                    <a:pt x="45660" y="7806"/>
                  </a:cubicBezTo>
                  <a:cubicBezTo>
                    <a:pt x="26654" y="6413"/>
                    <a:pt x="8725" y="20684"/>
                    <a:pt x="5315" y="36819"/>
                  </a:cubicBezTo>
                  <a:cubicBezTo>
                    <a:pt x="4541" y="40714"/>
                    <a:pt x="4820" y="44836"/>
                    <a:pt x="6431" y="47552"/>
                  </a:cubicBezTo>
                  <a:cubicBezTo>
                    <a:pt x="8003" y="50228"/>
                    <a:pt x="10919" y="51457"/>
                    <a:pt x="13987" y="50823"/>
                  </a:cubicBezTo>
                  <a:cubicBezTo>
                    <a:pt x="20454" y="49519"/>
                    <a:pt x="25716" y="43633"/>
                    <a:pt x="30039" y="38722"/>
                  </a:cubicBezTo>
                  <a:cubicBezTo>
                    <a:pt x="47346" y="17954"/>
                    <a:pt x="49362" y="-361"/>
                    <a:pt x="50668" y="224"/>
                  </a:cubicBez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5" name="Vrije vorm 784">
              <a:extLst>
                <a:ext uri="{FF2B5EF4-FFF2-40B4-BE49-F238E27FC236}">
                  <a16:creationId xmlns:a16="http://schemas.microsoft.com/office/drawing/2014/main" id="{652C8ABB-D67E-8DB2-85FF-85C07DFB379E}"/>
                </a:ext>
              </a:extLst>
            </p:cNvPr>
            <p:cNvSpPr/>
            <p:nvPr/>
          </p:nvSpPr>
          <p:spPr>
            <a:xfrm flipV="1">
              <a:off x="6000719" y="3745055"/>
              <a:ext cx="1326303" cy="1594695"/>
            </a:xfrm>
            <a:custGeom>
              <a:avLst/>
              <a:gdLst>
                <a:gd name="connsiteX0" fmla="*/ 671527 w 1326303"/>
                <a:gd name="connsiteY0" fmla="*/ 1564809 h 1594695"/>
                <a:gd name="connsiteX1" fmla="*/ 671527 w 1326303"/>
                <a:gd name="connsiteY1" fmla="*/ 1564809 h 1594695"/>
                <a:gd name="connsiteX2" fmla="*/ 1226168 w 1326303"/>
                <a:gd name="connsiteY2" fmla="*/ 1241326 h 1594695"/>
                <a:gd name="connsiteX3" fmla="*/ 1318828 w 1326303"/>
                <a:gd name="connsiteY3" fmla="*/ 989783 h 1594695"/>
                <a:gd name="connsiteX4" fmla="*/ 955745 w 1326303"/>
                <a:gd name="connsiteY4" fmla="*/ -620 h 1594695"/>
                <a:gd name="connsiteX5" fmla="*/ 646231 w 1326303"/>
                <a:gd name="connsiteY5" fmla="*/ 38373 h 1594695"/>
                <a:gd name="connsiteX6" fmla="*/ 862489 w 1326303"/>
                <a:gd name="connsiteY6" fmla="*/ 964475 h 1594695"/>
                <a:gd name="connsiteX7" fmla="*/ 425359 w 1326303"/>
                <a:gd name="connsiteY7" fmla="*/ 1170147 h 1594695"/>
                <a:gd name="connsiteX8" fmla="*/ -1437 w 1326303"/>
                <a:gd name="connsiteY8" fmla="*/ 1594075 h 1594695"/>
                <a:gd name="connsiteX9" fmla="*/ 671527 w 1326303"/>
                <a:gd name="connsiteY9" fmla="*/ 1564809 h 1594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26303" h="1594695">
                  <a:moveTo>
                    <a:pt x="671527" y="1564809"/>
                  </a:moveTo>
                  <a:cubicBezTo>
                    <a:pt x="671527" y="1564809"/>
                    <a:pt x="657072" y="1572560"/>
                    <a:pt x="671527" y="1564809"/>
                  </a:cubicBezTo>
                  <a:cubicBezTo>
                    <a:pt x="764846" y="1514752"/>
                    <a:pt x="1128576" y="1304932"/>
                    <a:pt x="1226168" y="1241326"/>
                  </a:cubicBezTo>
                  <a:cubicBezTo>
                    <a:pt x="1297628" y="1194744"/>
                    <a:pt x="1341600" y="1068535"/>
                    <a:pt x="1318828" y="989783"/>
                  </a:cubicBezTo>
                  <a:cubicBezTo>
                    <a:pt x="1224329" y="662926"/>
                    <a:pt x="955745" y="-620"/>
                    <a:pt x="955745" y="-620"/>
                  </a:cubicBezTo>
                  <a:lnTo>
                    <a:pt x="646231" y="38373"/>
                  </a:lnTo>
                  <a:lnTo>
                    <a:pt x="862489" y="964475"/>
                  </a:lnTo>
                  <a:lnTo>
                    <a:pt x="425359" y="1170147"/>
                  </a:lnTo>
                  <a:lnTo>
                    <a:pt x="-1437" y="1594075"/>
                  </a:lnTo>
                  <a:lnTo>
                    <a:pt x="671527" y="1564809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6" name="Vrije vorm 785">
              <a:extLst>
                <a:ext uri="{FF2B5EF4-FFF2-40B4-BE49-F238E27FC236}">
                  <a16:creationId xmlns:a16="http://schemas.microsoft.com/office/drawing/2014/main" id="{E13B52B9-3124-94E1-2AA1-F633648B2555}"/>
                </a:ext>
              </a:extLst>
            </p:cNvPr>
            <p:cNvSpPr/>
            <p:nvPr/>
          </p:nvSpPr>
          <p:spPr>
            <a:xfrm flipV="1">
              <a:off x="5757681" y="3723540"/>
              <a:ext cx="916002" cy="1910352"/>
            </a:xfrm>
            <a:custGeom>
              <a:avLst/>
              <a:gdLst>
                <a:gd name="connsiteX0" fmla="*/ 404012 w 916002"/>
                <a:gd name="connsiteY0" fmla="*/ 1839322 h 1910352"/>
                <a:gd name="connsiteX1" fmla="*/ 800783 w 916002"/>
                <a:gd name="connsiteY1" fmla="*/ 1290821 h 1910352"/>
                <a:gd name="connsiteX2" fmla="*/ 914871 w 916002"/>
                <a:gd name="connsiteY2" fmla="*/ 48356 h 1910352"/>
                <a:gd name="connsiteX3" fmla="*/ 590840 w 916002"/>
                <a:gd name="connsiteY3" fmla="*/ -499 h 1910352"/>
                <a:gd name="connsiteX4" fmla="*/ 341972 w 916002"/>
                <a:gd name="connsiteY4" fmla="*/ 1151876 h 1910352"/>
                <a:gd name="connsiteX5" fmla="*/ 37616 w 916002"/>
                <a:gd name="connsiteY5" fmla="*/ 1506705 h 1910352"/>
                <a:gd name="connsiteX6" fmla="*/ -1131 w 916002"/>
                <a:gd name="connsiteY6" fmla="*/ 1703193 h 1910352"/>
                <a:gd name="connsiteX7" fmla="*/ 41489 w 916002"/>
                <a:gd name="connsiteY7" fmla="*/ 1909854 h 1910352"/>
                <a:gd name="connsiteX8" fmla="*/ 404012 w 916002"/>
                <a:gd name="connsiteY8" fmla="*/ 1839322 h 1910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6002" h="1910352">
                  <a:moveTo>
                    <a:pt x="404012" y="1839322"/>
                  </a:moveTo>
                  <a:cubicBezTo>
                    <a:pt x="404012" y="1839322"/>
                    <a:pt x="792656" y="1384530"/>
                    <a:pt x="800783" y="1290821"/>
                  </a:cubicBezTo>
                  <a:cubicBezTo>
                    <a:pt x="811726" y="1164612"/>
                    <a:pt x="914871" y="48356"/>
                    <a:pt x="914871" y="48356"/>
                  </a:cubicBezTo>
                  <a:lnTo>
                    <a:pt x="590840" y="-499"/>
                  </a:lnTo>
                  <a:lnTo>
                    <a:pt x="341972" y="1151876"/>
                  </a:lnTo>
                  <a:lnTo>
                    <a:pt x="37616" y="1506705"/>
                  </a:lnTo>
                  <a:lnTo>
                    <a:pt x="-1131" y="1703193"/>
                  </a:lnTo>
                  <a:lnTo>
                    <a:pt x="41489" y="1909854"/>
                  </a:lnTo>
                  <a:lnTo>
                    <a:pt x="404012" y="1839322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7" name="Vrije vorm 786">
              <a:extLst>
                <a:ext uri="{FF2B5EF4-FFF2-40B4-BE49-F238E27FC236}">
                  <a16:creationId xmlns:a16="http://schemas.microsoft.com/office/drawing/2014/main" id="{E5D072F4-9BA2-7A7F-91EE-56E5A5BD721B}"/>
                </a:ext>
              </a:extLst>
            </p:cNvPr>
            <p:cNvSpPr/>
            <p:nvPr/>
          </p:nvSpPr>
          <p:spPr>
            <a:xfrm flipV="1">
              <a:off x="6268220" y="3930199"/>
              <a:ext cx="405528" cy="1654839"/>
            </a:xfrm>
            <a:custGeom>
              <a:avLst/>
              <a:gdLst>
                <a:gd name="connsiteX0" fmla="*/ -1299 w 405528"/>
                <a:gd name="connsiteY0" fmla="*/ 1654408 h 1654839"/>
                <a:gd name="connsiteX1" fmla="*/ 1262 w 405528"/>
                <a:gd name="connsiteY1" fmla="*/ 1650654 h 1654839"/>
                <a:gd name="connsiteX2" fmla="*/ 9262 w 405528"/>
                <a:gd name="connsiteY2" fmla="*/ 1640023 h 1654839"/>
                <a:gd name="connsiteX3" fmla="*/ 40415 w 405528"/>
                <a:gd name="connsiteY3" fmla="*/ 1599492 h 1654839"/>
                <a:gd name="connsiteX4" fmla="*/ 154706 w 405528"/>
                <a:gd name="connsiteY4" fmla="*/ 1450208 h 1654839"/>
                <a:gd name="connsiteX5" fmla="*/ 231872 w 405528"/>
                <a:gd name="connsiteY5" fmla="*/ 1345869 h 1654839"/>
                <a:gd name="connsiteX6" fmla="*/ 272192 w 405528"/>
                <a:gd name="connsiteY6" fmla="*/ 1286132 h 1654839"/>
                <a:gd name="connsiteX7" fmla="*/ 283375 w 405528"/>
                <a:gd name="connsiteY7" fmla="*/ 1251361 h 1654839"/>
                <a:gd name="connsiteX8" fmla="*/ 289182 w 405528"/>
                <a:gd name="connsiteY8" fmla="*/ 1213101 h 1654839"/>
                <a:gd name="connsiteX9" fmla="*/ 319638 w 405528"/>
                <a:gd name="connsiteY9" fmla="*/ 873100 h 1654839"/>
                <a:gd name="connsiteX10" fmla="*/ 334637 w 405528"/>
                <a:gd name="connsiteY10" fmla="*/ 696835 h 1654839"/>
                <a:gd name="connsiteX11" fmla="*/ 350436 w 405528"/>
                <a:gd name="connsiteY11" fmla="*/ 532834 h 1654839"/>
                <a:gd name="connsiteX12" fmla="*/ 377544 w 405528"/>
                <a:gd name="connsiteY12" fmla="*/ 255197 h 1654839"/>
                <a:gd name="connsiteX13" fmla="*/ 396373 w 405528"/>
                <a:gd name="connsiteY13" fmla="*/ 68085 h 1654839"/>
                <a:gd name="connsiteX14" fmla="*/ 401825 w 405528"/>
                <a:gd name="connsiteY14" fmla="*/ 17252 h 1654839"/>
                <a:gd name="connsiteX15" fmla="*/ 403410 w 405528"/>
                <a:gd name="connsiteY15" fmla="*/ 4046 h 1654839"/>
                <a:gd name="connsiteX16" fmla="*/ 404158 w 405528"/>
                <a:gd name="connsiteY16" fmla="*/ -428 h 1654839"/>
                <a:gd name="connsiteX17" fmla="*/ 404069 w 405528"/>
                <a:gd name="connsiteY17" fmla="*/ 4111 h 1654839"/>
                <a:gd name="connsiteX18" fmla="*/ 403131 w 405528"/>
                <a:gd name="connsiteY18" fmla="*/ 17381 h 1654839"/>
                <a:gd name="connsiteX19" fmla="*/ 398883 w 405528"/>
                <a:gd name="connsiteY19" fmla="*/ 68337 h 1654839"/>
                <a:gd name="connsiteX20" fmla="*/ 382109 w 405528"/>
                <a:gd name="connsiteY20" fmla="*/ 255643 h 1654839"/>
                <a:gd name="connsiteX21" fmla="*/ 356382 w 405528"/>
                <a:gd name="connsiteY21" fmla="*/ 533379 h 1654839"/>
                <a:gd name="connsiteX22" fmla="*/ 340964 w 405528"/>
                <a:gd name="connsiteY22" fmla="*/ 697395 h 1654839"/>
                <a:gd name="connsiteX23" fmla="*/ 326104 w 405528"/>
                <a:gd name="connsiteY23" fmla="*/ 873621 h 1654839"/>
                <a:gd name="connsiteX24" fmla="*/ 295104 w 405528"/>
                <a:gd name="connsiteY24" fmla="*/ 1213875 h 1654839"/>
                <a:gd name="connsiteX25" fmla="*/ 289119 w 405528"/>
                <a:gd name="connsiteY25" fmla="*/ 1252439 h 1654839"/>
                <a:gd name="connsiteX26" fmla="*/ 284935 w 405528"/>
                <a:gd name="connsiteY26" fmla="*/ 1271277 h 1654839"/>
                <a:gd name="connsiteX27" fmla="*/ 277086 w 405528"/>
                <a:gd name="connsiteY27" fmla="*/ 1289050 h 1654839"/>
                <a:gd name="connsiteX28" fmla="*/ 236234 w 405528"/>
                <a:gd name="connsiteY28" fmla="*/ 1349015 h 1654839"/>
                <a:gd name="connsiteX29" fmla="*/ 158345 w 405528"/>
                <a:gd name="connsiteY29" fmla="*/ 1452986 h 1654839"/>
                <a:gd name="connsiteX30" fmla="*/ 42406 w 405528"/>
                <a:gd name="connsiteY30" fmla="*/ 1601053 h 1654839"/>
                <a:gd name="connsiteX31" fmla="*/ 10290 w 405528"/>
                <a:gd name="connsiteY31" fmla="*/ 1640835 h 1654839"/>
                <a:gd name="connsiteX32" fmla="*/ 1782 w 405528"/>
                <a:gd name="connsiteY32" fmla="*/ 1651059 h 1654839"/>
                <a:gd name="connsiteX33" fmla="*/ -1299 w 405528"/>
                <a:gd name="connsiteY33" fmla="*/ 1654408 h 1654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05528" h="1654839">
                  <a:moveTo>
                    <a:pt x="-1299" y="1654408"/>
                  </a:moveTo>
                  <a:cubicBezTo>
                    <a:pt x="-1388" y="1654332"/>
                    <a:pt x="-513" y="1653064"/>
                    <a:pt x="1262" y="1650654"/>
                  </a:cubicBezTo>
                  <a:cubicBezTo>
                    <a:pt x="3265" y="1648002"/>
                    <a:pt x="5902" y="1644488"/>
                    <a:pt x="9262" y="1640023"/>
                  </a:cubicBezTo>
                  <a:cubicBezTo>
                    <a:pt x="16616" y="1630458"/>
                    <a:pt x="27077" y="1616859"/>
                    <a:pt x="40415" y="1599492"/>
                  </a:cubicBezTo>
                  <a:cubicBezTo>
                    <a:pt x="67486" y="1564302"/>
                    <a:pt x="106867" y="1513547"/>
                    <a:pt x="154706" y="1450208"/>
                  </a:cubicBezTo>
                  <a:cubicBezTo>
                    <a:pt x="178619" y="1418545"/>
                    <a:pt x="204713" y="1383774"/>
                    <a:pt x="231872" y="1345869"/>
                  </a:cubicBezTo>
                  <a:cubicBezTo>
                    <a:pt x="245299" y="1326853"/>
                    <a:pt x="259462" y="1307228"/>
                    <a:pt x="272192" y="1286132"/>
                  </a:cubicBezTo>
                  <a:cubicBezTo>
                    <a:pt x="278963" y="1275946"/>
                    <a:pt x="280966" y="1263996"/>
                    <a:pt x="283375" y="1251361"/>
                  </a:cubicBezTo>
                  <a:cubicBezTo>
                    <a:pt x="285784" y="1238904"/>
                    <a:pt x="287407" y="1226053"/>
                    <a:pt x="289182" y="1213101"/>
                  </a:cubicBezTo>
                  <a:cubicBezTo>
                    <a:pt x="301709" y="1109041"/>
                    <a:pt x="309558" y="993805"/>
                    <a:pt x="319638" y="873100"/>
                  </a:cubicBezTo>
                  <a:cubicBezTo>
                    <a:pt x="324773" y="812720"/>
                    <a:pt x="329794" y="753766"/>
                    <a:pt x="334637" y="696835"/>
                  </a:cubicBezTo>
                  <a:cubicBezTo>
                    <a:pt x="340115" y="639962"/>
                    <a:pt x="345402" y="585112"/>
                    <a:pt x="350436" y="532834"/>
                  </a:cubicBezTo>
                  <a:cubicBezTo>
                    <a:pt x="360630" y="428406"/>
                    <a:pt x="369810" y="334343"/>
                    <a:pt x="377544" y="255197"/>
                  </a:cubicBezTo>
                  <a:cubicBezTo>
                    <a:pt x="385468" y="176482"/>
                    <a:pt x="391897" y="112647"/>
                    <a:pt x="396373" y="68085"/>
                  </a:cubicBezTo>
                  <a:cubicBezTo>
                    <a:pt x="398706" y="46306"/>
                    <a:pt x="400544" y="29254"/>
                    <a:pt x="401825" y="17252"/>
                  </a:cubicBezTo>
                  <a:cubicBezTo>
                    <a:pt x="402484" y="11712"/>
                    <a:pt x="403004" y="7347"/>
                    <a:pt x="403410" y="4046"/>
                  </a:cubicBezTo>
                  <a:cubicBezTo>
                    <a:pt x="403803" y="1078"/>
                    <a:pt x="404056" y="-443"/>
                    <a:pt x="404158" y="-428"/>
                  </a:cubicBezTo>
                  <a:cubicBezTo>
                    <a:pt x="404272" y="-418"/>
                    <a:pt x="404234" y="1117"/>
                    <a:pt x="404069" y="4111"/>
                  </a:cubicBezTo>
                  <a:cubicBezTo>
                    <a:pt x="403828" y="7421"/>
                    <a:pt x="403524" y="11811"/>
                    <a:pt x="403131" y="17381"/>
                  </a:cubicBezTo>
                  <a:cubicBezTo>
                    <a:pt x="402129" y="29418"/>
                    <a:pt x="400709" y="46509"/>
                    <a:pt x="398883" y="68337"/>
                  </a:cubicBezTo>
                  <a:cubicBezTo>
                    <a:pt x="394889" y="112955"/>
                    <a:pt x="389171" y="176838"/>
                    <a:pt x="382109" y="255643"/>
                  </a:cubicBezTo>
                  <a:cubicBezTo>
                    <a:pt x="374767" y="334814"/>
                    <a:pt x="366057" y="428916"/>
                    <a:pt x="356382" y="533379"/>
                  </a:cubicBezTo>
                  <a:cubicBezTo>
                    <a:pt x="351463" y="585658"/>
                    <a:pt x="346315" y="640523"/>
                    <a:pt x="340964" y="697395"/>
                  </a:cubicBezTo>
                  <a:cubicBezTo>
                    <a:pt x="336159" y="754312"/>
                    <a:pt x="331189" y="813250"/>
                    <a:pt x="326104" y="873621"/>
                  </a:cubicBezTo>
                  <a:cubicBezTo>
                    <a:pt x="316012" y="994338"/>
                    <a:pt x="307998" y="1109485"/>
                    <a:pt x="295104" y="1213875"/>
                  </a:cubicBezTo>
                  <a:cubicBezTo>
                    <a:pt x="293278" y="1226903"/>
                    <a:pt x="291617" y="1239792"/>
                    <a:pt x="289119" y="1252439"/>
                  </a:cubicBezTo>
                  <a:cubicBezTo>
                    <a:pt x="288117" y="1258782"/>
                    <a:pt x="286520" y="1265061"/>
                    <a:pt x="284935" y="1271277"/>
                  </a:cubicBezTo>
                  <a:cubicBezTo>
                    <a:pt x="283286" y="1277455"/>
                    <a:pt x="280548" y="1284077"/>
                    <a:pt x="277086" y="1289050"/>
                  </a:cubicBezTo>
                  <a:cubicBezTo>
                    <a:pt x="264027" y="1310476"/>
                    <a:pt x="249813" y="1329986"/>
                    <a:pt x="236234" y="1349015"/>
                  </a:cubicBezTo>
                  <a:cubicBezTo>
                    <a:pt x="208834" y="1386856"/>
                    <a:pt x="182512" y="1421488"/>
                    <a:pt x="158345" y="1452986"/>
                  </a:cubicBezTo>
                  <a:cubicBezTo>
                    <a:pt x="110024" y="1515996"/>
                    <a:pt x="70085" y="1566332"/>
                    <a:pt x="42406" y="1601053"/>
                  </a:cubicBezTo>
                  <a:cubicBezTo>
                    <a:pt x="28649" y="1618090"/>
                    <a:pt x="17872" y="1631448"/>
                    <a:pt x="10290" y="1640835"/>
                  </a:cubicBezTo>
                  <a:cubicBezTo>
                    <a:pt x="6714" y="1645123"/>
                    <a:pt x="3912" y="1648510"/>
                    <a:pt x="1782" y="1651059"/>
                  </a:cubicBezTo>
                  <a:cubicBezTo>
                    <a:pt x="-171" y="1653343"/>
                    <a:pt x="-1211" y="1654472"/>
                    <a:pt x="-1299" y="1654408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8" name="Vrije vorm 787">
              <a:extLst>
                <a:ext uri="{FF2B5EF4-FFF2-40B4-BE49-F238E27FC236}">
                  <a16:creationId xmlns:a16="http://schemas.microsoft.com/office/drawing/2014/main" id="{08D09536-4507-764F-3358-9D21B848F987}"/>
                </a:ext>
              </a:extLst>
            </p:cNvPr>
            <p:cNvSpPr/>
            <p:nvPr/>
          </p:nvSpPr>
          <p:spPr>
            <a:xfrm flipV="1">
              <a:off x="6855969" y="4272917"/>
              <a:ext cx="121157" cy="114245"/>
            </a:xfrm>
            <a:custGeom>
              <a:avLst/>
              <a:gdLst>
                <a:gd name="connsiteX0" fmla="*/ 119506 w 121157"/>
                <a:gd name="connsiteY0" fmla="*/ 113385 h 114245"/>
                <a:gd name="connsiteX1" fmla="*/ 56756 w 121157"/>
                <a:gd name="connsiteY1" fmla="*/ 58672 h 114245"/>
                <a:gd name="connsiteX2" fmla="*/ -1568 w 121157"/>
                <a:gd name="connsiteY2" fmla="*/ -760 h 114245"/>
                <a:gd name="connsiteX3" fmla="*/ 61194 w 121157"/>
                <a:gd name="connsiteY3" fmla="*/ 53953 h 114245"/>
                <a:gd name="connsiteX4" fmla="*/ 119506 w 121157"/>
                <a:gd name="connsiteY4" fmla="*/ 113385 h 114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157" h="114245">
                  <a:moveTo>
                    <a:pt x="119506" y="113385"/>
                  </a:moveTo>
                  <a:cubicBezTo>
                    <a:pt x="118276" y="114692"/>
                    <a:pt x="90179" y="90196"/>
                    <a:pt x="56756" y="58672"/>
                  </a:cubicBezTo>
                  <a:cubicBezTo>
                    <a:pt x="23308" y="27148"/>
                    <a:pt x="-2798" y="547"/>
                    <a:pt x="-1568" y="-760"/>
                  </a:cubicBezTo>
                  <a:cubicBezTo>
                    <a:pt x="-338" y="-2067"/>
                    <a:pt x="27759" y="22429"/>
                    <a:pt x="61194" y="53953"/>
                  </a:cubicBezTo>
                  <a:cubicBezTo>
                    <a:pt x="94629" y="85477"/>
                    <a:pt x="120736" y="112091"/>
                    <a:pt x="119506" y="113385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9" name="Vrije vorm 788">
              <a:extLst>
                <a:ext uri="{FF2B5EF4-FFF2-40B4-BE49-F238E27FC236}">
                  <a16:creationId xmlns:a16="http://schemas.microsoft.com/office/drawing/2014/main" id="{03D145F5-2DAF-A0B7-C718-A157555B0F3D}"/>
                </a:ext>
              </a:extLst>
            </p:cNvPr>
            <p:cNvSpPr/>
            <p:nvPr/>
          </p:nvSpPr>
          <p:spPr>
            <a:xfrm flipV="1">
              <a:off x="6394283" y="2615604"/>
              <a:ext cx="790602" cy="773337"/>
            </a:xfrm>
            <a:custGeom>
              <a:avLst/>
              <a:gdLst>
                <a:gd name="connsiteX0" fmla="*/ -1523 w 790602"/>
                <a:gd name="connsiteY0" fmla="*/ 771341 h 773337"/>
                <a:gd name="connsiteX1" fmla="*/ 142919 w 790602"/>
                <a:gd name="connsiteY1" fmla="*/ 702420 h 773337"/>
                <a:gd name="connsiteX2" fmla="*/ 432374 w 790602"/>
                <a:gd name="connsiteY2" fmla="*/ 313974 h 773337"/>
                <a:gd name="connsiteX3" fmla="*/ 607601 w 790602"/>
                <a:gd name="connsiteY3" fmla="*/ 600111 h 773337"/>
                <a:gd name="connsiteX4" fmla="*/ 789079 w 790602"/>
                <a:gd name="connsiteY4" fmla="*/ 508863 h 773337"/>
                <a:gd name="connsiteX5" fmla="*/ 554069 w 790602"/>
                <a:gd name="connsiteY5" fmla="*/ 28459 h 773337"/>
                <a:gd name="connsiteX6" fmla="*/ 360140 w 790602"/>
                <a:gd name="connsiteY6" fmla="*/ 28459 h 773337"/>
                <a:gd name="connsiteX7" fmla="*/ 101280 w 790602"/>
                <a:gd name="connsiteY7" fmla="*/ 358729 h 773337"/>
                <a:gd name="connsiteX8" fmla="*/ -1523 w 790602"/>
                <a:gd name="connsiteY8" fmla="*/ 771341 h 77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90602" h="773337">
                  <a:moveTo>
                    <a:pt x="-1523" y="771341"/>
                  </a:moveTo>
                  <a:cubicBezTo>
                    <a:pt x="-1523" y="771341"/>
                    <a:pt x="99163" y="762144"/>
                    <a:pt x="142919" y="702420"/>
                  </a:cubicBezTo>
                  <a:cubicBezTo>
                    <a:pt x="194206" y="632370"/>
                    <a:pt x="432374" y="313974"/>
                    <a:pt x="432374" y="313974"/>
                  </a:cubicBezTo>
                  <a:lnTo>
                    <a:pt x="607601" y="600111"/>
                  </a:lnTo>
                  <a:lnTo>
                    <a:pt x="789079" y="508863"/>
                  </a:lnTo>
                  <a:cubicBezTo>
                    <a:pt x="789079" y="508863"/>
                    <a:pt x="620280" y="67010"/>
                    <a:pt x="554069" y="28459"/>
                  </a:cubicBezTo>
                  <a:cubicBezTo>
                    <a:pt x="487858" y="-10093"/>
                    <a:pt x="399915" y="-14152"/>
                    <a:pt x="360140" y="28459"/>
                  </a:cubicBezTo>
                  <a:cubicBezTo>
                    <a:pt x="320378" y="71070"/>
                    <a:pt x="101280" y="358729"/>
                    <a:pt x="101280" y="358729"/>
                  </a:cubicBezTo>
                  <a:lnTo>
                    <a:pt x="-1523" y="771341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0" name="Vrije vorm 789">
              <a:extLst>
                <a:ext uri="{FF2B5EF4-FFF2-40B4-BE49-F238E27FC236}">
                  <a16:creationId xmlns:a16="http://schemas.microsoft.com/office/drawing/2014/main" id="{591E0ECA-8655-2A4C-4FE2-1A8EC0E26174}"/>
                </a:ext>
              </a:extLst>
            </p:cNvPr>
            <p:cNvSpPr/>
            <p:nvPr/>
          </p:nvSpPr>
          <p:spPr>
            <a:xfrm flipV="1">
              <a:off x="5830246" y="2496867"/>
              <a:ext cx="821919" cy="1278354"/>
            </a:xfrm>
            <a:custGeom>
              <a:avLst/>
              <a:gdLst>
                <a:gd name="connsiteX0" fmla="*/ 820771 w 821919"/>
                <a:gd name="connsiteY0" fmla="*/ 7320 h 1278354"/>
                <a:gd name="connsiteX1" fmla="*/ 412855 w 821919"/>
                <a:gd name="connsiteY1" fmla="*/ 1168562 h 1278354"/>
                <a:gd name="connsiteX2" fmla="*/ 357573 w 821919"/>
                <a:gd name="connsiteY2" fmla="*/ 1236823 h 1278354"/>
                <a:gd name="connsiteX3" fmla="*/ 51090 w 821919"/>
                <a:gd name="connsiteY3" fmla="*/ 1276478 h 1278354"/>
                <a:gd name="connsiteX4" fmla="*/ -1148 w 821919"/>
                <a:gd name="connsiteY4" fmla="*/ 1129617 h 1278354"/>
                <a:gd name="connsiteX5" fmla="*/ 169324 w 821919"/>
                <a:gd name="connsiteY5" fmla="*/ -1877 h 1278354"/>
                <a:gd name="connsiteX6" fmla="*/ 820771 w 821919"/>
                <a:gd name="connsiteY6" fmla="*/ 7320 h 127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1919" h="1278354">
                  <a:moveTo>
                    <a:pt x="820771" y="7320"/>
                  </a:moveTo>
                  <a:lnTo>
                    <a:pt x="412855" y="1168562"/>
                  </a:lnTo>
                  <a:lnTo>
                    <a:pt x="357573" y="1236823"/>
                  </a:lnTo>
                  <a:lnTo>
                    <a:pt x="51090" y="1276478"/>
                  </a:lnTo>
                  <a:lnTo>
                    <a:pt x="-1148" y="1129617"/>
                  </a:lnTo>
                  <a:lnTo>
                    <a:pt x="169324" y="-1877"/>
                  </a:lnTo>
                  <a:lnTo>
                    <a:pt x="820771" y="7320"/>
                  </a:lnTo>
                </a:path>
              </a:pathLst>
            </a:custGeom>
            <a:solidFill>
              <a:srgbClr val="FAFAF9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1" name="Vrije vorm 790">
              <a:extLst>
                <a:ext uri="{FF2B5EF4-FFF2-40B4-BE49-F238E27FC236}">
                  <a16:creationId xmlns:a16="http://schemas.microsoft.com/office/drawing/2014/main" id="{CF659232-E1B1-2416-0359-2A41A5F5EC80}"/>
                </a:ext>
              </a:extLst>
            </p:cNvPr>
            <p:cNvSpPr/>
            <p:nvPr/>
          </p:nvSpPr>
          <p:spPr>
            <a:xfrm flipV="1">
              <a:off x="6148656" y="2795384"/>
              <a:ext cx="133317" cy="710395"/>
            </a:xfrm>
            <a:custGeom>
              <a:avLst/>
              <a:gdLst>
                <a:gd name="connsiteX0" fmla="*/ 131930 w 133317"/>
                <a:gd name="connsiteY0" fmla="*/ -1864 h 710395"/>
                <a:gd name="connsiteX1" fmla="*/ 132158 w 133317"/>
                <a:gd name="connsiteY1" fmla="*/ 5507 h 710395"/>
                <a:gd name="connsiteX2" fmla="*/ 131524 w 133317"/>
                <a:gd name="connsiteY2" fmla="*/ 26616 h 710395"/>
                <a:gd name="connsiteX3" fmla="*/ 129534 w 133317"/>
                <a:gd name="connsiteY3" fmla="*/ 59966 h 710395"/>
                <a:gd name="connsiteX4" fmla="*/ 125616 w 133317"/>
                <a:gd name="connsiteY4" fmla="*/ 104036 h 710395"/>
                <a:gd name="connsiteX5" fmla="*/ 85232 w 133317"/>
                <a:gd name="connsiteY5" fmla="*/ 356924 h 710395"/>
                <a:gd name="connsiteX6" fmla="*/ 27161 w 133317"/>
                <a:gd name="connsiteY6" fmla="*/ 606323 h 710395"/>
                <a:gd name="connsiteX7" fmla="*/ 7204 w 133317"/>
                <a:gd name="connsiteY7" fmla="*/ 681295 h 710395"/>
                <a:gd name="connsiteX8" fmla="*/ 1384 w 133317"/>
                <a:gd name="connsiteY8" fmla="*/ 701567 h 710395"/>
                <a:gd name="connsiteX9" fmla="*/ -1075 w 133317"/>
                <a:gd name="connsiteY9" fmla="*/ 708531 h 710395"/>
                <a:gd name="connsiteX10" fmla="*/ 116 w 133317"/>
                <a:gd name="connsiteY10" fmla="*/ 701250 h 710395"/>
                <a:gd name="connsiteX11" fmla="*/ 4757 w 133317"/>
                <a:gd name="connsiteY11" fmla="*/ 680661 h 710395"/>
                <a:gd name="connsiteX12" fmla="*/ 22724 w 133317"/>
                <a:gd name="connsiteY12" fmla="*/ 605206 h 710395"/>
                <a:gd name="connsiteX13" fmla="*/ 78880 w 133317"/>
                <a:gd name="connsiteY13" fmla="*/ 355617 h 710395"/>
                <a:gd name="connsiteX14" fmla="*/ 121064 w 133317"/>
                <a:gd name="connsiteY14" fmla="*/ 103528 h 710395"/>
                <a:gd name="connsiteX15" fmla="*/ 125920 w 133317"/>
                <a:gd name="connsiteY15" fmla="*/ 59649 h 710395"/>
                <a:gd name="connsiteX16" fmla="*/ 129014 w 133317"/>
                <a:gd name="connsiteY16" fmla="*/ 26451 h 710395"/>
                <a:gd name="connsiteX17" fmla="*/ 130852 w 133317"/>
                <a:gd name="connsiteY17" fmla="*/ 5443 h 710395"/>
                <a:gd name="connsiteX18" fmla="*/ 131930 w 133317"/>
                <a:gd name="connsiteY18" fmla="*/ -1864 h 710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3317" h="710395">
                  <a:moveTo>
                    <a:pt x="131930" y="-1864"/>
                  </a:moveTo>
                  <a:cubicBezTo>
                    <a:pt x="132158" y="-1851"/>
                    <a:pt x="132234" y="686"/>
                    <a:pt x="132158" y="5507"/>
                  </a:cubicBezTo>
                  <a:cubicBezTo>
                    <a:pt x="131993" y="11038"/>
                    <a:pt x="131791" y="18027"/>
                    <a:pt x="131524" y="26616"/>
                  </a:cubicBezTo>
                  <a:cubicBezTo>
                    <a:pt x="131309" y="35787"/>
                    <a:pt x="130535" y="46976"/>
                    <a:pt x="129534" y="59966"/>
                  </a:cubicBezTo>
                  <a:cubicBezTo>
                    <a:pt x="128671" y="72969"/>
                    <a:pt x="127429" y="87748"/>
                    <a:pt x="125616" y="104036"/>
                  </a:cubicBezTo>
                  <a:cubicBezTo>
                    <a:pt x="119149" y="169316"/>
                    <a:pt x="105240" y="258927"/>
                    <a:pt x="85232" y="356924"/>
                  </a:cubicBezTo>
                  <a:cubicBezTo>
                    <a:pt x="65136" y="454933"/>
                    <a:pt x="43530" y="542882"/>
                    <a:pt x="27161" y="606323"/>
                  </a:cubicBezTo>
                  <a:cubicBezTo>
                    <a:pt x="19008" y="638050"/>
                    <a:pt x="12111" y="663636"/>
                    <a:pt x="7204" y="681295"/>
                  </a:cubicBezTo>
                  <a:cubicBezTo>
                    <a:pt x="4833" y="689541"/>
                    <a:pt x="2906" y="696251"/>
                    <a:pt x="1384" y="701567"/>
                  </a:cubicBezTo>
                  <a:cubicBezTo>
                    <a:pt x="-10" y="706184"/>
                    <a:pt x="-860" y="708582"/>
                    <a:pt x="-1075" y="708531"/>
                  </a:cubicBezTo>
                  <a:cubicBezTo>
                    <a:pt x="-1291" y="708480"/>
                    <a:pt x="-873" y="705969"/>
                    <a:pt x="116" y="701250"/>
                  </a:cubicBezTo>
                  <a:cubicBezTo>
                    <a:pt x="1334" y="695845"/>
                    <a:pt x="2868" y="689033"/>
                    <a:pt x="4757" y="680661"/>
                  </a:cubicBezTo>
                  <a:cubicBezTo>
                    <a:pt x="9207" y="662000"/>
                    <a:pt x="15294" y="636439"/>
                    <a:pt x="22724" y="605206"/>
                  </a:cubicBezTo>
                  <a:cubicBezTo>
                    <a:pt x="37939" y="541525"/>
                    <a:pt x="58809" y="453487"/>
                    <a:pt x="78880" y="355617"/>
                  </a:cubicBezTo>
                  <a:cubicBezTo>
                    <a:pt x="98862" y="257773"/>
                    <a:pt x="113444" y="168517"/>
                    <a:pt x="121064" y="103528"/>
                  </a:cubicBezTo>
                  <a:cubicBezTo>
                    <a:pt x="123156" y="87304"/>
                    <a:pt x="124715" y="72588"/>
                    <a:pt x="125920" y="59649"/>
                  </a:cubicBezTo>
                  <a:cubicBezTo>
                    <a:pt x="127264" y="46722"/>
                    <a:pt x="128405" y="35584"/>
                    <a:pt x="129014" y="26451"/>
                  </a:cubicBezTo>
                  <a:cubicBezTo>
                    <a:pt x="129762" y="17901"/>
                    <a:pt x="130370" y="10949"/>
                    <a:pt x="130852" y="5443"/>
                  </a:cubicBezTo>
                  <a:cubicBezTo>
                    <a:pt x="131347" y="648"/>
                    <a:pt x="131714" y="-1876"/>
                    <a:pt x="131930" y="-186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2" name="Vrije vorm 791">
              <a:extLst>
                <a:ext uri="{FF2B5EF4-FFF2-40B4-BE49-F238E27FC236}">
                  <a16:creationId xmlns:a16="http://schemas.microsoft.com/office/drawing/2014/main" id="{F319D02A-C227-55A4-A97C-1D0FAC475857}"/>
                </a:ext>
              </a:extLst>
            </p:cNvPr>
            <p:cNvSpPr/>
            <p:nvPr/>
          </p:nvSpPr>
          <p:spPr>
            <a:xfrm flipV="1">
              <a:off x="6188182" y="2526614"/>
              <a:ext cx="472695" cy="1079482"/>
            </a:xfrm>
            <a:custGeom>
              <a:avLst/>
              <a:gdLst>
                <a:gd name="connsiteX0" fmla="*/ 471421 w 472695"/>
                <a:gd name="connsiteY0" fmla="*/ -49 h 1079482"/>
                <a:gd name="connsiteX1" fmla="*/ 333154 w 472695"/>
                <a:gd name="connsiteY1" fmla="*/ 839536 h 1079482"/>
                <a:gd name="connsiteX2" fmla="*/ 311257 w 472695"/>
                <a:gd name="connsiteY2" fmla="*/ 903967 h 1079482"/>
                <a:gd name="connsiteX3" fmla="*/ 204193 w 472695"/>
                <a:gd name="connsiteY3" fmla="*/ 995962 h 1079482"/>
                <a:gd name="connsiteX4" fmla="*/ 61577 w 472695"/>
                <a:gd name="connsiteY4" fmla="*/ 1030823 h 1079482"/>
                <a:gd name="connsiteX5" fmla="*/ 1313 w 472695"/>
                <a:gd name="connsiteY5" fmla="*/ 1077544 h 1079482"/>
                <a:gd name="connsiteX6" fmla="*/ -1274 w 472695"/>
                <a:gd name="connsiteY6" fmla="*/ 1049420 h 1079482"/>
                <a:gd name="connsiteX7" fmla="*/ 61577 w 472695"/>
                <a:gd name="connsiteY7" fmla="*/ 844724 h 1079482"/>
                <a:gd name="connsiteX8" fmla="*/ 319942 w 472695"/>
                <a:gd name="connsiteY8" fmla="*/ -1939 h 1079482"/>
                <a:gd name="connsiteX9" fmla="*/ 471421 w 472695"/>
                <a:gd name="connsiteY9" fmla="*/ -49 h 1079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2695" h="1079482">
                  <a:moveTo>
                    <a:pt x="471421" y="-49"/>
                  </a:moveTo>
                  <a:cubicBezTo>
                    <a:pt x="471421" y="11977"/>
                    <a:pt x="333154" y="839536"/>
                    <a:pt x="333154" y="839536"/>
                  </a:cubicBezTo>
                  <a:lnTo>
                    <a:pt x="311257" y="903967"/>
                  </a:lnTo>
                  <a:cubicBezTo>
                    <a:pt x="292289" y="949977"/>
                    <a:pt x="252514" y="984152"/>
                    <a:pt x="204193" y="995962"/>
                  </a:cubicBezTo>
                  <a:lnTo>
                    <a:pt x="61577" y="1030823"/>
                  </a:lnTo>
                  <a:lnTo>
                    <a:pt x="1313" y="1077544"/>
                  </a:lnTo>
                  <a:lnTo>
                    <a:pt x="-1274" y="1049420"/>
                  </a:lnTo>
                  <a:lnTo>
                    <a:pt x="61577" y="844724"/>
                  </a:lnTo>
                  <a:lnTo>
                    <a:pt x="319942" y="-1939"/>
                  </a:lnTo>
                  <a:lnTo>
                    <a:pt x="471421" y="-49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3" name="Vrije vorm 792">
              <a:extLst>
                <a:ext uri="{FF2B5EF4-FFF2-40B4-BE49-F238E27FC236}">
                  <a16:creationId xmlns:a16="http://schemas.microsoft.com/office/drawing/2014/main" id="{8E7FA365-A147-FB53-7B2C-7B6FC5D443F2}"/>
                </a:ext>
              </a:extLst>
            </p:cNvPr>
            <p:cNvSpPr/>
            <p:nvPr/>
          </p:nvSpPr>
          <p:spPr>
            <a:xfrm flipV="1">
              <a:off x="5589438" y="2494292"/>
              <a:ext cx="466624" cy="1087499"/>
            </a:xfrm>
            <a:custGeom>
              <a:avLst/>
              <a:gdLst>
                <a:gd name="connsiteX0" fmla="*/ 453160 w 466624"/>
                <a:gd name="connsiteY0" fmla="*/ -1964 h 1087499"/>
                <a:gd name="connsiteX1" fmla="*/ 460527 w 466624"/>
                <a:gd name="connsiteY1" fmla="*/ 341664 h 1087499"/>
                <a:gd name="connsiteX2" fmla="*/ 397105 w 466624"/>
                <a:gd name="connsiteY2" fmla="*/ 752056 h 1087499"/>
                <a:gd name="connsiteX3" fmla="*/ 308414 w 466624"/>
                <a:gd name="connsiteY3" fmla="*/ 1031406 h 1087499"/>
                <a:gd name="connsiteX4" fmla="*/ 282840 w 466624"/>
                <a:gd name="connsiteY4" fmla="*/ 1085536 h 1087499"/>
                <a:gd name="connsiteX5" fmla="*/ 229549 w 466624"/>
                <a:gd name="connsiteY5" fmla="*/ 1000567 h 1087499"/>
                <a:gd name="connsiteX6" fmla="*/ -862 w 466624"/>
                <a:gd name="connsiteY6" fmla="*/ 909358 h 1087499"/>
                <a:gd name="connsiteX7" fmla="*/ 86040 w 466624"/>
                <a:gd name="connsiteY7" fmla="*/ -1964 h 1087499"/>
                <a:gd name="connsiteX8" fmla="*/ 453160 w 466624"/>
                <a:gd name="connsiteY8" fmla="*/ -1964 h 108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624" h="1087499">
                  <a:moveTo>
                    <a:pt x="453160" y="-1964"/>
                  </a:moveTo>
                  <a:cubicBezTo>
                    <a:pt x="453160" y="22075"/>
                    <a:pt x="475666" y="200092"/>
                    <a:pt x="460527" y="341664"/>
                  </a:cubicBezTo>
                  <a:cubicBezTo>
                    <a:pt x="449356" y="446130"/>
                    <a:pt x="419421" y="624946"/>
                    <a:pt x="397105" y="752056"/>
                  </a:cubicBezTo>
                  <a:cubicBezTo>
                    <a:pt x="380140" y="848733"/>
                    <a:pt x="350319" y="942670"/>
                    <a:pt x="308414" y="1031406"/>
                  </a:cubicBezTo>
                  <a:lnTo>
                    <a:pt x="282840" y="1085536"/>
                  </a:lnTo>
                  <a:lnTo>
                    <a:pt x="229549" y="1000567"/>
                  </a:lnTo>
                  <a:lnTo>
                    <a:pt x="-862" y="909358"/>
                  </a:lnTo>
                  <a:lnTo>
                    <a:pt x="86040" y="-1964"/>
                  </a:lnTo>
                  <a:lnTo>
                    <a:pt x="453160" y="-1964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4" name="Vrije vorm 793">
              <a:extLst>
                <a:ext uri="{FF2B5EF4-FFF2-40B4-BE49-F238E27FC236}">
                  <a16:creationId xmlns:a16="http://schemas.microsoft.com/office/drawing/2014/main" id="{818920BD-D3FB-0531-C048-9E7BF4A16054}"/>
                </a:ext>
              </a:extLst>
            </p:cNvPr>
            <p:cNvSpPr/>
            <p:nvPr/>
          </p:nvSpPr>
          <p:spPr>
            <a:xfrm flipV="1">
              <a:off x="5462784" y="3566429"/>
              <a:ext cx="556624" cy="641473"/>
            </a:xfrm>
            <a:custGeom>
              <a:avLst/>
              <a:gdLst>
                <a:gd name="connsiteX0" fmla="*/ 125848 w 556624"/>
                <a:gd name="connsiteY0" fmla="*/ 597936 h 641473"/>
                <a:gd name="connsiteX1" fmla="*/ -807 w 556624"/>
                <a:gd name="connsiteY1" fmla="*/ 140226 h 641473"/>
                <a:gd name="connsiteX2" fmla="*/ 513761 w 556624"/>
                <a:gd name="connsiteY2" fmla="*/ -1206 h 641473"/>
                <a:gd name="connsiteX3" fmla="*/ 555818 w 556624"/>
                <a:gd name="connsiteY3" fmla="*/ 640268 h 641473"/>
                <a:gd name="connsiteX4" fmla="*/ 125848 w 556624"/>
                <a:gd name="connsiteY4" fmla="*/ 597936 h 641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624" h="641473">
                  <a:moveTo>
                    <a:pt x="125848" y="597936"/>
                  </a:moveTo>
                  <a:lnTo>
                    <a:pt x="-807" y="140226"/>
                  </a:lnTo>
                  <a:lnTo>
                    <a:pt x="513761" y="-1206"/>
                  </a:lnTo>
                  <a:lnTo>
                    <a:pt x="555818" y="640268"/>
                  </a:lnTo>
                  <a:lnTo>
                    <a:pt x="125848" y="597936"/>
                  </a:ln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5" name="Vrije vorm 794">
              <a:extLst>
                <a:ext uri="{FF2B5EF4-FFF2-40B4-BE49-F238E27FC236}">
                  <a16:creationId xmlns:a16="http://schemas.microsoft.com/office/drawing/2014/main" id="{1D89FFD1-F38B-8933-345F-9B77346488D0}"/>
                </a:ext>
              </a:extLst>
            </p:cNvPr>
            <p:cNvSpPr/>
            <p:nvPr/>
          </p:nvSpPr>
          <p:spPr>
            <a:xfrm flipV="1">
              <a:off x="5459169" y="3566429"/>
              <a:ext cx="560340" cy="645545"/>
            </a:xfrm>
            <a:custGeom>
              <a:avLst/>
              <a:gdLst>
                <a:gd name="connsiteX0" fmla="*/ 129469 w 560340"/>
                <a:gd name="connsiteY0" fmla="*/ 602010 h 645545"/>
                <a:gd name="connsiteX1" fmla="*/ 128637 w 560340"/>
                <a:gd name="connsiteY1" fmla="*/ 599904 h 645545"/>
                <a:gd name="connsiteX2" fmla="*/ 126640 w 560340"/>
                <a:gd name="connsiteY2" fmla="*/ 593587 h 645545"/>
                <a:gd name="connsiteX3" fmla="*/ 119326 w 560340"/>
                <a:gd name="connsiteY3" fmla="*/ 568850 h 645545"/>
                <a:gd name="connsiteX4" fmla="*/ 92570 w 560340"/>
                <a:gd name="connsiteY4" fmla="*/ 475255 h 645545"/>
                <a:gd name="connsiteX5" fmla="*/ -13 w 560340"/>
                <a:gd name="connsiteY5" fmla="*/ 145087 h 645545"/>
                <a:gd name="connsiteX6" fmla="*/ -805 w 560340"/>
                <a:gd name="connsiteY6" fmla="*/ 142258 h 645545"/>
                <a:gd name="connsiteX7" fmla="*/ 2037 w 560340"/>
                <a:gd name="connsiteY7" fmla="*/ 141471 h 645545"/>
                <a:gd name="connsiteX8" fmla="*/ 340122 w 560340"/>
                <a:gd name="connsiteY8" fmla="*/ 48232 h 645545"/>
                <a:gd name="connsiteX9" fmla="*/ 516540 w 560340"/>
                <a:gd name="connsiteY9" fmla="*/ -176 h 645545"/>
                <a:gd name="connsiteX10" fmla="*/ 520293 w 560340"/>
                <a:gd name="connsiteY10" fmla="*/ -1204 h 645545"/>
                <a:gd name="connsiteX11" fmla="*/ 520534 w 560340"/>
                <a:gd name="connsiteY11" fmla="*/ 2665 h 645545"/>
                <a:gd name="connsiteX12" fmla="*/ 549481 w 560340"/>
                <a:gd name="connsiteY12" fmla="*/ 461314 h 645545"/>
                <a:gd name="connsiteX13" fmla="*/ 557354 w 560340"/>
                <a:gd name="connsiteY13" fmla="*/ 595731 h 645545"/>
                <a:gd name="connsiteX14" fmla="*/ 559180 w 560340"/>
                <a:gd name="connsiteY14" fmla="*/ 631808 h 645545"/>
                <a:gd name="connsiteX15" fmla="*/ 559510 w 560340"/>
                <a:gd name="connsiteY15" fmla="*/ 641158 h 645545"/>
                <a:gd name="connsiteX16" fmla="*/ 559434 w 560340"/>
                <a:gd name="connsiteY16" fmla="*/ 644342 h 645545"/>
                <a:gd name="connsiteX17" fmla="*/ 558939 w 560340"/>
                <a:gd name="connsiteY17" fmla="*/ 641196 h 645545"/>
                <a:gd name="connsiteX18" fmla="*/ 558052 w 560340"/>
                <a:gd name="connsiteY18" fmla="*/ 631885 h 645545"/>
                <a:gd name="connsiteX19" fmla="*/ 555161 w 560340"/>
                <a:gd name="connsiteY19" fmla="*/ 595870 h 645545"/>
                <a:gd name="connsiteX20" fmla="*/ 545410 w 560340"/>
                <a:gd name="connsiteY20" fmla="*/ 461580 h 645545"/>
                <a:gd name="connsiteX21" fmla="*/ 514219 w 560340"/>
                <a:gd name="connsiteY21" fmla="*/ 3071 h 645545"/>
                <a:gd name="connsiteX22" fmla="*/ 518213 w 560340"/>
                <a:gd name="connsiteY22" fmla="*/ 5913 h 645545"/>
                <a:gd name="connsiteX23" fmla="*/ 341841 w 560340"/>
                <a:gd name="connsiteY23" fmla="*/ 54473 h 645545"/>
                <a:gd name="connsiteX24" fmla="*/ 3588 w 560340"/>
                <a:gd name="connsiteY24" fmla="*/ 147129 h 645545"/>
                <a:gd name="connsiteX25" fmla="*/ 5638 w 560340"/>
                <a:gd name="connsiteY25" fmla="*/ 143526 h 645545"/>
                <a:gd name="connsiteX26" fmla="*/ 95958 w 560340"/>
                <a:gd name="connsiteY26" fmla="*/ 474329 h 645545"/>
                <a:gd name="connsiteX27" fmla="*/ 121123 w 560340"/>
                <a:gd name="connsiteY27" fmla="*/ 568355 h 645545"/>
                <a:gd name="connsiteX28" fmla="*/ 127562 w 560340"/>
                <a:gd name="connsiteY28" fmla="*/ 593333 h 645545"/>
                <a:gd name="connsiteX29" fmla="*/ 129102 w 560340"/>
                <a:gd name="connsiteY29" fmla="*/ 599777 h 645545"/>
                <a:gd name="connsiteX30" fmla="*/ 129469 w 560340"/>
                <a:gd name="connsiteY30" fmla="*/ 602010 h 645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60340" h="645545">
                  <a:moveTo>
                    <a:pt x="129469" y="602010"/>
                  </a:moveTo>
                  <a:cubicBezTo>
                    <a:pt x="129389" y="602023"/>
                    <a:pt x="129113" y="601312"/>
                    <a:pt x="128637" y="599904"/>
                  </a:cubicBezTo>
                  <a:cubicBezTo>
                    <a:pt x="128102" y="598217"/>
                    <a:pt x="127453" y="596149"/>
                    <a:pt x="126640" y="593587"/>
                  </a:cubicBezTo>
                  <a:cubicBezTo>
                    <a:pt x="124873" y="587599"/>
                    <a:pt x="122436" y="579366"/>
                    <a:pt x="119326" y="568850"/>
                  </a:cubicBezTo>
                  <a:cubicBezTo>
                    <a:pt x="113010" y="546764"/>
                    <a:pt x="103967" y="515139"/>
                    <a:pt x="92570" y="475255"/>
                  </a:cubicBezTo>
                  <a:cubicBezTo>
                    <a:pt x="69900" y="394410"/>
                    <a:pt x="37876" y="280214"/>
                    <a:pt x="-13" y="145087"/>
                  </a:cubicBezTo>
                  <a:lnTo>
                    <a:pt x="-805" y="142258"/>
                  </a:lnTo>
                  <a:lnTo>
                    <a:pt x="2037" y="141471"/>
                  </a:lnTo>
                  <a:cubicBezTo>
                    <a:pt x="103749" y="113423"/>
                    <a:pt x="218754" y="81697"/>
                    <a:pt x="340122" y="48232"/>
                  </a:cubicBezTo>
                  <a:cubicBezTo>
                    <a:pt x="400956" y="31538"/>
                    <a:pt x="460193" y="15275"/>
                    <a:pt x="516540" y="-176"/>
                  </a:cubicBezTo>
                  <a:lnTo>
                    <a:pt x="520293" y="-1204"/>
                  </a:lnTo>
                  <a:lnTo>
                    <a:pt x="520534" y="2665"/>
                  </a:lnTo>
                  <a:cubicBezTo>
                    <a:pt x="532123" y="186252"/>
                    <a:pt x="542228" y="346509"/>
                    <a:pt x="549481" y="461314"/>
                  </a:cubicBezTo>
                  <a:cubicBezTo>
                    <a:pt x="552815" y="518247"/>
                    <a:pt x="555478" y="563877"/>
                    <a:pt x="557354" y="595731"/>
                  </a:cubicBezTo>
                  <a:cubicBezTo>
                    <a:pt x="558128" y="611144"/>
                    <a:pt x="558749" y="623195"/>
                    <a:pt x="559180" y="631808"/>
                  </a:cubicBezTo>
                  <a:cubicBezTo>
                    <a:pt x="559320" y="635665"/>
                    <a:pt x="559421" y="638735"/>
                    <a:pt x="559510" y="641158"/>
                  </a:cubicBezTo>
                  <a:cubicBezTo>
                    <a:pt x="559560" y="643251"/>
                    <a:pt x="559535" y="644329"/>
                    <a:pt x="559434" y="644342"/>
                  </a:cubicBezTo>
                  <a:cubicBezTo>
                    <a:pt x="559345" y="644342"/>
                    <a:pt x="559180" y="643276"/>
                    <a:pt x="558939" y="641196"/>
                  </a:cubicBezTo>
                  <a:cubicBezTo>
                    <a:pt x="558711" y="638786"/>
                    <a:pt x="558419" y="635728"/>
                    <a:pt x="558052" y="631885"/>
                  </a:cubicBezTo>
                  <a:cubicBezTo>
                    <a:pt x="557367" y="623296"/>
                    <a:pt x="556391" y="611258"/>
                    <a:pt x="555161" y="595870"/>
                  </a:cubicBezTo>
                  <a:cubicBezTo>
                    <a:pt x="552853" y="564055"/>
                    <a:pt x="549544" y="518462"/>
                    <a:pt x="545410" y="461580"/>
                  </a:cubicBezTo>
                  <a:cubicBezTo>
                    <a:pt x="537600" y="346813"/>
                    <a:pt x="526709" y="186607"/>
                    <a:pt x="514219" y="3071"/>
                  </a:cubicBezTo>
                  <a:lnTo>
                    <a:pt x="518213" y="5913"/>
                  </a:lnTo>
                  <a:cubicBezTo>
                    <a:pt x="461879" y="21427"/>
                    <a:pt x="402655" y="37728"/>
                    <a:pt x="341841" y="54473"/>
                  </a:cubicBezTo>
                  <a:cubicBezTo>
                    <a:pt x="220412" y="87748"/>
                    <a:pt x="105353" y="119259"/>
                    <a:pt x="3588" y="147129"/>
                  </a:cubicBezTo>
                  <a:lnTo>
                    <a:pt x="5638" y="143526"/>
                  </a:lnTo>
                  <a:cubicBezTo>
                    <a:pt x="42601" y="278907"/>
                    <a:pt x="73844" y="393319"/>
                    <a:pt x="95958" y="474329"/>
                  </a:cubicBezTo>
                  <a:cubicBezTo>
                    <a:pt x="106675" y="514390"/>
                    <a:pt x="115184" y="546168"/>
                    <a:pt x="121123" y="568355"/>
                  </a:cubicBezTo>
                  <a:cubicBezTo>
                    <a:pt x="123857" y="578973"/>
                    <a:pt x="126001" y="587295"/>
                    <a:pt x="127562" y="593333"/>
                  </a:cubicBezTo>
                  <a:cubicBezTo>
                    <a:pt x="128186" y="595946"/>
                    <a:pt x="128687" y="598052"/>
                    <a:pt x="129102" y="599777"/>
                  </a:cubicBezTo>
                  <a:cubicBezTo>
                    <a:pt x="129419" y="601236"/>
                    <a:pt x="129542" y="601985"/>
                    <a:pt x="129469" y="602010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6" name="Vrije vorm 795">
              <a:extLst>
                <a:ext uri="{FF2B5EF4-FFF2-40B4-BE49-F238E27FC236}">
                  <a16:creationId xmlns:a16="http://schemas.microsoft.com/office/drawing/2014/main" id="{A3D1B2F7-5FC8-1618-08F6-D9046E561FCD}"/>
                </a:ext>
              </a:extLst>
            </p:cNvPr>
            <p:cNvSpPr/>
            <p:nvPr/>
          </p:nvSpPr>
          <p:spPr>
            <a:xfrm flipV="1">
              <a:off x="5454076" y="2665433"/>
              <a:ext cx="691097" cy="999334"/>
            </a:xfrm>
            <a:custGeom>
              <a:avLst/>
              <a:gdLst>
                <a:gd name="connsiteX0" fmla="*/ 654686 w 691097"/>
                <a:gd name="connsiteY0" fmla="*/ 269469 h 999334"/>
                <a:gd name="connsiteX1" fmla="*/ 250739 w 691097"/>
                <a:gd name="connsiteY1" fmla="*/ 300371 h 999334"/>
                <a:gd name="connsiteX2" fmla="*/ 238931 w 691097"/>
                <a:gd name="connsiteY2" fmla="*/ 740004 h 999334"/>
                <a:gd name="connsiteX3" fmla="*/ 147245 w 691097"/>
                <a:gd name="connsiteY3" fmla="*/ 997484 h 999334"/>
                <a:gd name="connsiteX4" fmla="*/ 1612 w 691097"/>
                <a:gd name="connsiteY4" fmla="*/ 773392 h 999334"/>
                <a:gd name="connsiteX5" fmla="*/ 23910 w 691097"/>
                <a:gd name="connsiteY5" fmla="*/ 126819 h 999334"/>
                <a:gd name="connsiteX6" fmla="*/ 27405 w 691097"/>
                <a:gd name="connsiteY6" fmla="*/ 115529 h 999334"/>
                <a:gd name="connsiteX7" fmla="*/ 220091 w 691097"/>
                <a:gd name="connsiteY7" fmla="*/ -215 h 999334"/>
                <a:gd name="connsiteX8" fmla="*/ 690251 w 691097"/>
                <a:gd name="connsiteY8" fmla="*/ 62985 h 999334"/>
                <a:gd name="connsiteX9" fmla="*/ 654686 w 691097"/>
                <a:gd name="connsiteY9" fmla="*/ 269469 h 9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1097" h="999334">
                  <a:moveTo>
                    <a:pt x="654686" y="269469"/>
                  </a:moveTo>
                  <a:lnTo>
                    <a:pt x="250739" y="300371"/>
                  </a:lnTo>
                  <a:lnTo>
                    <a:pt x="238931" y="740004"/>
                  </a:lnTo>
                  <a:lnTo>
                    <a:pt x="147245" y="997484"/>
                  </a:lnTo>
                  <a:cubicBezTo>
                    <a:pt x="147245" y="997484"/>
                    <a:pt x="4980" y="945650"/>
                    <a:pt x="1612" y="773392"/>
                  </a:cubicBezTo>
                  <a:cubicBezTo>
                    <a:pt x="-1762" y="601134"/>
                    <a:pt x="-6408" y="234976"/>
                    <a:pt x="23910" y="126819"/>
                  </a:cubicBezTo>
                  <a:cubicBezTo>
                    <a:pt x="24989" y="122950"/>
                    <a:pt x="26158" y="119195"/>
                    <a:pt x="27405" y="115529"/>
                  </a:cubicBezTo>
                  <a:cubicBezTo>
                    <a:pt x="54538" y="35863"/>
                    <a:pt x="136714" y="-11429"/>
                    <a:pt x="220091" y="-215"/>
                  </a:cubicBezTo>
                  <a:lnTo>
                    <a:pt x="690251" y="62985"/>
                  </a:lnTo>
                  <a:lnTo>
                    <a:pt x="654686" y="269469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dirty="0"/>
            </a:p>
          </p:txBody>
        </p:sp>
        <p:sp>
          <p:nvSpPr>
            <p:cNvPr id="797" name="Vrije vorm 796">
              <a:extLst>
                <a:ext uri="{FF2B5EF4-FFF2-40B4-BE49-F238E27FC236}">
                  <a16:creationId xmlns:a16="http://schemas.microsoft.com/office/drawing/2014/main" id="{E41C5606-2095-E85B-623C-B0BF757FCAEE}"/>
                </a:ext>
              </a:extLst>
            </p:cNvPr>
            <p:cNvSpPr/>
            <p:nvPr/>
          </p:nvSpPr>
          <p:spPr>
            <a:xfrm flipV="1">
              <a:off x="5688022" y="2946204"/>
              <a:ext cx="421586" cy="449273"/>
            </a:xfrm>
            <a:custGeom>
              <a:avLst/>
              <a:gdLst>
                <a:gd name="connsiteX0" fmla="*/ -605 w 421586"/>
                <a:gd name="connsiteY0" fmla="*/ 447428 h 449273"/>
                <a:gd name="connsiteX1" fmla="*/ -912 w 421586"/>
                <a:gd name="connsiteY1" fmla="*/ 439056 h 449273"/>
                <a:gd name="connsiteX2" fmla="*/ -526 w 421586"/>
                <a:gd name="connsiteY2" fmla="*/ 415093 h 449273"/>
                <a:gd name="connsiteX3" fmla="*/ 2110 w 421586"/>
                <a:gd name="connsiteY3" fmla="*/ 327029 h 449273"/>
                <a:gd name="connsiteX4" fmla="*/ 13248 w 421586"/>
                <a:gd name="connsiteY4" fmla="*/ 36579 h 449273"/>
                <a:gd name="connsiteX5" fmla="*/ 13485 w 421586"/>
                <a:gd name="connsiteY5" fmla="*/ 30947 h 449273"/>
                <a:gd name="connsiteX6" fmla="*/ 13605 w 421586"/>
                <a:gd name="connsiteY6" fmla="*/ 28067 h 449273"/>
                <a:gd name="connsiteX7" fmla="*/ 16463 w 421586"/>
                <a:gd name="connsiteY7" fmla="*/ 27851 h 449273"/>
                <a:gd name="connsiteX8" fmla="*/ 302400 w 421586"/>
                <a:gd name="connsiteY8" fmla="*/ 5626 h 449273"/>
                <a:gd name="connsiteX9" fmla="*/ 388910 w 421586"/>
                <a:gd name="connsiteY9" fmla="*/ -361 h 449273"/>
                <a:gd name="connsiteX10" fmla="*/ 412431 w 421586"/>
                <a:gd name="connsiteY10" fmla="*/ -1668 h 449273"/>
                <a:gd name="connsiteX11" fmla="*/ 420672 w 421586"/>
                <a:gd name="connsiteY11" fmla="*/ -1681 h 449273"/>
                <a:gd name="connsiteX12" fmla="*/ 412545 w 421586"/>
                <a:gd name="connsiteY12" fmla="*/ -374 h 449273"/>
                <a:gd name="connsiteX13" fmla="*/ 389113 w 421586"/>
                <a:gd name="connsiteY13" fmla="*/ 2138 h 449273"/>
                <a:gd name="connsiteX14" fmla="*/ 302768 w 421586"/>
                <a:gd name="connsiteY14" fmla="*/ 10168 h 449273"/>
                <a:gd name="connsiteX15" fmla="*/ 16988 w 421586"/>
                <a:gd name="connsiteY15" fmla="*/ 34309 h 449273"/>
                <a:gd name="connsiteX16" fmla="*/ 19960 w 421586"/>
                <a:gd name="connsiteY16" fmla="*/ 31213 h 449273"/>
                <a:gd name="connsiteX17" fmla="*/ 19726 w 421586"/>
                <a:gd name="connsiteY17" fmla="*/ 36846 h 449273"/>
                <a:gd name="connsiteX18" fmla="*/ 6691 w 421586"/>
                <a:gd name="connsiteY18" fmla="*/ 327219 h 449273"/>
                <a:gd name="connsiteX19" fmla="*/ 1996 w 421586"/>
                <a:gd name="connsiteY19" fmla="*/ 415207 h 449273"/>
                <a:gd name="connsiteX20" fmla="*/ 390 w 421586"/>
                <a:gd name="connsiteY20" fmla="*/ 439106 h 449273"/>
                <a:gd name="connsiteX21" fmla="*/ -605 w 421586"/>
                <a:gd name="connsiteY21" fmla="*/ 447428 h 449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21586" h="449273">
                  <a:moveTo>
                    <a:pt x="-605" y="447428"/>
                  </a:moveTo>
                  <a:cubicBezTo>
                    <a:pt x="-833" y="447416"/>
                    <a:pt x="-932" y="444536"/>
                    <a:pt x="-912" y="439056"/>
                  </a:cubicBezTo>
                  <a:cubicBezTo>
                    <a:pt x="-813" y="432916"/>
                    <a:pt x="-685" y="424962"/>
                    <a:pt x="-526" y="415093"/>
                  </a:cubicBezTo>
                  <a:cubicBezTo>
                    <a:pt x="123" y="393514"/>
                    <a:pt x="1014" y="363627"/>
                    <a:pt x="2110" y="327029"/>
                  </a:cubicBezTo>
                  <a:cubicBezTo>
                    <a:pt x="4987" y="252006"/>
                    <a:pt x="8915" y="149659"/>
                    <a:pt x="13248" y="36579"/>
                  </a:cubicBezTo>
                  <a:cubicBezTo>
                    <a:pt x="13327" y="34651"/>
                    <a:pt x="13412" y="32723"/>
                    <a:pt x="13485" y="30947"/>
                  </a:cubicBezTo>
                  <a:lnTo>
                    <a:pt x="13605" y="28067"/>
                  </a:lnTo>
                  <a:lnTo>
                    <a:pt x="16463" y="27851"/>
                  </a:lnTo>
                  <a:cubicBezTo>
                    <a:pt x="127996" y="19174"/>
                    <a:pt x="228670" y="11360"/>
                    <a:pt x="302400" y="5626"/>
                  </a:cubicBezTo>
                  <a:cubicBezTo>
                    <a:pt x="338371" y="3140"/>
                    <a:pt x="367711" y="1097"/>
                    <a:pt x="388910" y="-361"/>
                  </a:cubicBezTo>
                  <a:cubicBezTo>
                    <a:pt x="398585" y="-894"/>
                    <a:pt x="406395" y="-1326"/>
                    <a:pt x="412431" y="-1668"/>
                  </a:cubicBezTo>
                  <a:cubicBezTo>
                    <a:pt x="417819" y="-1896"/>
                    <a:pt x="420647" y="-1909"/>
                    <a:pt x="420672" y="-1681"/>
                  </a:cubicBezTo>
                  <a:cubicBezTo>
                    <a:pt x="420685" y="-1465"/>
                    <a:pt x="417883" y="-1021"/>
                    <a:pt x="412545" y="-374"/>
                  </a:cubicBezTo>
                  <a:cubicBezTo>
                    <a:pt x="406522" y="273"/>
                    <a:pt x="398750" y="1097"/>
                    <a:pt x="389113" y="2138"/>
                  </a:cubicBezTo>
                  <a:cubicBezTo>
                    <a:pt x="367964" y="4104"/>
                    <a:pt x="338663" y="6819"/>
                    <a:pt x="302768" y="10168"/>
                  </a:cubicBezTo>
                  <a:cubicBezTo>
                    <a:pt x="229076" y="16396"/>
                    <a:pt x="128461" y="24896"/>
                    <a:pt x="16988" y="34309"/>
                  </a:cubicBezTo>
                  <a:lnTo>
                    <a:pt x="19960" y="31213"/>
                  </a:lnTo>
                  <a:cubicBezTo>
                    <a:pt x="19885" y="32989"/>
                    <a:pt x="19806" y="34917"/>
                    <a:pt x="19726" y="36846"/>
                  </a:cubicBezTo>
                  <a:cubicBezTo>
                    <a:pt x="14649" y="149900"/>
                    <a:pt x="10058" y="252209"/>
                    <a:pt x="6691" y="327219"/>
                  </a:cubicBezTo>
                  <a:cubicBezTo>
                    <a:pt x="4739" y="363779"/>
                    <a:pt x="3149" y="393641"/>
                    <a:pt x="1996" y="415207"/>
                  </a:cubicBezTo>
                  <a:cubicBezTo>
                    <a:pt x="1336" y="425051"/>
                    <a:pt x="806" y="432979"/>
                    <a:pt x="390" y="439106"/>
                  </a:cubicBezTo>
                  <a:cubicBezTo>
                    <a:pt x="-46" y="444574"/>
                    <a:pt x="-382" y="447441"/>
                    <a:pt x="-605" y="447428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8" name="Vrije vorm 797">
              <a:extLst>
                <a:ext uri="{FF2B5EF4-FFF2-40B4-BE49-F238E27FC236}">
                  <a16:creationId xmlns:a16="http://schemas.microsoft.com/office/drawing/2014/main" id="{17B85EE9-5285-A336-123B-F8CA5430B758}"/>
                </a:ext>
              </a:extLst>
            </p:cNvPr>
            <p:cNvSpPr/>
            <p:nvPr/>
          </p:nvSpPr>
          <p:spPr>
            <a:xfrm flipV="1">
              <a:off x="5602222" y="2693108"/>
              <a:ext cx="82096" cy="174967"/>
            </a:xfrm>
            <a:custGeom>
              <a:avLst/>
              <a:gdLst>
                <a:gd name="connsiteX0" fmla="*/ -680 w 82096"/>
                <a:gd name="connsiteY0" fmla="*/ 172742 h 174967"/>
                <a:gd name="connsiteX1" fmla="*/ 53459 w 82096"/>
                <a:gd name="connsiteY1" fmla="*/ 91542 h 174967"/>
                <a:gd name="connsiteX2" fmla="*/ 80740 w 82096"/>
                <a:gd name="connsiteY2" fmla="*/ -2192 h 174967"/>
                <a:gd name="connsiteX3" fmla="*/ 79531 w 82096"/>
                <a:gd name="connsiteY3" fmla="*/ 26896 h 174967"/>
                <a:gd name="connsiteX4" fmla="*/ 59338 w 82096"/>
                <a:gd name="connsiteY4" fmla="*/ 94282 h 174967"/>
                <a:gd name="connsiteX5" fmla="*/ 20795 w 82096"/>
                <a:gd name="connsiteY5" fmla="*/ 153092 h 174967"/>
                <a:gd name="connsiteX6" fmla="*/ -680 w 82096"/>
                <a:gd name="connsiteY6" fmla="*/ 172742 h 174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096" h="174967">
                  <a:moveTo>
                    <a:pt x="-680" y="172742"/>
                  </a:moveTo>
                  <a:cubicBezTo>
                    <a:pt x="-2335" y="171334"/>
                    <a:pt x="30849" y="140889"/>
                    <a:pt x="53459" y="91542"/>
                  </a:cubicBezTo>
                  <a:cubicBezTo>
                    <a:pt x="76668" y="42448"/>
                    <a:pt x="78594" y="-2547"/>
                    <a:pt x="80740" y="-2192"/>
                  </a:cubicBezTo>
                  <a:cubicBezTo>
                    <a:pt x="81478" y="-2167"/>
                    <a:pt x="82013" y="9022"/>
                    <a:pt x="79531" y="26896"/>
                  </a:cubicBezTo>
                  <a:cubicBezTo>
                    <a:pt x="77094" y="44745"/>
                    <a:pt x="70963" y="69202"/>
                    <a:pt x="59338" y="94282"/>
                  </a:cubicBezTo>
                  <a:cubicBezTo>
                    <a:pt x="47639" y="119311"/>
                    <a:pt x="32875" y="139747"/>
                    <a:pt x="20795" y="153092"/>
                  </a:cubicBezTo>
                  <a:cubicBezTo>
                    <a:pt x="8710" y="166501"/>
                    <a:pt x="-186" y="173288"/>
                    <a:pt x="-680" y="172742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9" name="Vrije vorm 798">
              <a:extLst>
                <a:ext uri="{FF2B5EF4-FFF2-40B4-BE49-F238E27FC236}">
                  <a16:creationId xmlns:a16="http://schemas.microsoft.com/office/drawing/2014/main" id="{6B499BEA-BE1B-A3FD-A3DE-FB876AACCF4B}"/>
                </a:ext>
              </a:extLst>
            </p:cNvPr>
            <p:cNvSpPr/>
            <p:nvPr/>
          </p:nvSpPr>
          <p:spPr>
            <a:xfrm flipV="1">
              <a:off x="5814225" y="2593848"/>
              <a:ext cx="213655" cy="670830"/>
            </a:xfrm>
            <a:custGeom>
              <a:avLst/>
              <a:gdLst>
                <a:gd name="connsiteX0" fmla="*/ -808 w 213655"/>
                <a:gd name="connsiteY0" fmla="*/ 668769 h 670830"/>
                <a:gd name="connsiteX1" fmla="*/ -620 w 213655"/>
                <a:gd name="connsiteY1" fmla="*/ 661666 h 670830"/>
                <a:gd name="connsiteX2" fmla="*/ 1217 w 213655"/>
                <a:gd name="connsiteY2" fmla="*/ 641356 h 670830"/>
                <a:gd name="connsiteX3" fmla="*/ 12069 w 213655"/>
                <a:gd name="connsiteY3" fmla="*/ 566726 h 670830"/>
                <a:gd name="connsiteX4" fmla="*/ 82723 w 213655"/>
                <a:gd name="connsiteY4" fmla="*/ 324761 h 670830"/>
                <a:gd name="connsiteX5" fmla="*/ 83712 w 213655"/>
                <a:gd name="connsiteY5" fmla="*/ 322338 h 670830"/>
                <a:gd name="connsiteX6" fmla="*/ 86286 w 213655"/>
                <a:gd name="connsiteY6" fmla="*/ 322807 h 670830"/>
                <a:gd name="connsiteX7" fmla="*/ 118250 w 213655"/>
                <a:gd name="connsiteY7" fmla="*/ 328592 h 670830"/>
                <a:gd name="connsiteX8" fmla="*/ 133554 w 213655"/>
                <a:gd name="connsiteY8" fmla="*/ 331370 h 670830"/>
                <a:gd name="connsiteX9" fmla="*/ 130511 w 213655"/>
                <a:gd name="connsiteY9" fmla="*/ 336647 h 670830"/>
                <a:gd name="connsiteX10" fmla="*/ 94375 w 213655"/>
                <a:gd name="connsiteY10" fmla="*/ 269718 h 670830"/>
                <a:gd name="connsiteX11" fmla="*/ 100779 w 213655"/>
                <a:gd name="connsiteY11" fmla="*/ 233437 h 670830"/>
                <a:gd name="connsiteX12" fmla="*/ 114979 w 213655"/>
                <a:gd name="connsiteY12" fmla="*/ 202104 h 670830"/>
                <a:gd name="connsiteX13" fmla="*/ 165202 w 213655"/>
                <a:gd name="connsiteY13" fmla="*/ 95253 h 670830"/>
                <a:gd name="connsiteX14" fmla="*/ 199410 w 213655"/>
                <a:gd name="connsiteY14" fmla="*/ 23731 h 670830"/>
                <a:gd name="connsiteX15" fmla="*/ 208971 w 213655"/>
                <a:gd name="connsiteY15" fmla="*/ 4462 h 670830"/>
                <a:gd name="connsiteX16" fmla="*/ 212698 w 213655"/>
                <a:gd name="connsiteY16" fmla="*/ -2059 h 670830"/>
                <a:gd name="connsiteX17" fmla="*/ 210137 w 213655"/>
                <a:gd name="connsiteY17" fmla="*/ 5007 h 670830"/>
                <a:gd name="connsiteX18" fmla="*/ 201642 w 213655"/>
                <a:gd name="connsiteY18" fmla="*/ 24759 h 670830"/>
                <a:gd name="connsiteX19" fmla="*/ 169272 w 213655"/>
                <a:gd name="connsiteY19" fmla="*/ 97143 h 670830"/>
                <a:gd name="connsiteX20" fmla="*/ 120330 w 213655"/>
                <a:gd name="connsiteY20" fmla="*/ 204577 h 670830"/>
                <a:gd name="connsiteX21" fmla="*/ 100652 w 213655"/>
                <a:gd name="connsiteY21" fmla="*/ 269147 h 670830"/>
                <a:gd name="connsiteX22" fmla="*/ 135456 w 213655"/>
                <a:gd name="connsiteY22" fmla="*/ 332461 h 670830"/>
                <a:gd name="connsiteX23" fmla="*/ 141263 w 213655"/>
                <a:gd name="connsiteY23" fmla="*/ 339349 h 670830"/>
                <a:gd name="connsiteX24" fmla="*/ 132400 w 213655"/>
                <a:gd name="connsiteY24" fmla="*/ 337751 h 670830"/>
                <a:gd name="connsiteX25" fmla="*/ 117097 w 213655"/>
                <a:gd name="connsiteY25" fmla="*/ 334973 h 670830"/>
                <a:gd name="connsiteX26" fmla="*/ 85132 w 213655"/>
                <a:gd name="connsiteY26" fmla="*/ 329163 h 670830"/>
                <a:gd name="connsiteX27" fmla="*/ 88695 w 213655"/>
                <a:gd name="connsiteY27" fmla="*/ 327222 h 670830"/>
                <a:gd name="connsiteX28" fmla="*/ 16385 w 213655"/>
                <a:gd name="connsiteY28" fmla="*/ 567551 h 670830"/>
                <a:gd name="connsiteX29" fmla="*/ 3600 w 213655"/>
                <a:gd name="connsiteY29" fmla="*/ 641660 h 670830"/>
                <a:gd name="connsiteX30" fmla="*/ 614 w 213655"/>
                <a:gd name="connsiteY30" fmla="*/ 661805 h 670830"/>
                <a:gd name="connsiteX31" fmla="*/ -808 w 213655"/>
                <a:gd name="connsiteY31" fmla="*/ 668769 h 670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13655" h="670830">
                  <a:moveTo>
                    <a:pt x="-808" y="668769"/>
                  </a:moveTo>
                  <a:cubicBezTo>
                    <a:pt x="-1021" y="668744"/>
                    <a:pt x="-952" y="666308"/>
                    <a:pt x="-620" y="661666"/>
                  </a:cubicBezTo>
                  <a:cubicBezTo>
                    <a:pt x="-249" y="657022"/>
                    <a:pt x="207" y="650160"/>
                    <a:pt x="1217" y="641356"/>
                  </a:cubicBezTo>
                  <a:cubicBezTo>
                    <a:pt x="3059" y="623710"/>
                    <a:pt x="6428" y="598199"/>
                    <a:pt x="12069" y="566726"/>
                  </a:cubicBezTo>
                  <a:cubicBezTo>
                    <a:pt x="23194" y="503844"/>
                    <a:pt x="44901" y="417125"/>
                    <a:pt x="82723" y="324761"/>
                  </a:cubicBezTo>
                  <a:lnTo>
                    <a:pt x="83712" y="322338"/>
                  </a:lnTo>
                  <a:lnTo>
                    <a:pt x="86286" y="322807"/>
                  </a:lnTo>
                  <a:cubicBezTo>
                    <a:pt x="96455" y="324646"/>
                    <a:pt x="107296" y="326613"/>
                    <a:pt x="118250" y="328592"/>
                  </a:cubicBezTo>
                  <a:cubicBezTo>
                    <a:pt x="123500" y="329543"/>
                    <a:pt x="128711" y="330495"/>
                    <a:pt x="133554" y="331370"/>
                  </a:cubicBezTo>
                  <a:lnTo>
                    <a:pt x="130511" y="336647"/>
                  </a:lnTo>
                  <a:cubicBezTo>
                    <a:pt x="114155" y="317086"/>
                    <a:pt x="96848" y="295812"/>
                    <a:pt x="94375" y="269718"/>
                  </a:cubicBezTo>
                  <a:cubicBezTo>
                    <a:pt x="93044" y="256867"/>
                    <a:pt x="96429" y="244410"/>
                    <a:pt x="100779" y="233437"/>
                  </a:cubicBezTo>
                  <a:cubicBezTo>
                    <a:pt x="105229" y="222375"/>
                    <a:pt x="110351" y="212239"/>
                    <a:pt x="114979" y="202104"/>
                  </a:cubicBezTo>
                  <a:cubicBezTo>
                    <a:pt x="133846" y="161966"/>
                    <a:pt x="150823" y="125825"/>
                    <a:pt x="165202" y="95253"/>
                  </a:cubicBezTo>
                  <a:cubicBezTo>
                    <a:pt x="179403" y="65555"/>
                    <a:pt x="190991" y="41326"/>
                    <a:pt x="199410" y="23731"/>
                  </a:cubicBezTo>
                  <a:cubicBezTo>
                    <a:pt x="203316" y="15853"/>
                    <a:pt x="206485" y="9472"/>
                    <a:pt x="208971" y="4462"/>
                  </a:cubicBezTo>
                  <a:cubicBezTo>
                    <a:pt x="211227" y="98"/>
                    <a:pt x="212495" y="-2148"/>
                    <a:pt x="212698" y="-2059"/>
                  </a:cubicBezTo>
                  <a:cubicBezTo>
                    <a:pt x="212901" y="-1970"/>
                    <a:pt x="212001" y="465"/>
                    <a:pt x="210137" y="5007"/>
                  </a:cubicBezTo>
                  <a:cubicBezTo>
                    <a:pt x="207931" y="10145"/>
                    <a:pt x="205116" y="16678"/>
                    <a:pt x="201642" y="24759"/>
                  </a:cubicBezTo>
                  <a:cubicBezTo>
                    <a:pt x="193679" y="42569"/>
                    <a:pt x="182712" y="67090"/>
                    <a:pt x="169272" y="97143"/>
                  </a:cubicBezTo>
                  <a:cubicBezTo>
                    <a:pt x="155274" y="127880"/>
                    <a:pt x="138715" y="164224"/>
                    <a:pt x="120330" y="204577"/>
                  </a:cubicBezTo>
                  <a:cubicBezTo>
                    <a:pt x="111746" y="224836"/>
                    <a:pt x="98433" y="245805"/>
                    <a:pt x="100652" y="269147"/>
                  </a:cubicBezTo>
                  <a:cubicBezTo>
                    <a:pt x="102833" y="292552"/>
                    <a:pt x="119087" y="313052"/>
                    <a:pt x="135456" y="332461"/>
                  </a:cubicBezTo>
                  <a:lnTo>
                    <a:pt x="141263" y="339349"/>
                  </a:lnTo>
                  <a:lnTo>
                    <a:pt x="132400" y="337751"/>
                  </a:lnTo>
                  <a:cubicBezTo>
                    <a:pt x="127557" y="336876"/>
                    <a:pt x="122333" y="335924"/>
                    <a:pt x="117097" y="334973"/>
                  </a:cubicBezTo>
                  <a:cubicBezTo>
                    <a:pt x="106142" y="332981"/>
                    <a:pt x="95301" y="331015"/>
                    <a:pt x="85132" y="329163"/>
                  </a:cubicBezTo>
                  <a:lnTo>
                    <a:pt x="88695" y="327222"/>
                  </a:lnTo>
                  <a:cubicBezTo>
                    <a:pt x="50949" y="419028"/>
                    <a:pt x="28608" y="505087"/>
                    <a:pt x="16385" y="567551"/>
                  </a:cubicBezTo>
                  <a:cubicBezTo>
                    <a:pt x="10197" y="598796"/>
                    <a:pt x="6171" y="624154"/>
                    <a:pt x="3600" y="641660"/>
                  </a:cubicBezTo>
                  <a:cubicBezTo>
                    <a:pt x="2381" y="649881"/>
                    <a:pt x="1391" y="656540"/>
                    <a:pt x="614" y="661805"/>
                  </a:cubicBezTo>
                  <a:cubicBezTo>
                    <a:pt x="-114" y="666397"/>
                    <a:pt x="-600" y="668795"/>
                    <a:pt x="-808" y="668769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0" name="Vrije vorm 799">
              <a:extLst>
                <a:ext uri="{FF2B5EF4-FFF2-40B4-BE49-F238E27FC236}">
                  <a16:creationId xmlns:a16="http://schemas.microsoft.com/office/drawing/2014/main" id="{3089F790-9A97-674B-EB9E-B0109FA16446}"/>
                </a:ext>
              </a:extLst>
            </p:cNvPr>
            <p:cNvSpPr/>
            <p:nvPr/>
          </p:nvSpPr>
          <p:spPr>
            <a:xfrm flipV="1">
              <a:off x="6255376" y="2575446"/>
              <a:ext cx="161647" cy="629645"/>
            </a:xfrm>
            <a:custGeom>
              <a:avLst/>
              <a:gdLst>
                <a:gd name="connsiteX0" fmla="*/ 159693 w 161647"/>
                <a:gd name="connsiteY0" fmla="*/ -2096 h 629645"/>
                <a:gd name="connsiteX1" fmla="*/ 160212 w 161647"/>
                <a:gd name="connsiteY1" fmla="*/ 4576 h 629645"/>
                <a:gd name="connsiteX2" fmla="*/ 160415 w 161647"/>
                <a:gd name="connsiteY2" fmla="*/ 23757 h 629645"/>
                <a:gd name="connsiteX3" fmla="*/ 156383 w 161647"/>
                <a:gd name="connsiteY3" fmla="*/ 94149 h 629645"/>
                <a:gd name="connsiteX4" fmla="*/ 115201 w 161647"/>
                <a:gd name="connsiteY4" fmla="*/ 322871 h 629645"/>
                <a:gd name="connsiteX5" fmla="*/ 84429 w 161647"/>
                <a:gd name="connsiteY5" fmla="*/ 447089 h 629645"/>
                <a:gd name="connsiteX6" fmla="*/ 49548 w 161647"/>
                <a:gd name="connsiteY6" fmla="*/ 545783 h 629645"/>
                <a:gd name="connsiteX7" fmla="*/ 14895 w 161647"/>
                <a:gd name="connsiteY7" fmla="*/ 607283 h 629645"/>
                <a:gd name="connsiteX8" fmla="*/ 3319 w 161647"/>
                <a:gd name="connsiteY8" fmla="*/ 622581 h 629645"/>
                <a:gd name="connsiteX9" fmla="*/ -1182 w 161647"/>
                <a:gd name="connsiteY9" fmla="*/ 627541 h 629645"/>
                <a:gd name="connsiteX10" fmla="*/ 12803 w 161647"/>
                <a:gd name="connsiteY10" fmla="*/ 605887 h 629645"/>
                <a:gd name="connsiteX11" fmla="*/ 45364 w 161647"/>
                <a:gd name="connsiteY11" fmla="*/ 543931 h 629645"/>
                <a:gd name="connsiteX12" fmla="*/ 78672 w 161647"/>
                <a:gd name="connsiteY12" fmla="*/ 445490 h 629645"/>
                <a:gd name="connsiteX13" fmla="*/ 108887 w 161647"/>
                <a:gd name="connsiteY13" fmla="*/ 321387 h 629645"/>
                <a:gd name="connsiteX14" fmla="*/ 151831 w 161647"/>
                <a:gd name="connsiteY14" fmla="*/ 93655 h 629645"/>
                <a:gd name="connsiteX15" fmla="*/ 157892 w 161647"/>
                <a:gd name="connsiteY15" fmla="*/ 23668 h 629645"/>
                <a:gd name="connsiteX16" fmla="*/ 158906 w 161647"/>
                <a:gd name="connsiteY16" fmla="*/ 4564 h 629645"/>
                <a:gd name="connsiteX17" fmla="*/ 159693 w 161647"/>
                <a:gd name="connsiteY17" fmla="*/ -2096 h 629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1647" h="629645">
                  <a:moveTo>
                    <a:pt x="159693" y="-2096"/>
                  </a:moveTo>
                  <a:cubicBezTo>
                    <a:pt x="159908" y="-2096"/>
                    <a:pt x="160086" y="200"/>
                    <a:pt x="160212" y="4576"/>
                  </a:cubicBezTo>
                  <a:cubicBezTo>
                    <a:pt x="160327" y="8965"/>
                    <a:pt x="160491" y="15422"/>
                    <a:pt x="160415" y="23757"/>
                  </a:cubicBezTo>
                  <a:cubicBezTo>
                    <a:pt x="160136" y="40388"/>
                    <a:pt x="159249" y="64490"/>
                    <a:pt x="156383" y="94149"/>
                  </a:cubicBezTo>
                  <a:cubicBezTo>
                    <a:pt x="150982" y="153493"/>
                    <a:pt x="136173" y="234604"/>
                    <a:pt x="115201" y="322871"/>
                  </a:cubicBezTo>
                  <a:cubicBezTo>
                    <a:pt x="104728" y="367004"/>
                    <a:pt x="95054" y="409133"/>
                    <a:pt x="84429" y="447089"/>
                  </a:cubicBezTo>
                  <a:cubicBezTo>
                    <a:pt x="73867" y="485031"/>
                    <a:pt x="62037" y="518661"/>
                    <a:pt x="49548" y="545783"/>
                  </a:cubicBezTo>
                  <a:cubicBezTo>
                    <a:pt x="37224" y="572993"/>
                    <a:pt x="24544" y="593696"/>
                    <a:pt x="14895" y="607283"/>
                  </a:cubicBezTo>
                  <a:cubicBezTo>
                    <a:pt x="10230" y="614196"/>
                    <a:pt x="6083" y="619182"/>
                    <a:pt x="3319" y="622581"/>
                  </a:cubicBezTo>
                  <a:cubicBezTo>
                    <a:pt x="530" y="625968"/>
                    <a:pt x="-1004" y="627681"/>
                    <a:pt x="-1182" y="627541"/>
                  </a:cubicBezTo>
                  <a:cubicBezTo>
                    <a:pt x="-1689" y="627161"/>
                    <a:pt x="3953" y="619879"/>
                    <a:pt x="12803" y="605887"/>
                  </a:cubicBezTo>
                  <a:cubicBezTo>
                    <a:pt x="21730" y="591958"/>
                    <a:pt x="33673" y="571116"/>
                    <a:pt x="45364" y="543931"/>
                  </a:cubicBezTo>
                  <a:cubicBezTo>
                    <a:pt x="57193" y="516821"/>
                    <a:pt x="68478" y="483344"/>
                    <a:pt x="78672" y="445490"/>
                  </a:cubicBezTo>
                  <a:cubicBezTo>
                    <a:pt x="88917" y="407674"/>
                    <a:pt x="98426" y="365507"/>
                    <a:pt x="108887" y="321387"/>
                  </a:cubicBezTo>
                  <a:cubicBezTo>
                    <a:pt x="129833" y="233222"/>
                    <a:pt x="145276" y="152643"/>
                    <a:pt x="151831" y="93655"/>
                  </a:cubicBezTo>
                  <a:cubicBezTo>
                    <a:pt x="155255" y="64199"/>
                    <a:pt x="156840" y="40235"/>
                    <a:pt x="157892" y="23668"/>
                  </a:cubicBezTo>
                  <a:cubicBezTo>
                    <a:pt x="158298" y="15981"/>
                    <a:pt x="158640" y="9663"/>
                    <a:pt x="158906" y="4564"/>
                  </a:cubicBezTo>
                  <a:cubicBezTo>
                    <a:pt x="159198" y="200"/>
                    <a:pt x="159464" y="-2096"/>
                    <a:pt x="159693" y="-2096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1" name="Vrije vorm 800">
              <a:extLst>
                <a:ext uri="{FF2B5EF4-FFF2-40B4-BE49-F238E27FC236}">
                  <a16:creationId xmlns:a16="http://schemas.microsoft.com/office/drawing/2014/main" id="{7D864672-9BC4-A3F7-046F-7A5F5ECDF9B4}"/>
                </a:ext>
              </a:extLst>
            </p:cNvPr>
            <p:cNvSpPr/>
            <p:nvPr/>
          </p:nvSpPr>
          <p:spPr>
            <a:xfrm flipV="1">
              <a:off x="5600421" y="3361736"/>
              <a:ext cx="113000" cy="92906"/>
            </a:xfrm>
            <a:custGeom>
              <a:avLst/>
              <a:gdLst>
                <a:gd name="connsiteX0" fmla="*/ -622 w 113000"/>
                <a:gd name="connsiteY0" fmla="*/ -1609 h 92906"/>
                <a:gd name="connsiteX1" fmla="*/ 46191 w 113000"/>
                <a:gd name="connsiteY1" fmla="*/ 56415 h 92906"/>
                <a:gd name="connsiteX2" fmla="*/ 112242 w 113000"/>
                <a:gd name="connsiteY2" fmla="*/ 90971 h 92906"/>
                <a:gd name="connsiteX3" fmla="*/ 90004 w 113000"/>
                <a:gd name="connsiteY3" fmla="*/ 87343 h 92906"/>
                <a:gd name="connsiteX4" fmla="*/ 42080 w 113000"/>
                <a:gd name="connsiteY4" fmla="*/ 61426 h 92906"/>
                <a:gd name="connsiteX5" fmla="*/ 7302 w 113000"/>
                <a:gd name="connsiteY5" fmla="*/ 19500 h 92906"/>
                <a:gd name="connsiteX6" fmla="*/ -622 w 113000"/>
                <a:gd name="connsiteY6" fmla="*/ -1609 h 92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000" h="92906">
                  <a:moveTo>
                    <a:pt x="-622" y="-1609"/>
                  </a:moveTo>
                  <a:cubicBezTo>
                    <a:pt x="1200" y="-2662"/>
                    <a:pt x="13710" y="30219"/>
                    <a:pt x="46191" y="56415"/>
                  </a:cubicBezTo>
                  <a:cubicBezTo>
                    <a:pt x="78246" y="83156"/>
                    <a:pt x="112911" y="88979"/>
                    <a:pt x="112242" y="90971"/>
                  </a:cubicBezTo>
                  <a:cubicBezTo>
                    <a:pt x="112138" y="91694"/>
                    <a:pt x="103436" y="91351"/>
                    <a:pt x="90004" y="87343"/>
                  </a:cubicBezTo>
                  <a:cubicBezTo>
                    <a:pt x="76617" y="83385"/>
                    <a:pt x="58732" y="75037"/>
                    <a:pt x="42080" y="61426"/>
                  </a:cubicBezTo>
                  <a:cubicBezTo>
                    <a:pt x="25488" y="47763"/>
                    <a:pt x="13800" y="31856"/>
                    <a:pt x="7302" y="19500"/>
                  </a:cubicBezTo>
                  <a:cubicBezTo>
                    <a:pt x="734" y="7106"/>
                    <a:pt x="-1311" y="-1368"/>
                    <a:pt x="-622" y="-1609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4" name="Vrije vorm 803">
              <a:extLst>
                <a:ext uri="{FF2B5EF4-FFF2-40B4-BE49-F238E27FC236}">
                  <a16:creationId xmlns:a16="http://schemas.microsoft.com/office/drawing/2014/main" id="{94342C4E-2B0D-6DCA-6836-1900DB764524}"/>
                </a:ext>
              </a:extLst>
            </p:cNvPr>
            <p:cNvSpPr/>
            <p:nvPr/>
          </p:nvSpPr>
          <p:spPr>
            <a:xfrm flipV="1">
              <a:off x="6183325" y="3086597"/>
              <a:ext cx="810987" cy="624549"/>
            </a:xfrm>
            <a:custGeom>
              <a:avLst/>
              <a:gdLst>
                <a:gd name="connsiteX0" fmla="*/ 809592 w 810987"/>
                <a:gd name="connsiteY0" fmla="*/ 622897 h 624549"/>
                <a:gd name="connsiteX1" fmla="*/ 807094 w 810987"/>
                <a:gd name="connsiteY1" fmla="*/ 621844 h 624549"/>
                <a:gd name="connsiteX2" fmla="*/ 799562 w 810987"/>
                <a:gd name="connsiteY2" fmla="*/ 619218 h 624549"/>
                <a:gd name="connsiteX3" fmla="*/ 769817 w 810987"/>
                <a:gd name="connsiteY3" fmla="*/ 610059 h 624549"/>
                <a:gd name="connsiteX4" fmla="*/ 654601 w 810987"/>
                <a:gd name="connsiteY4" fmla="*/ 583508 h 624549"/>
                <a:gd name="connsiteX5" fmla="*/ 232825 w 810987"/>
                <a:gd name="connsiteY5" fmla="*/ 581554 h 624549"/>
                <a:gd name="connsiteX6" fmla="*/ 235818 w 810987"/>
                <a:gd name="connsiteY6" fmla="*/ 583317 h 624549"/>
                <a:gd name="connsiteX7" fmla="*/ 7211 w 810987"/>
                <a:gd name="connsiteY7" fmla="*/ 2176 h 624549"/>
                <a:gd name="connsiteX8" fmla="*/ 6539 w 810987"/>
                <a:gd name="connsiteY8" fmla="*/ 464 h 624549"/>
                <a:gd name="connsiteX9" fmla="*/ 3470 w 810987"/>
                <a:gd name="connsiteY9" fmla="*/ 4967 h 624549"/>
                <a:gd name="connsiteX10" fmla="*/ 525614 w 810987"/>
                <a:gd name="connsiteY10" fmla="*/ 4638 h 624549"/>
                <a:gd name="connsiteX11" fmla="*/ 522926 w 810987"/>
                <a:gd name="connsiteY11" fmla="*/ 2912 h 624549"/>
                <a:gd name="connsiteX12" fmla="*/ 809592 w 810987"/>
                <a:gd name="connsiteY12" fmla="*/ 622897 h 624549"/>
                <a:gd name="connsiteX13" fmla="*/ 528328 w 810987"/>
                <a:gd name="connsiteY13" fmla="*/ 439 h 624549"/>
                <a:gd name="connsiteX14" fmla="*/ 527542 w 810987"/>
                <a:gd name="connsiteY14" fmla="*/ -1299 h 624549"/>
                <a:gd name="connsiteX15" fmla="*/ 525614 w 810987"/>
                <a:gd name="connsiteY15" fmla="*/ -1299 h 624549"/>
                <a:gd name="connsiteX16" fmla="*/ 3470 w 810987"/>
                <a:gd name="connsiteY16" fmla="*/ -1629 h 624549"/>
                <a:gd name="connsiteX17" fmla="*/ -1386 w 810987"/>
                <a:gd name="connsiteY17" fmla="*/ -1642 h 624549"/>
                <a:gd name="connsiteX18" fmla="*/ 402 w 810987"/>
                <a:gd name="connsiteY18" fmla="*/ 2887 h 624549"/>
                <a:gd name="connsiteX19" fmla="*/ 1074 w 810987"/>
                <a:gd name="connsiteY19" fmla="*/ 4599 h 624549"/>
                <a:gd name="connsiteX20" fmla="*/ 230568 w 810987"/>
                <a:gd name="connsiteY20" fmla="*/ 585385 h 624549"/>
                <a:gd name="connsiteX21" fmla="*/ 231354 w 810987"/>
                <a:gd name="connsiteY21" fmla="*/ 587402 h 624549"/>
                <a:gd name="connsiteX22" fmla="*/ 233548 w 810987"/>
                <a:gd name="connsiteY22" fmla="*/ 587149 h 624549"/>
                <a:gd name="connsiteX23" fmla="*/ 654043 w 810987"/>
                <a:gd name="connsiteY23" fmla="*/ 586743 h 624549"/>
                <a:gd name="connsiteX24" fmla="*/ 769348 w 810987"/>
                <a:gd name="connsiteY24" fmla="*/ 611720 h 624549"/>
                <a:gd name="connsiteX25" fmla="*/ 799296 w 810987"/>
                <a:gd name="connsiteY25" fmla="*/ 620055 h 624549"/>
                <a:gd name="connsiteX26" fmla="*/ 806954 w 810987"/>
                <a:gd name="connsiteY26" fmla="*/ 622275 h 624549"/>
                <a:gd name="connsiteX27" fmla="*/ 809592 w 810987"/>
                <a:gd name="connsiteY27" fmla="*/ 622897 h 624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10987" h="624549">
                  <a:moveTo>
                    <a:pt x="809592" y="622897"/>
                  </a:moveTo>
                  <a:cubicBezTo>
                    <a:pt x="809452" y="622846"/>
                    <a:pt x="808806" y="622452"/>
                    <a:pt x="807094" y="621844"/>
                  </a:cubicBezTo>
                  <a:cubicBezTo>
                    <a:pt x="805179" y="621184"/>
                    <a:pt x="802719" y="620321"/>
                    <a:pt x="799562" y="619218"/>
                  </a:cubicBezTo>
                  <a:cubicBezTo>
                    <a:pt x="792880" y="617011"/>
                    <a:pt x="782927" y="613826"/>
                    <a:pt x="769817" y="610059"/>
                  </a:cubicBezTo>
                  <a:cubicBezTo>
                    <a:pt x="743596" y="602574"/>
                    <a:pt x="704836" y="592375"/>
                    <a:pt x="654601" y="583508"/>
                  </a:cubicBezTo>
                  <a:cubicBezTo>
                    <a:pt x="554181" y="564327"/>
                    <a:pt x="406987" y="562044"/>
                    <a:pt x="232825" y="581554"/>
                  </a:cubicBezTo>
                  <a:lnTo>
                    <a:pt x="235818" y="583317"/>
                  </a:lnTo>
                  <a:cubicBezTo>
                    <a:pt x="169733" y="415322"/>
                    <a:pt x="91211" y="215714"/>
                    <a:pt x="7211" y="2176"/>
                  </a:cubicBezTo>
                  <a:lnTo>
                    <a:pt x="6539" y="464"/>
                  </a:lnTo>
                  <a:lnTo>
                    <a:pt x="3470" y="4967"/>
                  </a:lnTo>
                  <a:cubicBezTo>
                    <a:pt x="191466" y="4853"/>
                    <a:pt x="369343" y="4739"/>
                    <a:pt x="525614" y="4638"/>
                  </a:cubicBezTo>
                  <a:lnTo>
                    <a:pt x="522926" y="2912"/>
                  </a:lnTo>
                  <a:cubicBezTo>
                    <a:pt x="691586" y="367687"/>
                    <a:pt x="798700" y="599365"/>
                    <a:pt x="809592" y="622897"/>
                  </a:cubicBezTo>
                  <a:cubicBezTo>
                    <a:pt x="798916" y="599288"/>
                    <a:pt x="693805" y="366672"/>
                    <a:pt x="528328" y="439"/>
                  </a:cubicBezTo>
                  <a:lnTo>
                    <a:pt x="527542" y="-1299"/>
                  </a:lnTo>
                  <a:lnTo>
                    <a:pt x="525614" y="-1299"/>
                  </a:lnTo>
                  <a:cubicBezTo>
                    <a:pt x="369343" y="-1401"/>
                    <a:pt x="191466" y="-1515"/>
                    <a:pt x="3470" y="-1629"/>
                  </a:cubicBezTo>
                  <a:lnTo>
                    <a:pt x="-1386" y="-1642"/>
                  </a:lnTo>
                  <a:lnTo>
                    <a:pt x="402" y="2887"/>
                  </a:lnTo>
                  <a:lnTo>
                    <a:pt x="1074" y="4599"/>
                  </a:lnTo>
                  <a:cubicBezTo>
                    <a:pt x="85404" y="218010"/>
                    <a:pt x="164218" y="417504"/>
                    <a:pt x="230568" y="585385"/>
                  </a:cubicBezTo>
                  <a:lnTo>
                    <a:pt x="231354" y="587402"/>
                  </a:lnTo>
                  <a:lnTo>
                    <a:pt x="233548" y="587149"/>
                  </a:lnTo>
                  <a:cubicBezTo>
                    <a:pt x="407101" y="567143"/>
                    <a:pt x="553927" y="568589"/>
                    <a:pt x="654043" y="586743"/>
                  </a:cubicBezTo>
                  <a:cubicBezTo>
                    <a:pt x="704214" y="595115"/>
                    <a:pt x="743038" y="604781"/>
                    <a:pt x="769348" y="611720"/>
                  </a:cubicBezTo>
                  <a:cubicBezTo>
                    <a:pt x="782255" y="615311"/>
                    <a:pt x="792246" y="618101"/>
                    <a:pt x="799296" y="620055"/>
                  </a:cubicBezTo>
                  <a:cubicBezTo>
                    <a:pt x="802504" y="620981"/>
                    <a:pt x="805014" y="621704"/>
                    <a:pt x="806954" y="622275"/>
                  </a:cubicBezTo>
                  <a:cubicBezTo>
                    <a:pt x="808653" y="622757"/>
                    <a:pt x="809718" y="622960"/>
                    <a:pt x="809592" y="622897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5" name="Vrije vorm 804">
              <a:extLst>
                <a:ext uri="{FF2B5EF4-FFF2-40B4-BE49-F238E27FC236}">
                  <a16:creationId xmlns:a16="http://schemas.microsoft.com/office/drawing/2014/main" id="{4B31CC60-DA8C-9B73-9EE5-E32A0870702A}"/>
                </a:ext>
              </a:extLst>
            </p:cNvPr>
            <p:cNvSpPr/>
            <p:nvPr/>
          </p:nvSpPr>
          <p:spPr>
            <a:xfrm flipV="1">
              <a:off x="6109114" y="3290136"/>
              <a:ext cx="387969" cy="305087"/>
            </a:xfrm>
            <a:custGeom>
              <a:avLst/>
              <a:gdLst>
                <a:gd name="connsiteX0" fmla="*/ -1191 w 387969"/>
                <a:gd name="connsiteY0" fmla="*/ 196151 h 305087"/>
                <a:gd name="connsiteX1" fmla="*/ 34374 w 387969"/>
                <a:gd name="connsiteY1" fmla="*/ 194020 h 305087"/>
                <a:gd name="connsiteX2" fmla="*/ 168889 w 387969"/>
                <a:gd name="connsiteY2" fmla="*/ 303485 h 305087"/>
                <a:gd name="connsiteX3" fmla="*/ 236824 w 387969"/>
                <a:gd name="connsiteY3" fmla="*/ 288947 h 305087"/>
                <a:gd name="connsiteX4" fmla="*/ 222484 w 387969"/>
                <a:gd name="connsiteY4" fmla="*/ 252590 h 305087"/>
                <a:gd name="connsiteX5" fmla="*/ 335342 w 387969"/>
                <a:gd name="connsiteY5" fmla="*/ 252590 h 305087"/>
                <a:gd name="connsiteX6" fmla="*/ 381571 w 387969"/>
                <a:gd name="connsiteY6" fmla="*/ 201708 h 305087"/>
                <a:gd name="connsiteX7" fmla="*/ 358456 w 387969"/>
                <a:gd name="connsiteY7" fmla="*/ 149291 h 305087"/>
                <a:gd name="connsiteX8" fmla="*/ 342823 w 387969"/>
                <a:gd name="connsiteY8" fmla="*/ 113276 h 305087"/>
                <a:gd name="connsiteX9" fmla="*/ 329167 w 387969"/>
                <a:gd name="connsiteY9" fmla="*/ 106109 h 305087"/>
                <a:gd name="connsiteX10" fmla="*/ 289101 w 387969"/>
                <a:gd name="connsiteY10" fmla="*/ 83935 h 305087"/>
                <a:gd name="connsiteX11" fmla="*/ 272149 w 387969"/>
                <a:gd name="connsiteY11" fmla="*/ 49062 h 305087"/>
                <a:gd name="connsiteX12" fmla="*/ 122343 w 387969"/>
                <a:gd name="connsiteY12" fmla="*/ -1414 h 305087"/>
                <a:gd name="connsiteX13" fmla="*/ 31725 w 387969"/>
                <a:gd name="connsiteY13" fmla="*/ 10510 h 305087"/>
                <a:gd name="connsiteX14" fmla="*/ -1191 w 387969"/>
                <a:gd name="connsiteY14" fmla="*/ 196151 h 30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7969" h="305087">
                  <a:moveTo>
                    <a:pt x="-1191" y="196151"/>
                  </a:moveTo>
                  <a:lnTo>
                    <a:pt x="34374" y="194020"/>
                  </a:lnTo>
                  <a:cubicBezTo>
                    <a:pt x="34374" y="194020"/>
                    <a:pt x="151937" y="303485"/>
                    <a:pt x="168889" y="303485"/>
                  </a:cubicBezTo>
                  <a:cubicBezTo>
                    <a:pt x="185841" y="303485"/>
                    <a:pt x="236824" y="288947"/>
                    <a:pt x="236824" y="288947"/>
                  </a:cubicBezTo>
                  <a:lnTo>
                    <a:pt x="222484" y="252590"/>
                  </a:lnTo>
                  <a:cubicBezTo>
                    <a:pt x="222484" y="252590"/>
                    <a:pt x="309134" y="257220"/>
                    <a:pt x="335342" y="252590"/>
                  </a:cubicBezTo>
                  <a:cubicBezTo>
                    <a:pt x="361537" y="247972"/>
                    <a:pt x="392361" y="234094"/>
                    <a:pt x="381571" y="201708"/>
                  </a:cubicBezTo>
                  <a:cubicBezTo>
                    <a:pt x="381571" y="201708"/>
                    <a:pt x="403151" y="166252"/>
                    <a:pt x="358456" y="149291"/>
                  </a:cubicBezTo>
                  <a:cubicBezTo>
                    <a:pt x="358456" y="149291"/>
                    <a:pt x="369069" y="130402"/>
                    <a:pt x="342823" y="113276"/>
                  </a:cubicBezTo>
                  <a:cubicBezTo>
                    <a:pt x="339070" y="110828"/>
                    <a:pt x="334568" y="108418"/>
                    <a:pt x="329167" y="106109"/>
                  </a:cubicBezTo>
                  <a:cubicBezTo>
                    <a:pt x="286020" y="87601"/>
                    <a:pt x="289101" y="83935"/>
                    <a:pt x="289101" y="83935"/>
                  </a:cubicBezTo>
                  <a:cubicBezTo>
                    <a:pt x="289101" y="83935"/>
                    <a:pt x="287554" y="64475"/>
                    <a:pt x="272149" y="49062"/>
                  </a:cubicBezTo>
                  <a:cubicBezTo>
                    <a:pt x="256731" y="33636"/>
                    <a:pt x="169814" y="527"/>
                    <a:pt x="122343" y="-1414"/>
                  </a:cubicBezTo>
                  <a:cubicBezTo>
                    <a:pt x="74872" y="-3368"/>
                    <a:pt x="31725" y="10510"/>
                    <a:pt x="31725" y="10510"/>
                  </a:cubicBezTo>
                  <a:lnTo>
                    <a:pt x="-1191" y="196151"/>
                  </a:lnTo>
                </a:path>
              </a:pathLst>
            </a:custGeom>
            <a:solidFill>
              <a:srgbClr val="F9A78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6" name="Vrije vorm 805">
              <a:extLst>
                <a:ext uri="{FF2B5EF4-FFF2-40B4-BE49-F238E27FC236}">
                  <a16:creationId xmlns:a16="http://schemas.microsoft.com/office/drawing/2014/main" id="{DF86014A-9746-43DE-B3C3-486588F8FD1A}"/>
                </a:ext>
              </a:extLst>
            </p:cNvPr>
            <p:cNvSpPr/>
            <p:nvPr/>
          </p:nvSpPr>
          <p:spPr>
            <a:xfrm flipV="1">
              <a:off x="6233117" y="3337402"/>
              <a:ext cx="102182" cy="6497"/>
            </a:xfrm>
            <a:custGeom>
              <a:avLst/>
              <a:gdLst>
                <a:gd name="connsiteX0" fmla="*/ -1178 w 102182"/>
                <a:gd name="connsiteY0" fmla="*/ 1454 h 6497"/>
                <a:gd name="connsiteX1" fmla="*/ 49920 w 102182"/>
                <a:gd name="connsiteY1" fmla="*/ -1693 h 6497"/>
                <a:gd name="connsiteX2" fmla="*/ 101004 w 102182"/>
                <a:gd name="connsiteY2" fmla="*/ 1656 h 6497"/>
                <a:gd name="connsiteX3" fmla="*/ 49907 w 102182"/>
                <a:gd name="connsiteY3" fmla="*/ 4803 h 6497"/>
                <a:gd name="connsiteX4" fmla="*/ -1178 w 102182"/>
                <a:gd name="connsiteY4" fmla="*/ 1454 h 6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182" h="6497">
                  <a:moveTo>
                    <a:pt x="-1178" y="1454"/>
                  </a:moveTo>
                  <a:cubicBezTo>
                    <a:pt x="-1127" y="-335"/>
                    <a:pt x="21746" y="-1743"/>
                    <a:pt x="49920" y="-1693"/>
                  </a:cubicBezTo>
                  <a:cubicBezTo>
                    <a:pt x="78093" y="-1629"/>
                    <a:pt x="100954" y="-132"/>
                    <a:pt x="101004" y="1656"/>
                  </a:cubicBezTo>
                  <a:cubicBezTo>
                    <a:pt x="101042" y="3445"/>
                    <a:pt x="78169" y="4853"/>
                    <a:pt x="49907" y="4803"/>
                  </a:cubicBezTo>
                  <a:cubicBezTo>
                    <a:pt x="21645" y="4739"/>
                    <a:pt x="-1228" y="3242"/>
                    <a:pt x="-1178" y="1454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7" name="Vrije vorm 806">
              <a:extLst>
                <a:ext uri="{FF2B5EF4-FFF2-40B4-BE49-F238E27FC236}">
                  <a16:creationId xmlns:a16="http://schemas.microsoft.com/office/drawing/2014/main" id="{3456254D-B93A-51BE-0343-F9FA1F3E47D9}"/>
                </a:ext>
              </a:extLst>
            </p:cNvPr>
            <p:cNvSpPr/>
            <p:nvPr/>
          </p:nvSpPr>
          <p:spPr>
            <a:xfrm flipV="1">
              <a:off x="6255711" y="3392513"/>
              <a:ext cx="233691" cy="16150"/>
            </a:xfrm>
            <a:custGeom>
              <a:avLst/>
              <a:gdLst>
                <a:gd name="connsiteX0" fmla="*/ -1238 w 233691"/>
                <a:gd name="connsiteY0" fmla="*/ -1242 h 16150"/>
                <a:gd name="connsiteX1" fmla="*/ 33085 w 233691"/>
                <a:gd name="connsiteY1" fmla="*/ 77 h 16150"/>
                <a:gd name="connsiteX2" fmla="*/ 115602 w 233691"/>
                <a:gd name="connsiteY2" fmla="*/ 5634 h 16150"/>
                <a:gd name="connsiteX3" fmla="*/ 198207 w 233691"/>
                <a:gd name="connsiteY3" fmla="*/ 9896 h 16150"/>
                <a:gd name="connsiteX4" fmla="*/ 232454 w 233691"/>
                <a:gd name="connsiteY4" fmla="*/ 12649 h 16150"/>
                <a:gd name="connsiteX5" fmla="*/ 198106 w 233691"/>
                <a:gd name="connsiteY5" fmla="*/ 14488 h 16150"/>
                <a:gd name="connsiteX6" fmla="*/ 115221 w 233691"/>
                <a:gd name="connsiteY6" fmla="*/ 12103 h 16150"/>
                <a:gd name="connsiteX7" fmla="*/ 32641 w 233691"/>
                <a:gd name="connsiteY7" fmla="*/ 4644 h 16150"/>
                <a:gd name="connsiteX8" fmla="*/ -1238 w 233691"/>
                <a:gd name="connsiteY8" fmla="*/ -1242 h 16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3691" h="16150">
                  <a:moveTo>
                    <a:pt x="-1238" y="-1242"/>
                  </a:moveTo>
                  <a:cubicBezTo>
                    <a:pt x="-1136" y="-2155"/>
                    <a:pt x="11961" y="-1407"/>
                    <a:pt x="33085" y="77"/>
                  </a:cubicBezTo>
                  <a:cubicBezTo>
                    <a:pt x="56390" y="1650"/>
                    <a:pt x="84512" y="3540"/>
                    <a:pt x="115602" y="5634"/>
                  </a:cubicBezTo>
                  <a:cubicBezTo>
                    <a:pt x="146729" y="7245"/>
                    <a:pt x="174890" y="8691"/>
                    <a:pt x="198207" y="9896"/>
                  </a:cubicBezTo>
                  <a:cubicBezTo>
                    <a:pt x="219356" y="10924"/>
                    <a:pt x="232454" y="11735"/>
                    <a:pt x="232454" y="12649"/>
                  </a:cubicBezTo>
                  <a:cubicBezTo>
                    <a:pt x="232454" y="13524"/>
                    <a:pt x="219331" y="14336"/>
                    <a:pt x="198106" y="14488"/>
                  </a:cubicBezTo>
                  <a:cubicBezTo>
                    <a:pt x="176880" y="14640"/>
                    <a:pt x="147553" y="14019"/>
                    <a:pt x="115221" y="12103"/>
                  </a:cubicBezTo>
                  <a:cubicBezTo>
                    <a:pt x="82889" y="10175"/>
                    <a:pt x="53702" y="7308"/>
                    <a:pt x="32641" y="4644"/>
                  </a:cubicBezTo>
                  <a:cubicBezTo>
                    <a:pt x="11581" y="1980"/>
                    <a:pt x="-1339" y="-379"/>
                    <a:pt x="-1238" y="-1242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8" name="Vrije vorm 807">
              <a:extLst>
                <a:ext uri="{FF2B5EF4-FFF2-40B4-BE49-F238E27FC236}">
                  <a16:creationId xmlns:a16="http://schemas.microsoft.com/office/drawing/2014/main" id="{AD2AFDB3-E963-DD9B-E8E6-A095C7A41B5B}"/>
                </a:ext>
              </a:extLst>
            </p:cNvPr>
            <p:cNvSpPr/>
            <p:nvPr/>
          </p:nvSpPr>
          <p:spPr>
            <a:xfrm flipV="1">
              <a:off x="6305096" y="3445969"/>
              <a:ext cx="168509" cy="24701"/>
            </a:xfrm>
            <a:custGeom>
              <a:avLst/>
              <a:gdLst>
                <a:gd name="connsiteX0" fmla="*/ -1248 w 168509"/>
                <a:gd name="connsiteY0" fmla="*/ -1165 h 24701"/>
                <a:gd name="connsiteX1" fmla="*/ 83462 w 168509"/>
                <a:gd name="connsiteY1" fmla="*/ 7550 h 24701"/>
                <a:gd name="connsiteX2" fmla="*/ 167259 w 168509"/>
                <a:gd name="connsiteY2" fmla="*/ 22684 h 24701"/>
                <a:gd name="connsiteX3" fmla="*/ 82549 w 168509"/>
                <a:gd name="connsiteY3" fmla="*/ 13969 h 24701"/>
                <a:gd name="connsiteX4" fmla="*/ -1248 w 168509"/>
                <a:gd name="connsiteY4" fmla="*/ -1165 h 24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509" h="24701">
                  <a:moveTo>
                    <a:pt x="-1248" y="-1165"/>
                  </a:moveTo>
                  <a:cubicBezTo>
                    <a:pt x="-995" y="-2928"/>
                    <a:pt x="36929" y="967"/>
                    <a:pt x="83462" y="7550"/>
                  </a:cubicBezTo>
                  <a:cubicBezTo>
                    <a:pt x="129995" y="14134"/>
                    <a:pt x="167512" y="20908"/>
                    <a:pt x="167259" y="22684"/>
                  </a:cubicBezTo>
                  <a:cubicBezTo>
                    <a:pt x="167005" y="24460"/>
                    <a:pt x="129082" y="20553"/>
                    <a:pt x="82549" y="13969"/>
                  </a:cubicBezTo>
                  <a:cubicBezTo>
                    <a:pt x="36029" y="7385"/>
                    <a:pt x="-1502" y="611"/>
                    <a:pt x="-1248" y="-1165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9" name="Vrije vorm 808">
              <a:extLst>
                <a:ext uri="{FF2B5EF4-FFF2-40B4-BE49-F238E27FC236}">
                  <a16:creationId xmlns:a16="http://schemas.microsoft.com/office/drawing/2014/main" id="{47FFE378-6778-E53B-8760-A0AB67E93A6C}"/>
                </a:ext>
              </a:extLst>
            </p:cNvPr>
            <p:cNvSpPr/>
            <p:nvPr/>
          </p:nvSpPr>
          <p:spPr>
            <a:xfrm flipV="1">
              <a:off x="6314314" y="3506246"/>
              <a:ext cx="88220" cy="16807"/>
            </a:xfrm>
            <a:custGeom>
              <a:avLst/>
              <a:gdLst>
                <a:gd name="connsiteX0" fmla="*/ -1228 w 88220"/>
                <a:gd name="connsiteY0" fmla="*/ -286 h 16807"/>
                <a:gd name="connsiteX1" fmla="*/ 43821 w 88220"/>
                <a:gd name="connsiteY1" fmla="*/ 1782 h 16807"/>
                <a:gd name="connsiteX2" fmla="*/ 86981 w 88220"/>
                <a:gd name="connsiteY2" fmla="*/ 14861 h 16807"/>
                <a:gd name="connsiteX3" fmla="*/ 42718 w 88220"/>
                <a:gd name="connsiteY3" fmla="*/ 8175 h 16807"/>
                <a:gd name="connsiteX4" fmla="*/ -1228 w 88220"/>
                <a:gd name="connsiteY4" fmla="*/ -286 h 16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220" h="16807">
                  <a:moveTo>
                    <a:pt x="-1228" y="-286"/>
                  </a:moveTo>
                  <a:cubicBezTo>
                    <a:pt x="-1165" y="-2011"/>
                    <a:pt x="19185" y="-2481"/>
                    <a:pt x="43821" y="1782"/>
                  </a:cubicBezTo>
                  <a:cubicBezTo>
                    <a:pt x="68470" y="5981"/>
                    <a:pt x="87501" y="13199"/>
                    <a:pt x="86981" y="14861"/>
                  </a:cubicBezTo>
                  <a:cubicBezTo>
                    <a:pt x="86462" y="16637"/>
                    <a:pt x="66936" y="12286"/>
                    <a:pt x="42718" y="8175"/>
                  </a:cubicBezTo>
                  <a:cubicBezTo>
                    <a:pt x="18526" y="3977"/>
                    <a:pt x="-1330" y="1566"/>
                    <a:pt x="-1228" y="-286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10" name="Vrije vorm 809">
              <a:extLst>
                <a:ext uri="{FF2B5EF4-FFF2-40B4-BE49-F238E27FC236}">
                  <a16:creationId xmlns:a16="http://schemas.microsoft.com/office/drawing/2014/main" id="{5EA420BD-E987-A450-114F-63B9A862532C}"/>
                </a:ext>
              </a:extLst>
            </p:cNvPr>
            <p:cNvSpPr/>
            <p:nvPr/>
          </p:nvSpPr>
          <p:spPr>
            <a:xfrm flipV="1">
              <a:off x="5499618" y="3936456"/>
              <a:ext cx="152473" cy="6241"/>
            </a:xfrm>
            <a:custGeom>
              <a:avLst/>
              <a:gdLst>
                <a:gd name="connsiteX0" fmla="*/ -694 w 152473"/>
                <a:gd name="connsiteY0" fmla="*/ -1159 h 6241"/>
                <a:gd name="connsiteX1" fmla="*/ 1011 w 152473"/>
                <a:gd name="connsiteY1" fmla="*/ 5082 h 6241"/>
                <a:gd name="connsiteX2" fmla="*/ 151779 w 152473"/>
                <a:gd name="connsiteY2" fmla="*/ 5082 h 6241"/>
                <a:gd name="connsiteX3" fmla="*/ -694 w 152473"/>
                <a:gd name="connsiteY3" fmla="*/ -1159 h 6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73" h="6241">
                  <a:moveTo>
                    <a:pt x="-694" y="-1159"/>
                  </a:moveTo>
                  <a:cubicBezTo>
                    <a:pt x="-129" y="922"/>
                    <a:pt x="445" y="3015"/>
                    <a:pt x="1011" y="5082"/>
                  </a:cubicBezTo>
                  <a:lnTo>
                    <a:pt x="151779" y="5082"/>
                  </a:lnTo>
                  <a:lnTo>
                    <a:pt x="-694" y="-1159"/>
                  </a:lnTo>
                </a:path>
              </a:pathLst>
            </a:custGeom>
            <a:solidFill>
              <a:srgbClr val="0F191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11" name="Vrije vorm 810">
              <a:extLst>
                <a:ext uri="{FF2B5EF4-FFF2-40B4-BE49-F238E27FC236}">
                  <a16:creationId xmlns:a16="http://schemas.microsoft.com/office/drawing/2014/main" id="{49E2C063-82B3-9967-C817-4A008B963CEC}"/>
                </a:ext>
              </a:extLst>
            </p:cNvPr>
            <p:cNvSpPr/>
            <p:nvPr/>
          </p:nvSpPr>
          <p:spPr>
            <a:xfrm flipV="1">
              <a:off x="5497004" y="3936456"/>
              <a:ext cx="4318" cy="6355"/>
            </a:xfrm>
            <a:custGeom>
              <a:avLst/>
              <a:gdLst>
                <a:gd name="connsiteX0" fmla="*/ -641 w 4318"/>
                <a:gd name="connsiteY0" fmla="*/ -1159 h 6355"/>
                <a:gd name="connsiteX1" fmla="*/ 1116 w 4318"/>
                <a:gd name="connsiteY1" fmla="*/ 5197 h 6355"/>
                <a:gd name="connsiteX2" fmla="*/ 3677 w 4318"/>
                <a:gd name="connsiteY2" fmla="*/ 5197 h 6355"/>
                <a:gd name="connsiteX3" fmla="*/ 1973 w 4318"/>
                <a:gd name="connsiteY3" fmla="*/ -1045 h 6355"/>
                <a:gd name="connsiteX4" fmla="*/ -641 w 4318"/>
                <a:gd name="connsiteY4" fmla="*/ -1159 h 6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18" h="6355">
                  <a:moveTo>
                    <a:pt x="-641" y="-1159"/>
                  </a:moveTo>
                  <a:lnTo>
                    <a:pt x="1116" y="5197"/>
                  </a:lnTo>
                  <a:lnTo>
                    <a:pt x="3677" y="5197"/>
                  </a:lnTo>
                  <a:cubicBezTo>
                    <a:pt x="3112" y="3129"/>
                    <a:pt x="2537" y="1036"/>
                    <a:pt x="1973" y="-1045"/>
                  </a:cubicBezTo>
                  <a:lnTo>
                    <a:pt x="-641" y="-1159"/>
                  </a:lnTo>
                </a:path>
              </a:pathLst>
            </a:custGeom>
            <a:solidFill>
              <a:srgbClr val="20353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13" name="Vrije vorm 812">
              <a:extLst>
                <a:ext uri="{FF2B5EF4-FFF2-40B4-BE49-F238E27FC236}">
                  <a16:creationId xmlns:a16="http://schemas.microsoft.com/office/drawing/2014/main" id="{FCE20B20-D911-A2A8-3619-BD1452CC2111}"/>
                </a:ext>
              </a:extLst>
            </p:cNvPr>
            <p:cNvSpPr/>
            <p:nvPr/>
          </p:nvSpPr>
          <p:spPr>
            <a:xfrm flipV="1">
              <a:off x="5975674" y="2694077"/>
              <a:ext cx="267914" cy="126564"/>
            </a:xfrm>
            <a:custGeom>
              <a:avLst/>
              <a:gdLst>
                <a:gd name="connsiteX0" fmla="*/ 266781 w 267914"/>
                <a:gd name="connsiteY0" fmla="*/ 103000 h 126564"/>
                <a:gd name="connsiteX1" fmla="*/ 265640 w 267914"/>
                <a:gd name="connsiteY1" fmla="*/ 96225 h 126564"/>
                <a:gd name="connsiteX2" fmla="*/ 259072 w 267914"/>
                <a:gd name="connsiteY2" fmla="*/ 77806 h 126564"/>
                <a:gd name="connsiteX3" fmla="*/ 213795 w 267914"/>
                <a:gd name="connsiteY3" fmla="*/ 23664 h 126564"/>
                <a:gd name="connsiteX4" fmla="*/ 211005 w 267914"/>
                <a:gd name="connsiteY4" fmla="*/ 21723 h 126564"/>
                <a:gd name="connsiteX5" fmla="*/ 209839 w 267914"/>
                <a:gd name="connsiteY5" fmla="*/ 24996 h 126564"/>
                <a:gd name="connsiteX6" fmla="*/ 190300 w 267914"/>
                <a:gd name="connsiteY6" fmla="*/ 72643 h 126564"/>
                <a:gd name="connsiteX7" fmla="*/ 153568 w 267914"/>
                <a:gd name="connsiteY7" fmla="*/ 116395 h 126564"/>
                <a:gd name="connsiteX8" fmla="*/ 158513 w 267914"/>
                <a:gd name="connsiteY8" fmla="*/ 118260 h 126564"/>
                <a:gd name="connsiteX9" fmla="*/ 148509 w 267914"/>
                <a:gd name="connsiteY9" fmla="*/ 84580 h 126564"/>
                <a:gd name="connsiteX10" fmla="*/ 117242 w 267914"/>
                <a:gd name="connsiteY10" fmla="*/ 1350 h 126564"/>
                <a:gd name="connsiteX11" fmla="*/ 115683 w 267914"/>
                <a:gd name="connsiteY11" fmla="*/ -2215 h 126564"/>
                <a:gd name="connsiteX12" fmla="*/ 112589 w 267914"/>
                <a:gd name="connsiteY12" fmla="*/ 81 h 126564"/>
                <a:gd name="connsiteX13" fmla="*/ 28132 w 267914"/>
                <a:gd name="connsiteY13" fmla="*/ 72554 h 126564"/>
                <a:gd name="connsiteX14" fmla="*/ 6121 w 267914"/>
                <a:gd name="connsiteY14" fmla="*/ 95629 h 126564"/>
                <a:gd name="connsiteX15" fmla="*/ -1042 w 267914"/>
                <a:gd name="connsiteY15" fmla="*/ 104547 h 126564"/>
                <a:gd name="connsiteX16" fmla="*/ 7554 w 267914"/>
                <a:gd name="connsiteY16" fmla="*/ 97024 h 126564"/>
                <a:gd name="connsiteX17" fmla="*/ 30732 w 267914"/>
                <a:gd name="connsiteY17" fmla="*/ 75269 h 126564"/>
                <a:gd name="connsiteX18" fmla="*/ 116228 w 267914"/>
                <a:gd name="connsiteY18" fmla="*/ 5041 h 126564"/>
                <a:gd name="connsiteX19" fmla="*/ 111587 w 267914"/>
                <a:gd name="connsiteY19" fmla="*/ 3785 h 126564"/>
                <a:gd name="connsiteX20" fmla="*/ 142220 w 267914"/>
                <a:gd name="connsiteY20" fmla="*/ 86584 h 126564"/>
                <a:gd name="connsiteX21" fmla="*/ 152224 w 267914"/>
                <a:gd name="connsiteY21" fmla="*/ 119998 h 126564"/>
                <a:gd name="connsiteX22" fmla="*/ 153441 w 267914"/>
                <a:gd name="connsiteY22" fmla="*/ 124349 h 126564"/>
                <a:gd name="connsiteX23" fmla="*/ 157169 w 267914"/>
                <a:gd name="connsiteY23" fmla="*/ 121863 h 126564"/>
                <a:gd name="connsiteX24" fmla="*/ 195727 w 267914"/>
                <a:gd name="connsiteY24" fmla="*/ 75421 h 126564"/>
                <a:gd name="connsiteX25" fmla="*/ 214809 w 267914"/>
                <a:gd name="connsiteY25" fmla="*/ 26708 h 126564"/>
                <a:gd name="connsiteX26" fmla="*/ 210853 w 267914"/>
                <a:gd name="connsiteY26" fmla="*/ 28040 h 126564"/>
                <a:gd name="connsiteX27" fmla="*/ 256384 w 267914"/>
                <a:gd name="connsiteY27" fmla="*/ 79113 h 126564"/>
                <a:gd name="connsiteX28" fmla="*/ 266781 w 267914"/>
                <a:gd name="connsiteY28" fmla="*/ 103000 h 126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67914" h="126564">
                  <a:moveTo>
                    <a:pt x="266781" y="103000"/>
                  </a:moveTo>
                  <a:cubicBezTo>
                    <a:pt x="267022" y="102936"/>
                    <a:pt x="266692" y="100589"/>
                    <a:pt x="265640" y="96225"/>
                  </a:cubicBezTo>
                  <a:cubicBezTo>
                    <a:pt x="264512" y="91887"/>
                    <a:pt x="262559" y="85544"/>
                    <a:pt x="259072" y="77806"/>
                  </a:cubicBezTo>
                  <a:cubicBezTo>
                    <a:pt x="252162" y="62507"/>
                    <a:pt x="238583" y="40929"/>
                    <a:pt x="213795" y="23664"/>
                  </a:cubicBezTo>
                  <a:lnTo>
                    <a:pt x="211005" y="21723"/>
                  </a:lnTo>
                  <a:lnTo>
                    <a:pt x="209839" y="24996"/>
                  </a:lnTo>
                  <a:cubicBezTo>
                    <a:pt x="204526" y="39863"/>
                    <a:pt x="198732" y="56278"/>
                    <a:pt x="190300" y="72643"/>
                  </a:cubicBezTo>
                  <a:cubicBezTo>
                    <a:pt x="181906" y="88893"/>
                    <a:pt x="170368" y="105308"/>
                    <a:pt x="153568" y="116395"/>
                  </a:cubicBezTo>
                  <a:lnTo>
                    <a:pt x="158513" y="118260"/>
                  </a:lnTo>
                  <a:cubicBezTo>
                    <a:pt x="155534" y="107389"/>
                    <a:pt x="152174" y="96048"/>
                    <a:pt x="148509" y="84580"/>
                  </a:cubicBezTo>
                  <a:cubicBezTo>
                    <a:pt x="138962" y="54578"/>
                    <a:pt x="128172" y="26455"/>
                    <a:pt x="117242" y="1350"/>
                  </a:cubicBezTo>
                  <a:lnTo>
                    <a:pt x="115683" y="-2215"/>
                  </a:lnTo>
                  <a:lnTo>
                    <a:pt x="112589" y="81"/>
                  </a:lnTo>
                  <a:cubicBezTo>
                    <a:pt x="76161" y="27165"/>
                    <a:pt x="47481" y="53272"/>
                    <a:pt x="28132" y="72554"/>
                  </a:cubicBezTo>
                  <a:cubicBezTo>
                    <a:pt x="18458" y="82195"/>
                    <a:pt x="11053" y="90098"/>
                    <a:pt x="6121" y="95629"/>
                  </a:cubicBezTo>
                  <a:cubicBezTo>
                    <a:pt x="1202" y="101185"/>
                    <a:pt x="-1283" y="104319"/>
                    <a:pt x="-1042" y="104547"/>
                  </a:cubicBezTo>
                  <a:cubicBezTo>
                    <a:pt x="-776" y="104801"/>
                    <a:pt x="2203" y="102124"/>
                    <a:pt x="7554" y="97024"/>
                  </a:cubicBezTo>
                  <a:cubicBezTo>
                    <a:pt x="13729" y="91227"/>
                    <a:pt x="21438" y="83996"/>
                    <a:pt x="30732" y="75269"/>
                  </a:cubicBezTo>
                  <a:cubicBezTo>
                    <a:pt x="50727" y="56849"/>
                    <a:pt x="79775" y="31529"/>
                    <a:pt x="116228" y="5041"/>
                  </a:cubicBezTo>
                  <a:lnTo>
                    <a:pt x="111587" y="3785"/>
                  </a:lnTo>
                  <a:cubicBezTo>
                    <a:pt x="122174" y="28839"/>
                    <a:pt x="132736" y="56798"/>
                    <a:pt x="142220" y="86584"/>
                  </a:cubicBezTo>
                  <a:cubicBezTo>
                    <a:pt x="145859" y="97963"/>
                    <a:pt x="149207" y="109228"/>
                    <a:pt x="152224" y="119998"/>
                  </a:cubicBezTo>
                  <a:lnTo>
                    <a:pt x="153441" y="124349"/>
                  </a:lnTo>
                  <a:lnTo>
                    <a:pt x="157169" y="121863"/>
                  </a:lnTo>
                  <a:cubicBezTo>
                    <a:pt x="175275" y="109786"/>
                    <a:pt x="187270" y="92255"/>
                    <a:pt x="195727" y="75421"/>
                  </a:cubicBezTo>
                  <a:cubicBezTo>
                    <a:pt x="204222" y="58422"/>
                    <a:pt x="209801" y="41715"/>
                    <a:pt x="214809" y="26708"/>
                  </a:cubicBezTo>
                  <a:lnTo>
                    <a:pt x="210853" y="28040"/>
                  </a:lnTo>
                  <a:cubicBezTo>
                    <a:pt x="234982" y="44100"/>
                    <a:pt x="248840" y="64524"/>
                    <a:pt x="256384" y="79113"/>
                  </a:cubicBezTo>
                  <a:cubicBezTo>
                    <a:pt x="263941" y="93917"/>
                    <a:pt x="266084" y="103215"/>
                    <a:pt x="266781" y="103000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27" name="Vrije vorm 826">
              <a:extLst>
                <a:ext uri="{FF2B5EF4-FFF2-40B4-BE49-F238E27FC236}">
                  <a16:creationId xmlns:a16="http://schemas.microsoft.com/office/drawing/2014/main" id="{5E5992F2-BD5F-EDCD-2895-3D5F61D48EBC}"/>
                </a:ext>
              </a:extLst>
            </p:cNvPr>
            <p:cNvSpPr/>
            <p:nvPr/>
          </p:nvSpPr>
          <p:spPr>
            <a:xfrm flipV="1">
              <a:off x="5712313" y="1986993"/>
              <a:ext cx="134813" cy="89602"/>
            </a:xfrm>
            <a:custGeom>
              <a:avLst/>
              <a:gdLst>
                <a:gd name="connsiteX0" fmla="*/ -833 w 134813"/>
                <a:gd name="connsiteY0" fmla="*/ -2010 h 89602"/>
                <a:gd name="connsiteX1" fmla="*/ 23570 w 134813"/>
                <a:gd name="connsiteY1" fmla="*/ 2430 h 89602"/>
                <a:gd name="connsiteX2" fmla="*/ 77778 w 134813"/>
                <a:gd name="connsiteY2" fmla="*/ 25276 h 89602"/>
                <a:gd name="connsiteX3" fmla="*/ 120194 w 134813"/>
                <a:gd name="connsiteY3" fmla="*/ 66061 h 89602"/>
                <a:gd name="connsiteX4" fmla="*/ 133913 w 134813"/>
                <a:gd name="connsiteY4" fmla="*/ 86726 h 89602"/>
                <a:gd name="connsiteX5" fmla="*/ 123542 w 134813"/>
                <a:gd name="connsiteY5" fmla="*/ 63815 h 89602"/>
                <a:gd name="connsiteX6" fmla="*/ 80909 w 134813"/>
                <a:gd name="connsiteY6" fmla="*/ 20507 h 89602"/>
                <a:gd name="connsiteX7" fmla="*/ 24308 w 134813"/>
                <a:gd name="connsiteY7" fmla="*/ -1541 h 89602"/>
                <a:gd name="connsiteX8" fmla="*/ -833 w 134813"/>
                <a:gd name="connsiteY8" fmla="*/ -2010 h 89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813" h="89602">
                  <a:moveTo>
                    <a:pt x="-833" y="-2010"/>
                  </a:moveTo>
                  <a:cubicBezTo>
                    <a:pt x="-848" y="-1021"/>
                    <a:pt x="8716" y="-792"/>
                    <a:pt x="23570" y="2430"/>
                  </a:cubicBezTo>
                  <a:cubicBezTo>
                    <a:pt x="38403" y="5576"/>
                    <a:pt x="58422" y="12591"/>
                    <a:pt x="77778" y="25276"/>
                  </a:cubicBezTo>
                  <a:cubicBezTo>
                    <a:pt x="97080" y="38051"/>
                    <a:pt x="111433" y="53680"/>
                    <a:pt x="120194" y="66061"/>
                  </a:cubicBezTo>
                  <a:cubicBezTo>
                    <a:pt x="129019" y="78442"/>
                    <a:pt x="133013" y="87132"/>
                    <a:pt x="133913" y="86726"/>
                  </a:cubicBezTo>
                  <a:cubicBezTo>
                    <a:pt x="134459" y="86535"/>
                    <a:pt x="131745" y="77161"/>
                    <a:pt x="123542" y="63815"/>
                  </a:cubicBezTo>
                  <a:cubicBezTo>
                    <a:pt x="115411" y="50508"/>
                    <a:pt x="100947" y="33763"/>
                    <a:pt x="80909" y="20507"/>
                  </a:cubicBezTo>
                  <a:cubicBezTo>
                    <a:pt x="60830" y="7339"/>
                    <a:pt x="39741" y="666"/>
                    <a:pt x="24308" y="-1541"/>
                  </a:cubicBezTo>
                  <a:cubicBezTo>
                    <a:pt x="8811" y="-3812"/>
                    <a:pt x="-867" y="-2594"/>
                    <a:pt x="-833" y="-2010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28" name="Vrije vorm 827">
              <a:extLst>
                <a:ext uri="{FF2B5EF4-FFF2-40B4-BE49-F238E27FC236}">
                  <a16:creationId xmlns:a16="http://schemas.microsoft.com/office/drawing/2014/main" id="{A77F5F9A-5949-1F89-ABBA-37F5FD807FAA}"/>
                </a:ext>
              </a:extLst>
            </p:cNvPr>
            <p:cNvSpPr/>
            <p:nvPr/>
          </p:nvSpPr>
          <p:spPr>
            <a:xfrm flipV="1">
              <a:off x="5722610" y="2012199"/>
              <a:ext cx="134809" cy="89603"/>
            </a:xfrm>
            <a:custGeom>
              <a:avLst/>
              <a:gdLst>
                <a:gd name="connsiteX0" fmla="*/ -840 w 134809"/>
                <a:gd name="connsiteY0" fmla="*/ -1999 h 89603"/>
                <a:gd name="connsiteX1" fmla="*/ 23558 w 134809"/>
                <a:gd name="connsiteY1" fmla="*/ 2453 h 89603"/>
                <a:gd name="connsiteX2" fmla="*/ 77766 w 134809"/>
                <a:gd name="connsiteY2" fmla="*/ 25287 h 89603"/>
                <a:gd name="connsiteX3" fmla="*/ 120173 w 134809"/>
                <a:gd name="connsiteY3" fmla="*/ 66084 h 89603"/>
                <a:gd name="connsiteX4" fmla="*/ 133905 w 134809"/>
                <a:gd name="connsiteY4" fmla="*/ 86749 h 89603"/>
                <a:gd name="connsiteX5" fmla="*/ 123521 w 134809"/>
                <a:gd name="connsiteY5" fmla="*/ 63839 h 89603"/>
                <a:gd name="connsiteX6" fmla="*/ 80902 w 134809"/>
                <a:gd name="connsiteY6" fmla="*/ 20530 h 89603"/>
                <a:gd name="connsiteX7" fmla="*/ 24295 w 134809"/>
                <a:gd name="connsiteY7" fmla="*/ -1517 h 89603"/>
                <a:gd name="connsiteX8" fmla="*/ -840 w 134809"/>
                <a:gd name="connsiteY8" fmla="*/ -1999 h 8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809" h="89603">
                  <a:moveTo>
                    <a:pt x="-840" y="-1999"/>
                  </a:moveTo>
                  <a:cubicBezTo>
                    <a:pt x="-859" y="-997"/>
                    <a:pt x="8709" y="-769"/>
                    <a:pt x="23558" y="2453"/>
                  </a:cubicBezTo>
                  <a:cubicBezTo>
                    <a:pt x="38392" y="5599"/>
                    <a:pt x="58412" y="12614"/>
                    <a:pt x="77766" y="25287"/>
                  </a:cubicBezTo>
                  <a:cubicBezTo>
                    <a:pt x="97068" y="38075"/>
                    <a:pt x="111425" y="53690"/>
                    <a:pt x="120173" y="66084"/>
                  </a:cubicBezTo>
                  <a:cubicBezTo>
                    <a:pt x="128998" y="78465"/>
                    <a:pt x="132992" y="87155"/>
                    <a:pt x="133905" y="86749"/>
                  </a:cubicBezTo>
                  <a:cubicBezTo>
                    <a:pt x="134438" y="86559"/>
                    <a:pt x="131737" y="77184"/>
                    <a:pt x="123521" y="63839"/>
                  </a:cubicBezTo>
                  <a:cubicBezTo>
                    <a:pt x="115406" y="50532"/>
                    <a:pt x="100942" y="33787"/>
                    <a:pt x="80902" y="20530"/>
                  </a:cubicBezTo>
                  <a:cubicBezTo>
                    <a:pt x="60818" y="7363"/>
                    <a:pt x="39734" y="690"/>
                    <a:pt x="24295" y="-1517"/>
                  </a:cubicBezTo>
                  <a:cubicBezTo>
                    <a:pt x="8804" y="-3788"/>
                    <a:pt x="-879" y="-2570"/>
                    <a:pt x="-840" y="-1999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1" name="Vrije vorm 830">
              <a:extLst>
                <a:ext uri="{FF2B5EF4-FFF2-40B4-BE49-F238E27FC236}">
                  <a16:creationId xmlns:a16="http://schemas.microsoft.com/office/drawing/2014/main" id="{F4FAA823-2A02-40DD-5C8F-03A96BB2B08D}"/>
                </a:ext>
              </a:extLst>
            </p:cNvPr>
            <p:cNvSpPr/>
            <p:nvPr/>
          </p:nvSpPr>
          <p:spPr>
            <a:xfrm flipV="1">
              <a:off x="6517731" y="2836371"/>
              <a:ext cx="48035" cy="299674"/>
            </a:xfrm>
            <a:custGeom>
              <a:avLst/>
              <a:gdLst>
                <a:gd name="connsiteX0" fmla="*/ 46457 w 48035"/>
                <a:gd name="connsiteY0" fmla="*/ -2010 h 299674"/>
                <a:gd name="connsiteX1" fmla="*/ 19399 w 48035"/>
                <a:gd name="connsiteY1" fmla="*/ 147300 h 299674"/>
                <a:gd name="connsiteX2" fmla="*/ -1129 w 48035"/>
                <a:gd name="connsiteY2" fmla="*/ 297663 h 299674"/>
                <a:gd name="connsiteX3" fmla="*/ 25929 w 48035"/>
                <a:gd name="connsiteY3" fmla="*/ 148340 h 299674"/>
                <a:gd name="connsiteX4" fmla="*/ 46457 w 48035"/>
                <a:gd name="connsiteY4" fmla="*/ -2010 h 299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035" h="299674">
                  <a:moveTo>
                    <a:pt x="46457" y="-2010"/>
                  </a:moveTo>
                  <a:cubicBezTo>
                    <a:pt x="44656" y="-2301"/>
                    <a:pt x="32535" y="64564"/>
                    <a:pt x="19399" y="147300"/>
                  </a:cubicBezTo>
                  <a:cubicBezTo>
                    <a:pt x="6263" y="230074"/>
                    <a:pt x="-2929" y="297371"/>
                    <a:pt x="-1129" y="297663"/>
                  </a:cubicBezTo>
                  <a:cubicBezTo>
                    <a:pt x="672" y="297942"/>
                    <a:pt x="12780" y="231101"/>
                    <a:pt x="25929" y="148340"/>
                  </a:cubicBezTo>
                  <a:cubicBezTo>
                    <a:pt x="39065" y="65592"/>
                    <a:pt x="48257" y="-1718"/>
                    <a:pt x="46457" y="-2010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2" name="Vrije vorm 831">
              <a:extLst>
                <a:ext uri="{FF2B5EF4-FFF2-40B4-BE49-F238E27FC236}">
                  <a16:creationId xmlns:a16="http://schemas.microsoft.com/office/drawing/2014/main" id="{4ECEC4BB-DF89-2BA9-3F97-E5FF0AC305CC}"/>
                </a:ext>
              </a:extLst>
            </p:cNvPr>
            <p:cNvSpPr/>
            <p:nvPr/>
          </p:nvSpPr>
          <p:spPr>
            <a:xfrm flipV="1">
              <a:off x="5544058" y="3600779"/>
              <a:ext cx="590667" cy="64842"/>
            </a:xfrm>
            <a:custGeom>
              <a:avLst/>
              <a:gdLst>
                <a:gd name="connsiteX0" fmla="*/ 589794 w 590667"/>
                <a:gd name="connsiteY0" fmla="*/ 63280 h 64842"/>
                <a:gd name="connsiteX1" fmla="*/ 583885 w 590667"/>
                <a:gd name="connsiteY1" fmla="*/ 61758 h 64842"/>
                <a:gd name="connsiteX2" fmla="*/ 566768 w 590667"/>
                <a:gd name="connsiteY2" fmla="*/ 58663 h 64842"/>
                <a:gd name="connsiteX3" fmla="*/ 503638 w 590667"/>
                <a:gd name="connsiteY3" fmla="*/ 48476 h 64842"/>
                <a:gd name="connsiteX4" fmla="*/ 294989 w 590667"/>
                <a:gd name="connsiteY4" fmla="*/ 17371 h 64842"/>
                <a:gd name="connsiteX5" fmla="*/ 179728 w 590667"/>
                <a:gd name="connsiteY5" fmla="*/ 2059 h 64842"/>
                <a:gd name="connsiteX6" fmla="*/ 84604 w 590667"/>
                <a:gd name="connsiteY6" fmla="*/ -351 h 64842"/>
                <a:gd name="connsiteX7" fmla="*/ 21302 w 590667"/>
                <a:gd name="connsiteY7" fmla="*/ 10216 h 64842"/>
                <a:gd name="connsiteX8" fmla="*/ 4710 w 590667"/>
                <a:gd name="connsiteY8" fmla="*/ 15608 h 64842"/>
                <a:gd name="connsiteX9" fmla="*/ -872 w 590667"/>
                <a:gd name="connsiteY9" fmla="*/ 18056 h 64842"/>
                <a:gd name="connsiteX10" fmla="*/ 21936 w 590667"/>
                <a:gd name="connsiteY10" fmla="*/ 12715 h 64842"/>
                <a:gd name="connsiteX11" fmla="*/ 84882 w 590667"/>
                <a:gd name="connsiteY11" fmla="*/ 4317 h 64842"/>
                <a:gd name="connsiteX12" fmla="*/ 179104 w 590667"/>
                <a:gd name="connsiteY12" fmla="*/ 8123 h 64842"/>
                <a:gd name="connsiteX13" fmla="*/ 294038 w 590667"/>
                <a:gd name="connsiteY13" fmla="*/ 23904 h 64842"/>
                <a:gd name="connsiteX14" fmla="*/ 502966 w 590667"/>
                <a:gd name="connsiteY14" fmla="*/ 53106 h 64842"/>
                <a:gd name="connsiteX15" fmla="*/ 566401 w 590667"/>
                <a:gd name="connsiteY15" fmla="*/ 61200 h 64842"/>
                <a:gd name="connsiteX16" fmla="*/ 583695 w 590667"/>
                <a:gd name="connsiteY16" fmla="*/ 63077 h 64842"/>
                <a:gd name="connsiteX17" fmla="*/ 589794 w 590667"/>
                <a:gd name="connsiteY17" fmla="*/ 63280 h 6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90667" h="64842">
                  <a:moveTo>
                    <a:pt x="589794" y="63280"/>
                  </a:moveTo>
                  <a:cubicBezTo>
                    <a:pt x="589819" y="63065"/>
                    <a:pt x="587791" y="62544"/>
                    <a:pt x="583885" y="61758"/>
                  </a:cubicBezTo>
                  <a:cubicBezTo>
                    <a:pt x="579219" y="60908"/>
                    <a:pt x="573564" y="59893"/>
                    <a:pt x="566768" y="58663"/>
                  </a:cubicBezTo>
                  <a:cubicBezTo>
                    <a:pt x="550818" y="56087"/>
                    <a:pt x="529504" y="52650"/>
                    <a:pt x="503638" y="48476"/>
                  </a:cubicBezTo>
                  <a:cubicBezTo>
                    <a:pt x="450284" y="40167"/>
                    <a:pt x="376516" y="29143"/>
                    <a:pt x="294989" y="17371"/>
                  </a:cubicBezTo>
                  <a:cubicBezTo>
                    <a:pt x="254204" y="11574"/>
                    <a:pt x="215393" y="5548"/>
                    <a:pt x="179728" y="2059"/>
                  </a:cubicBezTo>
                  <a:cubicBezTo>
                    <a:pt x="144108" y="-1518"/>
                    <a:pt x="111686" y="-2393"/>
                    <a:pt x="84604" y="-351"/>
                  </a:cubicBezTo>
                  <a:cubicBezTo>
                    <a:pt x="57497" y="1527"/>
                    <a:pt x="35863" y="6030"/>
                    <a:pt x="21302" y="10216"/>
                  </a:cubicBezTo>
                  <a:cubicBezTo>
                    <a:pt x="13962" y="12132"/>
                    <a:pt x="8449" y="14238"/>
                    <a:pt x="4710" y="15608"/>
                  </a:cubicBezTo>
                  <a:cubicBezTo>
                    <a:pt x="971" y="17003"/>
                    <a:pt x="-946" y="17840"/>
                    <a:pt x="-872" y="18056"/>
                  </a:cubicBezTo>
                  <a:cubicBezTo>
                    <a:pt x="-674" y="18665"/>
                    <a:pt x="7266" y="16001"/>
                    <a:pt x="21936" y="12715"/>
                  </a:cubicBezTo>
                  <a:cubicBezTo>
                    <a:pt x="36566" y="9328"/>
                    <a:pt x="58051" y="5573"/>
                    <a:pt x="84882" y="4317"/>
                  </a:cubicBezTo>
                  <a:cubicBezTo>
                    <a:pt x="111691" y="2884"/>
                    <a:pt x="143742" y="4229"/>
                    <a:pt x="179104" y="8123"/>
                  </a:cubicBezTo>
                  <a:cubicBezTo>
                    <a:pt x="214482" y="11916"/>
                    <a:pt x="253243" y="18119"/>
                    <a:pt x="294038" y="23904"/>
                  </a:cubicBezTo>
                  <a:cubicBezTo>
                    <a:pt x="375565" y="35676"/>
                    <a:pt x="449447" y="45977"/>
                    <a:pt x="502966" y="53106"/>
                  </a:cubicBezTo>
                  <a:cubicBezTo>
                    <a:pt x="528959" y="56417"/>
                    <a:pt x="550387" y="59157"/>
                    <a:pt x="566401" y="61200"/>
                  </a:cubicBezTo>
                  <a:cubicBezTo>
                    <a:pt x="573273" y="61948"/>
                    <a:pt x="578978" y="62570"/>
                    <a:pt x="583695" y="63077"/>
                  </a:cubicBezTo>
                  <a:cubicBezTo>
                    <a:pt x="587664" y="63432"/>
                    <a:pt x="589756" y="63509"/>
                    <a:pt x="589794" y="63280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3" name="Vrije vorm 842">
              <a:extLst>
                <a:ext uri="{FF2B5EF4-FFF2-40B4-BE49-F238E27FC236}">
                  <a16:creationId xmlns:a16="http://schemas.microsoft.com/office/drawing/2014/main" id="{2517F88F-7143-A6C7-1435-4D341F8FAAF3}"/>
                </a:ext>
              </a:extLst>
            </p:cNvPr>
            <p:cNvSpPr/>
            <p:nvPr/>
          </p:nvSpPr>
          <p:spPr>
            <a:xfrm flipV="1">
              <a:off x="8499140" y="3862905"/>
              <a:ext cx="136606" cy="1755978"/>
            </a:xfrm>
            <a:custGeom>
              <a:avLst/>
              <a:gdLst>
                <a:gd name="connsiteX0" fmla="*/ 133868 w 136606"/>
                <a:gd name="connsiteY0" fmla="*/ -443 h 1755978"/>
                <a:gd name="connsiteX1" fmla="*/ -2738 w 136606"/>
                <a:gd name="connsiteY1" fmla="*/ -443 h 1755978"/>
                <a:gd name="connsiteX2" fmla="*/ -2738 w 136606"/>
                <a:gd name="connsiteY2" fmla="*/ 1755536 h 1755978"/>
                <a:gd name="connsiteX3" fmla="*/ 133868 w 136606"/>
                <a:gd name="connsiteY3" fmla="*/ 1755536 h 1755978"/>
                <a:gd name="connsiteX4" fmla="*/ 133868 w 136606"/>
                <a:gd name="connsiteY4" fmla="*/ -443 h 1755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606" h="1755978">
                  <a:moveTo>
                    <a:pt x="133868" y="-443"/>
                  </a:moveTo>
                  <a:lnTo>
                    <a:pt x="-2738" y="-443"/>
                  </a:lnTo>
                  <a:lnTo>
                    <a:pt x="-2738" y="1755536"/>
                  </a:lnTo>
                  <a:lnTo>
                    <a:pt x="133868" y="1755536"/>
                  </a:lnTo>
                  <a:lnTo>
                    <a:pt x="133868" y="-443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4" name="Vrije vorm 843">
              <a:extLst>
                <a:ext uri="{FF2B5EF4-FFF2-40B4-BE49-F238E27FC236}">
                  <a16:creationId xmlns:a16="http://schemas.microsoft.com/office/drawing/2014/main" id="{B8C86125-CA7E-A33C-C036-0A23D07758CA}"/>
                </a:ext>
              </a:extLst>
            </p:cNvPr>
            <p:cNvSpPr/>
            <p:nvPr/>
          </p:nvSpPr>
          <p:spPr>
            <a:xfrm flipV="1">
              <a:off x="8495831" y="3859606"/>
              <a:ext cx="143212" cy="1760511"/>
            </a:xfrm>
            <a:custGeom>
              <a:avLst/>
              <a:gdLst>
                <a:gd name="connsiteX0" fmla="*/ 137177 w 143212"/>
                <a:gd name="connsiteY0" fmla="*/ 790 h 1760511"/>
                <a:gd name="connsiteX1" fmla="*/ 136949 w 143212"/>
                <a:gd name="connsiteY1" fmla="*/ 9933 h 1760511"/>
                <a:gd name="connsiteX2" fmla="*/ 136721 w 143212"/>
                <a:gd name="connsiteY2" fmla="*/ 36370 h 1760511"/>
                <a:gd name="connsiteX3" fmla="*/ 136251 w 143212"/>
                <a:gd name="connsiteY3" fmla="*/ 137780 h 1760511"/>
                <a:gd name="connsiteX4" fmla="*/ 135275 w 143212"/>
                <a:gd name="connsiteY4" fmla="*/ 511461 h 1760511"/>
                <a:gd name="connsiteX5" fmla="*/ 133880 w 143212"/>
                <a:gd name="connsiteY5" fmla="*/ 1756769 h 1760511"/>
                <a:gd name="connsiteX6" fmla="*/ 137164 w 143212"/>
                <a:gd name="connsiteY6" fmla="*/ 1753471 h 1760511"/>
                <a:gd name="connsiteX7" fmla="*/ 659 w 143212"/>
                <a:gd name="connsiteY7" fmla="*/ 1753471 h 1760511"/>
                <a:gd name="connsiteX8" fmla="*/ 571 w 143212"/>
                <a:gd name="connsiteY8" fmla="*/ 1753471 h 1760511"/>
                <a:gd name="connsiteX9" fmla="*/ 3880 w 143212"/>
                <a:gd name="connsiteY9" fmla="*/ 1756769 h 1760511"/>
                <a:gd name="connsiteX10" fmla="*/ 1788 w 143212"/>
                <a:gd name="connsiteY10" fmla="*/ 790 h 1760511"/>
                <a:gd name="connsiteX11" fmla="*/ 571 w 143212"/>
                <a:gd name="connsiteY11" fmla="*/ 2004 h 1760511"/>
                <a:gd name="connsiteX12" fmla="*/ 102005 w 143212"/>
                <a:gd name="connsiteY12" fmla="*/ 1311 h 1760511"/>
                <a:gd name="connsiteX13" fmla="*/ 128175 w 143212"/>
                <a:gd name="connsiteY13" fmla="*/ 1029 h 1760511"/>
                <a:gd name="connsiteX14" fmla="*/ 137177 w 143212"/>
                <a:gd name="connsiteY14" fmla="*/ 790 h 1760511"/>
                <a:gd name="connsiteX15" fmla="*/ 128606 w 143212"/>
                <a:gd name="connsiteY15" fmla="*/ 548 h 1760511"/>
                <a:gd name="connsiteX16" fmla="*/ 102715 w 143212"/>
                <a:gd name="connsiteY16" fmla="*/ 270 h 1760511"/>
                <a:gd name="connsiteX17" fmla="*/ 571 w 143212"/>
                <a:gd name="connsiteY17" fmla="*/ -429 h 1760511"/>
                <a:gd name="connsiteX18" fmla="*/ -647 w 143212"/>
                <a:gd name="connsiteY18" fmla="*/ -444 h 1760511"/>
                <a:gd name="connsiteX19" fmla="*/ -647 w 143212"/>
                <a:gd name="connsiteY19" fmla="*/ 790 h 1760511"/>
                <a:gd name="connsiteX20" fmla="*/ -2726 w 143212"/>
                <a:gd name="connsiteY20" fmla="*/ 1756769 h 1760511"/>
                <a:gd name="connsiteX21" fmla="*/ -2738 w 143212"/>
                <a:gd name="connsiteY21" fmla="*/ 1760068 h 1760511"/>
                <a:gd name="connsiteX22" fmla="*/ 571 w 143212"/>
                <a:gd name="connsiteY22" fmla="*/ 1760068 h 1760511"/>
                <a:gd name="connsiteX23" fmla="*/ 659 w 143212"/>
                <a:gd name="connsiteY23" fmla="*/ 1760068 h 1760511"/>
                <a:gd name="connsiteX24" fmla="*/ 137164 w 143212"/>
                <a:gd name="connsiteY24" fmla="*/ 1760068 h 1760511"/>
                <a:gd name="connsiteX25" fmla="*/ 140474 w 143212"/>
                <a:gd name="connsiteY25" fmla="*/ 1760068 h 1760511"/>
                <a:gd name="connsiteX26" fmla="*/ 140461 w 143212"/>
                <a:gd name="connsiteY26" fmla="*/ 1756769 h 1760511"/>
                <a:gd name="connsiteX27" fmla="*/ 139079 w 143212"/>
                <a:gd name="connsiteY27" fmla="*/ 509047 h 1760511"/>
                <a:gd name="connsiteX28" fmla="*/ 138090 w 143212"/>
                <a:gd name="connsiteY28" fmla="*/ 136145 h 1760511"/>
                <a:gd name="connsiteX29" fmla="*/ 137633 w 143212"/>
                <a:gd name="connsiteY29" fmla="*/ 35483 h 1760511"/>
                <a:gd name="connsiteX30" fmla="*/ 137405 w 143212"/>
                <a:gd name="connsiteY30" fmla="*/ 9478 h 1760511"/>
                <a:gd name="connsiteX31" fmla="*/ 137177 w 143212"/>
                <a:gd name="connsiteY31" fmla="*/ 790 h 1760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3212" h="1760511">
                  <a:moveTo>
                    <a:pt x="137177" y="790"/>
                  </a:moveTo>
                  <a:cubicBezTo>
                    <a:pt x="137177" y="790"/>
                    <a:pt x="137025" y="3962"/>
                    <a:pt x="136949" y="9933"/>
                  </a:cubicBezTo>
                  <a:cubicBezTo>
                    <a:pt x="136885" y="16088"/>
                    <a:pt x="136809" y="24893"/>
                    <a:pt x="136721" y="36370"/>
                  </a:cubicBezTo>
                  <a:cubicBezTo>
                    <a:pt x="136606" y="59724"/>
                    <a:pt x="136454" y="93837"/>
                    <a:pt x="136251" y="137780"/>
                  </a:cubicBezTo>
                  <a:cubicBezTo>
                    <a:pt x="136023" y="225921"/>
                    <a:pt x="135681" y="353347"/>
                    <a:pt x="135275" y="511461"/>
                  </a:cubicBezTo>
                  <a:cubicBezTo>
                    <a:pt x="134920" y="827472"/>
                    <a:pt x="134426" y="1265975"/>
                    <a:pt x="133880" y="1756769"/>
                  </a:cubicBezTo>
                  <a:lnTo>
                    <a:pt x="137164" y="1753471"/>
                  </a:lnTo>
                  <a:cubicBezTo>
                    <a:pt x="93789" y="1753471"/>
                    <a:pt x="47421" y="1753471"/>
                    <a:pt x="659" y="1753471"/>
                  </a:cubicBezTo>
                  <a:lnTo>
                    <a:pt x="571" y="1753471"/>
                  </a:lnTo>
                  <a:lnTo>
                    <a:pt x="3880" y="1756769"/>
                  </a:lnTo>
                  <a:cubicBezTo>
                    <a:pt x="2929" y="958783"/>
                    <a:pt x="2118" y="276614"/>
                    <a:pt x="1788" y="790"/>
                  </a:cubicBezTo>
                  <a:lnTo>
                    <a:pt x="571" y="2004"/>
                  </a:lnTo>
                  <a:cubicBezTo>
                    <a:pt x="44935" y="1702"/>
                    <a:pt x="78903" y="1474"/>
                    <a:pt x="102005" y="1311"/>
                  </a:cubicBezTo>
                  <a:cubicBezTo>
                    <a:pt x="113416" y="1182"/>
                    <a:pt x="122114" y="1092"/>
                    <a:pt x="128175" y="1029"/>
                  </a:cubicBezTo>
                  <a:cubicBezTo>
                    <a:pt x="134071" y="939"/>
                    <a:pt x="137177" y="790"/>
                    <a:pt x="137177" y="790"/>
                  </a:cubicBezTo>
                  <a:cubicBezTo>
                    <a:pt x="137177" y="790"/>
                    <a:pt x="134362" y="637"/>
                    <a:pt x="128606" y="548"/>
                  </a:cubicBezTo>
                  <a:cubicBezTo>
                    <a:pt x="122608" y="483"/>
                    <a:pt x="114012" y="395"/>
                    <a:pt x="102715" y="270"/>
                  </a:cubicBezTo>
                  <a:cubicBezTo>
                    <a:pt x="79436" y="102"/>
                    <a:pt x="45240" y="-127"/>
                    <a:pt x="571" y="-429"/>
                  </a:cubicBezTo>
                  <a:lnTo>
                    <a:pt x="-647" y="-444"/>
                  </a:lnTo>
                  <a:lnTo>
                    <a:pt x="-647" y="790"/>
                  </a:lnTo>
                  <a:cubicBezTo>
                    <a:pt x="-976" y="276614"/>
                    <a:pt x="-1788" y="958783"/>
                    <a:pt x="-2726" y="1756769"/>
                  </a:cubicBezTo>
                  <a:lnTo>
                    <a:pt x="-2738" y="1760068"/>
                  </a:lnTo>
                  <a:lnTo>
                    <a:pt x="571" y="1760068"/>
                  </a:lnTo>
                  <a:lnTo>
                    <a:pt x="659" y="1760068"/>
                  </a:lnTo>
                  <a:cubicBezTo>
                    <a:pt x="47421" y="1760068"/>
                    <a:pt x="93789" y="1760068"/>
                    <a:pt x="137164" y="1760068"/>
                  </a:cubicBezTo>
                  <a:lnTo>
                    <a:pt x="140474" y="1760068"/>
                  </a:lnTo>
                  <a:lnTo>
                    <a:pt x="140461" y="1756769"/>
                  </a:lnTo>
                  <a:cubicBezTo>
                    <a:pt x="139916" y="1265024"/>
                    <a:pt x="139434" y="825668"/>
                    <a:pt x="139079" y="509047"/>
                  </a:cubicBezTo>
                  <a:cubicBezTo>
                    <a:pt x="138661" y="351265"/>
                    <a:pt x="138318" y="224092"/>
                    <a:pt x="138090" y="136145"/>
                  </a:cubicBezTo>
                  <a:cubicBezTo>
                    <a:pt x="137887" y="92519"/>
                    <a:pt x="137735" y="58674"/>
                    <a:pt x="137633" y="35483"/>
                  </a:cubicBezTo>
                  <a:cubicBezTo>
                    <a:pt x="137532" y="24194"/>
                    <a:pt x="137456" y="15527"/>
                    <a:pt x="137405" y="9478"/>
                  </a:cubicBezTo>
                  <a:cubicBezTo>
                    <a:pt x="137329" y="3655"/>
                    <a:pt x="137177" y="790"/>
                    <a:pt x="137177" y="790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5" name="Vrije vorm 844">
              <a:extLst>
                <a:ext uri="{FF2B5EF4-FFF2-40B4-BE49-F238E27FC236}">
                  <a16:creationId xmlns:a16="http://schemas.microsoft.com/office/drawing/2014/main" id="{BEB0BBB0-799B-A4CF-C30D-4F9A0CF07E4F}"/>
                </a:ext>
              </a:extLst>
            </p:cNvPr>
            <p:cNvSpPr/>
            <p:nvPr/>
          </p:nvSpPr>
          <p:spPr>
            <a:xfrm flipV="1">
              <a:off x="4838767" y="3801988"/>
              <a:ext cx="136598" cy="1816721"/>
            </a:xfrm>
            <a:custGeom>
              <a:avLst/>
              <a:gdLst>
                <a:gd name="connsiteX0" fmla="*/ -236 w 136598"/>
                <a:gd name="connsiteY0" fmla="*/ -470 h 1816721"/>
                <a:gd name="connsiteX1" fmla="*/ 136362 w 136598"/>
                <a:gd name="connsiteY1" fmla="*/ -470 h 1816721"/>
                <a:gd name="connsiteX2" fmla="*/ 136362 w 136598"/>
                <a:gd name="connsiteY2" fmla="*/ 1816251 h 1816721"/>
                <a:gd name="connsiteX3" fmla="*/ -236 w 136598"/>
                <a:gd name="connsiteY3" fmla="*/ 1816251 h 181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98" h="1816721">
                  <a:moveTo>
                    <a:pt x="-236" y="-470"/>
                  </a:moveTo>
                  <a:lnTo>
                    <a:pt x="136362" y="-470"/>
                  </a:lnTo>
                  <a:lnTo>
                    <a:pt x="136362" y="1816251"/>
                  </a:lnTo>
                  <a:lnTo>
                    <a:pt x="-236" y="1816251"/>
                  </a:lnTo>
                  <a:close/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6" name="Vrije vorm 845">
              <a:extLst>
                <a:ext uri="{FF2B5EF4-FFF2-40B4-BE49-F238E27FC236}">
                  <a16:creationId xmlns:a16="http://schemas.microsoft.com/office/drawing/2014/main" id="{6CDBA526-5732-C022-3580-472A1742CCB5}"/>
                </a:ext>
              </a:extLst>
            </p:cNvPr>
            <p:cNvSpPr/>
            <p:nvPr/>
          </p:nvSpPr>
          <p:spPr>
            <a:xfrm flipV="1">
              <a:off x="4835464" y="3798677"/>
              <a:ext cx="143200" cy="1821236"/>
            </a:xfrm>
            <a:custGeom>
              <a:avLst/>
              <a:gdLst>
                <a:gd name="connsiteX0" fmla="*/ 139665 w 143200"/>
                <a:gd name="connsiteY0" fmla="*/ 733 h 1821236"/>
                <a:gd name="connsiteX1" fmla="*/ 139438 w 143200"/>
                <a:gd name="connsiteY1" fmla="*/ 10197 h 1821236"/>
                <a:gd name="connsiteX2" fmla="*/ 139210 w 143200"/>
                <a:gd name="connsiteY2" fmla="*/ 37560 h 1821236"/>
                <a:gd name="connsiteX3" fmla="*/ 138750 w 143200"/>
                <a:gd name="connsiteY3" fmla="*/ 142494 h 1821236"/>
                <a:gd name="connsiteX4" fmla="*/ 137763 w 143200"/>
                <a:gd name="connsiteY4" fmla="*/ 529193 h 1821236"/>
                <a:gd name="connsiteX5" fmla="*/ 136372 w 143200"/>
                <a:gd name="connsiteY5" fmla="*/ 1817454 h 1821236"/>
                <a:gd name="connsiteX6" fmla="*/ 139665 w 143200"/>
                <a:gd name="connsiteY6" fmla="*/ 1814168 h 1821236"/>
                <a:gd name="connsiteX7" fmla="*/ 3160 w 143200"/>
                <a:gd name="connsiteY7" fmla="*/ 1814156 h 1821236"/>
                <a:gd name="connsiteX8" fmla="*/ 3072 w 143200"/>
                <a:gd name="connsiteY8" fmla="*/ 1814156 h 1821236"/>
                <a:gd name="connsiteX9" fmla="*/ 6369 w 143200"/>
                <a:gd name="connsiteY9" fmla="*/ 1817454 h 1821236"/>
                <a:gd name="connsiteX10" fmla="*/ 4265 w 143200"/>
                <a:gd name="connsiteY10" fmla="*/ 733 h 1821236"/>
                <a:gd name="connsiteX11" fmla="*/ 3072 w 143200"/>
                <a:gd name="connsiteY11" fmla="*/ 1926 h 1821236"/>
                <a:gd name="connsiteX12" fmla="*/ 104679 w 143200"/>
                <a:gd name="connsiteY12" fmla="*/ 1243 h 1821236"/>
                <a:gd name="connsiteX13" fmla="*/ 130735 w 143200"/>
                <a:gd name="connsiteY13" fmla="*/ 960 h 1821236"/>
                <a:gd name="connsiteX14" fmla="*/ 139665 w 143200"/>
                <a:gd name="connsiteY14" fmla="*/ 733 h 1821236"/>
                <a:gd name="connsiteX15" fmla="*/ 131156 w 143200"/>
                <a:gd name="connsiteY15" fmla="*/ 504 h 1821236"/>
                <a:gd name="connsiteX16" fmla="*/ 105373 w 143200"/>
                <a:gd name="connsiteY16" fmla="*/ 226 h 1821236"/>
                <a:gd name="connsiteX17" fmla="*/ 3072 w 143200"/>
                <a:gd name="connsiteY17" fmla="*/ -471 h 1821236"/>
                <a:gd name="connsiteX18" fmla="*/ 1873 w 143200"/>
                <a:gd name="connsiteY18" fmla="*/ -471 h 1821236"/>
                <a:gd name="connsiteX19" fmla="*/ 1873 w 143200"/>
                <a:gd name="connsiteY19" fmla="*/ 733 h 1821236"/>
                <a:gd name="connsiteX20" fmla="*/ -233 w 143200"/>
                <a:gd name="connsiteY20" fmla="*/ 1817454 h 1821236"/>
                <a:gd name="connsiteX21" fmla="*/ -236 w 143200"/>
                <a:gd name="connsiteY21" fmla="*/ 1820765 h 1821236"/>
                <a:gd name="connsiteX22" fmla="*/ 3072 w 143200"/>
                <a:gd name="connsiteY22" fmla="*/ 1820765 h 1821236"/>
                <a:gd name="connsiteX23" fmla="*/ 3160 w 143200"/>
                <a:gd name="connsiteY23" fmla="*/ 1820765 h 1821236"/>
                <a:gd name="connsiteX24" fmla="*/ 139665 w 143200"/>
                <a:gd name="connsiteY24" fmla="*/ 1820752 h 1821236"/>
                <a:gd name="connsiteX25" fmla="*/ 142964 w 143200"/>
                <a:gd name="connsiteY25" fmla="*/ 1820752 h 1821236"/>
                <a:gd name="connsiteX26" fmla="*/ 142959 w 143200"/>
                <a:gd name="connsiteY26" fmla="*/ 1817454 h 1821236"/>
                <a:gd name="connsiteX27" fmla="*/ 141572 w 143200"/>
                <a:gd name="connsiteY27" fmla="*/ 526770 h 1821236"/>
                <a:gd name="connsiteX28" fmla="*/ 140587 w 143200"/>
                <a:gd name="connsiteY28" fmla="*/ 140859 h 1821236"/>
                <a:gd name="connsiteX29" fmla="*/ 140127 w 143200"/>
                <a:gd name="connsiteY29" fmla="*/ 36674 h 1821236"/>
                <a:gd name="connsiteX30" fmla="*/ 139898 w 143200"/>
                <a:gd name="connsiteY30" fmla="*/ 9741 h 1821236"/>
                <a:gd name="connsiteX31" fmla="*/ 139665 w 143200"/>
                <a:gd name="connsiteY31" fmla="*/ 733 h 182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3200" h="1821236">
                  <a:moveTo>
                    <a:pt x="139665" y="733"/>
                  </a:moveTo>
                  <a:cubicBezTo>
                    <a:pt x="139665" y="733"/>
                    <a:pt x="139512" y="4008"/>
                    <a:pt x="139438" y="10197"/>
                  </a:cubicBezTo>
                  <a:cubicBezTo>
                    <a:pt x="139384" y="16554"/>
                    <a:pt x="139309" y="25662"/>
                    <a:pt x="139210" y="37560"/>
                  </a:cubicBezTo>
                  <a:cubicBezTo>
                    <a:pt x="139106" y="61712"/>
                    <a:pt x="138947" y="97019"/>
                    <a:pt x="138750" y="142494"/>
                  </a:cubicBezTo>
                  <a:cubicBezTo>
                    <a:pt x="138516" y="233707"/>
                    <a:pt x="138180" y="365572"/>
                    <a:pt x="137763" y="529193"/>
                  </a:cubicBezTo>
                  <a:cubicBezTo>
                    <a:pt x="137412" y="856175"/>
                    <a:pt x="136921" y="1309864"/>
                    <a:pt x="136372" y="1817454"/>
                  </a:cubicBezTo>
                  <a:lnTo>
                    <a:pt x="139665" y="1814168"/>
                  </a:lnTo>
                  <a:cubicBezTo>
                    <a:pt x="96293" y="1814156"/>
                    <a:pt x="49920" y="1814156"/>
                    <a:pt x="3160" y="1814156"/>
                  </a:cubicBezTo>
                  <a:lnTo>
                    <a:pt x="3072" y="1814156"/>
                  </a:lnTo>
                  <a:lnTo>
                    <a:pt x="6369" y="1817454"/>
                  </a:lnTo>
                  <a:cubicBezTo>
                    <a:pt x="5410" y="988649"/>
                    <a:pt x="4587" y="280882"/>
                    <a:pt x="4265" y="733"/>
                  </a:cubicBezTo>
                  <a:lnTo>
                    <a:pt x="3072" y="1926"/>
                  </a:lnTo>
                  <a:cubicBezTo>
                    <a:pt x="47657" y="1635"/>
                    <a:pt x="81628" y="1406"/>
                    <a:pt x="104679" y="1243"/>
                  </a:cubicBezTo>
                  <a:cubicBezTo>
                    <a:pt x="116065" y="1128"/>
                    <a:pt x="124718" y="1024"/>
                    <a:pt x="130735" y="960"/>
                  </a:cubicBezTo>
                  <a:cubicBezTo>
                    <a:pt x="136590" y="886"/>
                    <a:pt x="139665" y="733"/>
                    <a:pt x="139665" y="733"/>
                  </a:cubicBezTo>
                  <a:cubicBezTo>
                    <a:pt x="139665" y="733"/>
                    <a:pt x="136887" y="584"/>
                    <a:pt x="131156" y="504"/>
                  </a:cubicBezTo>
                  <a:cubicBezTo>
                    <a:pt x="125198" y="440"/>
                    <a:pt x="116640" y="341"/>
                    <a:pt x="105373" y="226"/>
                  </a:cubicBezTo>
                  <a:cubicBezTo>
                    <a:pt x="82163" y="63"/>
                    <a:pt x="47959" y="-164"/>
                    <a:pt x="3072" y="-471"/>
                  </a:cubicBezTo>
                  <a:lnTo>
                    <a:pt x="1873" y="-471"/>
                  </a:lnTo>
                  <a:lnTo>
                    <a:pt x="1873" y="733"/>
                  </a:lnTo>
                  <a:cubicBezTo>
                    <a:pt x="1546" y="280882"/>
                    <a:pt x="723" y="988649"/>
                    <a:pt x="-233" y="1817454"/>
                  </a:cubicBezTo>
                  <a:lnTo>
                    <a:pt x="-236" y="1820765"/>
                  </a:lnTo>
                  <a:lnTo>
                    <a:pt x="3072" y="1820765"/>
                  </a:lnTo>
                  <a:lnTo>
                    <a:pt x="3160" y="1820765"/>
                  </a:lnTo>
                  <a:cubicBezTo>
                    <a:pt x="49920" y="1820765"/>
                    <a:pt x="96293" y="1820752"/>
                    <a:pt x="139665" y="1820752"/>
                  </a:cubicBezTo>
                  <a:lnTo>
                    <a:pt x="142964" y="1820752"/>
                  </a:lnTo>
                  <a:lnTo>
                    <a:pt x="142959" y="1817454"/>
                  </a:lnTo>
                  <a:cubicBezTo>
                    <a:pt x="142414" y="1308913"/>
                    <a:pt x="141925" y="854376"/>
                    <a:pt x="141572" y="526770"/>
                  </a:cubicBezTo>
                  <a:cubicBezTo>
                    <a:pt x="141156" y="363482"/>
                    <a:pt x="140820" y="231879"/>
                    <a:pt x="140587" y="140859"/>
                  </a:cubicBezTo>
                  <a:cubicBezTo>
                    <a:pt x="140389" y="95701"/>
                    <a:pt x="140231" y="60647"/>
                    <a:pt x="140127" y="36674"/>
                  </a:cubicBezTo>
                  <a:cubicBezTo>
                    <a:pt x="140028" y="24963"/>
                    <a:pt x="139948" y="15995"/>
                    <a:pt x="139898" y="9741"/>
                  </a:cubicBezTo>
                  <a:cubicBezTo>
                    <a:pt x="139819" y="3701"/>
                    <a:pt x="139665" y="733"/>
                    <a:pt x="139665" y="733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7" name="Vrije vorm 846">
              <a:extLst>
                <a:ext uri="{FF2B5EF4-FFF2-40B4-BE49-F238E27FC236}">
                  <a16:creationId xmlns:a16="http://schemas.microsoft.com/office/drawing/2014/main" id="{8C40AA2E-BA5B-C809-BCAF-FEE99BDDDFDA}"/>
                </a:ext>
              </a:extLst>
            </p:cNvPr>
            <p:cNvSpPr/>
            <p:nvPr/>
          </p:nvSpPr>
          <p:spPr>
            <a:xfrm flipV="1">
              <a:off x="5879226" y="3801988"/>
              <a:ext cx="136606" cy="1817544"/>
            </a:xfrm>
            <a:custGeom>
              <a:avLst/>
              <a:gdLst>
                <a:gd name="connsiteX0" fmla="*/ 135659 w 136606"/>
                <a:gd name="connsiteY0" fmla="*/ -470 h 1817544"/>
                <a:gd name="connsiteX1" fmla="*/ -948 w 136606"/>
                <a:gd name="connsiteY1" fmla="*/ -470 h 1817544"/>
                <a:gd name="connsiteX2" fmla="*/ -948 w 136606"/>
                <a:gd name="connsiteY2" fmla="*/ 1817075 h 1817544"/>
                <a:gd name="connsiteX3" fmla="*/ 135659 w 136606"/>
                <a:gd name="connsiteY3" fmla="*/ 1817075 h 1817544"/>
                <a:gd name="connsiteX4" fmla="*/ 135659 w 136606"/>
                <a:gd name="connsiteY4" fmla="*/ -470 h 1817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606" h="1817544">
                  <a:moveTo>
                    <a:pt x="135659" y="-470"/>
                  </a:moveTo>
                  <a:lnTo>
                    <a:pt x="-948" y="-470"/>
                  </a:lnTo>
                  <a:lnTo>
                    <a:pt x="-948" y="1817075"/>
                  </a:lnTo>
                  <a:lnTo>
                    <a:pt x="135659" y="1817075"/>
                  </a:lnTo>
                  <a:lnTo>
                    <a:pt x="135659" y="-470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8" name="Vrije vorm 847">
              <a:extLst>
                <a:ext uri="{FF2B5EF4-FFF2-40B4-BE49-F238E27FC236}">
                  <a16:creationId xmlns:a16="http://schemas.microsoft.com/office/drawing/2014/main" id="{99D5BCCF-C176-259D-4C82-22C0F5CA543F}"/>
                </a:ext>
              </a:extLst>
            </p:cNvPr>
            <p:cNvSpPr/>
            <p:nvPr/>
          </p:nvSpPr>
          <p:spPr>
            <a:xfrm flipV="1">
              <a:off x="5875930" y="3798677"/>
              <a:ext cx="143199" cy="1822059"/>
            </a:xfrm>
            <a:custGeom>
              <a:avLst/>
              <a:gdLst>
                <a:gd name="connsiteX0" fmla="*/ 138955 w 143199"/>
                <a:gd name="connsiteY0" fmla="*/ 733 h 1822059"/>
                <a:gd name="connsiteX1" fmla="*/ 138727 w 143199"/>
                <a:gd name="connsiteY1" fmla="*/ 10198 h 1822059"/>
                <a:gd name="connsiteX2" fmla="*/ 138499 w 143199"/>
                <a:gd name="connsiteY2" fmla="*/ 37571 h 1822059"/>
                <a:gd name="connsiteX3" fmla="*/ 138030 w 143199"/>
                <a:gd name="connsiteY3" fmla="*/ 142560 h 1822059"/>
                <a:gd name="connsiteX4" fmla="*/ 137053 w 143199"/>
                <a:gd name="connsiteY4" fmla="*/ 529421 h 1822059"/>
                <a:gd name="connsiteX5" fmla="*/ 135659 w 143199"/>
                <a:gd name="connsiteY5" fmla="*/ 1818278 h 1822059"/>
                <a:gd name="connsiteX6" fmla="*/ 138955 w 143199"/>
                <a:gd name="connsiteY6" fmla="*/ 1814992 h 1822059"/>
                <a:gd name="connsiteX7" fmla="*/ 2450 w 143199"/>
                <a:gd name="connsiteY7" fmla="*/ 1814979 h 1822059"/>
                <a:gd name="connsiteX8" fmla="*/ 2349 w 143199"/>
                <a:gd name="connsiteY8" fmla="*/ 1814979 h 1822059"/>
                <a:gd name="connsiteX9" fmla="*/ 5658 w 143199"/>
                <a:gd name="connsiteY9" fmla="*/ 1818278 h 1822059"/>
                <a:gd name="connsiteX10" fmla="*/ 3554 w 143199"/>
                <a:gd name="connsiteY10" fmla="*/ 733 h 1822059"/>
                <a:gd name="connsiteX11" fmla="*/ 2349 w 143199"/>
                <a:gd name="connsiteY11" fmla="*/ 1928 h 1822059"/>
                <a:gd name="connsiteX12" fmla="*/ 103960 w 143199"/>
                <a:gd name="connsiteY12" fmla="*/ 1239 h 1822059"/>
                <a:gd name="connsiteX13" fmla="*/ 130016 w 143199"/>
                <a:gd name="connsiteY13" fmla="*/ 961 h 1822059"/>
                <a:gd name="connsiteX14" fmla="*/ 138955 w 143199"/>
                <a:gd name="connsiteY14" fmla="*/ 733 h 1822059"/>
                <a:gd name="connsiteX15" fmla="*/ 130447 w 143199"/>
                <a:gd name="connsiteY15" fmla="*/ 491 h 1822059"/>
                <a:gd name="connsiteX16" fmla="*/ 104658 w 143199"/>
                <a:gd name="connsiteY16" fmla="*/ 213 h 1822059"/>
                <a:gd name="connsiteX17" fmla="*/ 2349 w 143199"/>
                <a:gd name="connsiteY17" fmla="*/ -471 h 1822059"/>
                <a:gd name="connsiteX18" fmla="*/ 1157 w 143199"/>
                <a:gd name="connsiteY18" fmla="*/ -471 h 1822059"/>
                <a:gd name="connsiteX19" fmla="*/ 1157 w 143199"/>
                <a:gd name="connsiteY19" fmla="*/ 733 h 1822059"/>
                <a:gd name="connsiteX20" fmla="*/ -948 w 143199"/>
                <a:gd name="connsiteY20" fmla="*/ 1818278 h 1822059"/>
                <a:gd name="connsiteX21" fmla="*/ -948 w 143199"/>
                <a:gd name="connsiteY21" fmla="*/ 1821589 h 1822059"/>
                <a:gd name="connsiteX22" fmla="*/ 2349 w 143199"/>
                <a:gd name="connsiteY22" fmla="*/ 1821589 h 1822059"/>
                <a:gd name="connsiteX23" fmla="*/ 2450 w 143199"/>
                <a:gd name="connsiteY23" fmla="*/ 1821589 h 1822059"/>
                <a:gd name="connsiteX24" fmla="*/ 138955 w 143199"/>
                <a:gd name="connsiteY24" fmla="*/ 1821576 h 1822059"/>
                <a:gd name="connsiteX25" fmla="*/ 142252 w 143199"/>
                <a:gd name="connsiteY25" fmla="*/ 1821576 h 1822059"/>
                <a:gd name="connsiteX26" fmla="*/ 142252 w 143199"/>
                <a:gd name="connsiteY26" fmla="*/ 1818278 h 1822059"/>
                <a:gd name="connsiteX27" fmla="*/ 140857 w 143199"/>
                <a:gd name="connsiteY27" fmla="*/ 527009 h 1822059"/>
                <a:gd name="connsiteX28" fmla="*/ 139868 w 143199"/>
                <a:gd name="connsiteY28" fmla="*/ 140924 h 1822059"/>
                <a:gd name="connsiteX29" fmla="*/ 139412 w 143199"/>
                <a:gd name="connsiteY29" fmla="*/ 36684 h 1822059"/>
                <a:gd name="connsiteX30" fmla="*/ 139183 w 143199"/>
                <a:gd name="connsiteY30" fmla="*/ 9742 h 1822059"/>
                <a:gd name="connsiteX31" fmla="*/ 138955 w 143199"/>
                <a:gd name="connsiteY31" fmla="*/ 733 h 1822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3199" h="1822059">
                  <a:moveTo>
                    <a:pt x="138955" y="733"/>
                  </a:moveTo>
                  <a:cubicBezTo>
                    <a:pt x="138955" y="733"/>
                    <a:pt x="138803" y="4003"/>
                    <a:pt x="138727" y="10198"/>
                  </a:cubicBezTo>
                  <a:cubicBezTo>
                    <a:pt x="138676" y="16551"/>
                    <a:pt x="138600" y="25673"/>
                    <a:pt x="138499" y="37571"/>
                  </a:cubicBezTo>
                  <a:cubicBezTo>
                    <a:pt x="138385" y="61738"/>
                    <a:pt x="138232" y="97055"/>
                    <a:pt x="138030" y="142560"/>
                  </a:cubicBezTo>
                  <a:cubicBezTo>
                    <a:pt x="137801" y="233807"/>
                    <a:pt x="137459" y="365738"/>
                    <a:pt x="137053" y="529421"/>
                  </a:cubicBezTo>
                  <a:cubicBezTo>
                    <a:pt x="136698" y="856567"/>
                    <a:pt x="136204" y="1310460"/>
                    <a:pt x="135659" y="1818278"/>
                  </a:cubicBezTo>
                  <a:lnTo>
                    <a:pt x="138955" y="1814992"/>
                  </a:lnTo>
                  <a:cubicBezTo>
                    <a:pt x="95579" y="1814979"/>
                    <a:pt x="49199" y="1814979"/>
                    <a:pt x="2450" y="1814979"/>
                  </a:cubicBezTo>
                  <a:lnTo>
                    <a:pt x="2349" y="1814979"/>
                  </a:lnTo>
                  <a:lnTo>
                    <a:pt x="5658" y="1818278"/>
                  </a:lnTo>
                  <a:cubicBezTo>
                    <a:pt x="4695" y="989057"/>
                    <a:pt x="3871" y="280947"/>
                    <a:pt x="3554" y="733"/>
                  </a:cubicBezTo>
                  <a:lnTo>
                    <a:pt x="2349" y="1928"/>
                  </a:lnTo>
                  <a:cubicBezTo>
                    <a:pt x="46942" y="1621"/>
                    <a:pt x="80922" y="1393"/>
                    <a:pt x="103960" y="1239"/>
                  </a:cubicBezTo>
                  <a:cubicBezTo>
                    <a:pt x="115359" y="1115"/>
                    <a:pt x="124006" y="1026"/>
                    <a:pt x="130016" y="961"/>
                  </a:cubicBezTo>
                  <a:cubicBezTo>
                    <a:pt x="135874" y="873"/>
                    <a:pt x="138955" y="733"/>
                    <a:pt x="138955" y="733"/>
                  </a:cubicBezTo>
                  <a:cubicBezTo>
                    <a:pt x="138955" y="733"/>
                    <a:pt x="136178" y="580"/>
                    <a:pt x="130447" y="491"/>
                  </a:cubicBezTo>
                  <a:cubicBezTo>
                    <a:pt x="124488" y="431"/>
                    <a:pt x="115930" y="342"/>
                    <a:pt x="104658" y="213"/>
                  </a:cubicBezTo>
                  <a:cubicBezTo>
                    <a:pt x="81455" y="59"/>
                    <a:pt x="47246" y="-169"/>
                    <a:pt x="2349" y="-471"/>
                  </a:cubicBezTo>
                  <a:lnTo>
                    <a:pt x="1157" y="-471"/>
                  </a:lnTo>
                  <a:lnTo>
                    <a:pt x="1157" y="733"/>
                  </a:lnTo>
                  <a:cubicBezTo>
                    <a:pt x="827" y="280947"/>
                    <a:pt x="16" y="989057"/>
                    <a:pt x="-948" y="1818278"/>
                  </a:cubicBezTo>
                  <a:lnTo>
                    <a:pt x="-948" y="1821589"/>
                  </a:lnTo>
                  <a:lnTo>
                    <a:pt x="2349" y="1821589"/>
                  </a:lnTo>
                  <a:lnTo>
                    <a:pt x="2450" y="1821589"/>
                  </a:lnTo>
                  <a:cubicBezTo>
                    <a:pt x="49199" y="1821576"/>
                    <a:pt x="95579" y="1821576"/>
                    <a:pt x="138955" y="1821576"/>
                  </a:cubicBezTo>
                  <a:lnTo>
                    <a:pt x="142252" y="1821576"/>
                  </a:lnTo>
                  <a:lnTo>
                    <a:pt x="142252" y="1818278"/>
                  </a:lnTo>
                  <a:cubicBezTo>
                    <a:pt x="141694" y="1309508"/>
                    <a:pt x="141212" y="854768"/>
                    <a:pt x="140857" y="527009"/>
                  </a:cubicBezTo>
                  <a:cubicBezTo>
                    <a:pt x="140439" y="363641"/>
                    <a:pt x="140109" y="231978"/>
                    <a:pt x="139868" y="140924"/>
                  </a:cubicBezTo>
                  <a:cubicBezTo>
                    <a:pt x="139678" y="95737"/>
                    <a:pt x="139513" y="60673"/>
                    <a:pt x="139412" y="36684"/>
                  </a:cubicBezTo>
                  <a:cubicBezTo>
                    <a:pt x="139310" y="24965"/>
                    <a:pt x="139234" y="15996"/>
                    <a:pt x="139183" y="9742"/>
                  </a:cubicBezTo>
                  <a:cubicBezTo>
                    <a:pt x="139107" y="3701"/>
                    <a:pt x="138955" y="733"/>
                    <a:pt x="138955" y="733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9" name="Vrije vorm 848">
              <a:extLst>
                <a:ext uri="{FF2B5EF4-FFF2-40B4-BE49-F238E27FC236}">
                  <a16:creationId xmlns:a16="http://schemas.microsoft.com/office/drawing/2014/main" id="{3FEFA931-CEFE-0019-2A09-A5625D57F840}"/>
                </a:ext>
              </a:extLst>
            </p:cNvPr>
            <p:cNvSpPr/>
            <p:nvPr/>
          </p:nvSpPr>
          <p:spPr>
            <a:xfrm flipV="1">
              <a:off x="4610610" y="3714952"/>
              <a:ext cx="4322350" cy="221503"/>
            </a:xfrm>
            <a:custGeom>
              <a:avLst/>
              <a:gdLst>
                <a:gd name="connsiteX0" fmla="*/ -1511 w 4322350"/>
                <a:gd name="connsiteY0" fmla="*/ -1261 h 221503"/>
                <a:gd name="connsiteX1" fmla="*/ 4320840 w 4322350"/>
                <a:gd name="connsiteY1" fmla="*/ -1261 h 221503"/>
                <a:gd name="connsiteX2" fmla="*/ 4320840 w 4322350"/>
                <a:gd name="connsiteY2" fmla="*/ 220243 h 221503"/>
                <a:gd name="connsiteX3" fmla="*/ -1511 w 4322350"/>
                <a:gd name="connsiteY3" fmla="*/ 220243 h 22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2350" h="221503">
                  <a:moveTo>
                    <a:pt x="-1511" y="-1261"/>
                  </a:moveTo>
                  <a:lnTo>
                    <a:pt x="4320840" y="-1261"/>
                  </a:lnTo>
                  <a:lnTo>
                    <a:pt x="4320840" y="220243"/>
                  </a:lnTo>
                  <a:lnTo>
                    <a:pt x="-1511" y="220243"/>
                  </a:lnTo>
                  <a:close/>
                </a:path>
              </a:pathLst>
            </a:custGeom>
            <a:solidFill>
              <a:srgbClr val="6F3530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0" name="Vrije vorm 849">
              <a:extLst>
                <a:ext uri="{FF2B5EF4-FFF2-40B4-BE49-F238E27FC236}">
                  <a16:creationId xmlns:a16="http://schemas.microsoft.com/office/drawing/2014/main" id="{681F29B6-B2BF-B4A0-4A40-6450641432B6}"/>
                </a:ext>
              </a:extLst>
            </p:cNvPr>
            <p:cNvSpPr/>
            <p:nvPr/>
          </p:nvSpPr>
          <p:spPr>
            <a:xfrm flipV="1">
              <a:off x="4617470" y="3715384"/>
              <a:ext cx="1170478" cy="220640"/>
            </a:xfrm>
            <a:custGeom>
              <a:avLst/>
              <a:gdLst>
                <a:gd name="connsiteX0" fmla="*/ -439 w 1170478"/>
                <a:gd name="connsiteY0" fmla="*/ -1261 h 220640"/>
                <a:gd name="connsiteX1" fmla="*/ 1170040 w 1170478"/>
                <a:gd name="connsiteY1" fmla="*/ -1261 h 220640"/>
                <a:gd name="connsiteX2" fmla="*/ 1170040 w 1170478"/>
                <a:gd name="connsiteY2" fmla="*/ 219380 h 220640"/>
                <a:gd name="connsiteX3" fmla="*/ -439 w 1170478"/>
                <a:gd name="connsiteY3" fmla="*/ 219380 h 220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78" h="220640">
                  <a:moveTo>
                    <a:pt x="-439" y="-1261"/>
                  </a:moveTo>
                  <a:lnTo>
                    <a:pt x="1170040" y="-1261"/>
                  </a:lnTo>
                  <a:lnTo>
                    <a:pt x="1170040" y="219380"/>
                  </a:lnTo>
                  <a:lnTo>
                    <a:pt x="-439" y="219380"/>
                  </a:lnTo>
                  <a:close/>
                </a:path>
              </a:pathLst>
            </a:custGeom>
            <a:solidFill>
              <a:srgbClr val="461F1E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5" name="Vrije vorm 884">
              <a:extLst>
                <a:ext uri="{FF2B5EF4-FFF2-40B4-BE49-F238E27FC236}">
                  <a16:creationId xmlns:a16="http://schemas.microsoft.com/office/drawing/2014/main" id="{84D43CC4-0097-7EB4-5279-8E559E0749A5}"/>
                </a:ext>
              </a:extLst>
            </p:cNvPr>
            <p:cNvSpPr/>
            <p:nvPr/>
          </p:nvSpPr>
          <p:spPr>
            <a:xfrm flipV="1">
              <a:off x="4769011" y="3584531"/>
              <a:ext cx="306670" cy="85463"/>
            </a:xfrm>
            <a:custGeom>
              <a:avLst/>
              <a:gdLst>
                <a:gd name="connsiteX0" fmla="*/ -247 w 306670"/>
                <a:gd name="connsiteY0" fmla="*/ -1438 h 85463"/>
                <a:gd name="connsiteX1" fmla="*/ 306424 w 306670"/>
                <a:gd name="connsiteY1" fmla="*/ -1438 h 85463"/>
                <a:gd name="connsiteX2" fmla="*/ 306424 w 306670"/>
                <a:gd name="connsiteY2" fmla="*/ 84025 h 85463"/>
                <a:gd name="connsiteX3" fmla="*/ -247 w 306670"/>
                <a:gd name="connsiteY3" fmla="*/ 84025 h 85463"/>
                <a:gd name="connsiteX4" fmla="*/ -247 w 306670"/>
                <a:gd name="connsiteY4" fmla="*/ -1438 h 8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670" h="85463">
                  <a:moveTo>
                    <a:pt x="-247" y="-1438"/>
                  </a:moveTo>
                  <a:lnTo>
                    <a:pt x="306424" y="-1438"/>
                  </a:lnTo>
                  <a:lnTo>
                    <a:pt x="306424" y="84025"/>
                  </a:lnTo>
                  <a:lnTo>
                    <a:pt x="-247" y="84025"/>
                  </a:lnTo>
                  <a:lnTo>
                    <a:pt x="-247" y="-1438"/>
                  </a:lnTo>
                </a:path>
              </a:pathLst>
            </a:custGeom>
            <a:solidFill>
              <a:srgbClr val="FFFFF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0" name="Vrije vorm 909">
              <a:extLst>
                <a:ext uri="{FF2B5EF4-FFF2-40B4-BE49-F238E27FC236}">
                  <a16:creationId xmlns:a16="http://schemas.microsoft.com/office/drawing/2014/main" id="{427E78F0-B6E3-1E2B-0F17-CBAF06FF5897}"/>
                </a:ext>
              </a:extLst>
            </p:cNvPr>
            <p:cNvSpPr/>
            <p:nvPr/>
          </p:nvSpPr>
          <p:spPr>
            <a:xfrm flipV="1">
              <a:off x="8512504" y="3554137"/>
              <a:ext cx="262232" cy="239098"/>
            </a:xfrm>
            <a:custGeom>
              <a:avLst/>
              <a:gdLst>
                <a:gd name="connsiteX0" fmla="*/ -2791 w 262232"/>
                <a:gd name="connsiteY0" fmla="*/ 60332 h 239098"/>
                <a:gd name="connsiteX1" fmla="*/ 50589 w 262232"/>
                <a:gd name="connsiteY1" fmla="*/ 185704 h 239098"/>
                <a:gd name="connsiteX2" fmla="*/ 212427 w 262232"/>
                <a:gd name="connsiteY2" fmla="*/ 237702 h 239098"/>
                <a:gd name="connsiteX3" fmla="*/ 259442 w 262232"/>
                <a:gd name="connsiteY3" fmla="*/ 98110 h 239098"/>
                <a:gd name="connsiteX4" fmla="*/ 180539 w 262232"/>
                <a:gd name="connsiteY4" fmla="*/ -1396 h 239098"/>
                <a:gd name="connsiteX5" fmla="*/ -2791 w 262232"/>
                <a:gd name="connsiteY5" fmla="*/ 60332 h 239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232" h="239098">
                  <a:moveTo>
                    <a:pt x="-2791" y="60332"/>
                  </a:moveTo>
                  <a:cubicBezTo>
                    <a:pt x="-2791" y="60332"/>
                    <a:pt x="6491" y="157846"/>
                    <a:pt x="50589" y="185704"/>
                  </a:cubicBezTo>
                  <a:cubicBezTo>
                    <a:pt x="94675" y="213574"/>
                    <a:pt x="212427" y="237702"/>
                    <a:pt x="212427" y="237702"/>
                  </a:cubicBezTo>
                  <a:lnTo>
                    <a:pt x="259442" y="98110"/>
                  </a:lnTo>
                  <a:lnTo>
                    <a:pt x="180539" y="-1396"/>
                  </a:lnTo>
                  <a:lnTo>
                    <a:pt x="-2791" y="60332"/>
                  </a:lnTo>
                </a:path>
              </a:pathLst>
            </a:custGeom>
            <a:solidFill>
              <a:srgbClr val="F9A78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1" name="Vrije vorm 910">
              <a:extLst>
                <a:ext uri="{FF2B5EF4-FFF2-40B4-BE49-F238E27FC236}">
                  <a16:creationId xmlns:a16="http://schemas.microsoft.com/office/drawing/2014/main" id="{BE667312-EBC0-F112-5239-329A5CE07629}"/>
                </a:ext>
              </a:extLst>
            </p:cNvPr>
            <p:cNvSpPr/>
            <p:nvPr/>
          </p:nvSpPr>
          <p:spPr>
            <a:xfrm flipV="1">
              <a:off x="7958674" y="5155367"/>
              <a:ext cx="584272" cy="468743"/>
            </a:xfrm>
            <a:custGeom>
              <a:avLst/>
              <a:gdLst>
                <a:gd name="connsiteX0" fmla="*/ 290635 w 584272"/>
                <a:gd name="connsiteY0" fmla="*/ 468400 h 468743"/>
                <a:gd name="connsiteX1" fmla="*/ 301096 w 584272"/>
                <a:gd name="connsiteY1" fmla="*/ 168003 h 468743"/>
                <a:gd name="connsiteX2" fmla="*/ -2522 w 584272"/>
                <a:gd name="connsiteY2" fmla="*/ 7010 h 468743"/>
                <a:gd name="connsiteX3" fmla="*/ 578860 w 584272"/>
                <a:gd name="connsiteY3" fmla="*/ 137 h 468743"/>
                <a:gd name="connsiteX4" fmla="*/ 581751 w 584272"/>
                <a:gd name="connsiteY4" fmla="*/ 468880 h 468743"/>
                <a:gd name="connsiteX5" fmla="*/ 290635 w 584272"/>
                <a:gd name="connsiteY5" fmla="*/ 468400 h 468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4272" h="468743">
                  <a:moveTo>
                    <a:pt x="290635" y="468400"/>
                  </a:moveTo>
                  <a:lnTo>
                    <a:pt x="301096" y="168003"/>
                  </a:lnTo>
                  <a:cubicBezTo>
                    <a:pt x="301096" y="168003"/>
                    <a:pt x="952" y="62728"/>
                    <a:pt x="-2522" y="7010"/>
                  </a:cubicBezTo>
                  <a:lnTo>
                    <a:pt x="578860" y="137"/>
                  </a:lnTo>
                  <a:lnTo>
                    <a:pt x="581751" y="468880"/>
                  </a:lnTo>
                  <a:lnTo>
                    <a:pt x="290635" y="468400"/>
                  </a:lnTo>
                </a:path>
              </a:pathLst>
            </a:custGeom>
            <a:solidFill>
              <a:srgbClr val="A24027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2" name="Vrije vorm 911">
              <a:extLst>
                <a:ext uri="{FF2B5EF4-FFF2-40B4-BE49-F238E27FC236}">
                  <a16:creationId xmlns:a16="http://schemas.microsoft.com/office/drawing/2014/main" id="{D0CB0BDB-46D0-5401-EB31-544F2D02E60F}"/>
                </a:ext>
              </a:extLst>
            </p:cNvPr>
            <p:cNvSpPr/>
            <p:nvPr/>
          </p:nvSpPr>
          <p:spPr>
            <a:xfrm flipV="1">
              <a:off x="8412796" y="5431243"/>
              <a:ext cx="45755" cy="45644"/>
            </a:xfrm>
            <a:custGeom>
              <a:avLst/>
              <a:gdLst>
                <a:gd name="connsiteX0" fmla="*/ 26043 w 45755"/>
                <a:gd name="connsiteY0" fmla="*/ 44841 h 45644"/>
                <a:gd name="connsiteX1" fmla="*/ 42590 w 45755"/>
                <a:gd name="connsiteY1" fmla="*/ 17452 h 45644"/>
                <a:gd name="connsiteX2" fmla="*/ 15596 w 45755"/>
                <a:gd name="connsiteY2" fmla="*/ 792 h 45644"/>
                <a:gd name="connsiteX3" fmla="*/ -1775 w 45755"/>
                <a:gd name="connsiteY3" fmla="*/ 29896 h 45644"/>
                <a:gd name="connsiteX4" fmla="*/ 28224 w 45755"/>
                <a:gd name="connsiteY4" fmla="*/ 44102 h 4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55" h="45644">
                  <a:moveTo>
                    <a:pt x="26043" y="44841"/>
                  </a:moveTo>
                  <a:cubicBezTo>
                    <a:pt x="37404" y="41719"/>
                    <a:pt x="45240" y="28934"/>
                    <a:pt x="42590" y="17452"/>
                  </a:cubicBezTo>
                  <a:cubicBezTo>
                    <a:pt x="39940" y="5957"/>
                    <a:pt x="27007" y="-2121"/>
                    <a:pt x="15596" y="792"/>
                  </a:cubicBezTo>
                  <a:cubicBezTo>
                    <a:pt x="4184" y="3711"/>
                    <a:pt x="-5693" y="18786"/>
                    <a:pt x="-1775" y="29896"/>
                  </a:cubicBezTo>
                  <a:cubicBezTo>
                    <a:pt x="2143" y="41010"/>
                    <a:pt x="17840" y="49673"/>
                    <a:pt x="28224" y="44102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3" name="Vrije vorm 912">
              <a:extLst>
                <a:ext uri="{FF2B5EF4-FFF2-40B4-BE49-F238E27FC236}">
                  <a16:creationId xmlns:a16="http://schemas.microsoft.com/office/drawing/2014/main" id="{0B8C0303-3F98-F5BE-F054-3D61E9243C5F}"/>
                </a:ext>
              </a:extLst>
            </p:cNvPr>
            <p:cNvSpPr/>
            <p:nvPr/>
          </p:nvSpPr>
          <p:spPr>
            <a:xfrm flipV="1">
              <a:off x="7958547" y="5586738"/>
              <a:ext cx="584538" cy="37333"/>
            </a:xfrm>
            <a:custGeom>
              <a:avLst/>
              <a:gdLst>
                <a:gd name="connsiteX0" fmla="*/ 581776 w 584538"/>
                <a:gd name="connsiteY0" fmla="*/ 329 h 37333"/>
                <a:gd name="connsiteX1" fmla="*/ 582017 w 584538"/>
                <a:gd name="connsiteY1" fmla="*/ 37663 h 37333"/>
                <a:gd name="connsiteX2" fmla="*/ 17600 w 584538"/>
                <a:gd name="connsiteY2" fmla="*/ 32980 h 37333"/>
                <a:gd name="connsiteX3" fmla="*/ -2522 w 584538"/>
                <a:gd name="connsiteY3" fmla="*/ 4056 h 37333"/>
                <a:gd name="connsiteX4" fmla="*/ 581776 w 584538"/>
                <a:gd name="connsiteY4" fmla="*/ 329 h 3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4538" h="37333">
                  <a:moveTo>
                    <a:pt x="581776" y="329"/>
                  </a:moveTo>
                  <a:lnTo>
                    <a:pt x="582017" y="37663"/>
                  </a:lnTo>
                  <a:lnTo>
                    <a:pt x="17600" y="32980"/>
                  </a:lnTo>
                  <a:cubicBezTo>
                    <a:pt x="17600" y="32980"/>
                    <a:pt x="-950" y="21613"/>
                    <a:pt x="-2522" y="4056"/>
                  </a:cubicBezTo>
                  <a:lnTo>
                    <a:pt x="581776" y="329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4" name="Vrije vorm 913">
              <a:extLst>
                <a:ext uri="{FF2B5EF4-FFF2-40B4-BE49-F238E27FC236}">
                  <a16:creationId xmlns:a16="http://schemas.microsoft.com/office/drawing/2014/main" id="{D7ACEA52-A8DC-3716-1B38-3890B8F71AA3}"/>
                </a:ext>
              </a:extLst>
            </p:cNvPr>
            <p:cNvSpPr/>
            <p:nvPr/>
          </p:nvSpPr>
          <p:spPr>
            <a:xfrm flipV="1">
              <a:off x="8259778" y="5455510"/>
              <a:ext cx="53493" cy="36300"/>
            </a:xfrm>
            <a:custGeom>
              <a:avLst/>
              <a:gdLst>
                <a:gd name="connsiteX0" fmla="*/ -2531 w 53493"/>
                <a:gd name="connsiteY0" fmla="*/ 33875 h 36300"/>
                <a:gd name="connsiteX1" fmla="*/ 25997 w 53493"/>
                <a:gd name="connsiteY1" fmla="*/ 20456 h 36300"/>
                <a:gd name="connsiteX2" fmla="*/ 50228 w 53493"/>
                <a:gd name="connsiteY2" fmla="*/ 283 h 36300"/>
                <a:gd name="connsiteX3" fmla="*/ 31348 w 53493"/>
                <a:gd name="connsiteY3" fmla="*/ 28880 h 36300"/>
                <a:gd name="connsiteX4" fmla="*/ -2531 w 53493"/>
                <a:gd name="connsiteY4" fmla="*/ 33875 h 3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493" h="36300">
                  <a:moveTo>
                    <a:pt x="-2531" y="33875"/>
                  </a:moveTo>
                  <a:cubicBezTo>
                    <a:pt x="-2429" y="31010"/>
                    <a:pt x="11898" y="29687"/>
                    <a:pt x="25997" y="20456"/>
                  </a:cubicBezTo>
                  <a:cubicBezTo>
                    <a:pt x="40325" y="11576"/>
                    <a:pt x="47590" y="-842"/>
                    <a:pt x="50228" y="283"/>
                  </a:cubicBezTo>
                  <a:cubicBezTo>
                    <a:pt x="52865" y="832"/>
                    <a:pt x="48617" y="17993"/>
                    <a:pt x="31348" y="28880"/>
                  </a:cubicBezTo>
                  <a:cubicBezTo>
                    <a:pt x="14193" y="39900"/>
                    <a:pt x="-3139" y="36501"/>
                    <a:pt x="-2531" y="33875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5" name="Vrije vorm 914">
              <a:extLst>
                <a:ext uri="{FF2B5EF4-FFF2-40B4-BE49-F238E27FC236}">
                  <a16:creationId xmlns:a16="http://schemas.microsoft.com/office/drawing/2014/main" id="{AA9ABA0F-36EA-9A25-3D07-BE91269108B0}"/>
                </a:ext>
              </a:extLst>
            </p:cNvPr>
            <p:cNvSpPr/>
            <p:nvPr/>
          </p:nvSpPr>
          <p:spPr>
            <a:xfrm flipV="1">
              <a:off x="8198173" y="5482400"/>
              <a:ext cx="38901" cy="45829"/>
            </a:xfrm>
            <a:custGeom>
              <a:avLst/>
              <a:gdLst>
                <a:gd name="connsiteX0" fmla="*/ -2474 w 38901"/>
                <a:gd name="connsiteY0" fmla="*/ 44916 h 45829"/>
                <a:gd name="connsiteX1" fmla="*/ 18992 w 38901"/>
                <a:gd name="connsiteY1" fmla="*/ 25100 h 45829"/>
                <a:gd name="connsiteX2" fmla="*/ 34372 w 38901"/>
                <a:gd name="connsiteY2" fmla="*/ 249 h 45829"/>
                <a:gd name="connsiteX3" fmla="*/ 26701 w 38901"/>
                <a:gd name="connsiteY3" fmla="*/ 31443 h 45829"/>
                <a:gd name="connsiteX4" fmla="*/ -2474 w 38901"/>
                <a:gd name="connsiteY4" fmla="*/ 44916 h 45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01" h="45829">
                  <a:moveTo>
                    <a:pt x="-2474" y="44916"/>
                  </a:moveTo>
                  <a:cubicBezTo>
                    <a:pt x="-3134" y="42122"/>
                    <a:pt x="9280" y="37240"/>
                    <a:pt x="18992" y="25100"/>
                  </a:cubicBezTo>
                  <a:cubicBezTo>
                    <a:pt x="29072" y="13237"/>
                    <a:pt x="31519" y="120"/>
                    <a:pt x="34372" y="249"/>
                  </a:cubicBezTo>
                  <a:cubicBezTo>
                    <a:pt x="37072" y="-208"/>
                    <a:pt x="39076" y="16587"/>
                    <a:pt x="26701" y="31443"/>
                  </a:cubicBezTo>
                  <a:cubicBezTo>
                    <a:pt x="14452" y="46422"/>
                    <a:pt x="-2411" y="47641"/>
                    <a:pt x="-2474" y="44916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6" name="Vrije vorm 915">
              <a:extLst>
                <a:ext uri="{FF2B5EF4-FFF2-40B4-BE49-F238E27FC236}">
                  <a16:creationId xmlns:a16="http://schemas.microsoft.com/office/drawing/2014/main" id="{26C6D3A5-691E-0C0E-8817-F4306A4AE21A}"/>
                </a:ext>
              </a:extLst>
            </p:cNvPr>
            <p:cNvSpPr/>
            <p:nvPr/>
          </p:nvSpPr>
          <p:spPr>
            <a:xfrm flipV="1">
              <a:off x="8140248" y="5507747"/>
              <a:ext cx="26355" cy="49531"/>
            </a:xfrm>
            <a:custGeom>
              <a:avLst/>
              <a:gdLst>
                <a:gd name="connsiteX0" fmla="*/ 20436 w 26355"/>
                <a:gd name="connsiteY0" fmla="*/ 284 h 49531"/>
                <a:gd name="connsiteX1" fmla="*/ 19701 w 26355"/>
                <a:gd name="connsiteY1" fmla="*/ 29713 h 49531"/>
                <a:gd name="connsiteX2" fmla="*/ -2260 w 26355"/>
                <a:gd name="connsiteY2" fmla="*/ 49302 h 49531"/>
                <a:gd name="connsiteX3" fmla="*/ 10648 w 26355"/>
                <a:gd name="connsiteY3" fmla="*/ 25517 h 49531"/>
                <a:gd name="connsiteX4" fmla="*/ 20436 w 26355"/>
                <a:gd name="connsiteY4" fmla="*/ 284 h 49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355" h="49531">
                  <a:moveTo>
                    <a:pt x="20436" y="284"/>
                  </a:moveTo>
                  <a:cubicBezTo>
                    <a:pt x="23048" y="-335"/>
                    <a:pt x="27055" y="13995"/>
                    <a:pt x="19701" y="29713"/>
                  </a:cubicBezTo>
                  <a:cubicBezTo>
                    <a:pt x="12474" y="45481"/>
                    <a:pt x="-1043" y="51686"/>
                    <a:pt x="-2260" y="49302"/>
                  </a:cubicBezTo>
                  <a:cubicBezTo>
                    <a:pt x="-3870" y="46943"/>
                    <a:pt x="4815" y="38504"/>
                    <a:pt x="10648" y="25517"/>
                  </a:cubicBezTo>
                  <a:cubicBezTo>
                    <a:pt x="16784" y="12667"/>
                    <a:pt x="17596" y="561"/>
                    <a:pt x="20436" y="284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7" name="Vrije vorm 916">
              <a:extLst>
                <a:ext uri="{FF2B5EF4-FFF2-40B4-BE49-F238E27FC236}">
                  <a16:creationId xmlns:a16="http://schemas.microsoft.com/office/drawing/2014/main" id="{C5D761EC-6394-CBE6-F2D5-F7CBAF41DF27}"/>
                </a:ext>
              </a:extLst>
            </p:cNvPr>
            <p:cNvSpPr/>
            <p:nvPr/>
          </p:nvSpPr>
          <p:spPr>
            <a:xfrm flipV="1">
              <a:off x="8264942" y="5378652"/>
              <a:ext cx="61136" cy="14485"/>
            </a:xfrm>
            <a:custGeom>
              <a:avLst/>
              <a:gdLst>
                <a:gd name="connsiteX0" fmla="*/ -2452 w 61136"/>
                <a:gd name="connsiteY0" fmla="*/ 4340 h 14485"/>
                <a:gd name="connsiteX1" fmla="*/ 28105 w 61136"/>
                <a:gd name="connsiteY1" fmla="*/ 4553 h 14485"/>
                <a:gd name="connsiteX2" fmla="*/ 58434 w 61136"/>
                <a:gd name="connsiteY2" fmla="*/ 761 h 14485"/>
                <a:gd name="connsiteX3" fmla="*/ 28689 w 61136"/>
                <a:gd name="connsiteY3" fmla="*/ 14512 h 14485"/>
                <a:gd name="connsiteX4" fmla="*/ -2452 w 61136"/>
                <a:gd name="connsiteY4" fmla="*/ 4340 h 14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36" h="14485">
                  <a:moveTo>
                    <a:pt x="-2452" y="4340"/>
                  </a:moveTo>
                  <a:cubicBezTo>
                    <a:pt x="-1247" y="1723"/>
                    <a:pt x="11901" y="5667"/>
                    <a:pt x="28105" y="4553"/>
                  </a:cubicBezTo>
                  <a:cubicBezTo>
                    <a:pt x="44335" y="3755"/>
                    <a:pt x="56938" y="-1686"/>
                    <a:pt x="58434" y="761"/>
                  </a:cubicBezTo>
                  <a:cubicBezTo>
                    <a:pt x="60095" y="2828"/>
                    <a:pt x="47796" y="13457"/>
                    <a:pt x="28689" y="14512"/>
                  </a:cubicBezTo>
                  <a:cubicBezTo>
                    <a:pt x="9606" y="15702"/>
                    <a:pt x="-3859" y="6594"/>
                    <a:pt x="-2452" y="4340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8" name="Vrije vorm 917">
              <a:extLst>
                <a:ext uri="{FF2B5EF4-FFF2-40B4-BE49-F238E27FC236}">
                  <a16:creationId xmlns:a16="http://schemas.microsoft.com/office/drawing/2014/main" id="{F4BBC735-1159-620A-93BD-D971764E403F}"/>
                </a:ext>
              </a:extLst>
            </p:cNvPr>
            <p:cNvSpPr/>
            <p:nvPr/>
          </p:nvSpPr>
          <p:spPr>
            <a:xfrm flipV="1">
              <a:off x="8254659" y="5276966"/>
              <a:ext cx="89315" cy="49499"/>
            </a:xfrm>
            <a:custGeom>
              <a:avLst/>
              <a:gdLst>
                <a:gd name="connsiteX0" fmla="*/ -2555 w 89315"/>
                <a:gd name="connsiteY0" fmla="*/ 2313 h 49499"/>
                <a:gd name="connsiteX1" fmla="*/ 26848 w 89315"/>
                <a:gd name="connsiteY1" fmla="*/ 2437 h 49499"/>
                <a:gd name="connsiteX2" fmla="*/ 57621 w 89315"/>
                <a:gd name="connsiteY2" fmla="*/ 11862 h 49499"/>
                <a:gd name="connsiteX3" fmla="*/ 74510 w 89315"/>
                <a:gd name="connsiteY3" fmla="*/ 20806 h 49499"/>
                <a:gd name="connsiteX4" fmla="*/ 83398 w 89315"/>
                <a:gd name="connsiteY4" fmla="*/ 27710 h 49499"/>
                <a:gd name="connsiteX5" fmla="*/ 84729 w 89315"/>
                <a:gd name="connsiteY5" fmla="*/ 42972 h 49499"/>
                <a:gd name="connsiteX6" fmla="*/ 72176 w 89315"/>
                <a:gd name="connsiteY6" fmla="*/ 49543 h 49499"/>
                <a:gd name="connsiteX7" fmla="*/ 61146 w 89315"/>
                <a:gd name="connsiteY7" fmla="*/ 48031 h 49499"/>
                <a:gd name="connsiteX8" fmla="*/ 42862 w 89315"/>
                <a:gd name="connsiteY8" fmla="*/ 41777 h 49499"/>
                <a:gd name="connsiteX9" fmla="*/ 15728 w 89315"/>
                <a:gd name="connsiteY9" fmla="*/ 24003 h 49499"/>
                <a:gd name="connsiteX10" fmla="*/ -1579 w 89315"/>
                <a:gd name="connsiteY10" fmla="*/ 127 h 49499"/>
                <a:gd name="connsiteX11" fmla="*/ 20217 w 89315"/>
                <a:gd name="connsiteY11" fmla="*/ 18552 h 49499"/>
                <a:gd name="connsiteX12" fmla="*/ 46463 w 89315"/>
                <a:gd name="connsiteY12" fmla="*/ 33314 h 49499"/>
                <a:gd name="connsiteX13" fmla="*/ 63339 w 89315"/>
                <a:gd name="connsiteY13" fmla="*/ 38501 h 49499"/>
                <a:gd name="connsiteX14" fmla="*/ 76449 w 89315"/>
                <a:gd name="connsiteY14" fmla="*/ 37402 h 49499"/>
                <a:gd name="connsiteX15" fmla="*/ 75803 w 89315"/>
                <a:gd name="connsiteY15" fmla="*/ 34102 h 49499"/>
                <a:gd name="connsiteX16" fmla="*/ 69260 w 89315"/>
                <a:gd name="connsiteY16" fmla="*/ 29067 h 49499"/>
                <a:gd name="connsiteX17" fmla="*/ 53728 w 89315"/>
                <a:gd name="connsiteY17" fmla="*/ 20197 h 49499"/>
                <a:gd name="connsiteX18" fmla="*/ 25289 w 89315"/>
                <a:gd name="connsiteY18" fmla="*/ 9325 h 49499"/>
                <a:gd name="connsiteX19" fmla="*/ -2555 w 89315"/>
                <a:gd name="connsiteY19" fmla="*/ 2313 h 49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9315" h="49499">
                  <a:moveTo>
                    <a:pt x="-2555" y="2313"/>
                  </a:moveTo>
                  <a:cubicBezTo>
                    <a:pt x="-2593" y="1133"/>
                    <a:pt x="8742" y="-655"/>
                    <a:pt x="26848" y="2437"/>
                  </a:cubicBezTo>
                  <a:cubicBezTo>
                    <a:pt x="35863" y="3988"/>
                    <a:pt x="46476" y="6932"/>
                    <a:pt x="57621" y="11862"/>
                  </a:cubicBezTo>
                  <a:cubicBezTo>
                    <a:pt x="63187" y="14340"/>
                    <a:pt x="68867" y="17294"/>
                    <a:pt x="74510" y="20806"/>
                  </a:cubicBezTo>
                  <a:cubicBezTo>
                    <a:pt x="77223" y="22545"/>
                    <a:pt x="80431" y="24295"/>
                    <a:pt x="83398" y="27710"/>
                  </a:cubicBezTo>
                  <a:cubicBezTo>
                    <a:pt x="86580" y="30702"/>
                    <a:pt x="88393" y="38298"/>
                    <a:pt x="84729" y="42972"/>
                  </a:cubicBezTo>
                  <a:cubicBezTo>
                    <a:pt x="81724" y="47485"/>
                    <a:pt x="76411" y="49439"/>
                    <a:pt x="72176" y="49543"/>
                  </a:cubicBezTo>
                  <a:cubicBezTo>
                    <a:pt x="67853" y="49681"/>
                    <a:pt x="64341" y="48819"/>
                    <a:pt x="61146" y="48031"/>
                  </a:cubicBezTo>
                  <a:cubicBezTo>
                    <a:pt x="54603" y="46445"/>
                    <a:pt x="48479" y="44290"/>
                    <a:pt x="42862" y="41777"/>
                  </a:cubicBezTo>
                  <a:cubicBezTo>
                    <a:pt x="31641" y="36679"/>
                    <a:pt x="22525" y="30232"/>
                    <a:pt x="15728" y="24003"/>
                  </a:cubicBezTo>
                  <a:cubicBezTo>
                    <a:pt x="2098" y="11396"/>
                    <a:pt x="-2568" y="688"/>
                    <a:pt x="-1579" y="127"/>
                  </a:cubicBezTo>
                  <a:cubicBezTo>
                    <a:pt x="-285" y="-824"/>
                    <a:pt x="6346" y="8146"/>
                    <a:pt x="20217" y="18552"/>
                  </a:cubicBezTo>
                  <a:cubicBezTo>
                    <a:pt x="27140" y="23725"/>
                    <a:pt x="35977" y="29077"/>
                    <a:pt x="46463" y="33314"/>
                  </a:cubicBezTo>
                  <a:cubicBezTo>
                    <a:pt x="51712" y="35395"/>
                    <a:pt x="57367" y="37183"/>
                    <a:pt x="63339" y="38501"/>
                  </a:cubicBezTo>
                  <a:cubicBezTo>
                    <a:pt x="69564" y="40128"/>
                    <a:pt x="74852" y="40167"/>
                    <a:pt x="76449" y="37402"/>
                  </a:cubicBezTo>
                  <a:cubicBezTo>
                    <a:pt x="77020" y="36336"/>
                    <a:pt x="77096" y="35915"/>
                    <a:pt x="75803" y="34102"/>
                  </a:cubicBezTo>
                  <a:cubicBezTo>
                    <a:pt x="74446" y="32426"/>
                    <a:pt x="71923" y="30791"/>
                    <a:pt x="69260" y="29067"/>
                  </a:cubicBezTo>
                  <a:cubicBezTo>
                    <a:pt x="64074" y="25678"/>
                    <a:pt x="58838" y="22734"/>
                    <a:pt x="53728" y="20197"/>
                  </a:cubicBezTo>
                  <a:cubicBezTo>
                    <a:pt x="43483" y="15113"/>
                    <a:pt x="33682" y="11659"/>
                    <a:pt x="25289" y="9325"/>
                  </a:cubicBezTo>
                  <a:cubicBezTo>
                    <a:pt x="8463" y="4647"/>
                    <a:pt x="-2606" y="3875"/>
                    <a:pt x="-2555" y="2313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9" name="Vrije vorm 918">
              <a:extLst>
                <a:ext uri="{FF2B5EF4-FFF2-40B4-BE49-F238E27FC236}">
                  <a16:creationId xmlns:a16="http://schemas.microsoft.com/office/drawing/2014/main" id="{06FCC4B9-6FCC-0F61-E139-29CA62720881}"/>
                </a:ext>
              </a:extLst>
            </p:cNvPr>
            <p:cNvSpPr/>
            <p:nvPr/>
          </p:nvSpPr>
          <p:spPr>
            <a:xfrm flipV="1">
              <a:off x="7520441" y="4573616"/>
              <a:ext cx="737019" cy="549745"/>
            </a:xfrm>
            <a:custGeom>
              <a:avLst/>
              <a:gdLst>
                <a:gd name="connsiteX0" fmla="*/ 482656 w 737019"/>
                <a:gd name="connsiteY0" fmla="*/ 549398 h 549745"/>
                <a:gd name="connsiteX1" fmla="*/ 341092 w 737019"/>
                <a:gd name="connsiteY1" fmla="*/ 284282 h 549745"/>
                <a:gd name="connsiteX2" fmla="*/ -2275 w 737019"/>
                <a:gd name="connsiteY2" fmla="*/ 297399 h 549745"/>
                <a:gd name="connsiteX3" fmla="*/ 497212 w 737019"/>
                <a:gd name="connsiteY3" fmla="*/ -347 h 549745"/>
                <a:gd name="connsiteX4" fmla="*/ 734745 w 737019"/>
                <a:gd name="connsiteY4" fmla="*/ 403705 h 549745"/>
                <a:gd name="connsiteX5" fmla="*/ 482656 w 737019"/>
                <a:gd name="connsiteY5" fmla="*/ 549398 h 54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7019" h="549745">
                  <a:moveTo>
                    <a:pt x="482656" y="549398"/>
                  </a:moveTo>
                  <a:lnTo>
                    <a:pt x="341092" y="284282"/>
                  </a:lnTo>
                  <a:cubicBezTo>
                    <a:pt x="341092" y="284282"/>
                    <a:pt x="28650" y="343855"/>
                    <a:pt x="-2275" y="297399"/>
                  </a:cubicBezTo>
                  <a:lnTo>
                    <a:pt x="497212" y="-347"/>
                  </a:lnTo>
                  <a:lnTo>
                    <a:pt x="734745" y="403705"/>
                  </a:lnTo>
                  <a:lnTo>
                    <a:pt x="482656" y="549398"/>
                  </a:lnTo>
                </a:path>
              </a:pathLst>
            </a:custGeom>
            <a:solidFill>
              <a:srgbClr val="A24027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0" name="Vrije vorm 919">
              <a:extLst>
                <a:ext uri="{FF2B5EF4-FFF2-40B4-BE49-F238E27FC236}">
                  <a16:creationId xmlns:a16="http://schemas.microsoft.com/office/drawing/2014/main" id="{7F1C0401-4F51-321A-26FE-0FFAF519FB96}"/>
                </a:ext>
              </a:extLst>
            </p:cNvPr>
            <p:cNvSpPr/>
            <p:nvPr/>
          </p:nvSpPr>
          <p:spPr>
            <a:xfrm flipV="1">
              <a:off x="7990573" y="4900171"/>
              <a:ext cx="44278" cy="45090"/>
            </a:xfrm>
            <a:custGeom>
              <a:avLst/>
              <a:gdLst>
                <a:gd name="connsiteX0" fmla="*/ 35503 w 44278"/>
                <a:gd name="connsiteY0" fmla="*/ 38478 h 45090"/>
                <a:gd name="connsiteX1" fmla="*/ 36086 w 44278"/>
                <a:gd name="connsiteY1" fmla="*/ 6478 h 45090"/>
                <a:gd name="connsiteX2" fmla="*/ 4388 w 44278"/>
                <a:gd name="connsiteY2" fmla="*/ 5625 h 45090"/>
                <a:gd name="connsiteX3" fmla="*/ 3944 w 44278"/>
                <a:gd name="connsiteY3" fmla="*/ 39510 h 45090"/>
                <a:gd name="connsiteX4" fmla="*/ 37024 w 44278"/>
                <a:gd name="connsiteY4" fmla="*/ 36744 h 45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278" h="45090">
                  <a:moveTo>
                    <a:pt x="35503" y="38478"/>
                  </a:moveTo>
                  <a:cubicBezTo>
                    <a:pt x="43769" y="30070"/>
                    <a:pt x="44137" y="15090"/>
                    <a:pt x="36086" y="6478"/>
                  </a:cubicBezTo>
                  <a:cubicBezTo>
                    <a:pt x="28035" y="-2124"/>
                    <a:pt x="12794" y="-2631"/>
                    <a:pt x="4388" y="5625"/>
                  </a:cubicBezTo>
                  <a:cubicBezTo>
                    <a:pt x="-4019" y="13871"/>
                    <a:pt x="-5020" y="31873"/>
                    <a:pt x="3944" y="39510"/>
                  </a:cubicBezTo>
                  <a:cubicBezTo>
                    <a:pt x="12908" y="47155"/>
                    <a:pt x="30837" y="46779"/>
                    <a:pt x="37024" y="36744"/>
                  </a:cubicBez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1" name="Vrije vorm 920">
              <a:extLst>
                <a:ext uri="{FF2B5EF4-FFF2-40B4-BE49-F238E27FC236}">
                  <a16:creationId xmlns:a16="http://schemas.microsoft.com/office/drawing/2014/main" id="{9905CEA1-E287-BD87-2E2E-A9F54564468B}"/>
                </a:ext>
              </a:extLst>
            </p:cNvPr>
            <p:cNvSpPr/>
            <p:nvPr/>
          </p:nvSpPr>
          <p:spPr>
            <a:xfrm flipV="1">
              <a:off x="7516346" y="4811915"/>
              <a:ext cx="522511" cy="311421"/>
            </a:xfrm>
            <a:custGeom>
              <a:avLst/>
              <a:gdLst>
                <a:gd name="connsiteX0" fmla="*/ 501396 w 522511"/>
                <a:gd name="connsiteY0" fmla="*/ -240 h 311421"/>
                <a:gd name="connsiteX1" fmla="*/ 520313 w 522511"/>
                <a:gd name="connsiteY1" fmla="*/ 31944 h 311421"/>
                <a:gd name="connsiteX2" fmla="*/ 29715 w 522511"/>
                <a:gd name="connsiteY2" fmla="*/ 311181 h 311421"/>
                <a:gd name="connsiteX3" fmla="*/ -2199 w 522511"/>
                <a:gd name="connsiteY3" fmla="*/ 296261 h 311421"/>
                <a:gd name="connsiteX4" fmla="*/ 501396 w 522511"/>
                <a:gd name="connsiteY4" fmla="*/ -240 h 311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511" h="311421">
                  <a:moveTo>
                    <a:pt x="501396" y="-240"/>
                  </a:moveTo>
                  <a:lnTo>
                    <a:pt x="520313" y="31944"/>
                  </a:lnTo>
                  <a:lnTo>
                    <a:pt x="29715" y="311181"/>
                  </a:lnTo>
                  <a:cubicBezTo>
                    <a:pt x="29715" y="311181"/>
                    <a:pt x="7970" y="310661"/>
                    <a:pt x="-2199" y="296261"/>
                  </a:cubicBezTo>
                  <a:lnTo>
                    <a:pt x="501396" y="-240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2" name="Vrije vorm 921">
              <a:extLst>
                <a:ext uri="{FF2B5EF4-FFF2-40B4-BE49-F238E27FC236}">
                  <a16:creationId xmlns:a16="http://schemas.microsoft.com/office/drawing/2014/main" id="{EE23CB0C-E85B-7962-ECCF-2B9B04CBEAD5}"/>
                </a:ext>
              </a:extLst>
            </p:cNvPr>
            <p:cNvSpPr/>
            <p:nvPr/>
          </p:nvSpPr>
          <p:spPr>
            <a:xfrm flipV="1">
              <a:off x="7858170" y="4837135"/>
              <a:ext cx="32476" cy="56151"/>
            </a:xfrm>
            <a:custGeom>
              <a:avLst/>
              <a:gdLst>
                <a:gd name="connsiteX0" fmla="*/ -2155 w 32476"/>
                <a:gd name="connsiteY0" fmla="*/ 55237 h 56151"/>
                <a:gd name="connsiteX1" fmla="*/ 15786 w 32476"/>
                <a:gd name="connsiteY1" fmla="*/ 29307 h 56151"/>
                <a:gd name="connsiteX2" fmla="*/ 26627 w 32476"/>
                <a:gd name="connsiteY2" fmla="*/ -301 h 56151"/>
                <a:gd name="connsiteX3" fmla="*/ 24637 w 32476"/>
                <a:gd name="connsiteY3" fmla="*/ 33900 h 56151"/>
                <a:gd name="connsiteX4" fmla="*/ -2155 w 32476"/>
                <a:gd name="connsiteY4" fmla="*/ 55237 h 5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76" h="56151">
                  <a:moveTo>
                    <a:pt x="-2155" y="55237"/>
                  </a:moveTo>
                  <a:cubicBezTo>
                    <a:pt x="-3524" y="52700"/>
                    <a:pt x="8217" y="44366"/>
                    <a:pt x="15786" y="29307"/>
                  </a:cubicBezTo>
                  <a:cubicBezTo>
                    <a:pt x="23736" y="14440"/>
                    <a:pt x="23787" y="40"/>
                    <a:pt x="26627" y="-301"/>
                  </a:cubicBezTo>
                  <a:cubicBezTo>
                    <a:pt x="29201" y="-1149"/>
                    <a:pt x="34108" y="15823"/>
                    <a:pt x="24637" y="33900"/>
                  </a:cubicBezTo>
                  <a:cubicBezTo>
                    <a:pt x="15330" y="52066"/>
                    <a:pt x="-1381" y="57809"/>
                    <a:pt x="-2155" y="55237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1007" name="Groep 1006">
              <a:extLst>
                <a:ext uri="{FF2B5EF4-FFF2-40B4-BE49-F238E27FC236}">
                  <a16:creationId xmlns:a16="http://schemas.microsoft.com/office/drawing/2014/main" id="{F972D2F5-C007-E8F5-58FC-15A8AD05C227}"/>
                </a:ext>
              </a:extLst>
            </p:cNvPr>
            <p:cNvGrpSpPr/>
            <p:nvPr/>
          </p:nvGrpSpPr>
          <p:grpSpPr>
            <a:xfrm>
              <a:off x="9355383" y="1839467"/>
              <a:ext cx="810549" cy="1126705"/>
              <a:chOff x="3380403" y="2374176"/>
              <a:chExt cx="810549" cy="1126705"/>
            </a:xfrm>
          </p:grpSpPr>
          <p:sp>
            <p:nvSpPr>
              <p:cNvPr id="1008" name="Vrije vorm 1007">
                <a:extLst>
                  <a:ext uri="{FF2B5EF4-FFF2-40B4-BE49-F238E27FC236}">
                    <a16:creationId xmlns:a16="http://schemas.microsoft.com/office/drawing/2014/main" id="{3752942D-563D-E320-C25F-C0A54C618A30}"/>
                  </a:ext>
                </a:extLst>
              </p:cNvPr>
              <p:cNvSpPr/>
              <p:nvPr/>
            </p:nvSpPr>
            <p:spPr>
              <a:xfrm flipV="1">
                <a:off x="3655446" y="3126191"/>
                <a:ext cx="247954" cy="374690"/>
              </a:xfrm>
              <a:custGeom>
                <a:avLst/>
                <a:gdLst>
                  <a:gd name="connsiteX0" fmla="*/ -2132 w 71754"/>
                  <a:gd name="connsiteY0" fmla="*/ 110616 h 148616"/>
                  <a:gd name="connsiteX1" fmla="*/ 624 w 71754"/>
                  <a:gd name="connsiteY1" fmla="*/ -3767 h 148616"/>
                  <a:gd name="connsiteX2" fmla="*/ 69622 w 71754"/>
                  <a:gd name="connsiteY2" fmla="*/ 27058 h 148616"/>
                  <a:gd name="connsiteX3" fmla="*/ 67446 w 71754"/>
                  <a:gd name="connsiteY3" fmla="*/ 144849 h 148616"/>
                  <a:gd name="connsiteX4" fmla="*/ -2132 w 71754"/>
                  <a:gd name="connsiteY4" fmla="*/ 11061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-2132" y="110616"/>
                    </a:moveTo>
                    <a:lnTo>
                      <a:pt x="624" y="-3767"/>
                    </a:lnTo>
                    <a:lnTo>
                      <a:pt x="69622" y="27058"/>
                    </a:lnTo>
                    <a:lnTo>
                      <a:pt x="67446" y="144849"/>
                    </a:lnTo>
                    <a:lnTo>
                      <a:pt x="-2132" y="11061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09" name="Vrije vorm 1008">
                <a:extLst>
                  <a:ext uri="{FF2B5EF4-FFF2-40B4-BE49-F238E27FC236}">
                    <a16:creationId xmlns:a16="http://schemas.microsoft.com/office/drawing/2014/main" id="{BD2B9D93-7AA4-2E2F-1D91-DD673097F742}"/>
                  </a:ext>
                </a:extLst>
              </p:cNvPr>
              <p:cNvSpPr/>
              <p:nvPr/>
            </p:nvSpPr>
            <p:spPr>
              <a:xfrm flipV="1">
                <a:off x="3439508" y="2481189"/>
                <a:ext cx="751444" cy="765364"/>
              </a:xfrm>
              <a:custGeom>
                <a:avLst/>
                <a:gdLst>
                  <a:gd name="connsiteX0" fmla="*/ 117813 w 217456"/>
                  <a:gd name="connsiteY0" fmla="*/ 294452 h 303572"/>
                  <a:gd name="connsiteX1" fmla="*/ 181598 w 217456"/>
                  <a:gd name="connsiteY1" fmla="*/ 234500 h 303572"/>
                  <a:gd name="connsiteX2" fmla="*/ 178261 w 217456"/>
                  <a:gd name="connsiteY2" fmla="*/ 158389 h 303572"/>
                  <a:gd name="connsiteX3" fmla="*/ 205112 w 217456"/>
                  <a:gd name="connsiteY3" fmla="*/ 165702 h 303572"/>
                  <a:gd name="connsiteX4" fmla="*/ 177028 w 217456"/>
                  <a:gd name="connsiteY4" fmla="*/ 91995 h 303572"/>
                  <a:gd name="connsiteX5" fmla="*/ 171121 w 217456"/>
                  <a:gd name="connsiteY5" fmla="*/ 51805 h 303572"/>
                  <a:gd name="connsiteX6" fmla="*/ 82589 w 217456"/>
                  <a:gd name="connsiteY6" fmla="*/ -3382 h 303572"/>
                  <a:gd name="connsiteX7" fmla="*/ -1198 w 217456"/>
                  <a:gd name="connsiteY7" fmla="*/ 60372 h 303572"/>
                  <a:gd name="connsiteX8" fmla="*/ -2141 w 217456"/>
                  <a:gd name="connsiteY8" fmla="*/ 246877 h 303572"/>
                  <a:gd name="connsiteX9" fmla="*/ 117813 w 217456"/>
                  <a:gd name="connsiteY9" fmla="*/ 294452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6" h="303572">
                    <a:moveTo>
                      <a:pt x="117813" y="294452"/>
                    </a:moveTo>
                    <a:cubicBezTo>
                      <a:pt x="183350" y="279516"/>
                      <a:pt x="181598" y="234500"/>
                      <a:pt x="181598" y="234500"/>
                    </a:cubicBezTo>
                    <a:cubicBezTo>
                      <a:pt x="181598" y="234500"/>
                      <a:pt x="179557" y="199759"/>
                      <a:pt x="178261" y="158389"/>
                    </a:cubicBezTo>
                    <a:cubicBezTo>
                      <a:pt x="184324" y="166717"/>
                      <a:pt x="194583" y="170208"/>
                      <a:pt x="205112" y="165702"/>
                    </a:cubicBezTo>
                    <a:cubicBezTo>
                      <a:pt x="227424" y="156162"/>
                      <a:pt x="210937" y="85914"/>
                      <a:pt x="177028" y="91995"/>
                    </a:cubicBezTo>
                    <a:cubicBezTo>
                      <a:pt x="175567" y="72376"/>
                      <a:pt x="173639" y="57098"/>
                      <a:pt x="171121" y="51805"/>
                    </a:cubicBezTo>
                    <a:cubicBezTo>
                      <a:pt x="161608" y="31825"/>
                      <a:pt x="119709" y="1372"/>
                      <a:pt x="82589" y="-3382"/>
                    </a:cubicBezTo>
                    <a:cubicBezTo>
                      <a:pt x="45457" y="-8136"/>
                      <a:pt x="-1198" y="16599"/>
                      <a:pt x="-1198" y="60372"/>
                    </a:cubicBezTo>
                    <a:cubicBezTo>
                      <a:pt x="-1198" y="104144"/>
                      <a:pt x="-2141" y="246877"/>
                      <a:pt x="-2141" y="246877"/>
                    </a:cubicBezTo>
                    <a:cubicBezTo>
                      <a:pt x="-2141" y="246877"/>
                      <a:pt x="9279" y="319197"/>
                      <a:pt x="117813" y="29445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 dirty="0"/>
              </a:p>
            </p:txBody>
          </p:sp>
          <p:sp>
            <p:nvSpPr>
              <p:cNvPr id="1010" name="Vrije vorm 1009">
                <a:extLst>
                  <a:ext uri="{FF2B5EF4-FFF2-40B4-BE49-F238E27FC236}">
                    <a16:creationId xmlns:a16="http://schemas.microsoft.com/office/drawing/2014/main" id="{A6D46558-7C0B-C28F-88CB-AF183DF4F86B}"/>
                  </a:ext>
                </a:extLst>
              </p:cNvPr>
              <p:cNvSpPr/>
              <p:nvPr/>
            </p:nvSpPr>
            <p:spPr>
              <a:xfrm flipV="1">
                <a:off x="3528175" y="2813263"/>
                <a:ext cx="116921" cy="208707"/>
              </a:xfrm>
              <a:custGeom>
                <a:avLst/>
                <a:gdLst>
                  <a:gd name="connsiteX0" fmla="*/ 31750 w 33835"/>
                  <a:gd name="connsiteY0" fmla="*/ 78842 h 82781"/>
                  <a:gd name="connsiteX1" fmla="*/ 22082 w 33835"/>
                  <a:gd name="connsiteY1" fmla="*/ 41346 h 82781"/>
                  <a:gd name="connsiteX2" fmla="*/ 13770 w 33835"/>
                  <a:gd name="connsiteY2" fmla="*/ 23655 h 82781"/>
                  <a:gd name="connsiteX3" fmla="*/ 1448 w 33835"/>
                  <a:gd name="connsiteY3" fmla="*/ 8149 h 82781"/>
                  <a:gd name="connsiteX4" fmla="*/ 1438 w 33835"/>
                  <a:gd name="connsiteY4" fmla="*/ 10624 h 82781"/>
                  <a:gd name="connsiteX5" fmla="*/ 15573 w 33835"/>
                  <a:gd name="connsiteY5" fmla="*/ -3939 h 82781"/>
                  <a:gd name="connsiteX6" fmla="*/ -749 w 33835"/>
                  <a:gd name="connsiteY6" fmla="*/ 8128 h 82781"/>
                  <a:gd name="connsiteX7" fmla="*/ -2085 w 33835"/>
                  <a:gd name="connsiteY7" fmla="*/ 9184 h 82781"/>
                  <a:gd name="connsiteX8" fmla="*/ -769 w 33835"/>
                  <a:gd name="connsiteY8" fmla="*/ 10604 h 82781"/>
                  <a:gd name="connsiteX9" fmla="*/ 17884 w 33835"/>
                  <a:gd name="connsiteY9" fmla="*/ 43035 h 82781"/>
                  <a:gd name="connsiteX10" fmla="*/ 31750 w 33835"/>
                  <a:gd name="connsiteY10" fmla="*/ 78842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5" h="82781">
                    <a:moveTo>
                      <a:pt x="31750" y="78842"/>
                    </a:moveTo>
                    <a:cubicBezTo>
                      <a:pt x="30009" y="66040"/>
                      <a:pt x="26828" y="53424"/>
                      <a:pt x="22082" y="41346"/>
                    </a:cubicBezTo>
                    <a:cubicBezTo>
                      <a:pt x="19833" y="35256"/>
                      <a:pt x="17180" y="29279"/>
                      <a:pt x="13770" y="23655"/>
                    </a:cubicBezTo>
                    <a:cubicBezTo>
                      <a:pt x="10444" y="18041"/>
                      <a:pt x="6765" y="12406"/>
                      <a:pt x="1448" y="8149"/>
                    </a:cubicBezTo>
                    <a:lnTo>
                      <a:pt x="1438" y="10624"/>
                    </a:lnTo>
                    <a:cubicBezTo>
                      <a:pt x="6298" y="5942"/>
                      <a:pt x="11024" y="1116"/>
                      <a:pt x="15573" y="-3939"/>
                    </a:cubicBezTo>
                    <a:cubicBezTo>
                      <a:pt x="9957" y="-117"/>
                      <a:pt x="4536" y="3923"/>
                      <a:pt x="-749" y="8128"/>
                    </a:cubicBezTo>
                    <a:lnTo>
                      <a:pt x="-2085" y="9184"/>
                    </a:lnTo>
                    <a:lnTo>
                      <a:pt x="-769" y="10604"/>
                    </a:lnTo>
                    <a:cubicBezTo>
                      <a:pt x="7615" y="19667"/>
                      <a:pt x="12734" y="31506"/>
                      <a:pt x="17884" y="43035"/>
                    </a:cubicBezTo>
                    <a:cubicBezTo>
                      <a:pt x="22734" y="54780"/>
                      <a:pt x="27232" y="66744"/>
                      <a:pt x="31750" y="7884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1" name="Vrije vorm 1010">
                <a:extLst>
                  <a:ext uri="{FF2B5EF4-FFF2-40B4-BE49-F238E27FC236}">
                    <a16:creationId xmlns:a16="http://schemas.microsoft.com/office/drawing/2014/main" id="{AFAB02B8-CA96-FE1A-EAA1-A15CA771E6ED}"/>
                  </a:ext>
                </a:extLst>
              </p:cNvPr>
              <p:cNvSpPr/>
              <p:nvPr/>
            </p:nvSpPr>
            <p:spPr>
              <a:xfrm flipV="1">
                <a:off x="3737867" y="2785293"/>
                <a:ext cx="65605" cy="87117"/>
              </a:xfrm>
              <a:custGeom>
                <a:avLst/>
                <a:gdLst>
                  <a:gd name="connsiteX0" fmla="*/ -2141 w 18985"/>
                  <a:gd name="connsiteY0" fmla="*/ 13300 h 34554"/>
                  <a:gd name="connsiteX1" fmla="*/ 7352 w 18985"/>
                  <a:gd name="connsiteY1" fmla="*/ -3978 h 34554"/>
                  <a:gd name="connsiteX2" fmla="*/ 16845 w 18985"/>
                  <a:gd name="connsiteY2" fmla="*/ 13300 h 34554"/>
                  <a:gd name="connsiteX3" fmla="*/ 7352 w 18985"/>
                  <a:gd name="connsiteY3" fmla="*/ 30577 h 34554"/>
                  <a:gd name="connsiteX4" fmla="*/ -2141 w 18985"/>
                  <a:gd name="connsiteY4" fmla="*/ 13300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141" y="13300"/>
                    </a:moveTo>
                    <a:cubicBezTo>
                      <a:pt x="-2141" y="3760"/>
                      <a:pt x="2108" y="-3978"/>
                      <a:pt x="7352" y="-3978"/>
                    </a:cubicBezTo>
                    <a:cubicBezTo>
                      <a:pt x="12596" y="-3978"/>
                      <a:pt x="16845" y="3760"/>
                      <a:pt x="16845" y="13300"/>
                    </a:cubicBezTo>
                    <a:cubicBezTo>
                      <a:pt x="16845" y="22839"/>
                      <a:pt x="12596" y="30577"/>
                      <a:pt x="7352" y="30577"/>
                    </a:cubicBezTo>
                    <a:cubicBezTo>
                      <a:pt x="2108" y="30577"/>
                      <a:pt x="-2141" y="22839"/>
                      <a:pt x="-2141" y="13300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2" name="Vrije vorm 1011">
                <a:extLst>
                  <a:ext uri="{FF2B5EF4-FFF2-40B4-BE49-F238E27FC236}">
                    <a16:creationId xmlns:a16="http://schemas.microsoft.com/office/drawing/2014/main" id="{A9A59DD2-1733-7732-4AE3-D8343BDEA7D3}"/>
                  </a:ext>
                </a:extLst>
              </p:cNvPr>
              <p:cNvSpPr/>
              <p:nvPr/>
            </p:nvSpPr>
            <p:spPr>
              <a:xfrm flipV="1">
                <a:off x="3461511" y="2794904"/>
                <a:ext cx="65605" cy="87117"/>
              </a:xfrm>
              <a:custGeom>
                <a:avLst/>
                <a:gdLst>
                  <a:gd name="connsiteX0" fmla="*/ -2074 w 18985"/>
                  <a:gd name="connsiteY0" fmla="*/ 13304 h 34554"/>
                  <a:gd name="connsiteX1" fmla="*/ 7419 w 18985"/>
                  <a:gd name="connsiteY1" fmla="*/ -3973 h 34554"/>
                  <a:gd name="connsiteX2" fmla="*/ 16911 w 18985"/>
                  <a:gd name="connsiteY2" fmla="*/ 13304 h 34554"/>
                  <a:gd name="connsiteX3" fmla="*/ 7419 w 18985"/>
                  <a:gd name="connsiteY3" fmla="*/ 30581 h 34554"/>
                  <a:gd name="connsiteX4" fmla="*/ -2074 w 18985"/>
                  <a:gd name="connsiteY4" fmla="*/ 13304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074" y="13304"/>
                    </a:moveTo>
                    <a:cubicBezTo>
                      <a:pt x="-2074" y="3764"/>
                      <a:pt x="2175" y="-3973"/>
                      <a:pt x="7419" y="-3973"/>
                    </a:cubicBezTo>
                    <a:cubicBezTo>
                      <a:pt x="12662" y="-3973"/>
                      <a:pt x="16911" y="3764"/>
                      <a:pt x="16911" y="13304"/>
                    </a:cubicBezTo>
                    <a:cubicBezTo>
                      <a:pt x="16911" y="22854"/>
                      <a:pt x="12662" y="30581"/>
                      <a:pt x="7419" y="30581"/>
                    </a:cubicBezTo>
                    <a:cubicBezTo>
                      <a:pt x="2175" y="30581"/>
                      <a:pt x="-2074" y="22854"/>
                      <a:pt x="-2074" y="13304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3" name="Vrije vorm 1012">
                <a:extLst>
                  <a:ext uri="{FF2B5EF4-FFF2-40B4-BE49-F238E27FC236}">
                    <a16:creationId xmlns:a16="http://schemas.microsoft.com/office/drawing/2014/main" id="{73384FAC-C4DA-ABE3-8973-880B046FB6BB}"/>
                  </a:ext>
                </a:extLst>
              </p:cNvPr>
              <p:cNvSpPr/>
              <p:nvPr/>
            </p:nvSpPr>
            <p:spPr>
              <a:xfrm flipV="1">
                <a:off x="3729002" y="2698418"/>
                <a:ext cx="177657" cy="50081"/>
              </a:xfrm>
              <a:custGeom>
                <a:avLst/>
                <a:gdLst>
                  <a:gd name="connsiteX0" fmla="*/ -2141 w 51411"/>
                  <a:gd name="connsiteY0" fmla="*/ 3589 h 19864"/>
                  <a:gd name="connsiteX1" fmla="*/ 10294 w 51411"/>
                  <a:gd name="connsiteY1" fmla="*/ 12777 h 19864"/>
                  <a:gd name="connsiteX2" fmla="*/ 25994 w 51411"/>
                  <a:gd name="connsiteY2" fmla="*/ 15822 h 19864"/>
                  <a:gd name="connsiteX3" fmla="*/ 41550 w 51411"/>
                  <a:gd name="connsiteY3" fmla="*/ 9815 h 19864"/>
                  <a:gd name="connsiteX4" fmla="*/ 49270 w 51411"/>
                  <a:gd name="connsiteY4" fmla="*/ -4023 h 19864"/>
                  <a:gd name="connsiteX5" fmla="*/ 37404 w 51411"/>
                  <a:gd name="connsiteY5" fmla="*/ 3382 h 19864"/>
                  <a:gd name="connsiteX6" fmla="*/ 25466 w 51411"/>
                  <a:gd name="connsiteY6" fmla="*/ 6044 h 19864"/>
                  <a:gd name="connsiteX7" fmla="*/ -2141 w 51411"/>
                  <a:gd name="connsiteY7" fmla="*/ 3589 h 19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411" h="19864">
                    <a:moveTo>
                      <a:pt x="-2141" y="3589"/>
                    </a:moveTo>
                    <a:cubicBezTo>
                      <a:pt x="1133" y="7753"/>
                      <a:pt x="5517" y="10685"/>
                      <a:pt x="10294" y="12777"/>
                    </a:cubicBezTo>
                    <a:cubicBezTo>
                      <a:pt x="15082" y="14911"/>
                      <a:pt x="20430" y="15998"/>
                      <a:pt x="25994" y="15822"/>
                    </a:cubicBezTo>
                    <a:cubicBezTo>
                      <a:pt x="31539" y="15429"/>
                      <a:pt x="37249" y="13492"/>
                      <a:pt x="41550" y="9815"/>
                    </a:cubicBezTo>
                    <a:cubicBezTo>
                      <a:pt x="46058" y="6335"/>
                      <a:pt x="48389" y="1010"/>
                      <a:pt x="49270" y="-4023"/>
                    </a:cubicBezTo>
                    <a:cubicBezTo>
                      <a:pt x="44835" y="-1010"/>
                      <a:pt x="41446" y="1922"/>
                      <a:pt x="37404" y="3382"/>
                    </a:cubicBezTo>
                    <a:cubicBezTo>
                      <a:pt x="33508" y="4915"/>
                      <a:pt x="29642" y="5848"/>
                      <a:pt x="25466" y="6044"/>
                    </a:cubicBezTo>
                    <a:cubicBezTo>
                      <a:pt x="17041" y="6490"/>
                      <a:pt x="8149" y="4781"/>
                      <a:pt x="-2141" y="3589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4" name="Vrije vorm 1013">
                <a:extLst>
                  <a:ext uri="{FF2B5EF4-FFF2-40B4-BE49-F238E27FC236}">
                    <a16:creationId xmlns:a16="http://schemas.microsoft.com/office/drawing/2014/main" id="{DE74ABA3-F9CC-7410-D430-2E45FC502FAA}"/>
                  </a:ext>
                </a:extLst>
              </p:cNvPr>
              <p:cNvSpPr/>
              <p:nvPr/>
            </p:nvSpPr>
            <p:spPr>
              <a:xfrm flipV="1">
                <a:off x="3452650" y="2699872"/>
                <a:ext cx="141452" cy="48624"/>
              </a:xfrm>
              <a:custGeom>
                <a:avLst/>
                <a:gdLst>
                  <a:gd name="connsiteX0" fmla="*/ 38864 w 40934"/>
                  <a:gd name="connsiteY0" fmla="*/ 3590 h 19286"/>
                  <a:gd name="connsiteX1" fmla="*/ 16397 w 40934"/>
                  <a:gd name="connsiteY1" fmla="*/ 6490 h 19286"/>
                  <a:gd name="connsiteX2" fmla="*/ 7226 w 40934"/>
                  <a:gd name="connsiteY2" fmla="*/ 3362 h 19286"/>
                  <a:gd name="connsiteX3" fmla="*/ -2070 w 40934"/>
                  <a:gd name="connsiteY3" fmla="*/ -4023 h 19286"/>
                  <a:gd name="connsiteX4" fmla="*/ 2697 w 40934"/>
                  <a:gd name="connsiteY4" fmla="*/ 8458 h 19286"/>
                  <a:gd name="connsiteX5" fmla="*/ 15496 w 40934"/>
                  <a:gd name="connsiteY5" fmla="*/ 15181 h 19286"/>
                  <a:gd name="connsiteX6" fmla="*/ 29102 w 40934"/>
                  <a:gd name="connsiteY6" fmla="*/ 12373 h 19286"/>
                  <a:gd name="connsiteX7" fmla="*/ 38864 w 40934"/>
                  <a:gd name="connsiteY7" fmla="*/ 3590 h 1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34" h="19286">
                    <a:moveTo>
                      <a:pt x="38864" y="3590"/>
                    </a:moveTo>
                    <a:cubicBezTo>
                      <a:pt x="30274" y="5289"/>
                      <a:pt x="22926" y="7194"/>
                      <a:pt x="16397" y="6490"/>
                    </a:cubicBezTo>
                    <a:cubicBezTo>
                      <a:pt x="13133" y="6314"/>
                      <a:pt x="10221" y="5154"/>
                      <a:pt x="7226" y="3362"/>
                    </a:cubicBezTo>
                    <a:cubicBezTo>
                      <a:pt x="4127" y="1632"/>
                      <a:pt x="1443" y="-1164"/>
                      <a:pt x="-2070" y="-4023"/>
                    </a:cubicBezTo>
                    <a:cubicBezTo>
                      <a:pt x="-1863" y="348"/>
                      <a:pt x="-526" y="4895"/>
                      <a:pt x="2697" y="8458"/>
                    </a:cubicBezTo>
                    <a:cubicBezTo>
                      <a:pt x="5671" y="12187"/>
                      <a:pt x="10573" y="14745"/>
                      <a:pt x="15496" y="15181"/>
                    </a:cubicBezTo>
                    <a:cubicBezTo>
                      <a:pt x="20418" y="15584"/>
                      <a:pt x="25133" y="14486"/>
                      <a:pt x="29102" y="12373"/>
                    </a:cubicBezTo>
                    <a:cubicBezTo>
                      <a:pt x="33072" y="10302"/>
                      <a:pt x="36543" y="7443"/>
                      <a:pt x="38864" y="3590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5" name="Vrije vorm 1014">
                <a:extLst>
                  <a:ext uri="{FF2B5EF4-FFF2-40B4-BE49-F238E27FC236}">
                    <a16:creationId xmlns:a16="http://schemas.microsoft.com/office/drawing/2014/main" id="{9A66895E-0241-57B6-631F-AC0AB7FA52DB}"/>
                  </a:ext>
                </a:extLst>
              </p:cNvPr>
              <p:cNvSpPr/>
              <p:nvPr/>
            </p:nvSpPr>
            <p:spPr>
              <a:xfrm flipV="1">
                <a:off x="3575479" y="3043854"/>
                <a:ext cx="302995" cy="73692"/>
              </a:xfrm>
              <a:custGeom>
                <a:avLst/>
                <a:gdLst>
                  <a:gd name="connsiteX0" fmla="*/ 85563 w 87682"/>
                  <a:gd name="connsiteY0" fmla="*/ 25361 h 29229"/>
                  <a:gd name="connsiteX1" fmla="*/ -2119 w 87682"/>
                  <a:gd name="connsiteY1" fmla="*/ 20793 h 29229"/>
                  <a:gd name="connsiteX2" fmla="*/ 85563 w 87682"/>
                  <a:gd name="connsiteY2" fmla="*/ 25361 h 29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682" h="29229">
                    <a:moveTo>
                      <a:pt x="85563" y="25361"/>
                    </a:moveTo>
                    <a:lnTo>
                      <a:pt x="-2119" y="20793"/>
                    </a:lnTo>
                    <a:cubicBezTo>
                      <a:pt x="-2119" y="20793"/>
                      <a:pt x="43551" y="-37626"/>
                      <a:pt x="85563" y="25361"/>
                    </a:cubicBezTo>
                  </a:path>
                </a:pathLst>
              </a:custGeom>
              <a:solidFill>
                <a:srgbClr val="B8596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6" name="Vrije vorm 1015">
                <a:extLst>
                  <a:ext uri="{FF2B5EF4-FFF2-40B4-BE49-F238E27FC236}">
                    <a16:creationId xmlns:a16="http://schemas.microsoft.com/office/drawing/2014/main" id="{B427ECE7-A686-DA84-44FE-6373C0EC6196}"/>
                  </a:ext>
                </a:extLst>
              </p:cNvPr>
              <p:cNvSpPr/>
              <p:nvPr/>
            </p:nvSpPr>
            <p:spPr>
              <a:xfrm flipV="1">
                <a:off x="3575479" y="3043854"/>
                <a:ext cx="302995" cy="65049"/>
              </a:xfrm>
              <a:custGeom>
                <a:avLst/>
                <a:gdLst>
                  <a:gd name="connsiteX0" fmla="*/ 77252 w 87682"/>
                  <a:gd name="connsiteY0" fmla="*/ 17032 h 25801"/>
                  <a:gd name="connsiteX1" fmla="*/ 25188 w 87682"/>
                  <a:gd name="connsiteY1" fmla="*/ -3870 h 25801"/>
                  <a:gd name="connsiteX2" fmla="*/ -2119 w 87682"/>
                  <a:gd name="connsiteY2" fmla="*/ 17364 h 25801"/>
                  <a:gd name="connsiteX3" fmla="*/ 85563 w 87682"/>
                  <a:gd name="connsiteY3" fmla="*/ 21932 h 25801"/>
                  <a:gd name="connsiteX4" fmla="*/ 82278 w 87682"/>
                  <a:gd name="connsiteY4" fmla="*/ 16732 h 25801"/>
                  <a:gd name="connsiteX5" fmla="*/ 77252 w 87682"/>
                  <a:gd name="connsiteY5" fmla="*/ 17032 h 25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7682" h="25801">
                    <a:moveTo>
                      <a:pt x="77252" y="17032"/>
                    </a:moveTo>
                    <a:cubicBezTo>
                      <a:pt x="56858" y="17032"/>
                      <a:pt x="37686" y="9937"/>
                      <a:pt x="25188" y="-3870"/>
                    </a:cubicBezTo>
                    <a:cubicBezTo>
                      <a:pt x="5124" y="2334"/>
                      <a:pt x="-2119" y="17364"/>
                      <a:pt x="-2119" y="17364"/>
                    </a:cubicBezTo>
                    <a:lnTo>
                      <a:pt x="85563" y="21932"/>
                    </a:lnTo>
                    <a:cubicBezTo>
                      <a:pt x="84486" y="20088"/>
                      <a:pt x="83387" y="18368"/>
                      <a:pt x="82278" y="16732"/>
                    </a:cubicBezTo>
                    <a:cubicBezTo>
                      <a:pt x="80620" y="16918"/>
                      <a:pt x="78952" y="17032"/>
                      <a:pt x="77252" y="17032"/>
                    </a:cubicBezTo>
                  </a:path>
                </a:pathLst>
              </a:custGeom>
              <a:solidFill>
                <a:srgbClr val="642A32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7" name="Vrije vorm 1016">
                <a:extLst>
                  <a:ext uri="{FF2B5EF4-FFF2-40B4-BE49-F238E27FC236}">
                    <a16:creationId xmlns:a16="http://schemas.microsoft.com/office/drawing/2014/main" id="{49C8FAFF-4DFD-0214-CBDD-5F2C5942CC1E}"/>
                  </a:ext>
                </a:extLst>
              </p:cNvPr>
              <p:cNvSpPr/>
              <p:nvPr/>
            </p:nvSpPr>
            <p:spPr>
              <a:xfrm flipV="1">
                <a:off x="4067849" y="2846502"/>
                <a:ext cx="96180" cy="130202"/>
              </a:xfrm>
              <a:custGeom>
                <a:avLst/>
                <a:gdLst>
                  <a:gd name="connsiteX0" fmla="*/ 20192 w 27833"/>
                  <a:gd name="connsiteY0" fmla="*/ 46603 h 51643"/>
                  <a:gd name="connsiteX1" fmla="*/ -2214 w 27833"/>
                  <a:gd name="connsiteY1" fmla="*/ 13789 h 51643"/>
                  <a:gd name="connsiteX2" fmla="*/ 3611 w 27833"/>
                  <a:gd name="connsiteY2" fmla="*/ -3706 h 51643"/>
                  <a:gd name="connsiteX3" fmla="*/ 20192 w 27833"/>
                  <a:gd name="connsiteY3" fmla="*/ 4660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33" h="51643">
                    <a:moveTo>
                      <a:pt x="20192" y="46603"/>
                    </a:moveTo>
                    <a:cubicBezTo>
                      <a:pt x="8554" y="52486"/>
                      <a:pt x="-1737" y="33769"/>
                      <a:pt x="-2214" y="13789"/>
                    </a:cubicBezTo>
                    <a:cubicBezTo>
                      <a:pt x="7310" y="15208"/>
                      <a:pt x="8916" y="4135"/>
                      <a:pt x="3611" y="-3706"/>
                    </a:cubicBezTo>
                    <a:cubicBezTo>
                      <a:pt x="22503" y="-7704"/>
                      <a:pt x="32524" y="40357"/>
                      <a:pt x="20192" y="4660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8" name="Vrije vorm 1017">
                <a:extLst>
                  <a:ext uri="{FF2B5EF4-FFF2-40B4-BE49-F238E27FC236}">
                    <a16:creationId xmlns:a16="http://schemas.microsoft.com/office/drawing/2014/main" id="{FCC1B9C3-76E5-1C03-4746-11273A7B0AFE}"/>
                  </a:ext>
                </a:extLst>
              </p:cNvPr>
              <p:cNvSpPr/>
              <p:nvPr/>
            </p:nvSpPr>
            <p:spPr>
              <a:xfrm flipH="1" flipV="1">
                <a:off x="3380403" y="2374176"/>
                <a:ext cx="775562" cy="506916"/>
              </a:xfrm>
              <a:custGeom>
                <a:avLst/>
                <a:gdLst>
                  <a:gd name="connsiteX0" fmla="*/ 7576 w 467845"/>
                  <a:gd name="connsiteY0" fmla="*/ 18404 h 298152"/>
                  <a:gd name="connsiteX1" fmla="*/ 88440 w 467845"/>
                  <a:gd name="connsiteY1" fmla="*/ -4021 h 298152"/>
                  <a:gd name="connsiteX2" fmla="*/ 117187 w 467845"/>
                  <a:gd name="connsiteY2" fmla="*/ -4021 h 298152"/>
                  <a:gd name="connsiteX3" fmla="*/ 129509 w 467845"/>
                  <a:gd name="connsiteY3" fmla="*/ 87036 h 298152"/>
                  <a:gd name="connsiteX4" fmla="*/ 206736 w 467845"/>
                  <a:gd name="connsiteY4" fmla="*/ 156010 h 298152"/>
                  <a:gd name="connsiteX5" fmla="*/ 418963 w 467845"/>
                  <a:gd name="connsiteY5" fmla="*/ 132508 h 298152"/>
                  <a:gd name="connsiteX6" fmla="*/ 91165 w 467845"/>
                  <a:gd name="connsiteY6" fmla="*/ 270352 h 298152"/>
                  <a:gd name="connsiteX7" fmla="*/ 7576 w 467845"/>
                  <a:gd name="connsiteY7" fmla="*/ 18404 h 29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7845" h="298152">
                    <a:moveTo>
                      <a:pt x="7576" y="18404"/>
                    </a:moveTo>
                    <a:cubicBezTo>
                      <a:pt x="7576" y="18404"/>
                      <a:pt x="51464" y="46971"/>
                      <a:pt x="88440" y="-4021"/>
                    </a:cubicBezTo>
                    <a:lnTo>
                      <a:pt x="117187" y="-4021"/>
                    </a:lnTo>
                    <a:cubicBezTo>
                      <a:pt x="117187" y="-4021"/>
                      <a:pt x="115550" y="55020"/>
                      <a:pt x="129509" y="87036"/>
                    </a:cubicBezTo>
                    <a:cubicBezTo>
                      <a:pt x="143468" y="119063"/>
                      <a:pt x="198517" y="118235"/>
                      <a:pt x="206736" y="156010"/>
                    </a:cubicBezTo>
                    <a:cubicBezTo>
                      <a:pt x="206736" y="156010"/>
                      <a:pt x="341467" y="91180"/>
                      <a:pt x="418963" y="132508"/>
                    </a:cubicBezTo>
                    <a:cubicBezTo>
                      <a:pt x="594173" y="225927"/>
                      <a:pt x="225969" y="345758"/>
                      <a:pt x="91165" y="270352"/>
                    </a:cubicBezTo>
                    <a:cubicBezTo>
                      <a:pt x="-8984" y="214346"/>
                      <a:pt x="-13316" y="118918"/>
                      <a:pt x="7576" y="18404"/>
                    </a:cubicBezTo>
                  </a:path>
                </a:pathLst>
              </a:custGeom>
              <a:solidFill>
                <a:srgbClr val="FFC000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 dirty="0"/>
              </a:p>
            </p:txBody>
          </p:sp>
        </p:grpSp>
        <p:sp>
          <p:nvSpPr>
            <p:cNvPr id="923" name="Vrije vorm 922">
              <a:extLst>
                <a:ext uri="{FF2B5EF4-FFF2-40B4-BE49-F238E27FC236}">
                  <a16:creationId xmlns:a16="http://schemas.microsoft.com/office/drawing/2014/main" id="{C5C511A8-DB45-7C75-5320-2A5666559EB4}"/>
                </a:ext>
              </a:extLst>
            </p:cNvPr>
            <p:cNvSpPr/>
            <p:nvPr/>
          </p:nvSpPr>
          <p:spPr>
            <a:xfrm flipV="1">
              <a:off x="7791944" y="4828441"/>
              <a:ext cx="19423" cy="57634"/>
            </a:xfrm>
            <a:custGeom>
              <a:avLst/>
              <a:gdLst>
                <a:gd name="connsiteX0" fmla="*/ -1913 w 19423"/>
                <a:gd name="connsiteY0" fmla="*/ 56949 h 57634"/>
                <a:gd name="connsiteX1" fmla="*/ 6722 w 19423"/>
                <a:gd name="connsiteY1" fmla="*/ 29025 h 57634"/>
                <a:gd name="connsiteX2" fmla="*/ 7559 w 19423"/>
                <a:gd name="connsiteY2" fmla="*/ -186 h 57634"/>
                <a:gd name="connsiteX3" fmla="*/ 16574 w 19423"/>
                <a:gd name="connsiteY3" fmla="*/ 30665 h 57634"/>
                <a:gd name="connsiteX4" fmla="*/ -1913 w 19423"/>
                <a:gd name="connsiteY4" fmla="*/ 56949 h 57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23" h="57634">
                  <a:moveTo>
                    <a:pt x="-1913" y="56949"/>
                  </a:moveTo>
                  <a:cubicBezTo>
                    <a:pt x="-3891" y="54868"/>
                    <a:pt x="4402" y="44416"/>
                    <a:pt x="6722" y="29025"/>
                  </a:cubicBezTo>
                  <a:cubicBezTo>
                    <a:pt x="9498" y="13719"/>
                    <a:pt x="5036" y="1132"/>
                    <a:pt x="7559" y="-186"/>
                  </a:cubicBezTo>
                  <a:cubicBezTo>
                    <a:pt x="9663" y="-1941"/>
                    <a:pt x="19819" y="11597"/>
                    <a:pt x="16574" y="30665"/>
                  </a:cubicBezTo>
                  <a:cubicBezTo>
                    <a:pt x="13480" y="49753"/>
                    <a:pt x="-493" y="59283"/>
                    <a:pt x="-1913" y="56949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4" name="Vrije vorm 923">
              <a:extLst>
                <a:ext uri="{FF2B5EF4-FFF2-40B4-BE49-F238E27FC236}">
                  <a16:creationId xmlns:a16="http://schemas.microsoft.com/office/drawing/2014/main" id="{4829FC2D-5517-237E-06BE-4DED5C38EA58}"/>
                </a:ext>
              </a:extLst>
            </p:cNvPr>
            <p:cNvSpPr/>
            <p:nvPr/>
          </p:nvSpPr>
          <p:spPr>
            <a:xfrm flipV="1">
              <a:off x="7724394" y="4821034"/>
              <a:ext cx="14899" cy="54126"/>
            </a:xfrm>
            <a:custGeom>
              <a:avLst/>
              <a:gdLst>
                <a:gd name="connsiteX0" fmla="*/ -1591 w 14899"/>
                <a:gd name="connsiteY0" fmla="*/ -137 h 54126"/>
                <a:gd name="connsiteX1" fmla="*/ 12521 w 14899"/>
                <a:gd name="connsiteY1" fmla="*/ 25689 h 54126"/>
                <a:gd name="connsiteX2" fmla="*/ 3354 w 14899"/>
                <a:gd name="connsiteY2" fmla="*/ 53663 h 54126"/>
                <a:gd name="connsiteX3" fmla="*/ 2580 w 14899"/>
                <a:gd name="connsiteY3" fmla="*/ 26607 h 54126"/>
                <a:gd name="connsiteX4" fmla="*/ -1591 w 14899"/>
                <a:gd name="connsiteY4" fmla="*/ -137 h 5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99" h="54126">
                  <a:moveTo>
                    <a:pt x="-1591" y="-137"/>
                  </a:moveTo>
                  <a:cubicBezTo>
                    <a:pt x="349" y="-1977"/>
                    <a:pt x="10999" y="8400"/>
                    <a:pt x="12521" y="25689"/>
                  </a:cubicBezTo>
                  <a:cubicBezTo>
                    <a:pt x="14182" y="42958"/>
                    <a:pt x="5598" y="55109"/>
                    <a:pt x="3354" y="53663"/>
                  </a:cubicBezTo>
                  <a:cubicBezTo>
                    <a:pt x="767" y="52433"/>
                    <a:pt x="4051" y="40774"/>
                    <a:pt x="2580" y="26607"/>
                  </a:cubicBezTo>
                  <a:cubicBezTo>
                    <a:pt x="1452" y="12409"/>
                    <a:pt x="-3912" y="1537"/>
                    <a:pt x="-1591" y="-137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5" name="Vrije vorm 924">
              <a:extLst>
                <a:ext uri="{FF2B5EF4-FFF2-40B4-BE49-F238E27FC236}">
                  <a16:creationId xmlns:a16="http://schemas.microsoft.com/office/drawing/2014/main" id="{DC6A505C-D857-8BD8-6791-16E63931CAD4}"/>
                </a:ext>
              </a:extLst>
            </p:cNvPr>
            <p:cNvSpPr/>
            <p:nvPr/>
          </p:nvSpPr>
          <p:spPr>
            <a:xfrm flipV="1">
              <a:off x="7897505" y="4778674"/>
              <a:ext cx="51464" cy="35576"/>
            </a:xfrm>
            <a:custGeom>
              <a:avLst/>
              <a:gdLst>
                <a:gd name="connsiteX0" fmla="*/ -2294 w 51464"/>
                <a:gd name="connsiteY0" fmla="*/ 33374 h 35576"/>
                <a:gd name="connsiteX1" fmla="*/ 24256 w 51464"/>
                <a:gd name="connsiteY1" fmla="*/ 18216 h 35576"/>
                <a:gd name="connsiteX2" fmla="*/ 48588 w 51464"/>
                <a:gd name="connsiteY2" fmla="*/ -277 h 35576"/>
                <a:gd name="connsiteX3" fmla="*/ 29746 w 51464"/>
                <a:gd name="connsiteY3" fmla="*/ 26551 h 35576"/>
                <a:gd name="connsiteX4" fmla="*/ -2294 w 51464"/>
                <a:gd name="connsiteY4" fmla="*/ 33374 h 3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64" h="35576">
                  <a:moveTo>
                    <a:pt x="-2294" y="33374"/>
                  </a:moveTo>
                  <a:cubicBezTo>
                    <a:pt x="-2560" y="30510"/>
                    <a:pt x="10791" y="27324"/>
                    <a:pt x="24256" y="18216"/>
                  </a:cubicBezTo>
                  <a:cubicBezTo>
                    <a:pt x="37899" y="9401"/>
                    <a:pt x="46065" y="-1650"/>
                    <a:pt x="48588" y="-277"/>
                  </a:cubicBezTo>
                  <a:cubicBezTo>
                    <a:pt x="51060" y="685"/>
                    <a:pt x="45760" y="16051"/>
                    <a:pt x="29746" y="26551"/>
                  </a:cubicBezTo>
                  <a:cubicBezTo>
                    <a:pt x="13846" y="37170"/>
                    <a:pt x="-2370" y="36030"/>
                    <a:pt x="-2294" y="33374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6" name="Vrije vorm 925">
              <a:extLst>
                <a:ext uri="{FF2B5EF4-FFF2-40B4-BE49-F238E27FC236}">
                  <a16:creationId xmlns:a16="http://schemas.microsoft.com/office/drawing/2014/main" id="{3C4414CC-06E2-7D09-40C6-6C03A688AC3B}"/>
                </a:ext>
              </a:extLst>
            </p:cNvPr>
            <p:cNvSpPr/>
            <p:nvPr/>
          </p:nvSpPr>
          <p:spPr>
            <a:xfrm flipV="1">
              <a:off x="7920701" y="4707401"/>
              <a:ext cx="96258" cy="34628"/>
            </a:xfrm>
            <a:custGeom>
              <a:avLst/>
              <a:gdLst>
                <a:gd name="connsiteX0" fmla="*/ -2039 w 96258"/>
                <a:gd name="connsiteY0" fmla="*/ 22301 h 34628"/>
                <a:gd name="connsiteX1" fmla="*/ 23460 w 96258"/>
                <a:gd name="connsiteY1" fmla="*/ 7648 h 34628"/>
                <a:gd name="connsiteX2" fmla="*/ 54790 w 96258"/>
                <a:gd name="connsiteY2" fmla="*/ 354 h 34628"/>
                <a:gd name="connsiteX3" fmla="*/ 73898 w 96258"/>
                <a:gd name="connsiteY3" fmla="*/ -393 h 34628"/>
                <a:gd name="connsiteX4" fmla="*/ 85043 w 96258"/>
                <a:gd name="connsiteY4" fmla="*/ 1128 h 34628"/>
                <a:gd name="connsiteX5" fmla="*/ 93842 w 96258"/>
                <a:gd name="connsiteY5" fmla="*/ 13660 h 34628"/>
                <a:gd name="connsiteX6" fmla="*/ 86285 w 96258"/>
                <a:gd name="connsiteY6" fmla="*/ 25646 h 34628"/>
                <a:gd name="connsiteX7" fmla="*/ 75990 w 96258"/>
                <a:gd name="connsiteY7" fmla="*/ 29873 h 34628"/>
                <a:gd name="connsiteX8" fmla="*/ 57021 w 96258"/>
                <a:gd name="connsiteY8" fmla="*/ 33640 h 34628"/>
                <a:gd name="connsiteX9" fmla="*/ 24639 w 96258"/>
                <a:gd name="connsiteY9" fmla="*/ 31875 h 34628"/>
                <a:gd name="connsiteX10" fmla="*/ -2305 w 96258"/>
                <a:gd name="connsiteY10" fmla="*/ 19913 h 34628"/>
                <a:gd name="connsiteX11" fmla="*/ 25805 w 96258"/>
                <a:gd name="connsiteY11" fmla="*/ 24913 h 34628"/>
                <a:gd name="connsiteX12" fmla="*/ 55893 w 96258"/>
                <a:gd name="connsiteY12" fmla="*/ 24506 h 34628"/>
                <a:gd name="connsiteX13" fmla="*/ 73111 w 96258"/>
                <a:gd name="connsiteY13" fmla="*/ 20523 h 34628"/>
                <a:gd name="connsiteX14" fmla="*/ 83889 w 96258"/>
                <a:gd name="connsiteY14" fmla="*/ 12985 h 34628"/>
                <a:gd name="connsiteX15" fmla="*/ 81670 w 96258"/>
                <a:gd name="connsiteY15" fmla="*/ 10463 h 34628"/>
                <a:gd name="connsiteX16" fmla="*/ 73492 w 96258"/>
                <a:gd name="connsiteY16" fmla="*/ 9384 h 34628"/>
                <a:gd name="connsiteX17" fmla="*/ 55601 w 96258"/>
                <a:gd name="connsiteY17" fmla="*/ 9512 h 34628"/>
                <a:gd name="connsiteX18" fmla="*/ 25551 w 96258"/>
                <a:gd name="connsiteY18" fmla="*/ 14383 h 34628"/>
                <a:gd name="connsiteX19" fmla="*/ -2039 w 96258"/>
                <a:gd name="connsiteY19" fmla="*/ 22301 h 34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6258" h="34628">
                  <a:moveTo>
                    <a:pt x="-2039" y="22301"/>
                  </a:moveTo>
                  <a:cubicBezTo>
                    <a:pt x="-2660" y="21285"/>
                    <a:pt x="6241" y="14050"/>
                    <a:pt x="23460" y="7648"/>
                  </a:cubicBezTo>
                  <a:cubicBezTo>
                    <a:pt x="32031" y="4463"/>
                    <a:pt x="42681" y="1672"/>
                    <a:pt x="54790" y="354"/>
                  </a:cubicBezTo>
                  <a:cubicBezTo>
                    <a:pt x="60851" y="-305"/>
                    <a:pt x="67254" y="-598"/>
                    <a:pt x="73898" y="-393"/>
                  </a:cubicBezTo>
                  <a:cubicBezTo>
                    <a:pt x="77106" y="-245"/>
                    <a:pt x="80757" y="-344"/>
                    <a:pt x="85043" y="1128"/>
                  </a:cubicBezTo>
                  <a:cubicBezTo>
                    <a:pt x="89290" y="2118"/>
                    <a:pt x="94679" y="7788"/>
                    <a:pt x="93842" y="13660"/>
                  </a:cubicBezTo>
                  <a:cubicBezTo>
                    <a:pt x="93512" y="19075"/>
                    <a:pt x="89899" y="23427"/>
                    <a:pt x="86285" y="25646"/>
                  </a:cubicBezTo>
                  <a:cubicBezTo>
                    <a:pt x="82608" y="27945"/>
                    <a:pt x="79147" y="28946"/>
                    <a:pt x="75990" y="29873"/>
                  </a:cubicBezTo>
                  <a:cubicBezTo>
                    <a:pt x="69536" y="31786"/>
                    <a:pt x="63146" y="32995"/>
                    <a:pt x="57021" y="33640"/>
                  </a:cubicBezTo>
                  <a:cubicBezTo>
                    <a:pt x="44761" y="34859"/>
                    <a:pt x="33641" y="33858"/>
                    <a:pt x="24639" y="31875"/>
                  </a:cubicBezTo>
                  <a:cubicBezTo>
                    <a:pt x="6533" y="27817"/>
                    <a:pt x="-2875" y="20889"/>
                    <a:pt x="-2305" y="19913"/>
                  </a:cubicBezTo>
                  <a:cubicBezTo>
                    <a:pt x="-1645" y="18441"/>
                    <a:pt x="8587" y="22871"/>
                    <a:pt x="25805" y="24913"/>
                  </a:cubicBezTo>
                  <a:cubicBezTo>
                    <a:pt x="34376" y="25914"/>
                    <a:pt x="44710" y="26102"/>
                    <a:pt x="55893" y="24506"/>
                  </a:cubicBezTo>
                  <a:cubicBezTo>
                    <a:pt x="61485" y="23669"/>
                    <a:pt x="67279" y="22386"/>
                    <a:pt x="73111" y="20523"/>
                  </a:cubicBezTo>
                  <a:cubicBezTo>
                    <a:pt x="79312" y="18808"/>
                    <a:pt x="83901" y="16187"/>
                    <a:pt x="83889" y="12985"/>
                  </a:cubicBezTo>
                  <a:cubicBezTo>
                    <a:pt x="83851" y="11781"/>
                    <a:pt x="83711" y="11390"/>
                    <a:pt x="81670" y="10463"/>
                  </a:cubicBezTo>
                  <a:cubicBezTo>
                    <a:pt x="79667" y="9691"/>
                    <a:pt x="76662" y="9537"/>
                    <a:pt x="73492" y="9384"/>
                  </a:cubicBezTo>
                  <a:cubicBezTo>
                    <a:pt x="67304" y="9056"/>
                    <a:pt x="61307" y="9145"/>
                    <a:pt x="55601" y="9512"/>
                  </a:cubicBezTo>
                  <a:cubicBezTo>
                    <a:pt x="44203" y="10260"/>
                    <a:pt x="33983" y="12188"/>
                    <a:pt x="25551" y="14383"/>
                  </a:cubicBezTo>
                  <a:cubicBezTo>
                    <a:pt x="8663" y="18773"/>
                    <a:pt x="-1303" y="23669"/>
                    <a:pt x="-2039" y="22301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7" name="Vrije vorm 926">
              <a:extLst>
                <a:ext uri="{FF2B5EF4-FFF2-40B4-BE49-F238E27FC236}">
                  <a16:creationId xmlns:a16="http://schemas.microsoft.com/office/drawing/2014/main" id="{3A97788B-D4AA-6777-CD4A-CFB0DD964D16}"/>
                </a:ext>
              </a:extLst>
            </p:cNvPr>
            <p:cNvSpPr/>
            <p:nvPr/>
          </p:nvSpPr>
          <p:spPr>
            <a:xfrm flipV="1">
              <a:off x="9831336" y="4119776"/>
              <a:ext cx="811" cy="9717"/>
            </a:xfrm>
            <a:custGeom>
              <a:avLst/>
              <a:gdLst>
                <a:gd name="connsiteX0" fmla="*/ -2791 w 811"/>
                <a:gd name="connsiteY0" fmla="*/ -994 h 9717"/>
                <a:gd name="connsiteX1" fmla="*/ -3603 w 811"/>
                <a:gd name="connsiteY1" fmla="*/ 8724 h 9717"/>
                <a:gd name="connsiteX2" fmla="*/ -2791 w 811"/>
                <a:gd name="connsiteY2" fmla="*/ -994 h 9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1" h="9717">
                  <a:moveTo>
                    <a:pt x="-2791" y="-994"/>
                  </a:moveTo>
                  <a:cubicBezTo>
                    <a:pt x="-3273" y="5248"/>
                    <a:pt x="-3603" y="8724"/>
                    <a:pt x="-3603" y="8724"/>
                  </a:cubicBezTo>
                  <a:lnTo>
                    <a:pt x="-2791" y="-994"/>
                  </a:ln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8" name="Vrije vorm 927">
              <a:extLst>
                <a:ext uri="{FF2B5EF4-FFF2-40B4-BE49-F238E27FC236}">
                  <a16:creationId xmlns:a16="http://schemas.microsoft.com/office/drawing/2014/main" id="{60BF34B2-E3F2-1421-5342-449C9B24B24F}"/>
                </a:ext>
              </a:extLst>
            </p:cNvPr>
            <p:cNvSpPr/>
            <p:nvPr/>
          </p:nvSpPr>
          <p:spPr>
            <a:xfrm flipV="1">
              <a:off x="7874408" y="3646525"/>
              <a:ext cx="1967324" cy="1306696"/>
            </a:xfrm>
            <a:custGeom>
              <a:avLst/>
              <a:gdLst>
                <a:gd name="connsiteX0" fmla="*/ 1963957 w 1967324"/>
                <a:gd name="connsiteY0" fmla="*/ 822827 h 1306696"/>
                <a:gd name="connsiteX1" fmla="*/ 1295621 w 1967324"/>
                <a:gd name="connsiteY1" fmla="*/ 1073077 h 1306696"/>
                <a:gd name="connsiteX2" fmla="*/ 757184 w 1967324"/>
                <a:gd name="connsiteY2" fmla="*/ 1297092 h 1306696"/>
                <a:gd name="connsiteX3" fmla="*/ 379254 w 1967324"/>
                <a:gd name="connsiteY3" fmla="*/ 1044509 h 1306696"/>
                <a:gd name="connsiteX4" fmla="*/ -2937 w 1967324"/>
                <a:gd name="connsiteY4" fmla="*/ 165761 h 1306696"/>
                <a:gd name="connsiteX5" fmla="*/ 254008 w 1967324"/>
                <a:gd name="connsiteY5" fmla="*/ -837 h 1306696"/>
                <a:gd name="connsiteX6" fmla="*/ 767378 w 1967324"/>
                <a:gd name="connsiteY6" fmla="*/ 914836 h 1306696"/>
                <a:gd name="connsiteX7" fmla="*/ 1518243 w 1967324"/>
                <a:gd name="connsiteY7" fmla="*/ 427227 h 1306696"/>
                <a:gd name="connsiteX8" fmla="*/ 1809346 w 1967324"/>
                <a:gd name="connsiteY8" fmla="*/ 430157 h 1306696"/>
                <a:gd name="connsiteX9" fmla="*/ 1963957 w 1967324"/>
                <a:gd name="connsiteY9" fmla="*/ 822827 h 1306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67324" h="1306696">
                  <a:moveTo>
                    <a:pt x="1963957" y="822827"/>
                  </a:moveTo>
                  <a:lnTo>
                    <a:pt x="1295621" y="1073077"/>
                  </a:lnTo>
                  <a:cubicBezTo>
                    <a:pt x="1295621" y="1073077"/>
                    <a:pt x="900738" y="1257500"/>
                    <a:pt x="757184" y="1297092"/>
                  </a:cubicBezTo>
                  <a:cubicBezTo>
                    <a:pt x="603524" y="1339475"/>
                    <a:pt x="464915" y="1223820"/>
                    <a:pt x="379254" y="1044509"/>
                  </a:cubicBezTo>
                  <a:cubicBezTo>
                    <a:pt x="321234" y="923069"/>
                    <a:pt x="-2937" y="165761"/>
                    <a:pt x="-2937" y="165761"/>
                  </a:cubicBezTo>
                  <a:lnTo>
                    <a:pt x="254008" y="-837"/>
                  </a:lnTo>
                  <a:lnTo>
                    <a:pt x="767378" y="914836"/>
                  </a:lnTo>
                  <a:lnTo>
                    <a:pt x="1518243" y="427227"/>
                  </a:lnTo>
                  <a:cubicBezTo>
                    <a:pt x="1518243" y="427227"/>
                    <a:pt x="1666274" y="430157"/>
                    <a:pt x="1809346" y="430157"/>
                  </a:cubicBezTo>
                  <a:cubicBezTo>
                    <a:pt x="1938674" y="430157"/>
                    <a:pt x="1968484" y="763776"/>
                    <a:pt x="1963957" y="822827"/>
                  </a:cubicBez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9" name="Vrije vorm 928">
              <a:extLst>
                <a:ext uri="{FF2B5EF4-FFF2-40B4-BE49-F238E27FC236}">
                  <a16:creationId xmlns:a16="http://schemas.microsoft.com/office/drawing/2014/main" id="{3BDBFCEB-1031-4C9D-16D7-4608C93236FB}"/>
                </a:ext>
              </a:extLst>
            </p:cNvPr>
            <p:cNvSpPr/>
            <p:nvPr/>
          </p:nvSpPr>
          <p:spPr>
            <a:xfrm flipV="1">
              <a:off x="9832148" y="4129493"/>
              <a:ext cx="13" cy="63"/>
            </a:xfrm>
            <a:custGeom>
              <a:avLst/>
              <a:gdLst>
                <a:gd name="connsiteX0" fmla="*/ -3603 w 13"/>
                <a:gd name="connsiteY0" fmla="*/ -926 h 63"/>
                <a:gd name="connsiteX1" fmla="*/ -3590 w 13"/>
                <a:gd name="connsiteY1" fmla="*/ -989 h 63"/>
                <a:gd name="connsiteX2" fmla="*/ -3590 w 13"/>
                <a:gd name="connsiteY2" fmla="*/ -989 h 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" h="63">
                  <a:moveTo>
                    <a:pt x="-3603" y="-926"/>
                  </a:moveTo>
                  <a:lnTo>
                    <a:pt x="-3590" y="-989"/>
                  </a:lnTo>
                  <a:lnTo>
                    <a:pt x="-3590" y="-989"/>
                  </a:lnTo>
                  <a:close/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0" name="Vrije vorm 929">
              <a:extLst>
                <a:ext uri="{FF2B5EF4-FFF2-40B4-BE49-F238E27FC236}">
                  <a16:creationId xmlns:a16="http://schemas.microsoft.com/office/drawing/2014/main" id="{7FC03C88-7699-B44B-0A02-CF9112C1FCD3}"/>
                </a:ext>
              </a:extLst>
            </p:cNvPr>
            <p:cNvSpPr/>
            <p:nvPr/>
          </p:nvSpPr>
          <p:spPr>
            <a:xfrm flipV="1">
              <a:off x="8207467" y="4080261"/>
              <a:ext cx="1204325" cy="1340285"/>
            </a:xfrm>
            <a:custGeom>
              <a:avLst/>
              <a:gdLst>
                <a:gd name="connsiteX0" fmla="*/ -2904 w 1204325"/>
                <a:gd name="connsiteY0" fmla="*/ 13088 h 1340285"/>
                <a:gd name="connsiteX1" fmla="*/ 91189 w 1204325"/>
                <a:gd name="connsiteY1" fmla="*/ 1051330 h 1340285"/>
                <a:gd name="connsiteX2" fmla="*/ 232410 w 1204325"/>
                <a:gd name="connsiteY2" fmla="*/ 1310612 h 1340285"/>
                <a:gd name="connsiteX3" fmla="*/ 502808 w 1204325"/>
                <a:gd name="connsiteY3" fmla="*/ 1336401 h 1340285"/>
                <a:gd name="connsiteX4" fmla="*/ 1201422 w 1204325"/>
                <a:gd name="connsiteY4" fmla="*/ 895246 h 1340285"/>
                <a:gd name="connsiteX5" fmla="*/ 484676 w 1204325"/>
                <a:gd name="connsiteY5" fmla="*/ 882929 h 1340285"/>
                <a:gd name="connsiteX6" fmla="*/ 437814 w 1204325"/>
                <a:gd name="connsiteY6" fmla="*/ 666601 h 1340285"/>
                <a:gd name="connsiteX7" fmla="*/ 332716 w 1204325"/>
                <a:gd name="connsiteY7" fmla="*/ -434 h 1340285"/>
                <a:gd name="connsiteX8" fmla="*/ -2904 w 1204325"/>
                <a:gd name="connsiteY8" fmla="*/ 13088 h 134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4325" h="1340285">
                  <a:moveTo>
                    <a:pt x="-2904" y="13088"/>
                  </a:moveTo>
                  <a:lnTo>
                    <a:pt x="91189" y="1051330"/>
                  </a:lnTo>
                  <a:cubicBezTo>
                    <a:pt x="91189" y="1051330"/>
                    <a:pt x="107760" y="1267455"/>
                    <a:pt x="232410" y="1310612"/>
                  </a:cubicBezTo>
                  <a:cubicBezTo>
                    <a:pt x="357072" y="1353755"/>
                    <a:pt x="502808" y="1336401"/>
                    <a:pt x="502808" y="1336401"/>
                  </a:cubicBezTo>
                  <a:lnTo>
                    <a:pt x="1201422" y="895246"/>
                  </a:lnTo>
                  <a:lnTo>
                    <a:pt x="484676" y="882929"/>
                  </a:lnTo>
                  <a:cubicBezTo>
                    <a:pt x="484676" y="882929"/>
                    <a:pt x="448211" y="732046"/>
                    <a:pt x="437814" y="666601"/>
                  </a:cubicBezTo>
                  <a:cubicBezTo>
                    <a:pt x="425414" y="588569"/>
                    <a:pt x="332716" y="-434"/>
                    <a:pt x="332716" y="-434"/>
                  </a:cubicBezTo>
                  <a:lnTo>
                    <a:pt x="-2904" y="13088"/>
                  </a:lnTo>
                </a:path>
              </a:pathLst>
            </a:custGeom>
            <a:solidFill>
              <a:schemeClr val="tx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1" name="Vrije vorm 930">
              <a:extLst>
                <a:ext uri="{FF2B5EF4-FFF2-40B4-BE49-F238E27FC236}">
                  <a16:creationId xmlns:a16="http://schemas.microsoft.com/office/drawing/2014/main" id="{2A4248E8-EBE6-9F23-69A1-D5651195ACB1}"/>
                </a:ext>
              </a:extLst>
            </p:cNvPr>
            <p:cNvSpPr/>
            <p:nvPr/>
          </p:nvSpPr>
          <p:spPr>
            <a:xfrm flipV="1">
              <a:off x="8217369" y="4077863"/>
              <a:ext cx="1178219" cy="1219936"/>
            </a:xfrm>
            <a:custGeom>
              <a:avLst/>
              <a:gdLst>
                <a:gd name="connsiteX0" fmla="*/ 1175318 w 1178219"/>
                <a:gd name="connsiteY0" fmla="*/ 810779 h 1219936"/>
                <a:gd name="connsiteX1" fmla="*/ 1172110 w 1178219"/>
                <a:gd name="connsiteY1" fmla="*/ 812910 h 1219936"/>
                <a:gd name="connsiteX2" fmla="*/ 1162423 w 1178219"/>
                <a:gd name="connsiteY2" fmla="*/ 818860 h 1219936"/>
                <a:gd name="connsiteX3" fmla="*/ 1124651 w 1178219"/>
                <a:gd name="connsiteY3" fmla="*/ 841580 h 1219936"/>
                <a:gd name="connsiteX4" fmla="*/ 982694 w 1178219"/>
                <a:gd name="connsiteY4" fmla="*/ 926079 h 1219936"/>
                <a:gd name="connsiteX5" fmla="*/ 765816 w 1178219"/>
                <a:gd name="connsiteY5" fmla="*/ 1054597 h 1219936"/>
                <a:gd name="connsiteX6" fmla="*/ 634396 w 1178219"/>
                <a:gd name="connsiteY6" fmla="*/ 1132347 h 1219936"/>
                <a:gd name="connsiteX7" fmla="*/ 563823 w 1178219"/>
                <a:gd name="connsiteY7" fmla="*/ 1174057 h 1219936"/>
                <a:gd name="connsiteX8" fmla="*/ 489560 w 1178219"/>
                <a:gd name="connsiteY8" fmla="*/ 1216110 h 1219936"/>
                <a:gd name="connsiteX9" fmla="*/ 489066 w 1178219"/>
                <a:gd name="connsiteY9" fmla="*/ 1216389 h 1219936"/>
                <a:gd name="connsiteX10" fmla="*/ 488483 w 1178219"/>
                <a:gd name="connsiteY10" fmla="*/ 1216402 h 1219936"/>
                <a:gd name="connsiteX11" fmla="*/ 391296 w 1178219"/>
                <a:gd name="connsiteY11" fmla="*/ 1219446 h 1219936"/>
                <a:gd name="connsiteX12" fmla="*/ 391195 w 1178219"/>
                <a:gd name="connsiteY12" fmla="*/ 1219446 h 1219936"/>
                <a:gd name="connsiteX13" fmla="*/ 391106 w 1178219"/>
                <a:gd name="connsiteY13" fmla="*/ 1219446 h 1219936"/>
                <a:gd name="connsiteX14" fmla="*/ 265264 w 1178219"/>
                <a:gd name="connsiteY14" fmla="*/ 1203171 h 1219936"/>
                <a:gd name="connsiteX15" fmla="*/ 233858 w 1178219"/>
                <a:gd name="connsiteY15" fmla="*/ 1193542 h 1219936"/>
                <a:gd name="connsiteX16" fmla="*/ 204721 w 1178219"/>
                <a:gd name="connsiteY16" fmla="*/ 1177609 h 1219936"/>
                <a:gd name="connsiteX17" fmla="*/ 191192 w 1178219"/>
                <a:gd name="connsiteY17" fmla="*/ 1167828 h 1219936"/>
                <a:gd name="connsiteX18" fmla="*/ 184421 w 1178219"/>
                <a:gd name="connsiteY18" fmla="*/ 1162894 h 1219936"/>
                <a:gd name="connsiteX19" fmla="*/ 178310 w 1178219"/>
                <a:gd name="connsiteY19" fmla="*/ 1157173 h 1219936"/>
                <a:gd name="connsiteX20" fmla="*/ 166036 w 1178219"/>
                <a:gd name="connsiteY20" fmla="*/ 1145667 h 1219936"/>
                <a:gd name="connsiteX21" fmla="*/ 154980 w 1178219"/>
                <a:gd name="connsiteY21" fmla="*/ 1132956 h 1219936"/>
                <a:gd name="connsiteX22" fmla="*/ 99141 w 1178219"/>
                <a:gd name="connsiteY22" fmla="*/ 1028984 h 1219936"/>
                <a:gd name="connsiteX23" fmla="*/ 77751 w 1178219"/>
                <a:gd name="connsiteY23" fmla="*/ 916247 h 1219936"/>
                <a:gd name="connsiteX24" fmla="*/ 58364 w 1178219"/>
                <a:gd name="connsiteY24" fmla="*/ 700757 h 1219936"/>
                <a:gd name="connsiteX25" fmla="*/ 25830 w 1178219"/>
                <a:gd name="connsiteY25" fmla="*/ 335857 h 1219936"/>
                <a:gd name="connsiteX26" fmla="*/ 4313 w 1178219"/>
                <a:gd name="connsiteY26" fmla="*/ 89791 h 1219936"/>
                <a:gd name="connsiteX27" fmla="*/ -1292 w 1178219"/>
                <a:gd name="connsiteY27" fmla="*/ 22874 h 1219936"/>
                <a:gd name="connsiteX28" fmla="*/ -2623 w 1178219"/>
                <a:gd name="connsiteY28" fmla="*/ 5457 h 1219936"/>
                <a:gd name="connsiteX29" fmla="*/ -2902 w 1178219"/>
                <a:gd name="connsiteY29" fmla="*/ -490 h 1219936"/>
                <a:gd name="connsiteX30" fmla="*/ -2116 w 1178219"/>
                <a:gd name="connsiteY30" fmla="*/ 5422 h 1219936"/>
                <a:gd name="connsiteX31" fmla="*/ -303 w 1178219"/>
                <a:gd name="connsiteY31" fmla="*/ 22785 h 1219936"/>
                <a:gd name="connsiteX32" fmla="*/ 6227 w 1178219"/>
                <a:gd name="connsiteY32" fmla="*/ 89627 h 1219936"/>
                <a:gd name="connsiteX33" fmla="*/ 29304 w 1178219"/>
                <a:gd name="connsiteY33" fmla="*/ 335566 h 1219936"/>
                <a:gd name="connsiteX34" fmla="*/ 62891 w 1178219"/>
                <a:gd name="connsiteY34" fmla="*/ 700427 h 1219936"/>
                <a:gd name="connsiteX35" fmla="*/ 82569 w 1178219"/>
                <a:gd name="connsiteY35" fmla="*/ 915917 h 1219936"/>
                <a:gd name="connsiteX36" fmla="*/ 103794 w 1178219"/>
                <a:gd name="connsiteY36" fmla="*/ 1027449 h 1219936"/>
                <a:gd name="connsiteX37" fmla="*/ 158759 w 1178219"/>
                <a:gd name="connsiteY37" fmla="*/ 1129797 h 1219936"/>
                <a:gd name="connsiteX38" fmla="*/ 169587 w 1178219"/>
                <a:gd name="connsiteY38" fmla="*/ 1142254 h 1219936"/>
                <a:gd name="connsiteX39" fmla="*/ 181581 w 1178219"/>
                <a:gd name="connsiteY39" fmla="*/ 1153494 h 1219936"/>
                <a:gd name="connsiteX40" fmla="*/ 187566 w 1178219"/>
                <a:gd name="connsiteY40" fmla="*/ 1159101 h 1219936"/>
                <a:gd name="connsiteX41" fmla="*/ 194185 w 1178219"/>
                <a:gd name="connsiteY41" fmla="*/ 1163909 h 1219936"/>
                <a:gd name="connsiteX42" fmla="*/ 207384 w 1178219"/>
                <a:gd name="connsiteY42" fmla="*/ 1173486 h 1219936"/>
                <a:gd name="connsiteX43" fmla="*/ 235734 w 1178219"/>
                <a:gd name="connsiteY43" fmla="*/ 1189001 h 1219936"/>
                <a:gd name="connsiteX44" fmla="*/ 266431 w 1178219"/>
                <a:gd name="connsiteY44" fmla="*/ 1198426 h 1219936"/>
                <a:gd name="connsiteX45" fmla="*/ 391322 w 1178219"/>
                <a:gd name="connsiteY45" fmla="*/ 1214651 h 1219936"/>
                <a:gd name="connsiteX46" fmla="*/ 391144 w 1178219"/>
                <a:gd name="connsiteY46" fmla="*/ 1214638 h 1219936"/>
                <a:gd name="connsiteX47" fmla="*/ 488343 w 1178219"/>
                <a:gd name="connsiteY47" fmla="*/ 1211721 h 1219936"/>
                <a:gd name="connsiteX48" fmla="*/ 487265 w 1178219"/>
                <a:gd name="connsiteY48" fmla="*/ 1212025 h 1219936"/>
                <a:gd name="connsiteX49" fmla="*/ 561553 w 1178219"/>
                <a:gd name="connsiteY49" fmla="*/ 1170112 h 1219936"/>
                <a:gd name="connsiteX50" fmla="*/ 632189 w 1178219"/>
                <a:gd name="connsiteY50" fmla="*/ 1128541 h 1219936"/>
                <a:gd name="connsiteX51" fmla="*/ 763813 w 1178219"/>
                <a:gd name="connsiteY51" fmla="*/ 1051146 h 1219936"/>
                <a:gd name="connsiteX52" fmla="*/ 981224 w 1178219"/>
                <a:gd name="connsiteY52" fmla="*/ 923554 h 1219936"/>
                <a:gd name="connsiteX53" fmla="*/ 1123853 w 1178219"/>
                <a:gd name="connsiteY53" fmla="*/ 840222 h 1219936"/>
                <a:gd name="connsiteX54" fmla="*/ 1162004 w 1178219"/>
                <a:gd name="connsiteY54" fmla="*/ 818162 h 1219936"/>
                <a:gd name="connsiteX55" fmla="*/ 1171894 w 1178219"/>
                <a:gd name="connsiteY55" fmla="*/ 812568 h 1219936"/>
                <a:gd name="connsiteX56" fmla="*/ 1175318 w 1178219"/>
                <a:gd name="connsiteY56" fmla="*/ 810779 h 1219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178219" h="1219936">
                  <a:moveTo>
                    <a:pt x="1175318" y="810779"/>
                  </a:moveTo>
                  <a:cubicBezTo>
                    <a:pt x="1175318" y="810779"/>
                    <a:pt x="1174265" y="811565"/>
                    <a:pt x="1172110" y="812910"/>
                  </a:cubicBezTo>
                  <a:cubicBezTo>
                    <a:pt x="1169790" y="814344"/>
                    <a:pt x="1166582" y="816297"/>
                    <a:pt x="1162423" y="818860"/>
                  </a:cubicBezTo>
                  <a:cubicBezTo>
                    <a:pt x="1153687" y="824112"/>
                    <a:pt x="1141020" y="831736"/>
                    <a:pt x="1124651" y="841580"/>
                  </a:cubicBezTo>
                  <a:cubicBezTo>
                    <a:pt x="1091444" y="861344"/>
                    <a:pt x="1043251" y="890026"/>
                    <a:pt x="982694" y="926079"/>
                  </a:cubicBezTo>
                  <a:cubicBezTo>
                    <a:pt x="921910" y="962106"/>
                    <a:pt x="848726" y="1005478"/>
                    <a:pt x="765816" y="1054597"/>
                  </a:cubicBezTo>
                  <a:cubicBezTo>
                    <a:pt x="724329" y="1079143"/>
                    <a:pt x="680409" y="1105123"/>
                    <a:pt x="634396" y="1132347"/>
                  </a:cubicBezTo>
                  <a:cubicBezTo>
                    <a:pt x="611382" y="1145946"/>
                    <a:pt x="587837" y="1159862"/>
                    <a:pt x="563823" y="1174057"/>
                  </a:cubicBezTo>
                  <a:cubicBezTo>
                    <a:pt x="539542" y="1187808"/>
                    <a:pt x="514767" y="1201826"/>
                    <a:pt x="489560" y="1216110"/>
                  </a:cubicBezTo>
                  <a:lnTo>
                    <a:pt x="489066" y="1216389"/>
                  </a:lnTo>
                  <a:lnTo>
                    <a:pt x="488483" y="1216402"/>
                  </a:lnTo>
                  <a:cubicBezTo>
                    <a:pt x="457837" y="1217366"/>
                    <a:pt x="424845" y="1218393"/>
                    <a:pt x="391296" y="1219446"/>
                  </a:cubicBezTo>
                  <a:lnTo>
                    <a:pt x="391195" y="1219446"/>
                  </a:lnTo>
                  <a:lnTo>
                    <a:pt x="391106" y="1219446"/>
                  </a:lnTo>
                  <a:cubicBezTo>
                    <a:pt x="349898" y="1217391"/>
                    <a:pt x="307486" y="1213357"/>
                    <a:pt x="265264" y="1203171"/>
                  </a:cubicBezTo>
                  <a:cubicBezTo>
                    <a:pt x="254728" y="1200532"/>
                    <a:pt x="244230" y="1197665"/>
                    <a:pt x="233858" y="1193542"/>
                  </a:cubicBezTo>
                  <a:cubicBezTo>
                    <a:pt x="224044" y="1188341"/>
                    <a:pt x="214129" y="1183508"/>
                    <a:pt x="204721" y="1177609"/>
                  </a:cubicBezTo>
                  <a:lnTo>
                    <a:pt x="191192" y="1167828"/>
                  </a:lnTo>
                  <a:lnTo>
                    <a:pt x="184421" y="1162894"/>
                  </a:lnTo>
                  <a:lnTo>
                    <a:pt x="178310" y="1157173"/>
                  </a:lnTo>
                  <a:lnTo>
                    <a:pt x="166036" y="1145667"/>
                  </a:lnTo>
                  <a:cubicBezTo>
                    <a:pt x="162106" y="1141671"/>
                    <a:pt x="158695" y="1137180"/>
                    <a:pt x="154980" y="1132956"/>
                  </a:cubicBezTo>
                  <a:cubicBezTo>
                    <a:pt x="129153" y="1102117"/>
                    <a:pt x="111110" y="1066014"/>
                    <a:pt x="99141" y="1028984"/>
                  </a:cubicBezTo>
                  <a:cubicBezTo>
                    <a:pt x="86893" y="991980"/>
                    <a:pt x="80033" y="953822"/>
                    <a:pt x="77751" y="916247"/>
                  </a:cubicBezTo>
                  <a:cubicBezTo>
                    <a:pt x="71031" y="841516"/>
                    <a:pt x="64552" y="769437"/>
                    <a:pt x="58364" y="700757"/>
                  </a:cubicBezTo>
                  <a:cubicBezTo>
                    <a:pt x="46129" y="563435"/>
                    <a:pt x="35098" y="439775"/>
                    <a:pt x="25830" y="335857"/>
                  </a:cubicBezTo>
                  <a:cubicBezTo>
                    <a:pt x="16751" y="232088"/>
                    <a:pt x="9410" y="148071"/>
                    <a:pt x="4313" y="89791"/>
                  </a:cubicBezTo>
                  <a:cubicBezTo>
                    <a:pt x="1891" y="60881"/>
                    <a:pt x="14" y="38350"/>
                    <a:pt x="-1292" y="22874"/>
                  </a:cubicBezTo>
                  <a:cubicBezTo>
                    <a:pt x="-1862" y="15353"/>
                    <a:pt x="-2306" y="9554"/>
                    <a:pt x="-2623" y="5457"/>
                  </a:cubicBezTo>
                  <a:cubicBezTo>
                    <a:pt x="-2889" y="1537"/>
                    <a:pt x="-2902" y="-490"/>
                    <a:pt x="-2902" y="-490"/>
                  </a:cubicBezTo>
                  <a:cubicBezTo>
                    <a:pt x="-2902" y="-490"/>
                    <a:pt x="-2559" y="1502"/>
                    <a:pt x="-2116" y="5422"/>
                  </a:cubicBezTo>
                  <a:cubicBezTo>
                    <a:pt x="-1685" y="9505"/>
                    <a:pt x="-1089" y="15278"/>
                    <a:pt x="-303" y="22785"/>
                  </a:cubicBezTo>
                  <a:cubicBezTo>
                    <a:pt x="1206" y="38250"/>
                    <a:pt x="3400" y="60743"/>
                    <a:pt x="6227" y="89627"/>
                  </a:cubicBezTo>
                  <a:cubicBezTo>
                    <a:pt x="11692" y="147868"/>
                    <a:pt x="19566" y="231845"/>
                    <a:pt x="29304" y="335566"/>
                  </a:cubicBezTo>
                  <a:cubicBezTo>
                    <a:pt x="38864" y="439474"/>
                    <a:pt x="50250" y="563118"/>
                    <a:pt x="62891" y="700427"/>
                  </a:cubicBezTo>
                  <a:cubicBezTo>
                    <a:pt x="69167" y="769107"/>
                    <a:pt x="75748" y="841186"/>
                    <a:pt x="82569" y="915917"/>
                  </a:cubicBezTo>
                  <a:cubicBezTo>
                    <a:pt x="84877" y="953239"/>
                    <a:pt x="91673" y="990839"/>
                    <a:pt x="103794" y="1027449"/>
                  </a:cubicBezTo>
                  <a:cubicBezTo>
                    <a:pt x="115624" y="1064035"/>
                    <a:pt x="133451" y="1099567"/>
                    <a:pt x="158759" y="1129797"/>
                  </a:cubicBezTo>
                  <a:cubicBezTo>
                    <a:pt x="162385" y="1133932"/>
                    <a:pt x="165745" y="1138334"/>
                    <a:pt x="169587" y="1142254"/>
                  </a:cubicBezTo>
                  <a:lnTo>
                    <a:pt x="181581" y="1153494"/>
                  </a:lnTo>
                  <a:lnTo>
                    <a:pt x="187566" y="1159101"/>
                  </a:lnTo>
                  <a:lnTo>
                    <a:pt x="194185" y="1163909"/>
                  </a:lnTo>
                  <a:lnTo>
                    <a:pt x="207384" y="1173486"/>
                  </a:lnTo>
                  <a:cubicBezTo>
                    <a:pt x="216525" y="1179220"/>
                    <a:pt x="226377" y="1184003"/>
                    <a:pt x="235734" y="1189001"/>
                  </a:cubicBezTo>
                  <a:cubicBezTo>
                    <a:pt x="245611" y="1192933"/>
                    <a:pt x="256072" y="1195826"/>
                    <a:pt x="266431" y="1198426"/>
                  </a:cubicBezTo>
                  <a:cubicBezTo>
                    <a:pt x="308146" y="1208511"/>
                    <a:pt x="350342" y="1212571"/>
                    <a:pt x="391322" y="1214651"/>
                  </a:cubicBezTo>
                  <a:lnTo>
                    <a:pt x="391144" y="1214638"/>
                  </a:lnTo>
                  <a:cubicBezTo>
                    <a:pt x="424693" y="1213636"/>
                    <a:pt x="457685" y="1212647"/>
                    <a:pt x="488343" y="1211721"/>
                  </a:cubicBezTo>
                  <a:lnTo>
                    <a:pt x="487265" y="1212025"/>
                  </a:lnTo>
                  <a:cubicBezTo>
                    <a:pt x="512484" y="1197792"/>
                    <a:pt x="537260" y="1183812"/>
                    <a:pt x="561553" y="1170112"/>
                  </a:cubicBezTo>
                  <a:cubicBezTo>
                    <a:pt x="585593" y="1155967"/>
                    <a:pt x="609151" y="1142102"/>
                    <a:pt x="632189" y="1128541"/>
                  </a:cubicBezTo>
                  <a:cubicBezTo>
                    <a:pt x="678278" y="1101445"/>
                    <a:pt x="722263" y="1075591"/>
                    <a:pt x="763813" y="1051146"/>
                  </a:cubicBezTo>
                  <a:cubicBezTo>
                    <a:pt x="846925" y="1002383"/>
                    <a:pt x="920287" y="959315"/>
                    <a:pt x="981224" y="923554"/>
                  </a:cubicBezTo>
                  <a:cubicBezTo>
                    <a:pt x="1042071" y="888009"/>
                    <a:pt x="1090493" y="859720"/>
                    <a:pt x="1123853" y="840222"/>
                  </a:cubicBezTo>
                  <a:cubicBezTo>
                    <a:pt x="1140386" y="830670"/>
                    <a:pt x="1153192" y="823274"/>
                    <a:pt x="1162004" y="818162"/>
                  </a:cubicBezTo>
                  <a:cubicBezTo>
                    <a:pt x="1166265" y="815764"/>
                    <a:pt x="1169536" y="813912"/>
                    <a:pt x="1171894" y="812568"/>
                  </a:cubicBezTo>
                  <a:cubicBezTo>
                    <a:pt x="1174138" y="811324"/>
                    <a:pt x="1175318" y="810779"/>
                    <a:pt x="1175318" y="810779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2" name="Vrije vorm 931">
              <a:extLst>
                <a:ext uri="{FF2B5EF4-FFF2-40B4-BE49-F238E27FC236}">
                  <a16:creationId xmlns:a16="http://schemas.microsoft.com/office/drawing/2014/main" id="{E7289FC9-8689-335A-F8FB-CE6FFC1018FF}"/>
                </a:ext>
              </a:extLst>
            </p:cNvPr>
            <p:cNvSpPr/>
            <p:nvPr/>
          </p:nvSpPr>
          <p:spPr>
            <a:xfrm flipV="1">
              <a:off x="8895886" y="3610740"/>
              <a:ext cx="359101" cy="269645"/>
            </a:xfrm>
            <a:custGeom>
              <a:avLst/>
              <a:gdLst>
                <a:gd name="connsiteX0" fmla="*/ 356016 w 359101"/>
                <a:gd name="connsiteY0" fmla="*/ 268313 h 269645"/>
                <a:gd name="connsiteX1" fmla="*/ 164318 w 359101"/>
                <a:gd name="connsiteY1" fmla="*/ 229394 h 269645"/>
                <a:gd name="connsiteX2" fmla="*/ -3086 w 359101"/>
                <a:gd name="connsiteY2" fmla="*/ 172993 h 269645"/>
                <a:gd name="connsiteX3" fmla="*/ 279446 w 359101"/>
                <a:gd name="connsiteY3" fmla="*/ -1332 h 269645"/>
                <a:gd name="connsiteX4" fmla="*/ 327614 w 359101"/>
                <a:gd name="connsiteY4" fmla="*/ 108576 h 269645"/>
                <a:gd name="connsiteX5" fmla="*/ 356016 w 359101"/>
                <a:gd name="connsiteY5" fmla="*/ 268313 h 269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9101" h="269645">
                  <a:moveTo>
                    <a:pt x="356016" y="268313"/>
                  </a:moveTo>
                  <a:lnTo>
                    <a:pt x="164318" y="229394"/>
                  </a:lnTo>
                  <a:lnTo>
                    <a:pt x="-3086" y="172993"/>
                  </a:lnTo>
                  <a:lnTo>
                    <a:pt x="279446" y="-1332"/>
                  </a:lnTo>
                  <a:lnTo>
                    <a:pt x="327614" y="108576"/>
                  </a:lnTo>
                  <a:lnTo>
                    <a:pt x="356016" y="268313"/>
                  </a:lnTo>
                </a:path>
              </a:pathLst>
            </a:custGeom>
            <a:solidFill>
              <a:srgbClr val="F2575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3" name="Vrije vorm 932">
              <a:extLst>
                <a:ext uri="{FF2B5EF4-FFF2-40B4-BE49-F238E27FC236}">
                  <a16:creationId xmlns:a16="http://schemas.microsoft.com/office/drawing/2014/main" id="{82EB1A45-8A0D-22E7-5F13-6C8046900442}"/>
                </a:ext>
              </a:extLst>
            </p:cNvPr>
            <p:cNvSpPr/>
            <p:nvPr/>
          </p:nvSpPr>
          <p:spPr>
            <a:xfrm flipV="1">
              <a:off x="9181055" y="2711850"/>
              <a:ext cx="879040" cy="1463291"/>
            </a:xfrm>
            <a:custGeom>
              <a:avLst/>
              <a:gdLst>
                <a:gd name="connsiteX0" fmla="*/ 765716 w 879040"/>
                <a:gd name="connsiteY0" fmla="*/ 1394785 h 1463291"/>
                <a:gd name="connsiteX1" fmla="*/ 863473 w 879040"/>
                <a:gd name="connsiteY1" fmla="*/ 911286 h 1463291"/>
                <a:gd name="connsiteX2" fmla="*/ 711994 w 879040"/>
                <a:gd name="connsiteY2" fmla="*/ 42511 h 1463291"/>
                <a:gd name="connsiteX3" fmla="*/ 683123 w 879040"/>
                <a:gd name="connsiteY3" fmla="*/ -1470 h 1463291"/>
                <a:gd name="connsiteX4" fmla="*/ -3458 w 879040"/>
                <a:gd name="connsiteY4" fmla="*/ 285504 h 1463291"/>
                <a:gd name="connsiteX5" fmla="*/ 141580 w 879040"/>
                <a:gd name="connsiteY5" fmla="*/ 869499 h 1463291"/>
                <a:gd name="connsiteX6" fmla="*/ 358762 w 879040"/>
                <a:gd name="connsiteY6" fmla="*/ 1265988 h 1463291"/>
                <a:gd name="connsiteX7" fmla="*/ 392299 w 879040"/>
                <a:gd name="connsiteY7" fmla="*/ 1367828 h 1463291"/>
                <a:gd name="connsiteX8" fmla="*/ 751300 w 879040"/>
                <a:gd name="connsiteY8" fmla="*/ 1461689 h 1463291"/>
                <a:gd name="connsiteX9" fmla="*/ 765716 w 879040"/>
                <a:gd name="connsiteY9" fmla="*/ 1394785 h 1463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9040" h="1463291">
                  <a:moveTo>
                    <a:pt x="765716" y="1394785"/>
                  </a:moveTo>
                  <a:cubicBezTo>
                    <a:pt x="765716" y="1394785"/>
                    <a:pt x="918970" y="1185193"/>
                    <a:pt x="863473" y="911286"/>
                  </a:cubicBezTo>
                  <a:cubicBezTo>
                    <a:pt x="807976" y="637378"/>
                    <a:pt x="714745" y="101918"/>
                    <a:pt x="711994" y="42511"/>
                  </a:cubicBezTo>
                  <a:cubicBezTo>
                    <a:pt x="709737" y="-6303"/>
                    <a:pt x="683123" y="-1470"/>
                    <a:pt x="683123" y="-1470"/>
                  </a:cubicBezTo>
                  <a:lnTo>
                    <a:pt x="-3458" y="285504"/>
                  </a:lnTo>
                  <a:lnTo>
                    <a:pt x="141580" y="869499"/>
                  </a:lnTo>
                  <a:lnTo>
                    <a:pt x="358762" y="1265988"/>
                  </a:lnTo>
                  <a:lnTo>
                    <a:pt x="392299" y="1367828"/>
                  </a:lnTo>
                  <a:lnTo>
                    <a:pt x="751300" y="1461689"/>
                  </a:lnTo>
                  <a:lnTo>
                    <a:pt x="765716" y="1394785"/>
                  </a:lnTo>
                </a:path>
              </a:pathLst>
            </a:custGeom>
            <a:solidFill>
              <a:schemeClr val="bg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dirty="0"/>
            </a:p>
          </p:txBody>
        </p:sp>
        <p:sp>
          <p:nvSpPr>
            <p:cNvPr id="934" name="Vrije vorm 933">
              <a:extLst>
                <a:ext uri="{FF2B5EF4-FFF2-40B4-BE49-F238E27FC236}">
                  <a16:creationId xmlns:a16="http://schemas.microsoft.com/office/drawing/2014/main" id="{CE7481E3-BA12-00A3-D38B-0C6F6689B578}"/>
                </a:ext>
              </a:extLst>
            </p:cNvPr>
            <p:cNvSpPr/>
            <p:nvPr/>
          </p:nvSpPr>
          <p:spPr>
            <a:xfrm flipV="1">
              <a:off x="8950458" y="3724606"/>
              <a:ext cx="268425" cy="437824"/>
            </a:xfrm>
            <a:custGeom>
              <a:avLst/>
              <a:gdLst>
                <a:gd name="connsiteX0" fmla="*/ 254043 w 268425"/>
                <a:gd name="connsiteY0" fmla="*/ 361215 h 437824"/>
                <a:gd name="connsiteX1" fmla="*/ 265290 w 268425"/>
                <a:gd name="connsiteY1" fmla="*/ 224730 h 437824"/>
                <a:gd name="connsiteX2" fmla="*/ 245180 w 268425"/>
                <a:gd name="connsiteY2" fmla="*/ 132747 h 437824"/>
                <a:gd name="connsiteX3" fmla="*/ 241833 w 268425"/>
                <a:gd name="connsiteY3" fmla="*/ 70017 h 437824"/>
                <a:gd name="connsiteX4" fmla="*/ 195579 w 268425"/>
                <a:gd name="connsiteY4" fmla="*/ 88271 h 437824"/>
                <a:gd name="connsiteX5" fmla="*/ 194108 w 268425"/>
                <a:gd name="connsiteY5" fmla="*/ 168977 h 437824"/>
                <a:gd name="connsiteX6" fmla="*/ 177384 w 268425"/>
                <a:gd name="connsiteY6" fmla="*/ 114835 h 437824"/>
                <a:gd name="connsiteX7" fmla="*/ 171818 w 268425"/>
                <a:gd name="connsiteY7" fmla="*/ 13223 h 437824"/>
                <a:gd name="connsiteX8" fmla="*/ 150732 w 268425"/>
                <a:gd name="connsiteY8" fmla="*/ -1035 h 437824"/>
                <a:gd name="connsiteX9" fmla="*/ 122179 w 268425"/>
                <a:gd name="connsiteY9" fmla="*/ 15938 h 437824"/>
                <a:gd name="connsiteX10" fmla="*/ 89847 w 268425"/>
                <a:gd name="connsiteY10" fmla="*/ 35727 h 437824"/>
                <a:gd name="connsiteX11" fmla="*/ 47866 w 268425"/>
                <a:gd name="connsiteY11" fmla="*/ 82601 h 437824"/>
                <a:gd name="connsiteX12" fmla="*/ 23547 w 268425"/>
                <a:gd name="connsiteY12" fmla="*/ 93104 h 437824"/>
                <a:gd name="connsiteX13" fmla="*/ -3092 w 268425"/>
                <a:gd name="connsiteY13" fmla="*/ 145039 h 437824"/>
                <a:gd name="connsiteX14" fmla="*/ 10424 w 268425"/>
                <a:gd name="connsiteY14" fmla="*/ 308164 h 437824"/>
                <a:gd name="connsiteX15" fmla="*/ 103807 w 268425"/>
                <a:gd name="connsiteY15" fmla="*/ 436669 h 437824"/>
                <a:gd name="connsiteX16" fmla="*/ 226352 w 268425"/>
                <a:gd name="connsiteY16" fmla="*/ 432216 h 437824"/>
                <a:gd name="connsiteX17" fmla="*/ 254043 w 268425"/>
                <a:gd name="connsiteY17" fmla="*/ 361215 h 437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8425" h="437824">
                  <a:moveTo>
                    <a:pt x="254043" y="361215"/>
                  </a:moveTo>
                  <a:cubicBezTo>
                    <a:pt x="254043" y="361215"/>
                    <a:pt x="264149" y="239864"/>
                    <a:pt x="265290" y="224730"/>
                  </a:cubicBezTo>
                  <a:cubicBezTo>
                    <a:pt x="266418" y="209584"/>
                    <a:pt x="245383" y="160275"/>
                    <a:pt x="245180" y="132747"/>
                  </a:cubicBezTo>
                  <a:cubicBezTo>
                    <a:pt x="244990" y="105232"/>
                    <a:pt x="253511" y="78554"/>
                    <a:pt x="241833" y="70017"/>
                  </a:cubicBezTo>
                  <a:cubicBezTo>
                    <a:pt x="230155" y="61479"/>
                    <a:pt x="201691" y="68279"/>
                    <a:pt x="195579" y="88271"/>
                  </a:cubicBezTo>
                  <a:cubicBezTo>
                    <a:pt x="189468" y="108276"/>
                    <a:pt x="194108" y="168977"/>
                    <a:pt x="194108" y="168977"/>
                  </a:cubicBezTo>
                  <a:lnTo>
                    <a:pt x="177384" y="114835"/>
                  </a:lnTo>
                  <a:lnTo>
                    <a:pt x="171818" y="13223"/>
                  </a:lnTo>
                  <a:cubicBezTo>
                    <a:pt x="171818" y="13223"/>
                    <a:pt x="168991" y="-2685"/>
                    <a:pt x="150732" y="-1035"/>
                  </a:cubicBezTo>
                  <a:cubicBezTo>
                    <a:pt x="132487" y="626"/>
                    <a:pt x="122179" y="15938"/>
                    <a:pt x="122179" y="15938"/>
                  </a:cubicBezTo>
                  <a:cubicBezTo>
                    <a:pt x="122179" y="15938"/>
                    <a:pt x="100320" y="11561"/>
                    <a:pt x="89847" y="35727"/>
                  </a:cubicBezTo>
                  <a:cubicBezTo>
                    <a:pt x="89847" y="35727"/>
                    <a:pt x="56627" y="27063"/>
                    <a:pt x="47866" y="82601"/>
                  </a:cubicBezTo>
                  <a:cubicBezTo>
                    <a:pt x="47866" y="82601"/>
                    <a:pt x="32562" y="78199"/>
                    <a:pt x="23547" y="93104"/>
                  </a:cubicBezTo>
                  <a:cubicBezTo>
                    <a:pt x="14532" y="108023"/>
                    <a:pt x="-3092" y="145039"/>
                    <a:pt x="-3092" y="145039"/>
                  </a:cubicBezTo>
                  <a:cubicBezTo>
                    <a:pt x="-3092" y="145039"/>
                    <a:pt x="978" y="279190"/>
                    <a:pt x="10424" y="308164"/>
                  </a:cubicBezTo>
                  <a:cubicBezTo>
                    <a:pt x="19870" y="337138"/>
                    <a:pt x="103807" y="436669"/>
                    <a:pt x="103807" y="436669"/>
                  </a:cubicBezTo>
                  <a:cubicBezTo>
                    <a:pt x="103807" y="436669"/>
                    <a:pt x="191534" y="429540"/>
                    <a:pt x="226352" y="432216"/>
                  </a:cubicBezTo>
                  <a:lnTo>
                    <a:pt x="254043" y="361215"/>
                  </a:lnTo>
                </a:path>
              </a:pathLst>
            </a:custGeom>
            <a:solidFill>
              <a:srgbClr val="F9A78D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5" name="Vrije vorm 934">
              <a:extLst>
                <a:ext uri="{FF2B5EF4-FFF2-40B4-BE49-F238E27FC236}">
                  <a16:creationId xmlns:a16="http://schemas.microsoft.com/office/drawing/2014/main" id="{F5B32119-8D79-FBF2-5798-A16565E79157}"/>
                </a:ext>
              </a:extLst>
            </p:cNvPr>
            <p:cNvSpPr/>
            <p:nvPr/>
          </p:nvSpPr>
          <p:spPr>
            <a:xfrm flipV="1">
              <a:off x="9062317" y="3912794"/>
              <a:ext cx="26794" cy="222510"/>
            </a:xfrm>
            <a:custGeom>
              <a:avLst/>
              <a:gdLst>
                <a:gd name="connsiteX0" fmla="*/ 23627 w 26794"/>
                <a:gd name="connsiteY0" fmla="*/ 221424 h 222510"/>
                <a:gd name="connsiteX1" fmla="*/ 19646 w 26794"/>
                <a:gd name="connsiteY1" fmla="*/ 213394 h 222510"/>
                <a:gd name="connsiteX2" fmla="*/ 11366 w 26794"/>
                <a:gd name="connsiteY2" fmla="*/ 190459 h 222510"/>
                <a:gd name="connsiteX3" fmla="*/ -2657 w 26794"/>
                <a:gd name="connsiteY3" fmla="*/ 111250 h 222510"/>
                <a:gd name="connsiteX4" fmla="*/ 2998 w 26794"/>
                <a:gd name="connsiteY4" fmla="*/ 30988 h 222510"/>
                <a:gd name="connsiteX5" fmla="*/ 8843 w 26794"/>
                <a:gd name="connsiteY5" fmla="*/ 7316 h 222510"/>
                <a:gd name="connsiteX6" fmla="*/ 11962 w 26794"/>
                <a:gd name="connsiteY6" fmla="*/ -1081 h 222510"/>
                <a:gd name="connsiteX7" fmla="*/ 6320 w 26794"/>
                <a:gd name="connsiteY7" fmla="*/ 31584 h 222510"/>
                <a:gd name="connsiteX8" fmla="*/ 2097 w 26794"/>
                <a:gd name="connsiteY8" fmla="*/ 110996 h 222510"/>
                <a:gd name="connsiteX9" fmla="*/ 14599 w 26794"/>
                <a:gd name="connsiteY9" fmla="*/ 189520 h 222510"/>
                <a:gd name="connsiteX10" fmla="*/ 23627 w 26794"/>
                <a:gd name="connsiteY10" fmla="*/ 221424 h 22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794" h="222510">
                  <a:moveTo>
                    <a:pt x="23627" y="221424"/>
                  </a:moveTo>
                  <a:cubicBezTo>
                    <a:pt x="23322" y="221538"/>
                    <a:pt x="21928" y="218684"/>
                    <a:pt x="19646" y="213394"/>
                  </a:cubicBezTo>
                  <a:cubicBezTo>
                    <a:pt x="17312" y="208117"/>
                    <a:pt x="14447" y="200290"/>
                    <a:pt x="11366" y="190459"/>
                  </a:cubicBezTo>
                  <a:cubicBezTo>
                    <a:pt x="5166" y="170809"/>
                    <a:pt x="-958" y="142748"/>
                    <a:pt x="-2657" y="111250"/>
                  </a:cubicBezTo>
                  <a:cubicBezTo>
                    <a:pt x="-4268" y="79726"/>
                    <a:pt x="-1111" y="51171"/>
                    <a:pt x="2998" y="30988"/>
                  </a:cubicBezTo>
                  <a:cubicBezTo>
                    <a:pt x="5039" y="20890"/>
                    <a:pt x="7080" y="12797"/>
                    <a:pt x="8843" y="7316"/>
                  </a:cubicBezTo>
                  <a:cubicBezTo>
                    <a:pt x="10555" y="1811"/>
                    <a:pt x="11645" y="-1170"/>
                    <a:pt x="11962" y="-1081"/>
                  </a:cubicBezTo>
                  <a:cubicBezTo>
                    <a:pt x="12735" y="-878"/>
                    <a:pt x="9515" y="11414"/>
                    <a:pt x="6320" y="31584"/>
                  </a:cubicBezTo>
                  <a:cubicBezTo>
                    <a:pt x="3086" y="51729"/>
                    <a:pt x="512" y="79904"/>
                    <a:pt x="2097" y="110996"/>
                  </a:cubicBezTo>
                  <a:cubicBezTo>
                    <a:pt x="3771" y="142076"/>
                    <a:pt x="9287" y="169819"/>
                    <a:pt x="14599" y="189520"/>
                  </a:cubicBezTo>
                  <a:cubicBezTo>
                    <a:pt x="19886" y="209246"/>
                    <a:pt x="24375" y="221120"/>
                    <a:pt x="23627" y="221424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6" name="Vrije vorm 935">
              <a:extLst>
                <a:ext uri="{FF2B5EF4-FFF2-40B4-BE49-F238E27FC236}">
                  <a16:creationId xmlns:a16="http://schemas.microsoft.com/office/drawing/2014/main" id="{802A013B-CF89-B55E-2610-38B3822B8718}"/>
                </a:ext>
              </a:extLst>
            </p:cNvPr>
            <p:cNvSpPr/>
            <p:nvPr/>
          </p:nvSpPr>
          <p:spPr>
            <a:xfrm flipV="1">
              <a:off x="9013578" y="3906758"/>
              <a:ext cx="31508" cy="212175"/>
            </a:xfrm>
            <a:custGeom>
              <a:avLst/>
              <a:gdLst>
                <a:gd name="connsiteX0" fmla="*/ 9153 w 31508"/>
                <a:gd name="connsiteY0" fmla="*/ 211082 h 212175"/>
                <a:gd name="connsiteX1" fmla="*/ 6972 w 31508"/>
                <a:gd name="connsiteY1" fmla="*/ 202747 h 212175"/>
                <a:gd name="connsiteX2" fmla="*/ 2902 w 31508"/>
                <a:gd name="connsiteY2" fmla="*/ 179710 h 212175"/>
                <a:gd name="connsiteX3" fmla="*/ -2930 w 31508"/>
                <a:gd name="connsiteY3" fmla="*/ 102581 h 212175"/>
                <a:gd name="connsiteX4" fmla="*/ 12361 w 31508"/>
                <a:gd name="connsiteY4" fmla="*/ 26696 h 212175"/>
                <a:gd name="connsiteX5" fmla="*/ 23176 w 31508"/>
                <a:gd name="connsiteY5" fmla="*/ 5790 h 212175"/>
                <a:gd name="connsiteX6" fmla="*/ 28400 w 31508"/>
                <a:gd name="connsiteY6" fmla="*/ -1085 h 212175"/>
                <a:gd name="connsiteX7" fmla="*/ 15493 w 31508"/>
                <a:gd name="connsiteY7" fmla="*/ 27939 h 212175"/>
                <a:gd name="connsiteX8" fmla="*/ 1837 w 31508"/>
                <a:gd name="connsiteY8" fmla="*/ 102734 h 212175"/>
                <a:gd name="connsiteX9" fmla="*/ 6237 w 31508"/>
                <a:gd name="connsiteY9" fmla="*/ 179253 h 212175"/>
                <a:gd name="connsiteX10" fmla="*/ 9153 w 31508"/>
                <a:gd name="connsiteY10" fmla="*/ 211082 h 212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508" h="212175">
                  <a:moveTo>
                    <a:pt x="9153" y="211082"/>
                  </a:moveTo>
                  <a:cubicBezTo>
                    <a:pt x="8836" y="211132"/>
                    <a:pt x="8063" y="208164"/>
                    <a:pt x="6972" y="202747"/>
                  </a:cubicBezTo>
                  <a:cubicBezTo>
                    <a:pt x="5869" y="197330"/>
                    <a:pt x="4436" y="189465"/>
                    <a:pt x="2902" y="179710"/>
                  </a:cubicBezTo>
                  <a:cubicBezTo>
                    <a:pt x="-90" y="160212"/>
                    <a:pt x="-3780" y="132951"/>
                    <a:pt x="-2930" y="102581"/>
                  </a:cubicBezTo>
                  <a:cubicBezTo>
                    <a:pt x="-2081" y="72199"/>
                    <a:pt x="4462" y="44976"/>
                    <a:pt x="12361" y="26696"/>
                  </a:cubicBezTo>
                  <a:cubicBezTo>
                    <a:pt x="16254" y="17524"/>
                    <a:pt x="20146" y="10446"/>
                    <a:pt x="23176" y="5790"/>
                  </a:cubicBezTo>
                  <a:cubicBezTo>
                    <a:pt x="26194" y="1122"/>
                    <a:pt x="28159" y="-1250"/>
                    <a:pt x="28400" y="-1085"/>
                  </a:cubicBezTo>
                  <a:cubicBezTo>
                    <a:pt x="29136" y="-641"/>
                    <a:pt x="22314" y="9583"/>
                    <a:pt x="15493" y="27939"/>
                  </a:cubicBezTo>
                  <a:cubicBezTo>
                    <a:pt x="8532" y="46194"/>
                    <a:pt x="2674" y="72846"/>
                    <a:pt x="1837" y="102734"/>
                  </a:cubicBezTo>
                  <a:cubicBezTo>
                    <a:pt x="988" y="132608"/>
                    <a:pt x="4094" y="159692"/>
                    <a:pt x="6237" y="179253"/>
                  </a:cubicBezTo>
                  <a:cubicBezTo>
                    <a:pt x="8481" y="198827"/>
                    <a:pt x="9838" y="210980"/>
                    <a:pt x="9153" y="211082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7" name="Vrije vorm 936">
              <a:extLst>
                <a:ext uri="{FF2B5EF4-FFF2-40B4-BE49-F238E27FC236}">
                  <a16:creationId xmlns:a16="http://schemas.microsoft.com/office/drawing/2014/main" id="{C1383044-12A5-C709-AAC7-C5A985E75C3E}"/>
                </a:ext>
              </a:extLst>
            </p:cNvPr>
            <p:cNvSpPr/>
            <p:nvPr/>
          </p:nvSpPr>
          <p:spPr>
            <a:xfrm flipV="1">
              <a:off x="8986314" y="3901951"/>
              <a:ext cx="18457" cy="170071"/>
            </a:xfrm>
            <a:custGeom>
              <a:avLst/>
              <a:gdLst>
                <a:gd name="connsiteX0" fmla="*/ 10106 w 18457"/>
                <a:gd name="connsiteY0" fmla="*/ 168955 h 170071"/>
                <a:gd name="connsiteX1" fmla="*/ 5808 w 18457"/>
                <a:gd name="connsiteY1" fmla="*/ 143914 h 170071"/>
                <a:gd name="connsiteX2" fmla="*/ -2497 w 18457"/>
                <a:gd name="connsiteY2" fmla="*/ 83048 h 170071"/>
                <a:gd name="connsiteX3" fmla="*/ 3703 w 18457"/>
                <a:gd name="connsiteY3" fmla="*/ 21663 h 170071"/>
                <a:gd name="connsiteX4" fmla="*/ 11298 w 18457"/>
                <a:gd name="connsiteY4" fmla="*/ 4474 h 170071"/>
                <a:gd name="connsiteX5" fmla="*/ 15355 w 18457"/>
                <a:gd name="connsiteY5" fmla="*/ -1108 h 170071"/>
                <a:gd name="connsiteX6" fmla="*/ 6923 w 18457"/>
                <a:gd name="connsiteY6" fmla="*/ 22627 h 170071"/>
                <a:gd name="connsiteX7" fmla="*/ 2257 w 18457"/>
                <a:gd name="connsiteY7" fmla="*/ 82719 h 170071"/>
                <a:gd name="connsiteX8" fmla="*/ 9142 w 18457"/>
                <a:gd name="connsiteY8" fmla="*/ 143483 h 170071"/>
                <a:gd name="connsiteX9" fmla="*/ 10106 w 18457"/>
                <a:gd name="connsiteY9" fmla="*/ 168955 h 170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457" h="170071">
                  <a:moveTo>
                    <a:pt x="10106" y="168955"/>
                  </a:moveTo>
                  <a:cubicBezTo>
                    <a:pt x="9421" y="168993"/>
                    <a:pt x="8305" y="159378"/>
                    <a:pt x="5808" y="143914"/>
                  </a:cubicBezTo>
                  <a:cubicBezTo>
                    <a:pt x="3475" y="128450"/>
                    <a:pt x="-722" y="107138"/>
                    <a:pt x="-2497" y="83048"/>
                  </a:cubicBezTo>
                  <a:cubicBezTo>
                    <a:pt x="-4260" y="58933"/>
                    <a:pt x="-1521" y="36720"/>
                    <a:pt x="3703" y="21663"/>
                  </a:cubicBezTo>
                  <a:cubicBezTo>
                    <a:pt x="6226" y="14102"/>
                    <a:pt x="9015" y="8279"/>
                    <a:pt x="11298" y="4474"/>
                  </a:cubicBezTo>
                  <a:cubicBezTo>
                    <a:pt x="13555" y="655"/>
                    <a:pt x="15101" y="-1260"/>
                    <a:pt x="15355" y="-1108"/>
                  </a:cubicBezTo>
                  <a:cubicBezTo>
                    <a:pt x="16090" y="-702"/>
                    <a:pt x="11006" y="7670"/>
                    <a:pt x="6923" y="22627"/>
                  </a:cubicBezTo>
                  <a:cubicBezTo>
                    <a:pt x="2676" y="37520"/>
                    <a:pt x="520" y="59034"/>
                    <a:pt x="2257" y="82719"/>
                  </a:cubicBezTo>
                  <a:cubicBezTo>
                    <a:pt x="3994" y="106403"/>
                    <a:pt x="7646" y="127816"/>
                    <a:pt x="9142" y="143483"/>
                  </a:cubicBezTo>
                  <a:cubicBezTo>
                    <a:pt x="10791" y="159137"/>
                    <a:pt x="10727" y="168917"/>
                    <a:pt x="10106" y="168955"/>
                  </a:cubicBezTo>
                </a:path>
              </a:pathLst>
            </a:custGeom>
            <a:solidFill>
              <a:srgbClr val="F57F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8" name="Vrije vorm 937">
              <a:extLst>
                <a:ext uri="{FF2B5EF4-FFF2-40B4-BE49-F238E27FC236}">
                  <a16:creationId xmlns:a16="http://schemas.microsoft.com/office/drawing/2014/main" id="{40449776-FFEE-B731-2DF9-6EDC9E9C5F50}"/>
                </a:ext>
              </a:extLst>
            </p:cNvPr>
            <p:cNvSpPr/>
            <p:nvPr/>
          </p:nvSpPr>
          <p:spPr>
            <a:xfrm flipV="1">
              <a:off x="8894479" y="3701861"/>
              <a:ext cx="88133" cy="57706"/>
            </a:xfrm>
            <a:custGeom>
              <a:avLst/>
              <a:gdLst>
                <a:gd name="connsiteX0" fmla="*/ 85141 w 88133"/>
                <a:gd name="connsiteY0" fmla="*/ -1345 h 57706"/>
                <a:gd name="connsiteX1" fmla="*/ 35490 w 88133"/>
                <a:gd name="connsiteY1" fmla="*/ 12444 h 57706"/>
                <a:gd name="connsiteX2" fmla="*/ 35490 w 88133"/>
                <a:gd name="connsiteY2" fmla="*/ 29290 h 57706"/>
                <a:gd name="connsiteX3" fmla="*/ 85141 w 88133"/>
                <a:gd name="connsiteY3" fmla="*/ -1345 h 57706"/>
                <a:gd name="connsiteX4" fmla="*/ 12819 w 88133"/>
                <a:gd name="connsiteY4" fmla="*/ 43270 h 57706"/>
                <a:gd name="connsiteX5" fmla="*/ -2992 w 88133"/>
                <a:gd name="connsiteY5" fmla="*/ 43270 h 57706"/>
                <a:gd name="connsiteX6" fmla="*/ 939 w 88133"/>
                <a:gd name="connsiteY6" fmla="*/ 50602 h 57706"/>
                <a:gd name="connsiteX7" fmla="*/ 12819 w 88133"/>
                <a:gd name="connsiteY7" fmla="*/ 43270 h 57706"/>
                <a:gd name="connsiteX8" fmla="*/ 2523 w 88133"/>
                <a:gd name="connsiteY8" fmla="*/ 53558 h 57706"/>
                <a:gd name="connsiteX9" fmla="*/ 3817 w 88133"/>
                <a:gd name="connsiteY9" fmla="*/ 55968 h 57706"/>
                <a:gd name="connsiteX10" fmla="*/ 10854 w 88133"/>
                <a:gd name="connsiteY10" fmla="*/ 56361 h 57706"/>
                <a:gd name="connsiteX11" fmla="*/ 2523 w 88133"/>
                <a:gd name="connsiteY11" fmla="*/ 53558 h 57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133" h="57706">
                  <a:moveTo>
                    <a:pt x="85141" y="-1345"/>
                  </a:moveTo>
                  <a:cubicBezTo>
                    <a:pt x="67340" y="3564"/>
                    <a:pt x="50261" y="8321"/>
                    <a:pt x="35490" y="12444"/>
                  </a:cubicBezTo>
                  <a:lnTo>
                    <a:pt x="35490" y="29290"/>
                  </a:lnTo>
                  <a:lnTo>
                    <a:pt x="85141" y="-1345"/>
                  </a:lnTo>
                  <a:moveTo>
                    <a:pt x="12819" y="43270"/>
                  </a:moveTo>
                  <a:lnTo>
                    <a:pt x="-2992" y="43270"/>
                  </a:lnTo>
                  <a:lnTo>
                    <a:pt x="939" y="50602"/>
                  </a:lnTo>
                  <a:lnTo>
                    <a:pt x="12819" y="43270"/>
                  </a:lnTo>
                  <a:moveTo>
                    <a:pt x="2523" y="53558"/>
                  </a:moveTo>
                  <a:lnTo>
                    <a:pt x="3817" y="55968"/>
                  </a:lnTo>
                  <a:lnTo>
                    <a:pt x="10854" y="56361"/>
                  </a:lnTo>
                  <a:lnTo>
                    <a:pt x="2523" y="53558"/>
                  </a:lnTo>
                </a:path>
              </a:pathLst>
            </a:custGeom>
            <a:solidFill>
              <a:srgbClr val="A7A9A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9" name="Vrije vorm 938">
              <a:extLst>
                <a:ext uri="{FF2B5EF4-FFF2-40B4-BE49-F238E27FC236}">
                  <a16:creationId xmlns:a16="http://schemas.microsoft.com/office/drawing/2014/main" id="{C3F097E7-A9A4-26B6-4F12-D399C14248D0}"/>
                </a:ext>
              </a:extLst>
            </p:cNvPr>
            <p:cNvSpPr/>
            <p:nvPr/>
          </p:nvSpPr>
          <p:spPr>
            <a:xfrm flipV="1">
              <a:off x="8885147" y="3714952"/>
              <a:ext cx="47813" cy="30825"/>
            </a:xfrm>
            <a:custGeom>
              <a:avLst/>
              <a:gdLst>
                <a:gd name="connsiteX0" fmla="*/ 44841 w 47813"/>
                <a:gd name="connsiteY0" fmla="*/ -1346 h 30825"/>
                <a:gd name="connsiteX1" fmla="*/ -2972 w 47813"/>
                <a:gd name="connsiteY1" fmla="*/ 12076 h 30825"/>
                <a:gd name="connsiteX2" fmla="*/ 6360 w 47813"/>
                <a:gd name="connsiteY2" fmla="*/ 29480 h 30825"/>
                <a:gd name="connsiteX3" fmla="*/ 22171 w 47813"/>
                <a:gd name="connsiteY3" fmla="*/ 29480 h 30825"/>
                <a:gd name="connsiteX4" fmla="*/ 44841 w 47813"/>
                <a:gd name="connsiteY4" fmla="*/ 15501 h 30825"/>
                <a:gd name="connsiteX5" fmla="*/ 44841 w 47813"/>
                <a:gd name="connsiteY5" fmla="*/ -1346 h 3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813" h="30825">
                  <a:moveTo>
                    <a:pt x="44841" y="-1346"/>
                  </a:moveTo>
                  <a:cubicBezTo>
                    <a:pt x="16694" y="6519"/>
                    <a:pt x="-2972" y="12076"/>
                    <a:pt x="-2972" y="12076"/>
                  </a:cubicBezTo>
                  <a:lnTo>
                    <a:pt x="6360" y="29480"/>
                  </a:lnTo>
                  <a:lnTo>
                    <a:pt x="22171" y="29480"/>
                  </a:lnTo>
                  <a:lnTo>
                    <a:pt x="44841" y="15501"/>
                  </a:lnTo>
                  <a:lnTo>
                    <a:pt x="44841" y="-1346"/>
                  </a:lnTo>
                </a:path>
              </a:pathLst>
            </a:custGeom>
            <a:solidFill>
              <a:srgbClr val="461F1E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0" name="Vrije vorm 939">
              <a:extLst>
                <a:ext uri="{FF2B5EF4-FFF2-40B4-BE49-F238E27FC236}">
                  <a16:creationId xmlns:a16="http://schemas.microsoft.com/office/drawing/2014/main" id="{FE5E7BA6-BC07-4098-B29A-7CF805DBE81E}"/>
                </a:ext>
              </a:extLst>
            </p:cNvPr>
            <p:cNvSpPr/>
            <p:nvPr/>
          </p:nvSpPr>
          <p:spPr>
            <a:xfrm flipV="1">
              <a:off x="8898410" y="3644408"/>
              <a:ext cx="343151" cy="148294"/>
            </a:xfrm>
            <a:custGeom>
              <a:avLst/>
              <a:gdLst>
                <a:gd name="connsiteX0" fmla="*/ 303236 w 343151"/>
                <a:gd name="connsiteY0" fmla="*/ -1356 h 148294"/>
                <a:gd name="connsiteX1" fmla="*/ 278410 w 343151"/>
                <a:gd name="connsiteY1" fmla="*/ 62287 h 148294"/>
                <a:gd name="connsiteX2" fmla="*/ 258491 w 343151"/>
                <a:gd name="connsiteY2" fmla="*/ 61678 h 148294"/>
                <a:gd name="connsiteX3" fmla="*/ 155865 w 343151"/>
                <a:gd name="connsiteY3" fmla="*/ 66740 h 148294"/>
                <a:gd name="connsiteX4" fmla="*/ 118981 w 343151"/>
                <a:gd name="connsiteY4" fmla="*/ 21364 h 148294"/>
                <a:gd name="connsiteX5" fmla="*/ 81121 w 343151"/>
                <a:gd name="connsiteY5" fmla="*/ 31778 h 148294"/>
                <a:gd name="connsiteX6" fmla="*/ 31469 w 343151"/>
                <a:gd name="connsiteY6" fmla="*/ 62414 h 148294"/>
                <a:gd name="connsiteX7" fmla="*/ 8798 w 343151"/>
                <a:gd name="connsiteY7" fmla="*/ 76394 h 148294"/>
                <a:gd name="connsiteX8" fmla="*/ -3082 w 343151"/>
                <a:gd name="connsiteY8" fmla="*/ 83726 h 148294"/>
                <a:gd name="connsiteX9" fmla="*/ -1497 w 343151"/>
                <a:gd name="connsiteY9" fmla="*/ 86682 h 148294"/>
                <a:gd name="connsiteX10" fmla="*/ 6833 w 343151"/>
                <a:gd name="connsiteY10" fmla="*/ 89485 h 148294"/>
                <a:gd name="connsiteX11" fmla="*/ 261268 w 343151"/>
                <a:gd name="connsiteY11" fmla="*/ 103820 h 148294"/>
                <a:gd name="connsiteX12" fmla="*/ 340069 w 343151"/>
                <a:gd name="connsiteY12" fmla="*/ 146939 h 148294"/>
                <a:gd name="connsiteX13" fmla="*/ 303236 w 343151"/>
                <a:gd name="connsiteY13" fmla="*/ -1356 h 148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3151" h="148294">
                  <a:moveTo>
                    <a:pt x="303236" y="-1356"/>
                  </a:moveTo>
                  <a:lnTo>
                    <a:pt x="278410" y="62287"/>
                  </a:lnTo>
                  <a:cubicBezTo>
                    <a:pt x="272907" y="61856"/>
                    <a:pt x="266086" y="61678"/>
                    <a:pt x="258491" y="61678"/>
                  </a:cubicBezTo>
                  <a:cubicBezTo>
                    <a:pt x="218057" y="61678"/>
                    <a:pt x="155865" y="66740"/>
                    <a:pt x="155865" y="66740"/>
                  </a:cubicBezTo>
                  <a:cubicBezTo>
                    <a:pt x="155865" y="66740"/>
                    <a:pt x="138672" y="46367"/>
                    <a:pt x="118981" y="21364"/>
                  </a:cubicBezTo>
                  <a:cubicBezTo>
                    <a:pt x="106390" y="24801"/>
                    <a:pt x="93572" y="28328"/>
                    <a:pt x="81121" y="31778"/>
                  </a:cubicBezTo>
                  <a:lnTo>
                    <a:pt x="31469" y="62414"/>
                  </a:lnTo>
                  <a:lnTo>
                    <a:pt x="8798" y="76394"/>
                  </a:lnTo>
                  <a:lnTo>
                    <a:pt x="-3082" y="83726"/>
                  </a:lnTo>
                  <a:lnTo>
                    <a:pt x="-1497" y="86682"/>
                  </a:lnTo>
                  <a:lnTo>
                    <a:pt x="6833" y="89485"/>
                  </a:lnTo>
                  <a:lnTo>
                    <a:pt x="261268" y="103820"/>
                  </a:lnTo>
                  <a:lnTo>
                    <a:pt x="340069" y="146939"/>
                  </a:lnTo>
                  <a:lnTo>
                    <a:pt x="303236" y="-1356"/>
                  </a:lnTo>
                </a:path>
              </a:pathLst>
            </a:custGeom>
            <a:solidFill>
              <a:srgbClr val="CC4341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1" name="Vrije vorm 940">
              <a:extLst>
                <a:ext uri="{FF2B5EF4-FFF2-40B4-BE49-F238E27FC236}">
                  <a16:creationId xmlns:a16="http://schemas.microsoft.com/office/drawing/2014/main" id="{09610ED4-4858-3D81-48A2-A3D033912611}"/>
                </a:ext>
              </a:extLst>
            </p:cNvPr>
            <p:cNvSpPr/>
            <p:nvPr/>
          </p:nvSpPr>
          <p:spPr>
            <a:xfrm flipV="1">
              <a:off x="9204727" y="3321470"/>
              <a:ext cx="627014" cy="475177"/>
            </a:xfrm>
            <a:custGeom>
              <a:avLst/>
              <a:gdLst>
                <a:gd name="connsiteX0" fmla="*/ -1841 w 627014"/>
                <a:gd name="connsiteY0" fmla="*/ -1499 h 475177"/>
                <a:gd name="connsiteX1" fmla="*/ -3388 w 627014"/>
                <a:gd name="connsiteY1" fmla="*/ 2446 h 475177"/>
                <a:gd name="connsiteX2" fmla="*/ 33445 w 627014"/>
                <a:gd name="connsiteY2" fmla="*/ 150741 h 475177"/>
                <a:gd name="connsiteX3" fmla="*/ 623626 w 627014"/>
                <a:gd name="connsiteY3" fmla="*/ 473679 h 475177"/>
                <a:gd name="connsiteX4" fmla="*/ 482189 w 627014"/>
                <a:gd name="connsiteY4" fmla="*/ 313789 h 475177"/>
                <a:gd name="connsiteX5" fmla="*/ 232915 w 627014"/>
                <a:gd name="connsiteY5" fmla="*/ 121463 h 475177"/>
                <a:gd name="connsiteX6" fmla="*/ 11649 w 627014"/>
                <a:gd name="connsiteY6" fmla="*/ 3410 h 475177"/>
                <a:gd name="connsiteX7" fmla="*/ -1841 w 627014"/>
                <a:gd name="connsiteY7" fmla="*/ -1499 h 475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7014" h="475177">
                  <a:moveTo>
                    <a:pt x="-1841" y="-1499"/>
                  </a:moveTo>
                  <a:lnTo>
                    <a:pt x="-3388" y="2446"/>
                  </a:lnTo>
                  <a:lnTo>
                    <a:pt x="33445" y="150741"/>
                  </a:lnTo>
                  <a:lnTo>
                    <a:pt x="623626" y="473679"/>
                  </a:lnTo>
                  <a:cubicBezTo>
                    <a:pt x="623626" y="473679"/>
                    <a:pt x="540387" y="375771"/>
                    <a:pt x="482189" y="313789"/>
                  </a:cubicBezTo>
                  <a:cubicBezTo>
                    <a:pt x="451543" y="281149"/>
                    <a:pt x="281172" y="158378"/>
                    <a:pt x="232915" y="121463"/>
                  </a:cubicBezTo>
                  <a:cubicBezTo>
                    <a:pt x="198377" y="95051"/>
                    <a:pt x="49725" y="19914"/>
                    <a:pt x="11649" y="3410"/>
                  </a:cubicBezTo>
                  <a:cubicBezTo>
                    <a:pt x="7186" y="1470"/>
                    <a:pt x="2698" y="-167"/>
                    <a:pt x="-1841" y="-1499"/>
                  </a:cubicBezTo>
                </a:path>
              </a:pathLst>
            </a:custGeom>
            <a:solidFill>
              <a:schemeClr val="bg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2" name="Vrije vorm 941">
              <a:extLst>
                <a:ext uri="{FF2B5EF4-FFF2-40B4-BE49-F238E27FC236}">
                  <a16:creationId xmlns:a16="http://schemas.microsoft.com/office/drawing/2014/main" id="{AA9007EF-6167-297F-77F3-1E1E96299170}"/>
                </a:ext>
              </a:extLst>
            </p:cNvPr>
            <p:cNvSpPr/>
            <p:nvPr/>
          </p:nvSpPr>
          <p:spPr>
            <a:xfrm flipV="1">
              <a:off x="9020473" y="3724606"/>
              <a:ext cx="185801" cy="76874"/>
            </a:xfrm>
            <a:custGeom>
              <a:avLst/>
              <a:gdLst>
                <a:gd name="connsiteX0" fmla="*/ 147277 w 185801"/>
                <a:gd name="connsiteY0" fmla="*/ -1317 h 76874"/>
                <a:gd name="connsiteX1" fmla="*/ 47276 w 185801"/>
                <a:gd name="connsiteY1" fmla="*/ 16583 h 76874"/>
                <a:gd name="connsiteX2" fmla="*/ -3112 w 185801"/>
                <a:gd name="connsiteY2" fmla="*/ 30182 h 76874"/>
                <a:gd name="connsiteX3" fmla="*/ 33772 w 185801"/>
                <a:gd name="connsiteY3" fmla="*/ 75558 h 76874"/>
                <a:gd name="connsiteX4" fmla="*/ 136398 w 185801"/>
                <a:gd name="connsiteY4" fmla="*/ 70497 h 76874"/>
                <a:gd name="connsiteX5" fmla="*/ 156317 w 185801"/>
                <a:gd name="connsiteY5" fmla="*/ 71106 h 76874"/>
                <a:gd name="connsiteX6" fmla="*/ 181143 w 185801"/>
                <a:gd name="connsiteY6" fmla="*/ 7462 h 76874"/>
                <a:gd name="connsiteX7" fmla="*/ 182690 w 185801"/>
                <a:gd name="connsiteY7" fmla="*/ 3517 h 76874"/>
                <a:gd name="connsiteX8" fmla="*/ 147277 w 185801"/>
                <a:gd name="connsiteY8" fmla="*/ -1317 h 76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801" h="76874">
                  <a:moveTo>
                    <a:pt x="147277" y="-1317"/>
                  </a:moveTo>
                  <a:cubicBezTo>
                    <a:pt x="121031" y="-1317"/>
                    <a:pt x="89903" y="5255"/>
                    <a:pt x="47276" y="16583"/>
                  </a:cubicBezTo>
                  <a:cubicBezTo>
                    <a:pt x="31908" y="20655"/>
                    <a:pt x="14601" y="25336"/>
                    <a:pt x="-3112" y="30182"/>
                  </a:cubicBezTo>
                  <a:cubicBezTo>
                    <a:pt x="16579" y="55185"/>
                    <a:pt x="33772" y="75558"/>
                    <a:pt x="33772" y="75558"/>
                  </a:cubicBezTo>
                  <a:cubicBezTo>
                    <a:pt x="33772" y="75558"/>
                    <a:pt x="95964" y="70497"/>
                    <a:pt x="136398" y="70497"/>
                  </a:cubicBezTo>
                  <a:cubicBezTo>
                    <a:pt x="143993" y="70497"/>
                    <a:pt x="150814" y="70674"/>
                    <a:pt x="156317" y="71106"/>
                  </a:cubicBezTo>
                  <a:lnTo>
                    <a:pt x="181143" y="7462"/>
                  </a:lnTo>
                  <a:lnTo>
                    <a:pt x="182690" y="3517"/>
                  </a:lnTo>
                  <a:cubicBezTo>
                    <a:pt x="171532" y="218"/>
                    <a:pt x="159981" y="-1317"/>
                    <a:pt x="147277" y="-1317"/>
                  </a:cubicBezTo>
                </a:path>
              </a:pathLst>
            </a:custGeom>
            <a:solidFill>
              <a:srgbClr val="BA756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3" name="Vrije vorm 942">
              <a:extLst>
                <a:ext uri="{FF2B5EF4-FFF2-40B4-BE49-F238E27FC236}">
                  <a16:creationId xmlns:a16="http://schemas.microsoft.com/office/drawing/2014/main" id="{2F7FEC57-9C04-A27A-AEFA-206DF5A3171E}"/>
                </a:ext>
              </a:extLst>
            </p:cNvPr>
            <p:cNvSpPr/>
            <p:nvPr/>
          </p:nvSpPr>
          <p:spPr>
            <a:xfrm flipV="1">
              <a:off x="8719239" y="2943056"/>
              <a:ext cx="1235179" cy="815599"/>
            </a:xfrm>
            <a:custGeom>
              <a:avLst/>
              <a:gdLst>
                <a:gd name="connsiteX0" fmla="*/ 1228626 w 1235179"/>
                <a:gd name="connsiteY0" fmla="*/ 697877 h 815599"/>
                <a:gd name="connsiteX1" fmla="*/ 1213246 w 1235179"/>
                <a:gd name="connsiteY1" fmla="*/ 739689 h 815599"/>
                <a:gd name="connsiteX2" fmla="*/ 830320 w 1235179"/>
                <a:gd name="connsiteY2" fmla="*/ 713937 h 815599"/>
                <a:gd name="connsiteX3" fmla="*/ 419018 w 1235179"/>
                <a:gd name="connsiteY3" fmla="*/ 275611 h 815599"/>
                <a:gd name="connsiteX4" fmla="*/ -3264 w 1235179"/>
                <a:gd name="connsiteY4" fmla="*/ 202834 h 815599"/>
                <a:gd name="connsiteX5" fmla="*/ 43598 w 1235179"/>
                <a:gd name="connsiteY5" fmla="*/ 45786 h 815599"/>
                <a:gd name="connsiteX6" fmla="*/ 238491 w 1235179"/>
                <a:gd name="connsiteY6" fmla="*/ 10735 h 815599"/>
                <a:gd name="connsiteX7" fmla="*/ 484126 w 1235179"/>
                <a:gd name="connsiteY7" fmla="*/ 11408 h 815599"/>
                <a:gd name="connsiteX8" fmla="*/ 938981 w 1235179"/>
                <a:gd name="connsiteY8" fmla="*/ 296961 h 815599"/>
                <a:gd name="connsiteX9" fmla="*/ 1228626 w 1235179"/>
                <a:gd name="connsiteY9" fmla="*/ 697877 h 815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5179" h="815599">
                  <a:moveTo>
                    <a:pt x="1228626" y="697877"/>
                  </a:moveTo>
                  <a:cubicBezTo>
                    <a:pt x="1226458" y="709294"/>
                    <a:pt x="1217849" y="729845"/>
                    <a:pt x="1213246" y="739689"/>
                  </a:cubicBezTo>
                  <a:cubicBezTo>
                    <a:pt x="1149178" y="876580"/>
                    <a:pt x="924730" y="797726"/>
                    <a:pt x="830320" y="713937"/>
                  </a:cubicBezTo>
                  <a:cubicBezTo>
                    <a:pt x="745877" y="639016"/>
                    <a:pt x="419018" y="275611"/>
                    <a:pt x="419018" y="275611"/>
                  </a:cubicBezTo>
                  <a:lnTo>
                    <a:pt x="-3264" y="202834"/>
                  </a:lnTo>
                  <a:lnTo>
                    <a:pt x="43598" y="45786"/>
                  </a:lnTo>
                  <a:cubicBezTo>
                    <a:pt x="43598" y="45786"/>
                    <a:pt x="128372" y="22038"/>
                    <a:pt x="238491" y="10735"/>
                  </a:cubicBezTo>
                  <a:cubicBezTo>
                    <a:pt x="382198" y="-4018"/>
                    <a:pt x="404830" y="-7786"/>
                    <a:pt x="484126" y="11408"/>
                  </a:cubicBezTo>
                  <a:cubicBezTo>
                    <a:pt x="557361" y="29129"/>
                    <a:pt x="802642" y="198444"/>
                    <a:pt x="938981" y="296961"/>
                  </a:cubicBezTo>
                  <a:cubicBezTo>
                    <a:pt x="1074447" y="394830"/>
                    <a:pt x="1258841" y="538419"/>
                    <a:pt x="1228626" y="697877"/>
                  </a:cubicBezTo>
                </a:path>
              </a:pathLst>
            </a:custGeom>
            <a:solidFill>
              <a:schemeClr val="bg2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4" name="Vrije vorm 943">
              <a:extLst>
                <a:ext uri="{FF2B5EF4-FFF2-40B4-BE49-F238E27FC236}">
                  <a16:creationId xmlns:a16="http://schemas.microsoft.com/office/drawing/2014/main" id="{32682E06-E92D-9FA4-81E1-A82F75B9BAE5}"/>
                </a:ext>
              </a:extLst>
            </p:cNvPr>
            <p:cNvSpPr/>
            <p:nvPr/>
          </p:nvSpPr>
          <p:spPr>
            <a:xfrm flipV="1">
              <a:off x="8715017" y="2941529"/>
              <a:ext cx="1239954" cy="820262"/>
            </a:xfrm>
            <a:custGeom>
              <a:avLst/>
              <a:gdLst>
                <a:gd name="connsiteX0" fmla="*/ 1232850 w 1239954"/>
                <a:gd name="connsiteY0" fmla="*/ 701014 h 820262"/>
                <a:gd name="connsiteX1" fmla="*/ 1233991 w 1239954"/>
                <a:gd name="connsiteY1" fmla="*/ 693428 h 820262"/>
                <a:gd name="connsiteX2" fmla="*/ 1236692 w 1239954"/>
                <a:gd name="connsiteY2" fmla="*/ 670987 h 820262"/>
                <a:gd name="connsiteX3" fmla="*/ 1221007 w 1239954"/>
                <a:gd name="connsiteY3" fmla="*/ 585752 h 820262"/>
                <a:gd name="connsiteX4" fmla="*/ 1146149 w 1239954"/>
                <a:gd name="connsiteY4" fmla="*/ 470453 h 820262"/>
                <a:gd name="connsiteX5" fmla="*/ 1010760 w 1239954"/>
                <a:gd name="connsiteY5" fmla="*/ 347580 h 820262"/>
                <a:gd name="connsiteX6" fmla="*/ 830854 w 1239954"/>
                <a:gd name="connsiteY6" fmla="*/ 217273 h 820262"/>
                <a:gd name="connsiteX7" fmla="*/ 617374 w 1239954"/>
                <a:gd name="connsiteY7" fmla="*/ 76488 h 820262"/>
                <a:gd name="connsiteX8" fmla="*/ 557971 w 1239954"/>
                <a:gd name="connsiteY8" fmla="*/ 42148 h 820262"/>
                <a:gd name="connsiteX9" fmla="*/ 493612 w 1239954"/>
                <a:gd name="connsiteY9" fmla="*/ 12971 h 820262"/>
                <a:gd name="connsiteX10" fmla="*/ 422734 w 1239954"/>
                <a:gd name="connsiteY10" fmla="*/ -450 h 820262"/>
                <a:gd name="connsiteX11" fmla="*/ 349170 w 1239954"/>
                <a:gd name="connsiteY11" fmla="*/ 286 h 820262"/>
                <a:gd name="connsiteX12" fmla="*/ 274907 w 1239954"/>
                <a:gd name="connsiteY12" fmla="*/ 7301 h 820262"/>
                <a:gd name="connsiteX13" fmla="*/ 199478 w 1239954"/>
                <a:gd name="connsiteY13" fmla="*/ 15788 h 820262"/>
                <a:gd name="connsiteX14" fmla="*/ 46934 w 1239954"/>
                <a:gd name="connsiteY14" fmla="*/ 45738 h 820262"/>
                <a:gd name="connsiteX15" fmla="*/ 45185 w 1239954"/>
                <a:gd name="connsiteY15" fmla="*/ 46195 h 820262"/>
                <a:gd name="connsiteX16" fmla="*/ 44665 w 1239954"/>
                <a:gd name="connsiteY16" fmla="*/ 47971 h 820262"/>
                <a:gd name="connsiteX17" fmla="*/ 20346 w 1239954"/>
                <a:gd name="connsiteY17" fmla="*/ 129451 h 820262"/>
                <a:gd name="connsiteX18" fmla="*/ -2198 w 1239954"/>
                <a:gd name="connsiteY18" fmla="*/ 205032 h 820262"/>
                <a:gd name="connsiteX19" fmla="*/ -3263 w 1239954"/>
                <a:gd name="connsiteY19" fmla="*/ 208596 h 820262"/>
                <a:gd name="connsiteX20" fmla="*/ 401 w 1239954"/>
                <a:gd name="connsiteY20" fmla="*/ 209231 h 820262"/>
                <a:gd name="connsiteX21" fmla="*/ 422709 w 1239954"/>
                <a:gd name="connsiteY21" fmla="*/ 281830 h 820262"/>
                <a:gd name="connsiteX22" fmla="*/ 420921 w 1239954"/>
                <a:gd name="connsiteY22" fmla="*/ 280841 h 820262"/>
                <a:gd name="connsiteX23" fmla="*/ 715650 w 1239954"/>
                <a:gd name="connsiteY23" fmla="*/ 600772 h 820262"/>
                <a:gd name="connsiteX24" fmla="*/ 781861 w 1239954"/>
                <a:gd name="connsiteY24" fmla="*/ 669325 h 820262"/>
                <a:gd name="connsiteX25" fmla="*/ 847020 w 1239954"/>
                <a:gd name="connsiteY25" fmla="*/ 730407 h 820262"/>
                <a:gd name="connsiteX26" fmla="*/ 987519 w 1239954"/>
                <a:gd name="connsiteY26" fmla="*/ 802448 h 820262"/>
                <a:gd name="connsiteX27" fmla="*/ 1114856 w 1239954"/>
                <a:gd name="connsiteY27" fmla="*/ 816491 h 820262"/>
                <a:gd name="connsiteX28" fmla="*/ 1164737 w 1239954"/>
                <a:gd name="connsiteY28" fmla="*/ 800723 h 820262"/>
                <a:gd name="connsiteX29" fmla="*/ 1198832 w 1239954"/>
                <a:gd name="connsiteY29" fmla="*/ 773398 h 820262"/>
                <a:gd name="connsiteX30" fmla="*/ 1227259 w 1239954"/>
                <a:gd name="connsiteY30" fmla="*/ 720892 h 820262"/>
                <a:gd name="connsiteX31" fmla="*/ 1231899 w 1239954"/>
                <a:gd name="connsiteY31" fmla="*/ 706164 h 820262"/>
                <a:gd name="connsiteX32" fmla="*/ 1232850 w 1239954"/>
                <a:gd name="connsiteY32" fmla="*/ 701014 h 820262"/>
                <a:gd name="connsiteX33" fmla="*/ 1231379 w 1239954"/>
                <a:gd name="connsiteY33" fmla="*/ 706025 h 820262"/>
                <a:gd name="connsiteX34" fmla="*/ 1226257 w 1239954"/>
                <a:gd name="connsiteY34" fmla="*/ 720512 h 820262"/>
                <a:gd name="connsiteX35" fmla="*/ 1197272 w 1239954"/>
                <a:gd name="connsiteY35" fmla="*/ 772028 h 820262"/>
                <a:gd name="connsiteX36" fmla="*/ 1114426 w 1239954"/>
                <a:gd name="connsiteY36" fmla="*/ 813497 h 820262"/>
                <a:gd name="connsiteX37" fmla="*/ 988686 w 1239954"/>
                <a:gd name="connsiteY37" fmla="*/ 798744 h 820262"/>
                <a:gd name="connsiteX38" fmla="*/ 849886 w 1239954"/>
                <a:gd name="connsiteY38" fmla="*/ 726740 h 820262"/>
                <a:gd name="connsiteX39" fmla="*/ 785424 w 1239954"/>
                <a:gd name="connsiteY39" fmla="*/ 665811 h 820262"/>
                <a:gd name="connsiteX40" fmla="*/ 719505 w 1239954"/>
                <a:gd name="connsiteY40" fmla="*/ 597119 h 820262"/>
                <a:gd name="connsiteX41" fmla="*/ 425574 w 1239954"/>
                <a:gd name="connsiteY41" fmla="*/ 276655 h 820262"/>
                <a:gd name="connsiteX42" fmla="*/ 424839 w 1239954"/>
                <a:gd name="connsiteY42" fmla="*/ 275843 h 820262"/>
                <a:gd name="connsiteX43" fmla="*/ 423774 w 1239954"/>
                <a:gd name="connsiteY43" fmla="*/ 275665 h 820262"/>
                <a:gd name="connsiteX44" fmla="*/ 1530 w 1239954"/>
                <a:gd name="connsiteY44" fmla="*/ 202723 h 820262"/>
                <a:gd name="connsiteX45" fmla="*/ 4129 w 1239954"/>
                <a:gd name="connsiteY45" fmla="*/ 206922 h 820262"/>
                <a:gd name="connsiteX46" fmla="*/ 26673 w 1239954"/>
                <a:gd name="connsiteY46" fmla="*/ 131341 h 820262"/>
                <a:gd name="connsiteX47" fmla="*/ 50979 w 1239954"/>
                <a:gd name="connsiteY47" fmla="*/ 49861 h 820262"/>
                <a:gd name="connsiteX48" fmla="*/ 48709 w 1239954"/>
                <a:gd name="connsiteY48" fmla="*/ 52094 h 820262"/>
                <a:gd name="connsiteX49" fmla="*/ 200366 w 1239954"/>
                <a:gd name="connsiteY49" fmla="*/ 22257 h 820262"/>
                <a:gd name="connsiteX50" fmla="*/ 275566 w 1239954"/>
                <a:gd name="connsiteY50" fmla="*/ 13745 h 820262"/>
                <a:gd name="connsiteX51" fmla="*/ 349651 w 1239954"/>
                <a:gd name="connsiteY51" fmla="*/ 6679 h 820262"/>
                <a:gd name="connsiteX52" fmla="*/ 422164 w 1239954"/>
                <a:gd name="connsiteY52" fmla="*/ 5842 h 820262"/>
                <a:gd name="connsiteX53" fmla="*/ 491925 w 1239954"/>
                <a:gd name="connsiteY53" fmla="*/ 18959 h 820262"/>
                <a:gd name="connsiteX54" fmla="*/ 555068 w 1239954"/>
                <a:gd name="connsiteY54" fmla="*/ 47527 h 820262"/>
                <a:gd name="connsiteX55" fmla="*/ 614267 w 1239954"/>
                <a:gd name="connsiteY55" fmla="*/ 81601 h 820262"/>
                <a:gd name="connsiteX56" fmla="*/ 827799 w 1239954"/>
                <a:gd name="connsiteY56" fmla="*/ 221675 h 820262"/>
                <a:gd name="connsiteX57" fmla="*/ 1007983 w 1239954"/>
                <a:gd name="connsiteY57" fmla="*/ 351183 h 820262"/>
                <a:gd name="connsiteX58" fmla="*/ 1143474 w 1239954"/>
                <a:gd name="connsiteY58" fmla="*/ 472838 h 820262"/>
                <a:gd name="connsiteX59" fmla="*/ 1218687 w 1239954"/>
                <a:gd name="connsiteY59" fmla="*/ 586678 h 820262"/>
                <a:gd name="connsiteX60" fmla="*/ 1235399 w 1239954"/>
                <a:gd name="connsiteY60" fmla="*/ 670949 h 820262"/>
                <a:gd name="connsiteX61" fmla="*/ 1233344 w 1239954"/>
                <a:gd name="connsiteY61" fmla="*/ 693339 h 820262"/>
                <a:gd name="connsiteX62" fmla="*/ 1232850 w 1239954"/>
                <a:gd name="connsiteY62" fmla="*/ 701014 h 820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239954" h="820262">
                  <a:moveTo>
                    <a:pt x="1232850" y="701014"/>
                  </a:moveTo>
                  <a:cubicBezTo>
                    <a:pt x="1232850" y="701014"/>
                    <a:pt x="1233344" y="698477"/>
                    <a:pt x="1233991" y="693428"/>
                  </a:cubicBezTo>
                  <a:cubicBezTo>
                    <a:pt x="1234625" y="688151"/>
                    <a:pt x="1235525" y="680691"/>
                    <a:pt x="1236692" y="670987"/>
                  </a:cubicBezTo>
                  <a:cubicBezTo>
                    <a:pt x="1236185" y="651274"/>
                    <a:pt x="1235411" y="621183"/>
                    <a:pt x="1221007" y="585752"/>
                  </a:cubicBezTo>
                  <a:cubicBezTo>
                    <a:pt x="1207200" y="550410"/>
                    <a:pt x="1182183" y="510489"/>
                    <a:pt x="1146149" y="470453"/>
                  </a:cubicBezTo>
                  <a:cubicBezTo>
                    <a:pt x="1110267" y="430252"/>
                    <a:pt x="1064520" y="388960"/>
                    <a:pt x="1010760" y="347580"/>
                  </a:cubicBezTo>
                  <a:cubicBezTo>
                    <a:pt x="957102" y="306009"/>
                    <a:pt x="896317" y="263183"/>
                    <a:pt x="830854" y="217273"/>
                  </a:cubicBezTo>
                  <a:cubicBezTo>
                    <a:pt x="765150" y="171732"/>
                    <a:pt x="694438" y="123514"/>
                    <a:pt x="617374" y="76488"/>
                  </a:cubicBezTo>
                  <a:cubicBezTo>
                    <a:pt x="598076" y="64779"/>
                    <a:pt x="578410" y="53083"/>
                    <a:pt x="557971" y="42148"/>
                  </a:cubicBezTo>
                  <a:cubicBezTo>
                    <a:pt x="537545" y="31200"/>
                    <a:pt x="516777" y="20164"/>
                    <a:pt x="493612" y="12971"/>
                  </a:cubicBezTo>
                  <a:cubicBezTo>
                    <a:pt x="470611" y="6641"/>
                    <a:pt x="447066" y="1884"/>
                    <a:pt x="422734" y="-450"/>
                  </a:cubicBezTo>
                  <a:cubicBezTo>
                    <a:pt x="398390" y="-2695"/>
                    <a:pt x="373755" y="-1528"/>
                    <a:pt x="349170" y="286"/>
                  </a:cubicBezTo>
                  <a:cubicBezTo>
                    <a:pt x="324559" y="2176"/>
                    <a:pt x="299834" y="4776"/>
                    <a:pt x="274907" y="7301"/>
                  </a:cubicBezTo>
                  <a:cubicBezTo>
                    <a:pt x="250005" y="9876"/>
                    <a:pt x="224786" y="12286"/>
                    <a:pt x="199478" y="15788"/>
                  </a:cubicBezTo>
                  <a:cubicBezTo>
                    <a:pt x="148875" y="22815"/>
                    <a:pt x="97892" y="32329"/>
                    <a:pt x="46934" y="45738"/>
                  </a:cubicBezTo>
                  <a:lnTo>
                    <a:pt x="45185" y="46195"/>
                  </a:lnTo>
                  <a:lnTo>
                    <a:pt x="44665" y="47971"/>
                  </a:lnTo>
                  <a:cubicBezTo>
                    <a:pt x="36955" y="73812"/>
                    <a:pt x="28676" y="101542"/>
                    <a:pt x="20346" y="129451"/>
                  </a:cubicBezTo>
                  <a:cubicBezTo>
                    <a:pt x="12776" y="154822"/>
                    <a:pt x="5257" y="180041"/>
                    <a:pt x="-2198" y="205032"/>
                  </a:cubicBezTo>
                  <a:lnTo>
                    <a:pt x="-3263" y="208596"/>
                  </a:lnTo>
                  <a:lnTo>
                    <a:pt x="401" y="209231"/>
                  </a:lnTo>
                  <a:cubicBezTo>
                    <a:pt x="148470" y="234678"/>
                    <a:pt x="290744" y="259136"/>
                    <a:pt x="422709" y="281830"/>
                  </a:cubicBezTo>
                  <a:lnTo>
                    <a:pt x="420921" y="280841"/>
                  </a:lnTo>
                  <a:cubicBezTo>
                    <a:pt x="526590" y="397777"/>
                    <a:pt x="625539" y="505693"/>
                    <a:pt x="715650" y="600772"/>
                  </a:cubicBezTo>
                  <a:cubicBezTo>
                    <a:pt x="738181" y="624545"/>
                    <a:pt x="760218" y="647455"/>
                    <a:pt x="781861" y="669325"/>
                  </a:cubicBezTo>
                  <a:cubicBezTo>
                    <a:pt x="803632" y="691043"/>
                    <a:pt x="824299" y="712532"/>
                    <a:pt x="847020" y="730407"/>
                  </a:cubicBezTo>
                  <a:cubicBezTo>
                    <a:pt x="892818" y="765444"/>
                    <a:pt x="941709" y="788063"/>
                    <a:pt x="987519" y="802448"/>
                  </a:cubicBezTo>
                  <a:cubicBezTo>
                    <a:pt x="1033380" y="816770"/>
                    <a:pt x="1077339" y="821857"/>
                    <a:pt x="1114856" y="816491"/>
                  </a:cubicBezTo>
                  <a:cubicBezTo>
                    <a:pt x="1133558" y="813815"/>
                    <a:pt x="1150549" y="808385"/>
                    <a:pt x="1164737" y="800723"/>
                  </a:cubicBezTo>
                  <a:cubicBezTo>
                    <a:pt x="1178988" y="793112"/>
                    <a:pt x="1190260" y="783331"/>
                    <a:pt x="1198832" y="773398"/>
                  </a:cubicBezTo>
                  <a:cubicBezTo>
                    <a:pt x="1215973" y="753177"/>
                    <a:pt x="1222339" y="733388"/>
                    <a:pt x="1227259" y="720892"/>
                  </a:cubicBezTo>
                  <a:cubicBezTo>
                    <a:pt x="1229579" y="714499"/>
                    <a:pt x="1231062" y="709539"/>
                    <a:pt x="1231899" y="706164"/>
                  </a:cubicBezTo>
                  <a:cubicBezTo>
                    <a:pt x="1232723" y="702790"/>
                    <a:pt x="1232850" y="701014"/>
                    <a:pt x="1232850" y="701014"/>
                  </a:cubicBezTo>
                  <a:cubicBezTo>
                    <a:pt x="1232736" y="700988"/>
                    <a:pt x="1232368" y="702714"/>
                    <a:pt x="1231379" y="706025"/>
                  </a:cubicBezTo>
                  <a:cubicBezTo>
                    <a:pt x="1230378" y="709323"/>
                    <a:pt x="1228742" y="714207"/>
                    <a:pt x="1226257" y="720512"/>
                  </a:cubicBezTo>
                  <a:cubicBezTo>
                    <a:pt x="1221033" y="732880"/>
                    <a:pt x="1214351" y="752416"/>
                    <a:pt x="1197272" y="772028"/>
                  </a:cubicBezTo>
                  <a:cubicBezTo>
                    <a:pt x="1180561" y="791678"/>
                    <a:pt x="1151551" y="808918"/>
                    <a:pt x="1114426" y="813497"/>
                  </a:cubicBezTo>
                  <a:cubicBezTo>
                    <a:pt x="1077491" y="818483"/>
                    <a:pt x="1034052" y="813205"/>
                    <a:pt x="988686" y="798744"/>
                  </a:cubicBezTo>
                  <a:cubicBezTo>
                    <a:pt x="943383" y="784244"/>
                    <a:pt x="894923" y="761511"/>
                    <a:pt x="849886" y="726740"/>
                  </a:cubicBezTo>
                  <a:cubicBezTo>
                    <a:pt x="827659" y="709120"/>
                    <a:pt x="807055" y="687555"/>
                    <a:pt x="785424" y="665811"/>
                  </a:cubicBezTo>
                  <a:cubicBezTo>
                    <a:pt x="763895" y="643903"/>
                    <a:pt x="741947" y="620942"/>
                    <a:pt x="719505" y="597119"/>
                  </a:cubicBezTo>
                  <a:cubicBezTo>
                    <a:pt x="629748" y="501824"/>
                    <a:pt x="531041" y="393692"/>
                    <a:pt x="425574" y="276655"/>
                  </a:cubicBezTo>
                  <a:lnTo>
                    <a:pt x="424839" y="275843"/>
                  </a:lnTo>
                  <a:lnTo>
                    <a:pt x="423774" y="275665"/>
                  </a:lnTo>
                  <a:cubicBezTo>
                    <a:pt x="291821" y="252869"/>
                    <a:pt x="149560" y="228297"/>
                    <a:pt x="1530" y="202723"/>
                  </a:cubicBezTo>
                  <a:lnTo>
                    <a:pt x="4129" y="206922"/>
                  </a:lnTo>
                  <a:cubicBezTo>
                    <a:pt x="11585" y="181918"/>
                    <a:pt x="19103" y="156712"/>
                    <a:pt x="26673" y="131341"/>
                  </a:cubicBezTo>
                  <a:cubicBezTo>
                    <a:pt x="35003" y="103432"/>
                    <a:pt x="43270" y="75702"/>
                    <a:pt x="50979" y="49861"/>
                  </a:cubicBezTo>
                  <a:lnTo>
                    <a:pt x="48709" y="52094"/>
                  </a:lnTo>
                  <a:cubicBezTo>
                    <a:pt x="99135" y="38812"/>
                    <a:pt x="150067" y="29260"/>
                    <a:pt x="200366" y="22257"/>
                  </a:cubicBezTo>
                  <a:cubicBezTo>
                    <a:pt x="225522" y="18756"/>
                    <a:pt x="250626" y="16346"/>
                    <a:pt x="275566" y="13745"/>
                  </a:cubicBezTo>
                  <a:cubicBezTo>
                    <a:pt x="300481" y="11195"/>
                    <a:pt x="325193" y="8569"/>
                    <a:pt x="349651" y="6679"/>
                  </a:cubicBezTo>
                  <a:cubicBezTo>
                    <a:pt x="374110" y="4840"/>
                    <a:pt x="398378" y="3673"/>
                    <a:pt x="422164" y="5842"/>
                  </a:cubicBezTo>
                  <a:cubicBezTo>
                    <a:pt x="445887" y="8075"/>
                    <a:pt x="469407" y="12781"/>
                    <a:pt x="491925" y="18959"/>
                  </a:cubicBezTo>
                  <a:cubicBezTo>
                    <a:pt x="513974" y="25746"/>
                    <a:pt x="534857" y="36693"/>
                    <a:pt x="555068" y="47527"/>
                  </a:cubicBezTo>
                  <a:cubicBezTo>
                    <a:pt x="575393" y="58348"/>
                    <a:pt x="595007" y="69968"/>
                    <a:pt x="614267" y="81601"/>
                  </a:cubicBezTo>
                  <a:cubicBezTo>
                    <a:pt x="691230" y="128347"/>
                    <a:pt x="762019" y="176362"/>
                    <a:pt x="827799" y="221675"/>
                  </a:cubicBezTo>
                  <a:cubicBezTo>
                    <a:pt x="893338" y="267356"/>
                    <a:pt x="954299" y="309954"/>
                    <a:pt x="1007983" y="351183"/>
                  </a:cubicBezTo>
                  <a:cubicBezTo>
                    <a:pt x="1061794" y="392233"/>
                    <a:pt x="1107541" y="433094"/>
                    <a:pt x="1143474" y="472838"/>
                  </a:cubicBezTo>
                  <a:cubicBezTo>
                    <a:pt x="1179571" y="512417"/>
                    <a:pt x="1204651" y="551806"/>
                    <a:pt x="1218687" y="586678"/>
                  </a:cubicBezTo>
                  <a:cubicBezTo>
                    <a:pt x="1233307" y="621615"/>
                    <a:pt x="1234473" y="651350"/>
                    <a:pt x="1235399" y="670949"/>
                  </a:cubicBezTo>
                  <a:cubicBezTo>
                    <a:pt x="1234511" y="680628"/>
                    <a:pt x="1233839" y="688062"/>
                    <a:pt x="1233344" y="693339"/>
                  </a:cubicBezTo>
                  <a:cubicBezTo>
                    <a:pt x="1232913" y="698388"/>
                    <a:pt x="1232850" y="701014"/>
                    <a:pt x="1232850" y="70101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5" name="Vrije vorm 944">
              <a:extLst>
                <a:ext uri="{FF2B5EF4-FFF2-40B4-BE49-F238E27FC236}">
                  <a16:creationId xmlns:a16="http://schemas.microsoft.com/office/drawing/2014/main" id="{DE5346D3-FA60-E90C-6925-3810448520AD}"/>
                </a:ext>
              </a:extLst>
            </p:cNvPr>
            <p:cNvSpPr/>
            <p:nvPr/>
          </p:nvSpPr>
          <p:spPr>
            <a:xfrm flipV="1">
              <a:off x="9577881" y="2774047"/>
              <a:ext cx="365555" cy="124319"/>
            </a:xfrm>
            <a:custGeom>
              <a:avLst/>
              <a:gdLst>
                <a:gd name="connsiteX0" fmla="*/ 361998 w 365555"/>
                <a:gd name="connsiteY0" fmla="*/ 122149 h 124319"/>
                <a:gd name="connsiteX1" fmla="*/ 357662 w 365555"/>
                <a:gd name="connsiteY1" fmla="*/ 120678 h 124319"/>
                <a:gd name="connsiteX2" fmla="*/ 345629 w 365555"/>
                <a:gd name="connsiteY2" fmla="*/ 115629 h 124319"/>
                <a:gd name="connsiteX3" fmla="*/ 301492 w 365555"/>
                <a:gd name="connsiteY3" fmla="*/ 96879 h 124319"/>
                <a:gd name="connsiteX4" fmla="*/ 153614 w 365555"/>
                <a:gd name="connsiteY4" fmla="*/ 40911 h 124319"/>
                <a:gd name="connsiteX5" fmla="*/ 26632 w 365555"/>
                <a:gd name="connsiteY5" fmla="*/ 1915 h 124319"/>
                <a:gd name="connsiteX6" fmla="*/ 28762 w 365555"/>
                <a:gd name="connsiteY6" fmla="*/ 1052 h 124319"/>
                <a:gd name="connsiteX7" fmla="*/ 2579 w 365555"/>
                <a:gd name="connsiteY7" fmla="*/ 61195 h 124319"/>
                <a:gd name="connsiteX8" fmla="*/ -1858 w 365555"/>
                <a:gd name="connsiteY8" fmla="*/ 78866 h 124319"/>
                <a:gd name="connsiteX9" fmla="*/ -3481 w 365555"/>
                <a:gd name="connsiteY9" fmla="*/ 85094 h 124319"/>
                <a:gd name="connsiteX10" fmla="*/ -2974 w 365555"/>
                <a:gd name="connsiteY10" fmla="*/ 78663 h 124319"/>
                <a:gd name="connsiteX11" fmla="*/ 475 w 365555"/>
                <a:gd name="connsiteY11" fmla="*/ 60636 h 124319"/>
                <a:gd name="connsiteX12" fmla="*/ 25491 w 365555"/>
                <a:gd name="connsiteY12" fmla="*/ -914 h 124319"/>
                <a:gd name="connsiteX13" fmla="*/ 26213 w 365555"/>
                <a:gd name="connsiteY13" fmla="*/ -2145 h 124319"/>
                <a:gd name="connsiteX14" fmla="*/ 27621 w 365555"/>
                <a:gd name="connsiteY14" fmla="*/ -1777 h 124319"/>
                <a:gd name="connsiteX15" fmla="*/ 155149 w 365555"/>
                <a:gd name="connsiteY15" fmla="*/ 36407 h 124319"/>
                <a:gd name="connsiteX16" fmla="*/ 302824 w 365555"/>
                <a:gd name="connsiteY16" fmla="*/ 93784 h 124319"/>
                <a:gd name="connsiteX17" fmla="*/ 346403 w 365555"/>
                <a:gd name="connsiteY17" fmla="*/ 113941 h 124319"/>
                <a:gd name="connsiteX18" fmla="*/ 358067 w 365555"/>
                <a:gd name="connsiteY18" fmla="*/ 119815 h 124319"/>
                <a:gd name="connsiteX19" fmla="*/ 361998 w 365555"/>
                <a:gd name="connsiteY19" fmla="*/ 122149 h 12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65555" h="124319">
                  <a:moveTo>
                    <a:pt x="361998" y="122149"/>
                  </a:moveTo>
                  <a:cubicBezTo>
                    <a:pt x="361935" y="122301"/>
                    <a:pt x="360438" y="121781"/>
                    <a:pt x="357662" y="120678"/>
                  </a:cubicBezTo>
                  <a:cubicBezTo>
                    <a:pt x="354403" y="119307"/>
                    <a:pt x="350434" y="117646"/>
                    <a:pt x="345629" y="115629"/>
                  </a:cubicBezTo>
                  <a:cubicBezTo>
                    <a:pt x="334535" y="110910"/>
                    <a:pt x="319624" y="104580"/>
                    <a:pt x="301492" y="96879"/>
                  </a:cubicBezTo>
                  <a:cubicBezTo>
                    <a:pt x="264114" y="81339"/>
                    <a:pt x="212117" y="60687"/>
                    <a:pt x="153614" y="40911"/>
                  </a:cubicBezTo>
                  <a:cubicBezTo>
                    <a:pt x="106296" y="24863"/>
                    <a:pt x="62058" y="11721"/>
                    <a:pt x="26632" y="1915"/>
                  </a:cubicBezTo>
                  <a:lnTo>
                    <a:pt x="28762" y="1052"/>
                  </a:lnTo>
                  <a:cubicBezTo>
                    <a:pt x="14447" y="24546"/>
                    <a:pt x="6877" y="46099"/>
                    <a:pt x="2579" y="61195"/>
                  </a:cubicBezTo>
                  <a:cubicBezTo>
                    <a:pt x="424" y="68768"/>
                    <a:pt x="-933" y="74781"/>
                    <a:pt x="-1858" y="78866"/>
                  </a:cubicBezTo>
                  <a:cubicBezTo>
                    <a:pt x="-2759" y="82963"/>
                    <a:pt x="-3279" y="85132"/>
                    <a:pt x="-3481" y="85094"/>
                  </a:cubicBezTo>
                  <a:cubicBezTo>
                    <a:pt x="-3659" y="85069"/>
                    <a:pt x="-3519" y="82849"/>
                    <a:pt x="-2974" y="78663"/>
                  </a:cubicBezTo>
                  <a:cubicBezTo>
                    <a:pt x="-2404" y="74489"/>
                    <a:pt x="-1377" y="68375"/>
                    <a:pt x="475" y="60636"/>
                  </a:cubicBezTo>
                  <a:cubicBezTo>
                    <a:pt x="4177" y="45236"/>
                    <a:pt x="11302" y="23201"/>
                    <a:pt x="25491" y="-914"/>
                  </a:cubicBezTo>
                  <a:lnTo>
                    <a:pt x="26213" y="-2145"/>
                  </a:lnTo>
                  <a:lnTo>
                    <a:pt x="27621" y="-1777"/>
                  </a:lnTo>
                  <a:cubicBezTo>
                    <a:pt x="63262" y="7484"/>
                    <a:pt x="107716" y="20309"/>
                    <a:pt x="155149" y="36407"/>
                  </a:cubicBezTo>
                  <a:cubicBezTo>
                    <a:pt x="213790" y="56222"/>
                    <a:pt x="265712" y="77432"/>
                    <a:pt x="302824" y="93784"/>
                  </a:cubicBezTo>
                  <a:cubicBezTo>
                    <a:pt x="321348" y="102017"/>
                    <a:pt x="336221" y="108956"/>
                    <a:pt x="346403" y="113941"/>
                  </a:cubicBezTo>
                  <a:cubicBezTo>
                    <a:pt x="351068" y="116276"/>
                    <a:pt x="354911" y="118217"/>
                    <a:pt x="358067" y="119815"/>
                  </a:cubicBezTo>
                  <a:cubicBezTo>
                    <a:pt x="360718" y="121198"/>
                    <a:pt x="362074" y="121997"/>
                    <a:pt x="361998" y="122149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6" name="Vrije vorm 945">
              <a:extLst>
                <a:ext uri="{FF2B5EF4-FFF2-40B4-BE49-F238E27FC236}">
                  <a16:creationId xmlns:a16="http://schemas.microsoft.com/office/drawing/2014/main" id="{88D5DD70-F3A2-A270-E1D9-7415B41DADE9}"/>
                </a:ext>
              </a:extLst>
            </p:cNvPr>
            <p:cNvSpPr/>
            <p:nvPr/>
          </p:nvSpPr>
          <p:spPr>
            <a:xfrm flipV="1">
              <a:off x="9866825" y="4088607"/>
              <a:ext cx="161584" cy="442981"/>
            </a:xfrm>
            <a:custGeom>
              <a:avLst/>
              <a:gdLst>
                <a:gd name="connsiteX0" fmla="*/ -3682 w 161584"/>
                <a:gd name="connsiteY0" fmla="*/ -828 h 442981"/>
                <a:gd name="connsiteX1" fmla="*/ 57838 w 161584"/>
                <a:gd name="connsiteY1" fmla="*/ -828 h 442981"/>
                <a:gd name="connsiteX2" fmla="*/ 121412 w 161584"/>
                <a:gd name="connsiteY2" fmla="*/ 55522 h 442981"/>
                <a:gd name="connsiteX3" fmla="*/ 157902 w 161584"/>
                <a:gd name="connsiteY3" fmla="*/ 438361 h 442981"/>
                <a:gd name="connsiteX4" fmla="*/ 114032 w 161584"/>
                <a:gd name="connsiteY4" fmla="*/ 442154 h 442981"/>
                <a:gd name="connsiteX5" fmla="*/ 77693 w 161584"/>
                <a:gd name="connsiteY5" fmla="*/ 60799 h 442981"/>
                <a:gd name="connsiteX6" fmla="*/ 57838 w 161584"/>
                <a:gd name="connsiteY6" fmla="*/ 43229 h 442981"/>
                <a:gd name="connsiteX7" fmla="*/ -3682 w 161584"/>
                <a:gd name="connsiteY7" fmla="*/ 43229 h 442981"/>
                <a:gd name="connsiteX8" fmla="*/ -3682 w 161584"/>
                <a:gd name="connsiteY8" fmla="*/ -828 h 44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584" h="442981">
                  <a:moveTo>
                    <a:pt x="-3682" y="-828"/>
                  </a:moveTo>
                  <a:lnTo>
                    <a:pt x="57838" y="-828"/>
                  </a:lnTo>
                  <a:cubicBezTo>
                    <a:pt x="90208" y="-828"/>
                    <a:pt x="117532" y="23402"/>
                    <a:pt x="121412" y="55522"/>
                  </a:cubicBezTo>
                  <a:cubicBezTo>
                    <a:pt x="133546" y="155954"/>
                    <a:pt x="157662" y="435557"/>
                    <a:pt x="157902" y="438361"/>
                  </a:cubicBezTo>
                  <a:lnTo>
                    <a:pt x="114032" y="442154"/>
                  </a:lnTo>
                  <a:cubicBezTo>
                    <a:pt x="113791" y="439338"/>
                    <a:pt x="89738" y="160495"/>
                    <a:pt x="77693" y="60799"/>
                  </a:cubicBezTo>
                  <a:cubicBezTo>
                    <a:pt x="76489" y="50790"/>
                    <a:pt x="67956" y="43229"/>
                    <a:pt x="57838" y="43229"/>
                  </a:cubicBezTo>
                  <a:lnTo>
                    <a:pt x="-3682" y="43229"/>
                  </a:lnTo>
                  <a:lnTo>
                    <a:pt x="-3682" y="-828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7" name="Vrije vorm 946">
              <a:extLst>
                <a:ext uri="{FF2B5EF4-FFF2-40B4-BE49-F238E27FC236}">
                  <a16:creationId xmlns:a16="http://schemas.microsoft.com/office/drawing/2014/main" id="{D57BA1B1-26E6-533C-5FA2-19CCD67443BE}"/>
                </a:ext>
              </a:extLst>
            </p:cNvPr>
            <p:cNvSpPr/>
            <p:nvPr/>
          </p:nvSpPr>
          <p:spPr>
            <a:xfrm flipV="1">
              <a:off x="9865785" y="4085791"/>
              <a:ext cx="165489" cy="446960"/>
            </a:xfrm>
            <a:custGeom>
              <a:avLst/>
              <a:gdLst>
                <a:gd name="connsiteX0" fmla="*/ -2642 w 165489"/>
                <a:gd name="connsiteY0" fmla="*/ 334 h 446960"/>
                <a:gd name="connsiteX1" fmla="*/ -2439 w 165489"/>
                <a:gd name="connsiteY1" fmla="*/ 3379 h 446960"/>
                <a:gd name="connsiteX2" fmla="*/ -2198 w 165489"/>
                <a:gd name="connsiteY2" fmla="*/ 11941 h 446960"/>
                <a:gd name="connsiteX3" fmla="*/ -1615 w 165489"/>
                <a:gd name="connsiteY3" fmla="*/ 44391 h 446960"/>
                <a:gd name="connsiteX4" fmla="*/ -2642 w 165489"/>
                <a:gd name="connsiteY4" fmla="*/ 43376 h 446960"/>
                <a:gd name="connsiteX5" fmla="*/ 31592 w 165489"/>
                <a:gd name="connsiteY5" fmla="*/ 43047 h 446960"/>
                <a:gd name="connsiteX6" fmla="*/ 52031 w 165489"/>
                <a:gd name="connsiteY6" fmla="*/ 42907 h 446960"/>
                <a:gd name="connsiteX7" fmla="*/ 63327 w 165489"/>
                <a:gd name="connsiteY7" fmla="*/ 43313 h 446960"/>
                <a:gd name="connsiteX8" fmla="*/ 74143 w 165489"/>
                <a:gd name="connsiteY8" fmla="*/ 49085 h 446960"/>
                <a:gd name="connsiteX9" fmla="*/ 80204 w 165489"/>
                <a:gd name="connsiteY9" fmla="*/ 60388 h 446960"/>
                <a:gd name="connsiteX10" fmla="*/ 81561 w 165489"/>
                <a:gd name="connsiteY10" fmla="*/ 72921 h 446960"/>
                <a:gd name="connsiteX11" fmla="*/ 84185 w 165489"/>
                <a:gd name="connsiteY11" fmla="*/ 99193 h 446960"/>
                <a:gd name="connsiteX12" fmla="*/ 89929 w 165489"/>
                <a:gd name="connsiteY12" fmla="*/ 156963 h 446960"/>
                <a:gd name="connsiteX13" fmla="*/ 117671 w 165489"/>
                <a:gd name="connsiteY13" fmla="*/ 443087 h 446960"/>
                <a:gd name="connsiteX14" fmla="*/ 114856 w 165489"/>
                <a:gd name="connsiteY14" fmla="*/ 440703 h 446960"/>
                <a:gd name="connsiteX15" fmla="*/ 147378 w 165489"/>
                <a:gd name="connsiteY15" fmla="*/ 437899 h 446960"/>
                <a:gd name="connsiteX16" fmla="*/ 158713 w 165489"/>
                <a:gd name="connsiteY16" fmla="*/ 436922 h 446960"/>
                <a:gd name="connsiteX17" fmla="*/ 156343 w 165489"/>
                <a:gd name="connsiteY17" fmla="*/ 439751 h 446960"/>
                <a:gd name="connsiteX18" fmla="*/ 120917 w 165489"/>
                <a:gd name="connsiteY18" fmla="*/ 59880 h 446960"/>
                <a:gd name="connsiteX19" fmla="*/ 87279 w 165489"/>
                <a:gd name="connsiteY19" fmla="*/ 8630 h 446960"/>
                <a:gd name="connsiteX20" fmla="*/ 39757 w 165489"/>
                <a:gd name="connsiteY20" fmla="*/ 1311 h 446960"/>
                <a:gd name="connsiteX21" fmla="*/ 8566 w 165489"/>
                <a:gd name="connsiteY21" fmla="*/ 753 h 446960"/>
                <a:gd name="connsiteX22" fmla="*/ 312 w 165489"/>
                <a:gd name="connsiteY22" fmla="*/ 524 h 446960"/>
                <a:gd name="connsiteX23" fmla="*/ -2642 w 165489"/>
                <a:gd name="connsiteY23" fmla="*/ 334 h 446960"/>
                <a:gd name="connsiteX24" fmla="*/ -56 w 165489"/>
                <a:gd name="connsiteY24" fmla="*/ 144 h 446960"/>
                <a:gd name="connsiteX25" fmla="*/ 7945 w 165489"/>
                <a:gd name="connsiteY25" fmla="*/ -72 h 446960"/>
                <a:gd name="connsiteX26" fmla="*/ 39288 w 165489"/>
                <a:gd name="connsiteY26" fmla="*/ -643 h 446960"/>
                <a:gd name="connsiteX27" fmla="*/ 62186 w 165489"/>
                <a:gd name="connsiteY27" fmla="*/ -744 h 446960"/>
                <a:gd name="connsiteX28" fmla="*/ 88584 w 165489"/>
                <a:gd name="connsiteY28" fmla="*/ 6055 h 446960"/>
                <a:gd name="connsiteX29" fmla="*/ 124556 w 165489"/>
                <a:gd name="connsiteY29" fmla="*/ 59436 h 446960"/>
                <a:gd name="connsiteX30" fmla="*/ 161554 w 165489"/>
                <a:gd name="connsiteY30" fmla="*/ 439295 h 446960"/>
                <a:gd name="connsiteX31" fmla="*/ 161807 w 165489"/>
                <a:gd name="connsiteY31" fmla="*/ 441895 h 446960"/>
                <a:gd name="connsiteX32" fmla="*/ 159170 w 165489"/>
                <a:gd name="connsiteY32" fmla="*/ 442123 h 446960"/>
                <a:gd name="connsiteX33" fmla="*/ 147835 w 165489"/>
                <a:gd name="connsiteY33" fmla="*/ 443113 h 446960"/>
                <a:gd name="connsiteX34" fmla="*/ 115300 w 165489"/>
                <a:gd name="connsiteY34" fmla="*/ 445916 h 446960"/>
                <a:gd name="connsiteX35" fmla="*/ 112713 w 165489"/>
                <a:gd name="connsiteY35" fmla="*/ 446132 h 446960"/>
                <a:gd name="connsiteX36" fmla="*/ 112473 w 165489"/>
                <a:gd name="connsiteY36" fmla="*/ 443532 h 446960"/>
                <a:gd name="connsiteX37" fmla="*/ 85694 w 165489"/>
                <a:gd name="connsiteY37" fmla="*/ 157446 h 446960"/>
                <a:gd name="connsiteX38" fmla="*/ 80419 w 165489"/>
                <a:gd name="connsiteY38" fmla="*/ 99637 h 446960"/>
                <a:gd name="connsiteX39" fmla="*/ 78049 w 165489"/>
                <a:gd name="connsiteY39" fmla="*/ 73340 h 446960"/>
                <a:gd name="connsiteX40" fmla="*/ 76844 w 165489"/>
                <a:gd name="connsiteY40" fmla="*/ 61009 h 446960"/>
                <a:gd name="connsiteX41" fmla="*/ 71835 w 165489"/>
                <a:gd name="connsiteY41" fmla="*/ 51406 h 446960"/>
                <a:gd name="connsiteX42" fmla="*/ 62681 w 165489"/>
                <a:gd name="connsiteY42" fmla="*/ 46370 h 446960"/>
                <a:gd name="connsiteX43" fmla="*/ 52031 w 165489"/>
                <a:gd name="connsiteY43" fmla="*/ 45888 h 446960"/>
                <a:gd name="connsiteX44" fmla="*/ 31592 w 165489"/>
                <a:gd name="connsiteY44" fmla="*/ 45736 h 446960"/>
                <a:gd name="connsiteX45" fmla="*/ -2642 w 165489"/>
                <a:gd name="connsiteY45" fmla="*/ 45419 h 446960"/>
                <a:gd name="connsiteX46" fmla="*/ -3682 w 165489"/>
                <a:gd name="connsiteY46" fmla="*/ 45406 h 446960"/>
                <a:gd name="connsiteX47" fmla="*/ -3657 w 165489"/>
                <a:gd name="connsiteY47" fmla="*/ 44391 h 446960"/>
                <a:gd name="connsiteX48" fmla="*/ -3073 w 165489"/>
                <a:gd name="connsiteY48" fmla="*/ 11345 h 446960"/>
                <a:gd name="connsiteX49" fmla="*/ -2832 w 165489"/>
                <a:gd name="connsiteY49" fmla="*/ 3024 h 446960"/>
                <a:gd name="connsiteX50" fmla="*/ -2642 w 165489"/>
                <a:gd name="connsiteY50" fmla="*/ 334 h 44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65489" h="446960">
                  <a:moveTo>
                    <a:pt x="-2642" y="334"/>
                  </a:moveTo>
                  <a:cubicBezTo>
                    <a:pt x="-2579" y="397"/>
                    <a:pt x="-2515" y="1438"/>
                    <a:pt x="-2439" y="3379"/>
                  </a:cubicBezTo>
                  <a:cubicBezTo>
                    <a:pt x="-2376" y="5611"/>
                    <a:pt x="-2300" y="8415"/>
                    <a:pt x="-2198" y="11941"/>
                  </a:cubicBezTo>
                  <a:cubicBezTo>
                    <a:pt x="-2059" y="19692"/>
                    <a:pt x="-1869" y="30526"/>
                    <a:pt x="-1615" y="44391"/>
                  </a:cubicBezTo>
                  <a:lnTo>
                    <a:pt x="-2642" y="43376"/>
                  </a:lnTo>
                  <a:cubicBezTo>
                    <a:pt x="7298" y="43275"/>
                    <a:pt x="18748" y="43173"/>
                    <a:pt x="31592" y="43047"/>
                  </a:cubicBezTo>
                  <a:cubicBezTo>
                    <a:pt x="38058" y="43008"/>
                    <a:pt x="44879" y="42958"/>
                    <a:pt x="52031" y="42907"/>
                  </a:cubicBezTo>
                  <a:cubicBezTo>
                    <a:pt x="55606" y="42996"/>
                    <a:pt x="59220" y="42526"/>
                    <a:pt x="63327" y="43313"/>
                  </a:cubicBezTo>
                  <a:cubicBezTo>
                    <a:pt x="67284" y="44125"/>
                    <a:pt x="71138" y="46078"/>
                    <a:pt x="74143" y="49085"/>
                  </a:cubicBezTo>
                  <a:cubicBezTo>
                    <a:pt x="77186" y="52041"/>
                    <a:pt x="79380" y="56011"/>
                    <a:pt x="80204" y="60388"/>
                  </a:cubicBezTo>
                  <a:cubicBezTo>
                    <a:pt x="80825" y="64637"/>
                    <a:pt x="81091" y="68646"/>
                    <a:pt x="81561" y="72921"/>
                  </a:cubicBezTo>
                  <a:cubicBezTo>
                    <a:pt x="82410" y="81370"/>
                    <a:pt x="83285" y="90136"/>
                    <a:pt x="84185" y="99193"/>
                  </a:cubicBezTo>
                  <a:cubicBezTo>
                    <a:pt x="85985" y="117334"/>
                    <a:pt x="87900" y="136628"/>
                    <a:pt x="89929" y="156963"/>
                  </a:cubicBezTo>
                  <a:cubicBezTo>
                    <a:pt x="97841" y="238532"/>
                    <a:pt x="107350" y="336706"/>
                    <a:pt x="117671" y="443087"/>
                  </a:cubicBezTo>
                  <a:lnTo>
                    <a:pt x="114856" y="440703"/>
                  </a:lnTo>
                  <a:cubicBezTo>
                    <a:pt x="125177" y="439815"/>
                    <a:pt x="136233" y="438863"/>
                    <a:pt x="147378" y="437899"/>
                  </a:cubicBezTo>
                  <a:cubicBezTo>
                    <a:pt x="151258" y="437557"/>
                    <a:pt x="155138" y="437227"/>
                    <a:pt x="158713" y="436922"/>
                  </a:cubicBezTo>
                  <a:lnTo>
                    <a:pt x="156343" y="439751"/>
                  </a:lnTo>
                  <a:cubicBezTo>
                    <a:pt x="142484" y="291139"/>
                    <a:pt x="129995" y="157166"/>
                    <a:pt x="120917" y="59880"/>
                  </a:cubicBezTo>
                  <a:cubicBezTo>
                    <a:pt x="119231" y="35778"/>
                    <a:pt x="104016" y="17079"/>
                    <a:pt x="87279" y="8630"/>
                  </a:cubicBezTo>
                  <a:cubicBezTo>
                    <a:pt x="70263" y="-579"/>
                    <a:pt x="52982" y="1932"/>
                    <a:pt x="39757" y="1311"/>
                  </a:cubicBezTo>
                  <a:cubicBezTo>
                    <a:pt x="26520" y="1070"/>
                    <a:pt x="16085" y="892"/>
                    <a:pt x="8566" y="753"/>
                  </a:cubicBezTo>
                  <a:cubicBezTo>
                    <a:pt x="5193" y="664"/>
                    <a:pt x="2467" y="588"/>
                    <a:pt x="312" y="524"/>
                  </a:cubicBezTo>
                  <a:cubicBezTo>
                    <a:pt x="-1578" y="461"/>
                    <a:pt x="-2579" y="397"/>
                    <a:pt x="-2642" y="334"/>
                  </a:cubicBezTo>
                  <a:cubicBezTo>
                    <a:pt x="-2706" y="271"/>
                    <a:pt x="-1831" y="207"/>
                    <a:pt x="-56" y="144"/>
                  </a:cubicBezTo>
                  <a:cubicBezTo>
                    <a:pt x="2036" y="80"/>
                    <a:pt x="4674" y="17"/>
                    <a:pt x="7945" y="-72"/>
                  </a:cubicBezTo>
                  <a:cubicBezTo>
                    <a:pt x="15489" y="-211"/>
                    <a:pt x="25974" y="-402"/>
                    <a:pt x="39288" y="-643"/>
                  </a:cubicBezTo>
                  <a:cubicBezTo>
                    <a:pt x="46147" y="-668"/>
                    <a:pt x="53780" y="-972"/>
                    <a:pt x="62186" y="-744"/>
                  </a:cubicBezTo>
                  <a:cubicBezTo>
                    <a:pt x="70580" y="-376"/>
                    <a:pt x="79773" y="1590"/>
                    <a:pt x="88584" y="6055"/>
                  </a:cubicBezTo>
                  <a:cubicBezTo>
                    <a:pt x="106209" y="14555"/>
                    <a:pt x="122552" y="34281"/>
                    <a:pt x="124556" y="59436"/>
                  </a:cubicBezTo>
                  <a:cubicBezTo>
                    <a:pt x="134027" y="156722"/>
                    <a:pt x="147074" y="290695"/>
                    <a:pt x="161554" y="439295"/>
                  </a:cubicBezTo>
                  <a:lnTo>
                    <a:pt x="161807" y="441895"/>
                  </a:lnTo>
                  <a:lnTo>
                    <a:pt x="159170" y="442123"/>
                  </a:lnTo>
                  <a:cubicBezTo>
                    <a:pt x="155582" y="442441"/>
                    <a:pt x="151714" y="442770"/>
                    <a:pt x="147835" y="443113"/>
                  </a:cubicBezTo>
                  <a:cubicBezTo>
                    <a:pt x="136690" y="444064"/>
                    <a:pt x="125621" y="445016"/>
                    <a:pt x="115300" y="445916"/>
                  </a:cubicBezTo>
                  <a:lnTo>
                    <a:pt x="112713" y="446132"/>
                  </a:lnTo>
                  <a:lnTo>
                    <a:pt x="112473" y="443532"/>
                  </a:lnTo>
                  <a:cubicBezTo>
                    <a:pt x="102519" y="337163"/>
                    <a:pt x="93327" y="239001"/>
                    <a:pt x="85694" y="157446"/>
                  </a:cubicBezTo>
                  <a:cubicBezTo>
                    <a:pt x="83843" y="137098"/>
                    <a:pt x="82080" y="117778"/>
                    <a:pt x="80419" y="99637"/>
                  </a:cubicBezTo>
                  <a:cubicBezTo>
                    <a:pt x="79608" y="90580"/>
                    <a:pt x="78809" y="81801"/>
                    <a:pt x="78049" y="73340"/>
                  </a:cubicBezTo>
                  <a:cubicBezTo>
                    <a:pt x="77630" y="69166"/>
                    <a:pt x="77364" y="64841"/>
                    <a:pt x="76844" y="61009"/>
                  </a:cubicBezTo>
                  <a:cubicBezTo>
                    <a:pt x="76210" y="57318"/>
                    <a:pt x="74396" y="53943"/>
                    <a:pt x="71835" y="51406"/>
                  </a:cubicBezTo>
                  <a:cubicBezTo>
                    <a:pt x="69325" y="48819"/>
                    <a:pt x="66053" y="47119"/>
                    <a:pt x="62681" y="46370"/>
                  </a:cubicBezTo>
                  <a:cubicBezTo>
                    <a:pt x="59397" y="45660"/>
                    <a:pt x="55593" y="46015"/>
                    <a:pt x="52031" y="45888"/>
                  </a:cubicBezTo>
                  <a:cubicBezTo>
                    <a:pt x="44879" y="45837"/>
                    <a:pt x="38058" y="45787"/>
                    <a:pt x="31592" y="45736"/>
                  </a:cubicBezTo>
                  <a:cubicBezTo>
                    <a:pt x="18735" y="45609"/>
                    <a:pt x="7298" y="45508"/>
                    <a:pt x="-2642" y="45419"/>
                  </a:cubicBezTo>
                  <a:lnTo>
                    <a:pt x="-3682" y="45406"/>
                  </a:lnTo>
                  <a:lnTo>
                    <a:pt x="-3657" y="44391"/>
                  </a:lnTo>
                  <a:cubicBezTo>
                    <a:pt x="-3416" y="30272"/>
                    <a:pt x="-3213" y="19248"/>
                    <a:pt x="-3073" y="11345"/>
                  </a:cubicBezTo>
                  <a:cubicBezTo>
                    <a:pt x="-2985" y="7920"/>
                    <a:pt x="-2896" y="5180"/>
                    <a:pt x="-2832" y="3024"/>
                  </a:cubicBezTo>
                  <a:cubicBezTo>
                    <a:pt x="-2769" y="1171"/>
                    <a:pt x="-2706" y="271"/>
                    <a:pt x="-2642" y="334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8" name="Vrije vorm 947">
              <a:extLst>
                <a:ext uri="{FF2B5EF4-FFF2-40B4-BE49-F238E27FC236}">
                  <a16:creationId xmlns:a16="http://schemas.microsoft.com/office/drawing/2014/main" id="{D72979D8-0C42-3D30-6D50-D538D7D90524}"/>
                </a:ext>
              </a:extLst>
            </p:cNvPr>
            <p:cNvSpPr/>
            <p:nvPr/>
          </p:nvSpPr>
          <p:spPr>
            <a:xfrm flipV="1">
              <a:off x="8820229" y="4475506"/>
              <a:ext cx="1115115" cy="109882"/>
            </a:xfrm>
            <a:custGeom>
              <a:avLst/>
              <a:gdLst>
                <a:gd name="connsiteX0" fmla="*/ 62982 w 1115115"/>
                <a:gd name="connsiteY0" fmla="*/ -631 h 109882"/>
                <a:gd name="connsiteX1" fmla="*/ 1045548 w 1115115"/>
                <a:gd name="connsiteY1" fmla="*/ -631 h 109882"/>
                <a:gd name="connsiteX2" fmla="*/ 1111823 w 1115115"/>
                <a:gd name="connsiteY2" fmla="*/ 54310 h 109882"/>
                <a:gd name="connsiteX3" fmla="*/ 1045548 w 1115115"/>
                <a:gd name="connsiteY3" fmla="*/ 109252 h 109882"/>
                <a:gd name="connsiteX4" fmla="*/ 62982 w 1115115"/>
                <a:gd name="connsiteY4" fmla="*/ 109252 h 109882"/>
                <a:gd name="connsiteX5" fmla="*/ -3292 w 1115115"/>
                <a:gd name="connsiteY5" fmla="*/ 54310 h 109882"/>
                <a:gd name="connsiteX6" fmla="*/ 62982 w 1115115"/>
                <a:gd name="connsiteY6" fmla="*/ -631 h 10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5115" h="109882">
                  <a:moveTo>
                    <a:pt x="62982" y="-631"/>
                  </a:moveTo>
                  <a:lnTo>
                    <a:pt x="1045548" y="-631"/>
                  </a:lnTo>
                  <a:cubicBezTo>
                    <a:pt x="1082153" y="-631"/>
                    <a:pt x="1111823" y="23966"/>
                    <a:pt x="1111823" y="54310"/>
                  </a:cubicBezTo>
                  <a:cubicBezTo>
                    <a:pt x="1111823" y="84654"/>
                    <a:pt x="1082153" y="109252"/>
                    <a:pt x="1045548" y="109252"/>
                  </a:cubicBezTo>
                  <a:lnTo>
                    <a:pt x="62982" y="109252"/>
                  </a:lnTo>
                  <a:cubicBezTo>
                    <a:pt x="26377" y="109252"/>
                    <a:pt x="-3292" y="84654"/>
                    <a:pt x="-3292" y="54310"/>
                  </a:cubicBezTo>
                  <a:cubicBezTo>
                    <a:pt x="-3292" y="23966"/>
                    <a:pt x="26377" y="-631"/>
                    <a:pt x="62982" y="-631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9" name="Vrije vorm 948">
              <a:extLst>
                <a:ext uri="{FF2B5EF4-FFF2-40B4-BE49-F238E27FC236}">
                  <a16:creationId xmlns:a16="http://schemas.microsoft.com/office/drawing/2014/main" id="{15A76D60-9A2F-EEED-13CD-1A9F43D7D3A8}"/>
                </a:ext>
              </a:extLst>
            </p:cNvPr>
            <p:cNvSpPr/>
            <p:nvPr/>
          </p:nvSpPr>
          <p:spPr>
            <a:xfrm flipV="1">
              <a:off x="9947218" y="2998259"/>
              <a:ext cx="266644" cy="1184964"/>
            </a:xfrm>
            <a:custGeom>
              <a:avLst/>
              <a:gdLst>
                <a:gd name="connsiteX0" fmla="*/ 128250 w 266644"/>
                <a:gd name="connsiteY0" fmla="*/ 56459 h 1184964"/>
                <a:gd name="connsiteX1" fmla="*/ 262333 w 266644"/>
                <a:gd name="connsiteY1" fmla="*/ 1108794 h 1184964"/>
                <a:gd name="connsiteX2" fmla="*/ 204972 w 266644"/>
                <a:gd name="connsiteY2" fmla="*/ 1182954 h 1184964"/>
                <a:gd name="connsiteX3" fmla="*/ 130836 w 266644"/>
                <a:gd name="connsiteY3" fmla="*/ 1125565 h 1184964"/>
                <a:gd name="connsiteX4" fmla="*/ -3234 w 266644"/>
                <a:gd name="connsiteY4" fmla="*/ 73229 h 1184964"/>
                <a:gd name="connsiteX5" fmla="*/ 54127 w 266644"/>
                <a:gd name="connsiteY5" fmla="*/ -931 h 1184964"/>
                <a:gd name="connsiteX6" fmla="*/ 128250 w 266644"/>
                <a:gd name="connsiteY6" fmla="*/ 56459 h 1184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6644" h="1184964">
                  <a:moveTo>
                    <a:pt x="128250" y="56459"/>
                  </a:moveTo>
                  <a:lnTo>
                    <a:pt x="262333" y="1108794"/>
                  </a:lnTo>
                  <a:cubicBezTo>
                    <a:pt x="266961" y="1145126"/>
                    <a:pt x="241273" y="1178324"/>
                    <a:pt x="204972" y="1182954"/>
                  </a:cubicBezTo>
                  <a:cubicBezTo>
                    <a:pt x="168659" y="1187584"/>
                    <a:pt x="135477" y="1161896"/>
                    <a:pt x="130836" y="1125565"/>
                  </a:cubicBezTo>
                  <a:lnTo>
                    <a:pt x="-3234" y="73229"/>
                  </a:lnTo>
                  <a:cubicBezTo>
                    <a:pt x="-7862" y="36898"/>
                    <a:pt x="17826" y="3699"/>
                    <a:pt x="54127" y="-931"/>
                  </a:cubicBezTo>
                  <a:cubicBezTo>
                    <a:pt x="90441" y="-5561"/>
                    <a:pt x="123622" y="20127"/>
                    <a:pt x="128250" y="56459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50" name="Vrije vorm 949">
              <a:extLst>
                <a:ext uri="{FF2B5EF4-FFF2-40B4-BE49-F238E27FC236}">
                  <a16:creationId xmlns:a16="http://schemas.microsoft.com/office/drawing/2014/main" id="{65635C29-D337-5DD1-5B61-74989B61DE73}"/>
                </a:ext>
              </a:extLst>
            </p:cNvPr>
            <p:cNvSpPr/>
            <p:nvPr/>
          </p:nvSpPr>
          <p:spPr>
            <a:xfrm flipV="1">
              <a:off x="8746563" y="4544338"/>
              <a:ext cx="276876" cy="1075283"/>
            </a:xfrm>
            <a:custGeom>
              <a:avLst/>
              <a:gdLst>
                <a:gd name="connsiteX0" fmla="*/ 143477 w 276876"/>
                <a:gd name="connsiteY0" fmla="*/ 1075146 h 1075283"/>
                <a:gd name="connsiteX1" fmla="*/ -2956 w 276876"/>
                <a:gd name="connsiteY1" fmla="*/ -138 h 1075283"/>
                <a:gd name="connsiteX2" fmla="*/ 55293 w 276876"/>
                <a:gd name="connsiteY2" fmla="*/ -113 h 1075283"/>
                <a:gd name="connsiteX3" fmla="*/ 273921 w 276876"/>
                <a:gd name="connsiteY3" fmla="*/ 1034095 h 1075283"/>
                <a:gd name="connsiteX4" fmla="*/ 143477 w 276876"/>
                <a:gd name="connsiteY4" fmla="*/ 1075146 h 1075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876" h="1075283">
                  <a:moveTo>
                    <a:pt x="143477" y="1075146"/>
                  </a:moveTo>
                  <a:lnTo>
                    <a:pt x="-2956" y="-138"/>
                  </a:lnTo>
                  <a:lnTo>
                    <a:pt x="55293" y="-113"/>
                  </a:lnTo>
                  <a:lnTo>
                    <a:pt x="273921" y="1034095"/>
                  </a:lnTo>
                  <a:lnTo>
                    <a:pt x="143477" y="1075146"/>
                  </a:ln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31" name="Vrije vorm 1030">
              <a:extLst>
                <a:ext uri="{FF2B5EF4-FFF2-40B4-BE49-F238E27FC236}">
                  <a16:creationId xmlns:a16="http://schemas.microsoft.com/office/drawing/2014/main" id="{B432E1D1-D5CE-19BA-FC28-ADED31971187}"/>
                </a:ext>
              </a:extLst>
            </p:cNvPr>
            <p:cNvSpPr/>
            <p:nvPr/>
          </p:nvSpPr>
          <p:spPr>
            <a:xfrm flipV="1">
              <a:off x="5687637" y="2072073"/>
              <a:ext cx="195247" cy="15763"/>
            </a:xfrm>
            <a:custGeom>
              <a:avLst/>
              <a:gdLst>
                <a:gd name="connsiteX0" fmla="*/ 108369 w 111559"/>
                <a:gd name="connsiteY0" fmla="*/ -3873 h 18230"/>
                <a:gd name="connsiteX1" fmla="*/ -2444 w 111559"/>
                <a:gd name="connsiteY1" fmla="*/ 4714 h 18230"/>
                <a:gd name="connsiteX2" fmla="*/ -1698 w 111559"/>
                <a:gd name="connsiteY2" fmla="*/ 14357 h 18230"/>
                <a:gd name="connsiteX3" fmla="*/ 109115 w 111559"/>
                <a:gd name="connsiteY3" fmla="*/ 5770 h 18230"/>
                <a:gd name="connsiteX4" fmla="*/ 108369 w 111559"/>
                <a:gd name="connsiteY4" fmla="*/ -3873 h 18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559" h="18230">
                  <a:moveTo>
                    <a:pt x="108369" y="-3873"/>
                  </a:moveTo>
                  <a:lnTo>
                    <a:pt x="-2444" y="4714"/>
                  </a:lnTo>
                  <a:lnTo>
                    <a:pt x="-1698" y="14357"/>
                  </a:lnTo>
                  <a:lnTo>
                    <a:pt x="109115" y="5770"/>
                  </a:lnTo>
                  <a:lnTo>
                    <a:pt x="108369" y="-3873"/>
                  </a:ln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51" name="Vrije vorm 950">
              <a:extLst>
                <a:ext uri="{FF2B5EF4-FFF2-40B4-BE49-F238E27FC236}">
                  <a16:creationId xmlns:a16="http://schemas.microsoft.com/office/drawing/2014/main" id="{A32A2684-12CA-9D0D-32C9-F236451898FB}"/>
                </a:ext>
              </a:extLst>
            </p:cNvPr>
            <p:cNvSpPr/>
            <p:nvPr/>
          </p:nvSpPr>
          <p:spPr>
            <a:xfrm flipV="1">
              <a:off x="9727176" y="4544338"/>
              <a:ext cx="272819" cy="1075283"/>
            </a:xfrm>
            <a:custGeom>
              <a:avLst/>
              <a:gdLst>
                <a:gd name="connsiteX0" fmla="*/ 126833 w 272819"/>
                <a:gd name="connsiteY0" fmla="*/ 1075146 h 1075283"/>
                <a:gd name="connsiteX1" fmla="*/ 269195 w 272819"/>
                <a:gd name="connsiteY1" fmla="*/ -138 h 1075283"/>
                <a:gd name="connsiteX2" fmla="*/ 210947 w 272819"/>
                <a:gd name="connsiteY2" fmla="*/ -113 h 1075283"/>
                <a:gd name="connsiteX3" fmla="*/ -3624 w 272819"/>
                <a:gd name="connsiteY3" fmla="*/ 1034095 h 1075283"/>
                <a:gd name="connsiteX4" fmla="*/ 126833 w 272819"/>
                <a:gd name="connsiteY4" fmla="*/ 1075146 h 1075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819" h="1075283">
                  <a:moveTo>
                    <a:pt x="126833" y="1075146"/>
                  </a:moveTo>
                  <a:lnTo>
                    <a:pt x="269195" y="-138"/>
                  </a:lnTo>
                  <a:lnTo>
                    <a:pt x="210947" y="-113"/>
                  </a:lnTo>
                  <a:lnTo>
                    <a:pt x="-3624" y="1034095"/>
                  </a:lnTo>
                  <a:lnTo>
                    <a:pt x="126833" y="1075146"/>
                  </a:ln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52" name="Vrije vorm 951">
              <a:extLst>
                <a:ext uri="{FF2B5EF4-FFF2-40B4-BE49-F238E27FC236}">
                  <a16:creationId xmlns:a16="http://schemas.microsoft.com/office/drawing/2014/main" id="{320CA094-1924-B871-E5D4-39280F965D62}"/>
                </a:ext>
              </a:extLst>
            </p:cNvPr>
            <p:cNvSpPr/>
            <p:nvPr/>
          </p:nvSpPr>
          <p:spPr>
            <a:xfrm flipV="1">
              <a:off x="8886504" y="4582776"/>
              <a:ext cx="996297" cy="5226"/>
            </a:xfrm>
            <a:custGeom>
              <a:avLst/>
              <a:gdLst>
                <a:gd name="connsiteX0" fmla="*/ -3297 w 996297"/>
                <a:gd name="connsiteY0" fmla="*/ 2031 h 5226"/>
                <a:gd name="connsiteX1" fmla="*/ 494833 w 996297"/>
                <a:gd name="connsiteY1" fmla="*/ -582 h 5226"/>
                <a:gd name="connsiteX2" fmla="*/ 993001 w 996297"/>
                <a:gd name="connsiteY2" fmla="*/ 2031 h 5226"/>
                <a:gd name="connsiteX3" fmla="*/ 494833 w 996297"/>
                <a:gd name="connsiteY3" fmla="*/ 4645 h 5226"/>
                <a:gd name="connsiteX4" fmla="*/ -3297 w 996297"/>
                <a:gd name="connsiteY4" fmla="*/ 2031 h 5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6297" h="5226">
                  <a:moveTo>
                    <a:pt x="-3297" y="2031"/>
                  </a:moveTo>
                  <a:cubicBezTo>
                    <a:pt x="-3297" y="585"/>
                    <a:pt x="219744" y="-582"/>
                    <a:pt x="494833" y="-582"/>
                  </a:cubicBezTo>
                  <a:cubicBezTo>
                    <a:pt x="769998" y="-582"/>
                    <a:pt x="993001" y="585"/>
                    <a:pt x="993001" y="2031"/>
                  </a:cubicBezTo>
                  <a:cubicBezTo>
                    <a:pt x="993001" y="3478"/>
                    <a:pt x="769998" y="4645"/>
                    <a:pt x="494833" y="4645"/>
                  </a:cubicBezTo>
                  <a:cubicBezTo>
                    <a:pt x="219744" y="4645"/>
                    <a:pt x="-3297" y="3478"/>
                    <a:pt x="-3297" y="2031"/>
                  </a:cubicBezTo>
                </a:path>
              </a:pathLst>
            </a:custGeom>
            <a:solidFill>
              <a:srgbClr val="17282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1027" name="Groep 1026">
              <a:extLst>
                <a:ext uri="{FF2B5EF4-FFF2-40B4-BE49-F238E27FC236}">
                  <a16:creationId xmlns:a16="http://schemas.microsoft.com/office/drawing/2014/main" id="{93589F47-4668-90BC-B026-486A8DC20ACE}"/>
                </a:ext>
              </a:extLst>
            </p:cNvPr>
            <p:cNvGrpSpPr/>
            <p:nvPr/>
          </p:nvGrpSpPr>
          <p:grpSpPr>
            <a:xfrm>
              <a:off x="5479385" y="1607668"/>
              <a:ext cx="1152242" cy="650063"/>
              <a:chOff x="4322932" y="2042402"/>
              <a:chExt cx="621507" cy="650063"/>
            </a:xfrm>
            <a:solidFill>
              <a:srgbClr val="493832"/>
            </a:solidFill>
          </p:grpSpPr>
          <p:sp>
            <p:nvSpPr>
              <p:cNvPr id="1025" name="Vrije vorm 1024">
                <a:extLst>
                  <a:ext uri="{FF2B5EF4-FFF2-40B4-BE49-F238E27FC236}">
                    <a16:creationId xmlns:a16="http://schemas.microsoft.com/office/drawing/2014/main" id="{85390727-EC43-B812-CEC5-DABE0C4C3FB8}"/>
                  </a:ext>
                </a:extLst>
              </p:cNvPr>
              <p:cNvSpPr/>
              <p:nvPr/>
            </p:nvSpPr>
            <p:spPr>
              <a:xfrm flipV="1">
                <a:off x="4322932" y="2042402"/>
                <a:ext cx="621507" cy="650063"/>
              </a:xfrm>
              <a:custGeom>
                <a:avLst/>
                <a:gdLst>
                  <a:gd name="connsiteX0" fmla="*/ 565688 w 621507"/>
                  <a:gd name="connsiteY0" fmla="*/ 571347 h 586812"/>
                  <a:gd name="connsiteX1" fmla="*/ 415806 w 621507"/>
                  <a:gd name="connsiteY1" fmla="*/ 535167 h 586812"/>
                  <a:gd name="connsiteX2" fmla="*/ 329004 w 621507"/>
                  <a:gd name="connsiteY2" fmla="*/ 572146 h 586812"/>
                  <a:gd name="connsiteX3" fmla="*/ 187301 w 621507"/>
                  <a:gd name="connsiteY3" fmla="*/ 561769 h 586812"/>
                  <a:gd name="connsiteX4" fmla="*/ 122700 w 621507"/>
                  <a:gd name="connsiteY4" fmla="*/ 462656 h 586812"/>
                  <a:gd name="connsiteX5" fmla="*/ 7196 w 621507"/>
                  <a:gd name="connsiteY5" fmla="*/ 376318 h 586812"/>
                  <a:gd name="connsiteX6" fmla="*/ 19305 w 621507"/>
                  <a:gd name="connsiteY6" fmla="*/ 231778 h 586812"/>
                  <a:gd name="connsiteX7" fmla="*/ 157543 w 621507"/>
                  <a:gd name="connsiteY7" fmla="*/ 6278 h 586812"/>
                  <a:gd name="connsiteX8" fmla="*/ 177741 w 621507"/>
                  <a:gd name="connsiteY8" fmla="*/ -1511 h 586812"/>
                  <a:gd name="connsiteX9" fmla="*/ 183561 w 621507"/>
                  <a:gd name="connsiteY9" fmla="*/ 13014 h 586812"/>
                  <a:gd name="connsiteX10" fmla="*/ 165822 w 621507"/>
                  <a:gd name="connsiteY10" fmla="*/ 150514 h 586812"/>
                  <a:gd name="connsiteX11" fmla="*/ 159204 w 621507"/>
                  <a:gd name="connsiteY11" fmla="*/ 288394 h 586812"/>
                  <a:gd name="connsiteX12" fmla="*/ 242722 w 621507"/>
                  <a:gd name="connsiteY12" fmla="*/ 391376 h 586812"/>
                  <a:gd name="connsiteX13" fmla="*/ 342723 w 621507"/>
                  <a:gd name="connsiteY13" fmla="*/ 381329 h 586812"/>
                  <a:gd name="connsiteX14" fmla="*/ 433114 w 621507"/>
                  <a:gd name="connsiteY14" fmla="*/ 332794 h 586812"/>
                  <a:gd name="connsiteX15" fmla="*/ 531073 w 621507"/>
                  <a:gd name="connsiteY15" fmla="*/ 306852 h 586812"/>
                  <a:gd name="connsiteX16" fmla="*/ 610902 w 621507"/>
                  <a:gd name="connsiteY16" fmla="*/ 361641 h 586812"/>
                  <a:gd name="connsiteX17" fmla="*/ 566804 w 621507"/>
                  <a:gd name="connsiteY17" fmla="*/ 439315 h 586812"/>
                  <a:gd name="connsiteX18" fmla="*/ 620513 w 621507"/>
                  <a:gd name="connsiteY18" fmla="*/ 505787 h 586812"/>
                  <a:gd name="connsiteX19" fmla="*/ 565688 w 621507"/>
                  <a:gd name="connsiteY19" fmla="*/ 571347 h 586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21507" h="586812">
                    <a:moveTo>
                      <a:pt x="565688" y="571347"/>
                    </a:moveTo>
                    <a:cubicBezTo>
                      <a:pt x="514451" y="580988"/>
                      <a:pt x="467753" y="530867"/>
                      <a:pt x="415806" y="535167"/>
                    </a:cubicBezTo>
                    <a:cubicBezTo>
                      <a:pt x="384248" y="537768"/>
                      <a:pt x="358192" y="559853"/>
                      <a:pt x="329004" y="572146"/>
                    </a:cubicBezTo>
                    <a:cubicBezTo>
                      <a:pt x="285375" y="590527"/>
                      <a:pt x="226886" y="587762"/>
                      <a:pt x="187301" y="561769"/>
                    </a:cubicBezTo>
                    <a:cubicBezTo>
                      <a:pt x="147716" y="535789"/>
                      <a:pt x="123215" y="510012"/>
                      <a:pt x="122700" y="462656"/>
                    </a:cubicBezTo>
                    <a:cubicBezTo>
                      <a:pt x="82077" y="480315"/>
                      <a:pt x="23728" y="425132"/>
                      <a:pt x="7196" y="376318"/>
                    </a:cubicBezTo>
                    <a:cubicBezTo>
                      <a:pt x="-9338" y="327491"/>
                      <a:pt x="1450" y="280136"/>
                      <a:pt x="19305" y="231778"/>
                    </a:cubicBezTo>
                    <a:cubicBezTo>
                      <a:pt x="50038" y="148535"/>
                      <a:pt x="97307" y="71432"/>
                      <a:pt x="157543" y="6278"/>
                    </a:cubicBezTo>
                    <a:cubicBezTo>
                      <a:pt x="162881" y="519"/>
                      <a:pt x="171046" y="-5621"/>
                      <a:pt x="177741" y="-1511"/>
                    </a:cubicBezTo>
                    <a:cubicBezTo>
                      <a:pt x="182381" y="1331"/>
                      <a:pt x="183294" y="7585"/>
                      <a:pt x="183561" y="13014"/>
                    </a:cubicBezTo>
                    <a:cubicBezTo>
                      <a:pt x="185792" y="59304"/>
                      <a:pt x="174875" y="105061"/>
                      <a:pt x="165822" y="150514"/>
                    </a:cubicBezTo>
                    <a:cubicBezTo>
                      <a:pt x="156782" y="195966"/>
                      <a:pt x="149580" y="243056"/>
                      <a:pt x="159204" y="288394"/>
                    </a:cubicBezTo>
                    <a:cubicBezTo>
                      <a:pt x="168815" y="333720"/>
                      <a:pt x="198560" y="377409"/>
                      <a:pt x="242722" y="391376"/>
                    </a:cubicBezTo>
                    <a:cubicBezTo>
                      <a:pt x="275346" y="401677"/>
                      <a:pt x="311215" y="394674"/>
                      <a:pt x="342723" y="381329"/>
                    </a:cubicBezTo>
                    <a:cubicBezTo>
                      <a:pt x="374218" y="367983"/>
                      <a:pt x="402760" y="348613"/>
                      <a:pt x="433114" y="332794"/>
                    </a:cubicBezTo>
                    <a:cubicBezTo>
                      <a:pt x="463455" y="316987"/>
                      <a:pt x="496928" y="304543"/>
                      <a:pt x="531073" y="306852"/>
                    </a:cubicBezTo>
                    <a:cubicBezTo>
                      <a:pt x="565206" y="309160"/>
                      <a:pt x="599858" y="329242"/>
                      <a:pt x="610902" y="361641"/>
                    </a:cubicBezTo>
                    <a:cubicBezTo>
                      <a:pt x="621958" y="394040"/>
                      <a:pt x="600847" y="435966"/>
                      <a:pt x="566804" y="439315"/>
                    </a:cubicBezTo>
                    <a:cubicBezTo>
                      <a:pt x="597031" y="445531"/>
                      <a:pt x="620779" y="474923"/>
                      <a:pt x="620513" y="505787"/>
                    </a:cubicBezTo>
                    <a:cubicBezTo>
                      <a:pt x="620259" y="536664"/>
                      <a:pt x="596017" y="565651"/>
                      <a:pt x="565688" y="571347"/>
                    </a:cubicBezTo>
                  </a:path>
                </a:pathLst>
              </a:custGeom>
              <a:grpFill/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26" name="Vrije vorm 1025">
                <a:extLst>
                  <a:ext uri="{FF2B5EF4-FFF2-40B4-BE49-F238E27FC236}">
                    <a16:creationId xmlns:a16="http://schemas.microsoft.com/office/drawing/2014/main" id="{21FDFCD4-045C-25F4-70AA-8C347C2DCC91}"/>
                  </a:ext>
                </a:extLst>
              </p:cNvPr>
              <p:cNvSpPr/>
              <p:nvPr/>
            </p:nvSpPr>
            <p:spPr>
              <a:xfrm flipV="1">
                <a:off x="4392681" y="2134330"/>
                <a:ext cx="487015" cy="431232"/>
              </a:xfrm>
              <a:custGeom>
                <a:avLst/>
                <a:gdLst>
                  <a:gd name="connsiteX0" fmla="*/ 446285 w 487015"/>
                  <a:gd name="connsiteY0" fmla="*/ 336025 h 431232"/>
                  <a:gd name="connsiteX1" fmla="*/ 382559 w 487015"/>
                  <a:gd name="connsiteY1" fmla="*/ 390827 h 431232"/>
                  <a:gd name="connsiteX2" fmla="*/ 206038 w 487015"/>
                  <a:gd name="connsiteY2" fmla="*/ 426144 h 431232"/>
                  <a:gd name="connsiteX3" fmla="*/ 50062 w 487015"/>
                  <a:gd name="connsiteY3" fmla="*/ 339399 h 431232"/>
                  <a:gd name="connsiteX4" fmla="*/ 207 w 487015"/>
                  <a:gd name="connsiteY4" fmla="*/ 203841 h 431232"/>
                  <a:gd name="connsiteX5" fmla="*/ 16527 w 487015"/>
                  <a:gd name="connsiteY5" fmla="*/ 44674 h 431232"/>
                  <a:gd name="connsiteX6" fmla="*/ 53097 w 487015"/>
                  <a:gd name="connsiteY6" fmla="*/ 5336 h 431232"/>
                  <a:gd name="connsiteX7" fmla="*/ 89617 w 487015"/>
                  <a:gd name="connsiteY7" fmla="*/ 2736 h 431232"/>
                  <a:gd name="connsiteX8" fmla="*/ 96933 w 487015"/>
                  <a:gd name="connsiteY8" fmla="*/ 24732 h 431232"/>
                  <a:gd name="connsiteX9" fmla="*/ 75188 w 487015"/>
                  <a:gd name="connsiteY9" fmla="*/ 234223 h 431232"/>
                  <a:gd name="connsiteX10" fmla="*/ 128048 w 487015"/>
                  <a:gd name="connsiteY10" fmla="*/ 299427 h 431232"/>
                  <a:gd name="connsiteX11" fmla="*/ 207053 w 487015"/>
                  <a:gd name="connsiteY11" fmla="*/ 322325 h 431232"/>
                  <a:gd name="connsiteX12" fmla="*/ 313951 w 487015"/>
                  <a:gd name="connsiteY12" fmla="*/ 258896 h 431232"/>
                  <a:gd name="connsiteX13" fmla="*/ 486021 w 487015"/>
                  <a:gd name="connsiteY13" fmla="*/ 245856 h 431232"/>
                  <a:gd name="connsiteX14" fmla="*/ 446285 w 487015"/>
                  <a:gd name="connsiteY14" fmla="*/ 336025 h 431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87015" h="431232">
                    <a:moveTo>
                      <a:pt x="446285" y="336025"/>
                    </a:moveTo>
                    <a:cubicBezTo>
                      <a:pt x="430981" y="359849"/>
                      <a:pt x="407385" y="377228"/>
                      <a:pt x="382559" y="390827"/>
                    </a:cubicBezTo>
                    <a:cubicBezTo>
                      <a:pt x="329027" y="420131"/>
                      <a:pt x="266531" y="434098"/>
                      <a:pt x="206038" y="426144"/>
                    </a:cubicBezTo>
                    <a:cubicBezTo>
                      <a:pt x="145545" y="418190"/>
                      <a:pt x="87563" y="387554"/>
                      <a:pt x="50062" y="339399"/>
                    </a:cubicBezTo>
                    <a:cubicBezTo>
                      <a:pt x="20048" y="300873"/>
                      <a:pt x="3856" y="252554"/>
                      <a:pt x="207" y="203841"/>
                    </a:cubicBezTo>
                    <a:cubicBezTo>
                      <a:pt x="-3443" y="155128"/>
                      <a:pt x="1008" y="90989"/>
                      <a:pt x="16527" y="44674"/>
                    </a:cubicBezTo>
                    <a:cubicBezTo>
                      <a:pt x="23332" y="24339"/>
                      <a:pt x="36198" y="18517"/>
                      <a:pt x="53097" y="5336"/>
                    </a:cubicBezTo>
                    <a:cubicBezTo>
                      <a:pt x="63663" y="-2897"/>
                      <a:pt x="80298" y="-6893"/>
                      <a:pt x="89617" y="2736"/>
                    </a:cubicBezTo>
                    <a:cubicBezTo>
                      <a:pt x="95108" y="8394"/>
                      <a:pt x="96160" y="16880"/>
                      <a:pt x="96933" y="24732"/>
                    </a:cubicBezTo>
                    <a:cubicBezTo>
                      <a:pt x="103945" y="95759"/>
                      <a:pt x="109968" y="171911"/>
                      <a:pt x="75188" y="234223"/>
                    </a:cubicBezTo>
                    <a:cubicBezTo>
                      <a:pt x="88895" y="258846"/>
                      <a:pt x="105631" y="282352"/>
                      <a:pt x="128048" y="299427"/>
                    </a:cubicBezTo>
                    <a:cubicBezTo>
                      <a:pt x="150465" y="316502"/>
                      <a:pt x="179209" y="326612"/>
                      <a:pt x="207053" y="322325"/>
                    </a:cubicBezTo>
                    <a:cubicBezTo>
                      <a:pt x="248412" y="315956"/>
                      <a:pt x="278437" y="281045"/>
                      <a:pt x="313951" y="258896"/>
                    </a:cubicBezTo>
                    <a:cubicBezTo>
                      <a:pt x="364706" y="227246"/>
                      <a:pt x="431082" y="222222"/>
                      <a:pt x="486021" y="245856"/>
                    </a:cubicBezTo>
                    <a:lnTo>
                      <a:pt x="446285" y="336025"/>
                    </a:lnTo>
                  </a:path>
                </a:pathLst>
              </a:custGeom>
              <a:grpFill/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1029" name="Vrije vorm 1028">
              <a:extLst>
                <a:ext uri="{FF2B5EF4-FFF2-40B4-BE49-F238E27FC236}">
                  <a16:creationId xmlns:a16="http://schemas.microsoft.com/office/drawing/2014/main" id="{7EE3BA95-9CC4-07D9-3C01-4BC2248C6BD4}"/>
                </a:ext>
              </a:extLst>
            </p:cNvPr>
            <p:cNvSpPr/>
            <p:nvPr/>
          </p:nvSpPr>
          <p:spPr>
            <a:xfrm flipV="1">
              <a:off x="5865885" y="2015573"/>
              <a:ext cx="266515" cy="149167"/>
            </a:xfrm>
            <a:custGeom>
              <a:avLst/>
              <a:gdLst>
                <a:gd name="connsiteX0" fmla="*/ 56246 w 117549"/>
                <a:gd name="connsiteY0" fmla="*/ 103954 h 117480"/>
                <a:gd name="connsiteX1" fmla="*/ 7156 w 117549"/>
                <a:gd name="connsiteY1" fmla="*/ 54888 h 117480"/>
                <a:gd name="connsiteX2" fmla="*/ 56246 w 117549"/>
                <a:gd name="connsiteY2" fmla="*/ 5822 h 117480"/>
                <a:gd name="connsiteX3" fmla="*/ 105347 w 117549"/>
                <a:gd name="connsiteY3" fmla="*/ 54888 h 117480"/>
                <a:gd name="connsiteX4" fmla="*/ 56246 w 117549"/>
                <a:gd name="connsiteY4" fmla="*/ 103954 h 117480"/>
                <a:gd name="connsiteX5" fmla="*/ 56246 w 117549"/>
                <a:gd name="connsiteY5" fmla="*/ -3852 h 117480"/>
                <a:gd name="connsiteX6" fmla="*/ -2534 w 117549"/>
                <a:gd name="connsiteY6" fmla="*/ 54888 h 117480"/>
                <a:gd name="connsiteX7" fmla="*/ 56246 w 117549"/>
                <a:gd name="connsiteY7" fmla="*/ 113628 h 117480"/>
                <a:gd name="connsiteX8" fmla="*/ 115015 w 117549"/>
                <a:gd name="connsiteY8" fmla="*/ 54888 h 117480"/>
                <a:gd name="connsiteX9" fmla="*/ 56246 w 11754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49" h="117480">
                  <a:moveTo>
                    <a:pt x="56246" y="103954"/>
                  </a:moveTo>
                  <a:cubicBezTo>
                    <a:pt x="29177" y="103954"/>
                    <a:pt x="7156" y="81943"/>
                    <a:pt x="7156" y="54888"/>
                  </a:cubicBezTo>
                  <a:cubicBezTo>
                    <a:pt x="7156" y="27833"/>
                    <a:pt x="29177" y="5822"/>
                    <a:pt x="56246" y="5822"/>
                  </a:cubicBezTo>
                  <a:cubicBezTo>
                    <a:pt x="83315" y="5822"/>
                    <a:pt x="105347" y="27833"/>
                    <a:pt x="105347" y="54888"/>
                  </a:cubicBezTo>
                  <a:cubicBezTo>
                    <a:pt x="105347" y="81943"/>
                    <a:pt x="83315" y="103954"/>
                    <a:pt x="56246" y="103954"/>
                  </a:cubicBezTo>
                  <a:close/>
                  <a:moveTo>
                    <a:pt x="56246" y="-3852"/>
                  </a:moveTo>
                  <a:cubicBezTo>
                    <a:pt x="23830" y="-3852"/>
                    <a:pt x="-2534" y="22499"/>
                    <a:pt x="-2534" y="54888"/>
                  </a:cubicBezTo>
                  <a:cubicBezTo>
                    <a:pt x="-2534" y="87288"/>
                    <a:pt x="23830" y="113628"/>
                    <a:pt x="56246" y="113628"/>
                  </a:cubicBezTo>
                  <a:cubicBezTo>
                    <a:pt x="88651" y="113628"/>
                    <a:pt x="115015" y="87288"/>
                    <a:pt x="115015" y="54888"/>
                  </a:cubicBezTo>
                  <a:cubicBezTo>
                    <a:pt x="115015" y="22499"/>
                    <a:pt x="88651" y="-3852"/>
                    <a:pt x="56246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30" name="Vrije vorm 1029">
              <a:extLst>
                <a:ext uri="{FF2B5EF4-FFF2-40B4-BE49-F238E27FC236}">
                  <a16:creationId xmlns:a16="http://schemas.microsoft.com/office/drawing/2014/main" id="{395993A7-C4A2-FCE1-9E9E-2EE5A1FCE769}"/>
                </a:ext>
              </a:extLst>
            </p:cNvPr>
            <p:cNvSpPr/>
            <p:nvPr/>
          </p:nvSpPr>
          <p:spPr>
            <a:xfrm flipV="1">
              <a:off x="6209874" y="2006132"/>
              <a:ext cx="261407" cy="159657"/>
            </a:xfrm>
            <a:custGeom>
              <a:avLst/>
              <a:gdLst>
                <a:gd name="connsiteX0" fmla="*/ 56107 w 117539"/>
                <a:gd name="connsiteY0" fmla="*/ 103954 h 117480"/>
                <a:gd name="connsiteX1" fmla="*/ 7017 w 117539"/>
                <a:gd name="connsiteY1" fmla="*/ 54888 h 117480"/>
                <a:gd name="connsiteX2" fmla="*/ 56107 w 117539"/>
                <a:gd name="connsiteY2" fmla="*/ 5822 h 117480"/>
                <a:gd name="connsiteX3" fmla="*/ 105198 w 117539"/>
                <a:gd name="connsiteY3" fmla="*/ 54888 h 117480"/>
                <a:gd name="connsiteX4" fmla="*/ 56107 w 117539"/>
                <a:gd name="connsiteY4" fmla="*/ 103954 h 117480"/>
                <a:gd name="connsiteX5" fmla="*/ 56107 w 117539"/>
                <a:gd name="connsiteY5" fmla="*/ -3852 h 117480"/>
                <a:gd name="connsiteX6" fmla="*/ -2662 w 117539"/>
                <a:gd name="connsiteY6" fmla="*/ 54888 h 117480"/>
                <a:gd name="connsiteX7" fmla="*/ 56107 w 117539"/>
                <a:gd name="connsiteY7" fmla="*/ 113628 h 117480"/>
                <a:gd name="connsiteX8" fmla="*/ 114877 w 117539"/>
                <a:gd name="connsiteY8" fmla="*/ 54888 h 117480"/>
                <a:gd name="connsiteX9" fmla="*/ 56107 w 117539"/>
                <a:gd name="connsiteY9" fmla="*/ -3852 h 11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39" h="117480">
                  <a:moveTo>
                    <a:pt x="56107" y="103954"/>
                  </a:moveTo>
                  <a:cubicBezTo>
                    <a:pt x="29039" y="103954"/>
                    <a:pt x="7017" y="81943"/>
                    <a:pt x="7017" y="54888"/>
                  </a:cubicBezTo>
                  <a:cubicBezTo>
                    <a:pt x="7017" y="27833"/>
                    <a:pt x="29039" y="5822"/>
                    <a:pt x="56107" y="5822"/>
                  </a:cubicBezTo>
                  <a:cubicBezTo>
                    <a:pt x="83176" y="5822"/>
                    <a:pt x="105198" y="27833"/>
                    <a:pt x="105198" y="54888"/>
                  </a:cubicBezTo>
                  <a:cubicBezTo>
                    <a:pt x="105198" y="81943"/>
                    <a:pt x="83176" y="103954"/>
                    <a:pt x="56107" y="103954"/>
                  </a:cubicBezTo>
                  <a:close/>
                  <a:moveTo>
                    <a:pt x="56107" y="-3852"/>
                  </a:moveTo>
                  <a:cubicBezTo>
                    <a:pt x="23702" y="-3852"/>
                    <a:pt x="-2662" y="22499"/>
                    <a:pt x="-2662" y="54888"/>
                  </a:cubicBezTo>
                  <a:cubicBezTo>
                    <a:pt x="-2662" y="87288"/>
                    <a:pt x="23702" y="113628"/>
                    <a:pt x="56107" y="113628"/>
                  </a:cubicBezTo>
                  <a:cubicBezTo>
                    <a:pt x="88513" y="113628"/>
                    <a:pt x="114877" y="87288"/>
                    <a:pt x="114877" y="54888"/>
                  </a:cubicBezTo>
                  <a:cubicBezTo>
                    <a:pt x="114877" y="22499"/>
                    <a:pt x="88513" y="-3852"/>
                    <a:pt x="56107" y="-3852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32" name="Vrije vorm 1031">
              <a:extLst>
                <a:ext uri="{FF2B5EF4-FFF2-40B4-BE49-F238E27FC236}">
                  <a16:creationId xmlns:a16="http://schemas.microsoft.com/office/drawing/2014/main" id="{8E39B96F-1479-E8EA-9DF6-1C4D378316CF}"/>
                </a:ext>
              </a:extLst>
            </p:cNvPr>
            <p:cNvSpPr/>
            <p:nvPr/>
          </p:nvSpPr>
          <p:spPr>
            <a:xfrm flipV="1">
              <a:off x="6100181" y="2062877"/>
              <a:ext cx="144000" cy="14148"/>
            </a:xfrm>
            <a:custGeom>
              <a:avLst/>
              <a:gdLst>
                <a:gd name="connsiteX0" fmla="*/ 3008 w 52302"/>
                <a:gd name="connsiteY0" fmla="*/ -3866 h 16363"/>
                <a:gd name="connsiteX1" fmla="*/ -2598 w 52302"/>
                <a:gd name="connsiteY1" fmla="*/ 4027 h 16363"/>
                <a:gd name="connsiteX2" fmla="*/ 49705 w 52302"/>
                <a:gd name="connsiteY2" fmla="*/ 3923 h 16363"/>
                <a:gd name="connsiteX3" fmla="*/ 43819 w 52302"/>
                <a:gd name="connsiteY3" fmla="*/ -3752 h 16363"/>
                <a:gd name="connsiteX4" fmla="*/ 3008 w 52302"/>
                <a:gd name="connsiteY4" fmla="*/ -3866 h 1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02" h="16363">
                  <a:moveTo>
                    <a:pt x="3008" y="-3866"/>
                  </a:moveTo>
                  <a:lnTo>
                    <a:pt x="-2598" y="4027"/>
                  </a:lnTo>
                  <a:cubicBezTo>
                    <a:pt x="6760" y="10687"/>
                    <a:pt x="29735" y="19233"/>
                    <a:pt x="49705" y="3923"/>
                  </a:cubicBezTo>
                  <a:lnTo>
                    <a:pt x="43819" y="-3752"/>
                  </a:lnTo>
                  <a:cubicBezTo>
                    <a:pt x="24584" y="10977"/>
                    <a:pt x="3879" y="-3255"/>
                    <a:pt x="3008" y="-3866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sp>
        <p:nvSpPr>
          <p:cNvPr id="214" name="TextBox 19">
            <a:extLst>
              <a:ext uri="{FF2B5EF4-FFF2-40B4-BE49-F238E27FC236}">
                <a16:creationId xmlns:a16="http://schemas.microsoft.com/office/drawing/2014/main" id="{5BA10AF2-1DE5-4E41-ABA1-BB24D5573A70}"/>
              </a:ext>
            </a:extLst>
          </p:cNvPr>
          <p:cNvSpPr txBox="1"/>
          <p:nvPr/>
        </p:nvSpPr>
        <p:spPr>
          <a:xfrm rot="21310378">
            <a:off x="8809322" y="243533"/>
            <a:ext cx="3347881" cy="3416320"/>
          </a:xfrm>
          <a:prstGeom prst="rect">
            <a:avLst/>
          </a:prstGeom>
          <a:solidFill>
            <a:schemeClr val="bg1"/>
          </a:solidFill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Ethnomethodological-discourse analytical approach to selection decision ma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Interview with CEO of Nascent to obtain background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5 lead entrepreneurs and 3 potential co-founder for each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Real-time observations of 15 selection decision mee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Decision meetings audio-recorded and transcribed</a:t>
            </a:r>
          </a:p>
        </p:txBody>
      </p:sp>
      <p:sp>
        <p:nvSpPr>
          <p:cNvPr id="215" name="Rectangle 21">
            <a:extLst>
              <a:ext uri="{FF2B5EF4-FFF2-40B4-BE49-F238E27FC236}">
                <a16:creationId xmlns:a16="http://schemas.microsoft.com/office/drawing/2014/main" id="{49A6C3CD-72B8-4081-8444-5DED41BBBEE2}"/>
              </a:ext>
            </a:extLst>
          </p:cNvPr>
          <p:cNvSpPr/>
          <p:nvPr/>
        </p:nvSpPr>
        <p:spPr>
          <a:xfrm rot="21324663">
            <a:off x="9634973" y="9643"/>
            <a:ext cx="881230" cy="318225"/>
          </a:xfrm>
          <a:custGeom>
            <a:avLst/>
            <a:gdLst>
              <a:gd name="connsiteX0" fmla="*/ 0 w 1152128"/>
              <a:gd name="connsiteY0" fmla="*/ 0 h 242604"/>
              <a:gd name="connsiteX1" fmla="*/ 1152128 w 1152128"/>
              <a:gd name="connsiteY1" fmla="*/ 0 h 242604"/>
              <a:gd name="connsiteX2" fmla="*/ 1152128 w 1152128"/>
              <a:gd name="connsiteY2" fmla="*/ 242604 h 242604"/>
              <a:gd name="connsiteX3" fmla="*/ 0 w 1152128"/>
              <a:gd name="connsiteY3" fmla="*/ 242604 h 242604"/>
              <a:gd name="connsiteX4" fmla="*/ 0 w 1152128"/>
              <a:gd name="connsiteY4" fmla="*/ 0 h 242604"/>
              <a:gd name="connsiteX0" fmla="*/ 1637 w 1153765"/>
              <a:gd name="connsiteY0" fmla="*/ 0 h 242604"/>
              <a:gd name="connsiteX1" fmla="*/ 1153765 w 1153765"/>
              <a:gd name="connsiteY1" fmla="*/ 0 h 242604"/>
              <a:gd name="connsiteX2" fmla="*/ 1153765 w 1153765"/>
              <a:gd name="connsiteY2" fmla="*/ 242604 h 242604"/>
              <a:gd name="connsiteX3" fmla="*/ 1637 w 1153765"/>
              <a:gd name="connsiteY3" fmla="*/ 242604 h 242604"/>
              <a:gd name="connsiteX4" fmla="*/ 0 w 1153765"/>
              <a:gd name="connsiteY4" fmla="*/ 57657 h 242604"/>
              <a:gd name="connsiteX5" fmla="*/ 1637 w 1153765"/>
              <a:gd name="connsiteY5" fmla="*/ 0 h 242604"/>
              <a:gd name="connsiteX0" fmla="*/ 85266 w 1237394"/>
              <a:gd name="connsiteY0" fmla="*/ 0 h 242604"/>
              <a:gd name="connsiteX1" fmla="*/ 1237394 w 1237394"/>
              <a:gd name="connsiteY1" fmla="*/ 0 h 242604"/>
              <a:gd name="connsiteX2" fmla="*/ 1237394 w 1237394"/>
              <a:gd name="connsiteY2" fmla="*/ 242604 h 242604"/>
              <a:gd name="connsiteX3" fmla="*/ 85266 w 1237394"/>
              <a:gd name="connsiteY3" fmla="*/ 242604 h 242604"/>
              <a:gd name="connsiteX4" fmla="*/ 85314 w 1237394"/>
              <a:gd name="connsiteY4" fmla="*/ 96385 h 242604"/>
              <a:gd name="connsiteX5" fmla="*/ 83629 w 1237394"/>
              <a:gd name="connsiteY5" fmla="*/ 57657 h 242604"/>
              <a:gd name="connsiteX6" fmla="*/ 85266 w 1237394"/>
              <a:gd name="connsiteY6" fmla="*/ 0 h 242604"/>
              <a:gd name="connsiteX0" fmla="*/ 105071 w 1257199"/>
              <a:gd name="connsiteY0" fmla="*/ 0 h 242604"/>
              <a:gd name="connsiteX1" fmla="*/ 1257199 w 1257199"/>
              <a:gd name="connsiteY1" fmla="*/ 0 h 242604"/>
              <a:gd name="connsiteX2" fmla="*/ 1257199 w 1257199"/>
              <a:gd name="connsiteY2" fmla="*/ 242604 h 242604"/>
              <a:gd name="connsiteX3" fmla="*/ 105071 w 1257199"/>
              <a:gd name="connsiteY3" fmla="*/ 242604 h 242604"/>
              <a:gd name="connsiteX4" fmla="*/ 52921 w 1257199"/>
              <a:gd name="connsiteY4" fmla="*/ 155317 h 242604"/>
              <a:gd name="connsiteX5" fmla="*/ 105119 w 1257199"/>
              <a:gd name="connsiteY5" fmla="*/ 96385 h 242604"/>
              <a:gd name="connsiteX6" fmla="*/ 103434 w 1257199"/>
              <a:gd name="connsiteY6" fmla="*/ 57657 h 242604"/>
              <a:gd name="connsiteX7" fmla="*/ 105071 w 1257199"/>
              <a:gd name="connsiteY7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22233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71720 w 1275998"/>
              <a:gd name="connsiteY5" fmla="*/ 155317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5998"/>
              <a:gd name="connsiteY0" fmla="*/ 0 h 242604"/>
              <a:gd name="connsiteX1" fmla="*/ 1275998 w 1275998"/>
              <a:gd name="connsiteY1" fmla="*/ 0 h 242604"/>
              <a:gd name="connsiteX2" fmla="*/ 1275998 w 1275998"/>
              <a:gd name="connsiteY2" fmla="*/ 242604 h 242604"/>
              <a:gd name="connsiteX3" fmla="*/ 123870 w 1275998"/>
              <a:gd name="connsiteY3" fmla="*/ 242604 h 242604"/>
              <a:gd name="connsiteX4" fmla="*/ 26256 w 1275998"/>
              <a:gd name="connsiteY4" fmla="*/ 197412 h 242604"/>
              <a:gd name="connsiteX5" fmla="*/ 90242 w 1275998"/>
              <a:gd name="connsiteY5" fmla="*/ 150265 h 242604"/>
              <a:gd name="connsiteX6" fmla="*/ 123918 w 1275998"/>
              <a:gd name="connsiteY6" fmla="*/ 96385 h 242604"/>
              <a:gd name="connsiteX7" fmla="*/ 199688 w 1275998"/>
              <a:gd name="connsiteY7" fmla="*/ 57657 h 242604"/>
              <a:gd name="connsiteX8" fmla="*/ 123870 w 1275998"/>
              <a:gd name="connsiteY8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5998 w 1277318"/>
              <a:gd name="connsiteY3" fmla="*/ 242604 h 242604"/>
              <a:gd name="connsiteX4" fmla="*/ 123870 w 1277318"/>
              <a:gd name="connsiteY4" fmla="*/ 242604 h 242604"/>
              <a:gd name="connsiteX5" fmla="*/ 26256 w 1277318"/>
              <a:gd name="connsiteY5" fmla="*/ 197412 h 242604"/>
              <a:gd name="connsiteX6" fmla="*/ 90242 w 1277318"/>
              <a:gd name="connsiteY6" fmla="*/ 150265 h 242604"/>
              <a:gd name="connsiteX7" fmla="*/ 123918 w 1277318"/>
              <a:gd name="connsiteY7" fmla="*/ 96385 h 242604"/>
              <a:gd name="connsiteX8" fmla="*/ 199688 w 1277318"/>
              <a:gd name="connsiteY8" fmla="*/ 57657 h 242604"/>
              <a:gd name="connsiteX9" fmla="*/ 123870 w 1277318"/>
              <a:gd name="connsiteY9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8 w 1277318"/>
              <a:gd name="connsiteY3" fmla="*/ 175523 h 242604"/>
              <a:gd name="connsiteX4" fmla="*/ 1275998 w 1277318"/>
              <a:gd name="connsiteY4" fmla="*/ 242604 h 242604"/>
              <a:gd name="connsiteX5" fmla="*/ 123870 w 1277318"/>
              <a:gd name="connsiteY5" fmla="*/ 242604 h 242604"/>
              <a:gd name="connsiteX6" fmla="*/ 26256 w 1277318"/>
              <a:gd name="connsiteY6" fmla="*/ 197412 h 242604"/>
              <a:gd name="connsiteX7" fmla="*/ 90242 w 1277318"/>
              <a:gd name="connsiteY7" fmla="*/ 150265 h 242604"/>
              <a:gd name="connsiteX8" fmla="*/ 123918 w 1277318"/>
              <a:gd name="connsiteY8" fmla="*/ 96385 h 242604"/>
              <a:gd name="connsiteX9" fmla="*/ 199688 w 1277318"/>
              <a:gd name="connsiteY9" fmla="*/ 57657 h 242604"/>
              <a:gd name="connsiteX10" fmla="*/ 123870 w 1277318"/>
              <a:gd name="connsiteY10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77318 w 1277318"/>
              <a:gd name="connsiteY2" fmla="*/ 47554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77318"/>
              <a:gd name="connsiteY0" fmla="*/ 0 h 242604"/>
              <a:gd name="connsiteX1" fmla="*/ 1275998 w 1277318"/>
              <a:gd name="connsiteY1" fmla="*/ 0 h 242604"/>
              <a:gd name="connsiteX2" fmla="*/ 1248694 w 1277318"/>
              <a:gd name="connsiteY2" fmla="*/ 42503 h 242604"/>
              <a:gd name="connsiteX3" fmla="*/ 1277317 w 1277318"/>
              <a:gd name="connsiteY3" fmla="*/ 98069 h 242604"/>
              <a:gd name="connsiteX4" fmla="*/ 1277318 w 1277318"/>
              <a:gd name="connsiteY4" fmla="*/ 175523 h 242604"/>
              <a:gd name="connsiteX5" fmla="*/ 1275998 w 1277318"/>
              <a:gd name="connsiteY5" fmla="*/ 242604 h 242604"/>
              <a:gd name="connsiteX6" fmla="*/ 123870 w 1277318"/>
              <a:gd name="connsiteY6" fmla="*/ 242604 h 242604"/>
              <a:gd name="connsiteX7" fmla="*/ 26256 w 1277318"/>
              <a:gd name="connsiteY7" fmla="*/ 197412 h 242604"/>
              <a:gd name="connsiteX8" fmla="*/ 90242 w 1277318"/>
              <a:gd name="connsiteY8" fmla="*/ 150265 h 242604"/>
              <a:gd name="connsiteX9" fmla="*/ 123918 w 1277318"/>
              <a:gd name="connsiteY9" fmla="*/ 96385 h 242604"/>
              <a:gd name="connsiteX10" fmla="*/ 199688 w 1277318"/>
              <a:gd name="connsiteY10" fmla="*/ 57657 h 242604"/>
              <a:gd name="connsiteX11" fmla="*/ 123870 w 1277318"/>
              <a:gd name="connsiteY11" fmla="*/ 0 h 242604"/>
              <a:gd name="connsiteX0" fmla="*/ 123870 w 1295839"/>
              <a:gd name="connsiteY0" fmla="*/ 0 h 242604"/>
              <a:gd name="connsiteX1" fmla="*/ 1275998 w 1295839"/>
              <a:gd name="connsiteY1" fmla="*/ 0 h 242604"/>
              <a:gd name="connsiteX2" fmla="*/ 1248694 w 1295839"/>
              <a:gd name="connsiteY2" fmla="*/ 42503 h 242604"/>
              <a:gd name="connsiteX3" fmla="*/ 1295839 w 1295839"/>
              <a:gd name="connsiteY3" fmla="*/ 89650 h 242604"/>
              <a:gd name="connsiteX4" fmla="*/ 1277318 w 1295839"/>
              <a:gd name="connsiteY4" fmla="*/ 175523 h 242604"/>
              <a:gd name="connsiteX5" fmla="*/ 1275998 w 1295839"/>
              <a:gd name="connsiteY5" fmla="*/ 242604 h 242604"/>
              <a:gd name="connsiteX6" fmla="*/ 123870 w 1295839"/>
              <a:gd name="connsiteY6" fmla="*/ 242604 h 242604"/>
              <a:gd name="connsiteX7" fmla="*/ 26256 w 1295839"/>
              <a:gd name="connsiteY7" fmla="*/ 197412 h 242604"/>
              <a:gd name="connsiteX8" fmla="*/ 90242 w 1295839"/>
              <a:gd name="connsiteY8" fmla="*/ 150265 h 242604"/>
              <a:gd name="connsiteX9" fmla="*/ 123918 w 1295839"/>
              <a:gd name="connsiteY9" fmla="*/ 96385 h 242604"/>
              <a:gd name="connsiteX10" fmla="*/ 199688 w 1295839"/>
              <a:gd name="connsiteY10" fmla="*/ 57657 h 242604"/>
              <a:gd name="connsiteX11" fmla="*/ 123870 w 1295839"/>
              <a:gd name="connsiteY11" fmla="*/ 0 h 242604"/>
              <a:gd name="connsiteX0" fmla="*/ 123870 w 1296242"/>
              <a:gd name="connsiteY0" fmla="*/ 0 h 242604"/>
              <a:gd name="connsiteX1" fmla="*/ 1275998 w 1296242"/>
              <a:gd name="connsiteY1" fmla="*/ 0 h 242604"/>
              <a:gd name="connsiteX2" fmla="*/ 1248694 w 1296242"/>
              <a:gd name="connsiteY2" fmla="*/ 42503 h 242604"/>
              <a:gd name="connsiteX3" fmla="*/ 1295839 w 1296242"/>
              <a:gd name="connsiteY3" fmla="*/ 89650 h 242604"/>
              <a:gd name="connsiteX4" fmla="*/ 1243642 w 1296242"/>
              <a:gd name="connsiteY4" fmla="*/ 141847 h 242604"/>
              <a:gd name="connsiteX5" fmla="*/ 1277318 w 1296242"/>
              <a:gd name="connsiteY5" fmla="*/ 175523 h 242604"/>
              <a:gd name="connsiteX6" fmla="*/ 1275998 w 1296242"/>
              <a:gd name="connsiteY6" fmla="*/ 242604 h 242604"/>
              <a:gd name="connsiteX7" fmla="*/ 123870 w 1296242"/>
              <a:gd name="connsiteY7" fmla="*/ 242604 h 242604"/>
              <a:gd name="connsiteX8" fmla="*/ 26256 w 1296242"/>
              <a:gd name="connsiteY8" fmla="*/ 197412 h 242604"/>
              <a:gd name="connsiteX9" fmla="*/ 90242 w 1296242"/>
              <a:gd name="connsiteY9" fmla="*/ 150265 h 242604"/>
              <a:gd name="connsiteX10" fmla="*/ 123918 w 1296242"/>
              <a:gd name="connsiteY10" fmla="*/ 96385 h 242604"/>
              <a:gd name="connsiteX11" fmla="*/ 199688 w 1296242"/>
              <a:gd name="connsiteY11" fmla="*/ 57657 h 242604"/>
              <a:gd name="connsiteX12" fmla="*/ 123870 w 1296242"/>
              <a:gd name="connsiteY12" fmla="*/ 0 h 242604"/>
              <a:gd name="connsiteX0" fmla="*/ 123870 w 1307634"/>
              <a:gd name="connsiteY0" fmla="*/ 0 h 242604"/>
              <a:gd name="connsiteX1" fmla="*/ 1275998 w 1307634"/>
              <a:gd name="connsiteY1" fmla="*/ 0 h 242604"/>
              <a:gd name="connsiteX2" fmla="*/ 1248694 w 1307634"/>
              <a:gd name="connsiteY2" fmla="*/ 42503 h 242604"/>
              <a:gd name="connsiteX3" fmla="*/ 1295839 w 1307634"/>
              <a:gd name="connsiteY3" fmla="*/ 89650 h 242604"/>
              <a:gd name="connsiteX4" fmla="*/ 1243642 w 1307634"/>
              <a:gd name="connsiteY4" fmla="*/ 141847 h 242604"/>
              <a:gd name="connsiteX5" fmla="*/ 1277318 w 1307634"/>
              <a:gd name="connsiteY5" fmla="*/ 175523 h 242604"/>
              <a:gd name="connsiteX6" fmla="*/ 1307627 w 1307634"/>
              <a:gd name="connsiteY6" fmla="*/ 229404 h 242604"/>
              <a:gd name="connsiteX7" fmla="*/ 1275998 w 1307634"/>
              <a:gd name="connsiteY7" fmla="*/ 242604 h 242604"/>
              <a:gd name="connsiteX8" fmla="*/ 123870 w 1307634"/>
              <a:gd name="connsiteY8" fmla="*/ 242604 h 242604"/>
              <a:gd name="connsiteX9" fmla="*/ 26256 w 1307634"/>
              <a:gd name="connsiteY9" fmla="*/ 197412 h 242604"/>
              <a:gd name="connsiteX10" fmla="*/ 90242 w 1307634"/>
              <a:gd name="connsiteY10" fmla="*/ 150265 h 242604"/>
              <a:gd name="connsiteX11" fmla="*/ 123918 w 1307634"/>
              <a:gd name="connsiteY11" fmla="*/ 96385 h 242604"/>
              <a:gd name="connsiteX12" fmla="*/ 199688 w 1307634"/>
              <a:gd name="connsiteY12" fmla="*/ 57657 h 242604"/>
              <a:gd name="connsiteX13" fmla="*/ 123870 w 1307634"/>
              <a:gd name="connsiteY13" fmla="*/ 0 h 242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7634" h="242604">
                <a:moveTo>
                  <a:pt x="123870" y="0"/>
                </a:moveTo>
                <a:lnTo>
                  <a:pt x="1275998" y="0"/>
                </a:lnTo>
                <a:lnTo>
                  <a:pt x="1248694" y="42503"/>
                </a:lnTo>
                <a:cubicBezTo>
                  <a:pt x="1248694" y="59341"/>
                  <a:pt x="1295839" y="72812"/>
                  <a:pt x="1295839" y="89650"/>
                </a:cubicBezTo>
                <a:cubicBezTo>
                  <a:pt x="1301451" y="109856"/>
                  <a:pt x="1246729" y="127535"/>
                  <a:pt x="1243642" y="141847"/>
                </a:cubicBezTo>
                <a:cubicBezTo>
                  <a:pt x="1240555" y="156159"/>
                  <a:pt x="1271986" y="168507"/>
                  <a:pt x="1277318" y="175523"/>
                </a:cubicBezTo>
                <a:cubicBezTo>
                  <a:pt x="1276757" y="178329"/>
                  <a:pt x="1308188" y="226598"/>
                  <a:pt x="1307627" y="229404"/>
                </a:cubicBezTo>
                <a:lnTo>
                  <a:pt x="1275998" y="242604"/>
                </a:lnTo>
                <a:lnTo>
                  <a:pt x="123870" y="242604"/>
                </a:lnTo>
                <a:cubicBezTo>
                  <a:pt x="-84420" y="235072"/>
                  <a:pt x="34948" y="211960"/>
                  <a:pt x="26256" y="197412"/>
                </a:cubicBezTo>
                <a:cubicBezTo>
                  <a:pt x="17564" y="182864"/>
                  <a:pt x="73965" y="167103"/>
                  <a:pt x="90242" y="150265"/>
                </a:cubicBezTo>
                <a:cubicBezTo>
                  <a:pt x="106519" y="133427"/>
                  <a:pt x="115499" y="112662"/>
                  <a:pt x="123918" y="96385"/>
                </a:cubicBezTo>
                <a:cubicBezTo>
                  <a:pt x="132337" y="80108"/>
                  <a:pt x="199696" y="73721"/>
                  <a:pt x="199688" y="57657"/>
                </a:cubicBezTo>
                <a:cubicBezTo>
                  <a:pt x="200234" y="38438"/>
                  <a:pt x="123324" y="19219"/>
                  <a:pt x="123870" y="0"/>
                </a:cubicBezTo>
                <a:close/>
              </a:path>
            </a:pathLst>
          </a:custGeom>
          <a:solidFill>
            <a:srgbClr val="FFFF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id="{7D1B8D10-769D-4544-9839-B93901AB9ED0}"/>
              </a:ext>
            </a:extLst>
          </p:cNvPr>
          <p:cNvGrpSpPr/>
          <p:nvPr/>
        </p:nvGrpSpPr>
        <p:grpSpPr>
          <a:xfrm flipH="1">
            <a:off x="1249581" y="3661754"/>
            <a:ext cx="1291732" cy="2980782"/>
            <a:chOff x="1004062" y="3874621"/>
            <a:chExt cx="1553694" cy="2980782"/>
          </a:xfrm>
        </p:grpSpPr>
        <p:sp>
          <p:nvSpPr>
            <p:cNvPr id="264" name="Vrije vorm 945">
              <a:extLst>
                <a:ext uri="{FF2B5EF4-FFF2-40B4-BE49-F238E27FC236}">
                  <a16:creationId xmlns:a16="http://schemas.microsoft.com/office/drawing/2014/main" id="{54374A86-D8D7-45AB-B1E2-DABF418011D6}"/>
                </a:ext>
              </a:extLst>
            </p:cNvPr>
            <p:cNvSpPr/>
            <p:nvPr/>
          </p:nvSpPr>
          <p:spPr>
            <a:xfrm flipV="1">
              <a:off x="2190286" y="5114469"/>
              <a:ext cx="171098" cy="503719"/>
            </a:xfrm>
            <a:custGeom>
              <a:avLst/>
              <a:gdLst>
                <a:gd name="connsiteX0" fmla="*/ -3682 w 161584"/>
                <a:gd name="connsiteY0" fmla="*/ -828 h 442981"/>
                <a:gd name="connsiteX1" fmla="*/ 57838 w 161584"/>
                <a:gd name="connsiteY1" fmla="*/ -828 h 442981"/>
                <a:gd name="connsiteX2" fmla="*/ 121412 w 161584"/>
                <a:gd name="connsiteY2" fmla="*/ 55522 h 442981"/>
                <a:gd name="connsiteX3" fmla="*/ 157902 w 161584"/>
                <a:gd name="connsiteY3" fmla="*/ 438361 h 442981"/>
                <a:gd name="connsiteX4" fmla="*/ 114032 w 161584"/>
                <a:gd name="connsiteY4" fmla="*/ 442154 h 442981"/>
                <a:gd name="connsiteX5" fmla="*/ 77693 w 161584"/>
                <a:gd name="connsiteY5" fmla="*/ 60799 h 442981"/>
                <a:gd name="connsiteX6" fmla="*/ 57838 w 161584"/>
                <a:gd name="connsiteY6" fmla="*/ 43229 h 442981"/>
                <a:gd name="connsiteX7" fmla="*/ -3682 w 161584"/>
                <a:gd name="connsiteY7" fmla="*/ 43229 h 442981"/>
                <a:gd name="connsiteX8" fmla="*/ -3682 w 161584"/>
                <a:gd name="connsiteY8" fmla="*/ -828 h 44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584" h="442981">
                  <a:moveTo>
                    <a:pt x="-3682" y="-828"/>
                  </a:moveTo>
                  <a:lnTo>
                    <a:pt x="57838" y="-828"/>
                  </a:lnTo>
                  <a:cubicBezTo>
                    <a:pt x="90208" y="-828"/>
                    <a:pt x="117532" y="23402"/>
                    <a:pt x="121412" y="55522"/>
                  </a:cubicBezTo>
                  <a:cubicBezTo>
                    <a:pt x="133546" y="155954"/>
                    <a:pt x="157662" y="435557"/>
                    <a:pt x="157902" y="438361"/>
                  </a:cubicBezTo>
                  <a:lnTo>
                    <a:pt x="114032" y="442154"/>
                  </a:lnTo>
                  <a:cubicBezTo>
                    <a:pt x="113791" y="439338"/>
                    <a:pt x="89738" y="160495"/>
                    <a:pt x="77693" y="60799"/>
                  </a:cubicBezTo>
                  <a:cubicBezTo>
                    <a:pt x="76489" y="50790"/>
                    <a:pt x="67956" y="43229"/>
                    <a:pt x="57838" y="43229"/>
                  </a:cubicBezTo>
                  <a:lnTo>
                    <a:pt x="-3682" y="43229"/>
                  </a:lnTo>
                  <a:lnTo>
                    <a:pt x="-3682" y="-828"/>
                  </a:lnTo>
                </a:path>
              </a:pathLst>
            </a:custGeom>
            <a:solidFill>
              <a:srgbClr val="DADBD8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65" name="Vrije vorm 947">
              <a:extLst>
                <a:ext uri="{FF2B5EF4-FFF2-40B4-BE49-F238E27FC236}">
                  <a16:creationId xmlns:a16="http://schemas.microsoft.com/office/drawing/2014/main" id="{BBC4FC67-6A01-4737-939C-B9D63C2AFA2B}"/>
                </a:ext>
              </a:extLst>
            </p:cNvPr>
            <p:cNvSpPr/>
            <p:nvPr/>
          </p:nvSpPr>
          <p:spPr>
            <a:xfrm flipV="1">
              <a:off x="1082066" y="5554417"/>
              <a:ext cx="1180773" cy="124948"/>
            </a:xfrm>
            <a:custGeom>
              <a:avLst/>
              <a:gdLst>
                <a:gd name="connsiteX0" fmla="*/ 62982 w 1115115"/>
                <a:gd name="connsiteY0" fmla="*/ -631 h 109882"/>
                <a:gd name="connsiteX1" fmla="*/ 1045548 w 1115115"/>
                <a:gd name="connsiteY1" fmla="*/ -631 h 109882"/>
                <a:gd name="connsiteX2" fmla="*/ 1111823 w 1115115"/>
                <a:gd name="connsiteY2" fmla="*/ 54310 h 109882"/>
                <a:gd name="connsiteX3" fmla="*/ 1045548 w 1115115"/>
                <a:gd name="connsiteY3" fmla="*/ 109252 h 109882"/>
                <a:gd name="connsiteX4" fmla="*/ 62982 w 1115115"/>
                <a:gd name="connsiteY4" fmla="*/ 109252 h 109882"/>
                <a:gd name="connsiteX5" fmla="*/ -3292 w 1115115"/>
                <a:gd name="connsiteY5" fmla="*/ 54310 h 109882"/>
                <a:gd name="connsiteX6" fmla="*/ 62982 w 1115115"/>
                <a:gd name="connsiteY6" fmla="*/ -631 h 10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5115" h="109882">
                  <a:moveTo>
                    <a:pt x="62982" y="-631"/>
                  </a:moveTo>
                  <a:lnTo>
                    <a:pt x="1045548" y="-631"/>
                  </a:lnTo>
                  <a:cubicBezTo>
                    <a:pt x="1082153" y="-631"/>
                    <a:pt x="1111823" y="23966"/>
                    <a:pt x="1111823" y="54310"/>
                  </a:cubicBezTo>
                  <a:cubicBezTo>
                    <a:pt x="1111823" y="84654"/>
                    <a:pt x="1082153" y="109252"/>
                    <a:pt x="1045548" y="109252"/>
                  </a:cubicBezTo>
                  <a:lnTo>
                    <a:pt x="62982" y="109252"/>
                  </a:lnTo>
                  <a:cubicBezTo>
                    <a:pt x="26377" y="109252"/>
                    <a:pt x="-3292" y="84654"/>
                    <a:pt x="-3292" y="54310"/>
                  </a:cubicBezTo>
                  <a:cubicBezTo>
                    <a:pt x="-3292" y="23966"/>
                    <a:pt x="26377" y="-631"/>
                    <a:pt x="62982" y="-631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66" name="Vrije vorm 948">
              <a:extLst>
                <a:ext uri="{FF2B5EF4-FFF2-40B4-BE49-F238E27FC236}">
                  <a16:creationId xmlns:a16="http://schemas.microsoft.com/office/drawing/2014/main" id="{8085C6F8-8746-4E85-A86A-AFEB3BD6B5BD}"/>
                </a:ext>
              </a:extLst>
            </p:cNvPr>
            <p:cNvSpPr/>
            <p:nvPr/>
          </p:nvSpPr>
          <p:spPr>
            <a:xfrm flipV="1">
              <a:off x="2275412" y="3874621"/>
              <a:ext cx="282344" cy="1347437"/>
            </a:xfrm>
            <a:custGeom>
              <a:avLst/>
              <a:gdLst>
                <a:gd name="connsiteX0" fmla="*/ 128250 w 266644"/>
                <a:gd name="connsiteY0" fmla="*/ 56459 h 1184964"/>
                <a:gd name="connsiteX1" fmla="*/ 262333 w 266644"/>
                <a:gd name="connsiteY1" fmla="*/ 1108794 h 1184964"/>
                <a:gd name="connsiteX2" fmla="*/ 204972 w 266644"/>
                <a:gd name="connsiteY2" fmla="*/ 1182954 h 1184964"/>
                <a:gd name="connsiteX3" fmla="*/ 130836 w 266644"/>
                <a:gd name="connsiteY3" fmla="*/ 1125565 h 1184964"/>
                <a:gd name="connsiteX4" fmla="*/ -3234 w 266644"/>
                <a:gd name="connsiteY4" fmla="*/ 73229 h 1184964"/>
                <a:gd name="connsiteX5" fmla="*/ 54127 w 266644"/>
                <a:gd name="connsiteY5" fmla="*/ -931 h 1184964"/>
                <a:gd name="connsiteX6" fmla="*/ 128250 w 266644"/>
                <a:gd name="connsiteY6" fmla="*/ 56459 h 1184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6644" h="1184964">
                  <a:moveTo>
                    <a:pt x="128250" y="56459"/>
                  </a:moveTo>
                  <a:lnTo>
                    <a:pt x="262333" y="1108794"/>
                  </a:lnTo>
                  <a:cubicBezTo>
                    <a:pt x="266961" y="1145126"/>
                    <a:pt x="241273" y="1178324"/>
                    <a:pt x="204972" y="1182954"/>
                  </a:cubicBezTo>
                  <a:cubicBezTo>
                    <a:pt x="168659" y="1187584"/>
                    <a:pt x="135477" y="1161896"/>
                    <a:pt x="130836" y="1125565"/>
                  </a:cubicBezTo>
                  <a:lnTo>
                    <a:pt x="-3234" y="73229"/>
                  </a:lnTo>
                  <a:cubicBezTo>
                    <a:pt x="-7862" y="36898"/>
                    <a:pt x="17826" y="3699"/>
                    <a:pt x="54127" y="-931"/>
                  </a:cubicBezTo>
                  <a:cubicBezTo>
                    <a:pt x="90441" y="-5561"/>
                    <a:pt x="123622" y="20127"/>
                    <a:pt x="128250" y="56459"/>
                  </a:cubicBez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67" name="Vrije vorm 949">
              <a:extLst>
                <a:ext uri="{FF2B5EF4-FFF2-40B4-BE49-F238E27FC236}">
                  <a16:creationId xmlns:a16="http://schemas.microsoft.com/office/drawing/2014/main" id="{BDD0F640-A7CC-4CB6-8038-6FEECCFDFD4E}"/>
                </a:ext>
              </a:extLst>
            </p:cNvPr>
            <p:cNvSpPr/>
            <p:nvPr/>
          </p:nvSpPr>
          <p:spPr>
            <a:xfrm flipV="1">
              <a:off x="1004062" y="5632686"/>
              <a:ext cx="293179" cy="1222717"/>
            </a:xfrm>
            <a:custGeom>
              <a:avLst/>
              <a:gdLst>
                <a:gd name="connsiteX0" fmla="*/ 143477 w 276876"/>
                <a:gd name="connsiteY0" fmla="*/ 1075146 h 1075283"/>
                <a:gd name="connsiteX1" fmla="*/ -2956 w 276876"/>
                <a:gd name="connsiteY1" fmla="*/ -138 h 1075283"/>
                <a:gd name="connsiteX2" fmla="*/ 55293 w 276876"/>
                <a:gd name="connsiteY2" fmla="*/ -113 h 1075283"/>
                <a:gd name="connsiteX3" fmla="*/ 273921 w 276876"/>
                <a:gd name="connsiteY3" fmla="*/ 1034095 h 1075283"/>
                <a:gd name="connsiteX4" fmla="*/ 143477 w 276876"/>
                <a:gd name="connsiteY4" fmla="*/ 1075146 h 1075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876" h="1075283">
                  <a:moveTo>
                    <a:pt x="143477" y="1075146"/>
                  </a:moveTo>
                  <a:lnTo>
                    <a:pt x="-2956" y="-138"/>
                  </a:lnTo>
                  <a:lnTo>
                    <a:pt x="55293" y="-113"/>
                  </a:lnTo>
                  <a:lnTo>
                    <a:pt x="273921" y="1034095"/>
                  </a:lnTo>
                  <a:lnTo>
                    <a:pt x="143477" y="1075146"/>
                  </a:ln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68" name="Vrije vorm 950">
              <a:extLst>
                <a:ext uri="{FF2B5EF4-FFF2-40B4-BE49-F238E27FC236}">
                  <a16:creationId xmlns:a16="http://schemas.microsoft.com/office/drawing/2014/main" id="{2A8160AB-CC2F-41D5-A377-149D65381D22}"/>
                </a:ext>
              </a:extLst>
            </p:cNvPr>
            <p:cNvSpPr/>
            <p:nvPr/>
          </p:nvSpPr>
          <p:spPr>
            <a:xfrm flipV="1">
              <a:off x="2042414" y="5632686"/>
              <a:ext cx="288883" cy="1222717"/>
            </a:xfrm>
            <a:custGeom>
              <a:avLst/>
              <a:gdLst>
                <a:gd name="connsiteX0" fmla="*/ 126833 w 272819"/>
                <a:gd name="connsiteY0" fmla="*/ 1075146 h 1075283"/>
                <a:gd name="connsiteX1" fmla="*/ 269195 w 272819"/>
                <a:gd name="connsiteY1" fmla="*/ -138 h 1075283"/>
                <a:gd name="connsiteX2" fmla="*/ 210947 w 272819"/>
                <a:gd name="connsiteY2" fmla="*/ -113 h 1075283"/>
                <a:gd name="connsiteX3" fmla="*/ -3624 w 272819"/>
                <a:gd name="connsiteY3" fmla="*/ 1034095 h 1075283"/>
                <a:gd name="connsiteX4" fmla="*/ 126833 w 272819"/>
                <a:gd name="connsiteY4" fmla="*/ 1075146 h 1075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819" h="1075283">
                  <a:moveTo>
                    <a:pt x="126833" y="1075146"/>
                  </a:moveTo>
                  <a:lnTo>
                    <a:pt x="269195" y="-138"/>
                  </a:lnTo>
                  <a:lnTo>
                    <a:pt x="210947" y="-113"/>
                  </a:lnTo>
                  <a:lnTo>
                    <a:pt x="-3624" y="1034095"/>
                  </a:lnTo>
                  <a:lnTo>
                    <a:pt x="126833" y="1075146"/>
                  </a:lnTo>
                </a:path>
              </a:pathLst>
            </a:custGeom>
            <a:solidFill>
              <a:srgbClr val="33535F"/>
            </a:solidFill>
            <a:ln w="12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grpSp>
        <p:nvGrpSpPr>
          <p:cNvPr id="331" name="Groep 330">
            <a:extLst>
              <a:ext uri="{FF2B5EF4-FFF2-40B4-BE49-F238E27FC236}">
                <a16:creationId xmlns:a16="http://schemas.microsoft.com/office/drawing/2014/main" id="{59307C98-EC8B-4A0A-81B3-8585C74BDEAC}"/>
              </a:ext>
            </a:extLst>
          </p:cNvPr>
          <p:cNvGrpSpPr/>
          <p:nvPr/>
        </p:nvGrpSpPr>
        <p:grpSpPr>
          <a:xfrm flipH="1">
            <a:off x="1388725" y="2330785"/>
            <a:ext cx="2567868" cy="4303563"/>
            <a:chOff x="9137195" y="2357227"/>
            <a:chExt cx="2805594" cy="4303563"/>
          </a:xfrm>
        </p:grpSpPr>
        <p:grpSp>
          <p:nvGrpSpPr>
            <p:cNvPr id="332" name="Groep 331">
              <a:extLst>
                <a:ext uri="{FF2B5EF4-FFF2-40B4-BE49-F238E27FC236}">
                  <a16:creationId xmlns:a16="http://schemas.microsoft.com/office/drawing/2014/main" id="{1609649F-14CD-43DC-B3A1-8C440823EDDB}"/>
                </a:ext>
              </a:extLst>
            </p:cNvPr>
            <p:cNvGrpSpPr/>
            <p:nvPr/>
          </p:nvGrpSpPr>
          <p:grpSpPr>
            <a:xfrm>
              <a:off x="9137195" y="2357227"/>
              <a:ext cx="2805594" cy="4303563"/>
              <a:chOff x="9137195" y="2357227"/>
              <a:chExt cx="2805594" cy="4303563"/>
            </a:xfrm>
          </p:grpSpPr>
          <p:sp>
            <p:nvSpPr>
              <p:cNvPr id="339" name="Vrije vorm 909">
                <a:extLst>
                  <a:ext uri="{FF2B5EF4-FFF2-40B4-BE49-F238E27FC236}">
                    <a16:creationId xmlns:a16="http://schemas.microsoft.com/office/drawing/2014/main" id="{FF348986-5D86-4E27-8189-E7BCBBBFA617}"/>
                  </a:ext>
                </a:extLst>
              </p:cNvPr>
              <p:cNvSpPr/>
              <p:nvPr/>
            </p:nvSpPr>
            <p:spPr>
              <a:xfrm flipV="1">
                <a:off x="10192007" y="4306999"/>
                <a:ext cx="277672" cy="271881"/>
              </a:xfrm>
              <a:custGeom>
                <a:avLst/>
                <a:gdLst>
                  <a:gd name="connsiteX0" fmla="*/ -2791 w 262232"/>
                  <a:gd name="connsiteY0" fmla="*/ 60332 h 239098"/>
                  <a:gd name="connsiteX1" fmla="*/ 50589 w 262232"/>
                  <a:gd name="connsiteY1" fmla="*/ 185704 h 239098"/>
                  <a:gd name="connsiteX2" fmla="*/ 212427 w 262232"/>
                  <a:gd name="connsiteY2" fmla="*/ 237702 h 239098"/>
                  <a:gd name="connsiteX3" fmla="*/ 259442 w 262232"/>
                  <a:gd name="connsiteY3" fmla="*/ 98110 h 239098"/>
                  <a:gd name="connsiteX4" fmla="*/ 180539 w 262232"/>
                  <a:gd name="connsiteY4" fmla="*/ -1396 h 239098"/>
                  <a:gd name="connsiteX5" fmla="*/ -2791 w 262232"/>
                  <a:gd name="connsiteY5" fmla="*/ 60332 h 239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2232" h="239098">
                    <a:moveTo>
                      <a:pt x="-2791" y="60332"/>
                    </a:moveTo>
                    <a:cubicBezTo>
                      <a:pt x="-2791" y="60332"/>
                      <a:pt x="6491" y="157846"/>
                      <a:pt x="50589" y="185704"/>
                    </a:cubicBezTo>
                    <a:cubicBezTo>
                      <a:pt x="94675" y="213574"/>
                      <a:pt x="212427" y="237702"/>
                      <a:pt x="212427" y="237702"/>
                    </a:cubicBezTo>
                    <a:lnTo>
                      <a:pt x="259442" y="98110"/>
                    </a:lnTo>
                    <a:lnTo>
                      <a:pt x="180539" y="-1396"/>
                    </a:lnTo>
                    <a:lnTo>
                      <a:pt x="-2791" y="60332"/>
                    </a:lnTo>
                  </a:path>
                </a:pathLst>
              </a:custGeom>
              <a:solidFill>
                <a:srgbClr val="F9A78D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0" name="Vrije vorm 910">
                <a:extLst>
                  <a:ext uri="{FF2B5EF4-FFF2-40B4-BE49-F238E27FC236}">
                    <a16:creationId xmlns:a16="http://schemas.microsoft.com/office/drawing/2014/main" id="{8ADB9267-A60E-4AFD-B21D-137E7BFD720B}"/>
                  </a:ext>
                </a:extLst>
              </p:cNvPr>
              <p:cNvSpPr/>
              <p:nvPr/>
            </p:nvSpPr>
            <p:spPr>
              <a:xfrm flipV="1">
                <a:off x="9605567" y="6127777"/>
                <a:ext cx="618674" cy="533013"/>
              </a:xfrm>
              <a:custGeom>
                <a:avLst/>
                <a:gdLst>
                  <a:gd name="connsiteX0" fmla="*/ 290635 w 584272"/>
                  <a:gd name="connsiteY0" fmla="*/ 468400 h 468743"/>
                  <a:gd name="connsiteX1" fmla="*/ 301096 w 584272"/>
                  <a:gd name="connsiteY1" fmla="*/ 168003 h 468743"/>
                  <a:gd name="connsiteX2" fmla="*/ -2522 w 584272"/>
                  <a:gd name="connsiteY2" fmla="*/ 7010 h 468743"/>
                  <a:gd name="connsiteX3" fmla="*/ 578860 w 584272"/>
                  <a:gd name="connsiteY3" fmla="*/ 137 h 468743"/>
                  <a:gd name="connsiteX4" fmla="*/ 581751 w 584272"/>
                  <a:gd name="connsiteY4" fmla="*/ 468880 h 468743"/>
                  <a:gd name="connsiteX5" fmla="*/ 290635 w 584272"/>
                  <a:gd name="connsiteY5" fmla="*/ 468400 h 468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84272" h="468743">
                    <a:moveTo>
                      <a:pt x="290635" y="468400"/>
                    </a:moveTo>
                    <a:lnTo>
                      <a:pt x="301096" y="168003"/>
                    </a:lnTo>
                    <a:cubicBezTo>
                      <a:pt x="301096" y="168003"/>
                      <a:pt x="952" y="62728"/>
                      <a:pt x="-2522" y="7010"/>
                    </a:cubicBezTo>
                    <a:lnTo>
                      <a:pt x="578860" y="137"/>
                    </a:lnTo>
                    <a:lnTo>
                      <a:pt x="581751" y="468880"/>
                    </a:lnTo>
                    <a:lnTo>
                      <a:pt x="290635" y="468400"/>
                    </a:lnTo>
                  </a:path>
                </a:pathLst>
              </a:custGeom>
              <a:solidFill>
                <a:srgbClr val="A24027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1" name="Vrije vorm 918">
                <a:extLst>
                  <a:ext uri="{FF2B5EF4-FFF2-40B4-BE49-F238E27FC236}">
                    <a16:creationId xmlns:a16="http://schemas.microsoft.com/office/drawing/2014/main" id="{EC199DF1-FD97-477F-99BD-A0E3318694DD}"/>
                  </a:ext>
                </a:extLst>
              </p:cNvPr>
              <p:cNvSpPr/>
              <p:nvPr/>
            </p:nvSpPr>
            <p:spPr>
              <a:xfrm flipV="1">
                <a:off x="9141531" y="5466261"/>
                <a:ext cx="780415" cy="625122"/>
              </a:xfrm>
              <a:custGeom>
                <a:avLst/>
                <a:gdLst>
                  <a:gd name="connsiteX0" fmla="*/ 482656 w 737019"/>
                  <a:gd name="connsiteY0" fmla="*/ 549398 h 549745"/>
                  <a:gd name="connsiteX1" fmla="*/ 341092 w 737019"/>
                  <a:gd name="connsiteY1" fmla="*/ 284282 h 549745"/>
                  <a:gd name="connsiteX2" fmla="*/ -2275 w 737019"/>
                  <a:gd name="connsiteY2" fmla="*/ 297399 h 549745"/>
                  <a:gd name="connsiteX3" fmla="*/ 497212 w 737019"/>
                  <a:gd name="connsiteY3" fmla="*/ -347 h 549745"/>
                  <a:gd name="connsiteX4" fmla="*/ 734745 w 737019"/>
                  <a:gd name="connsiteY4" fmla="*/ 403705 h 549745"/>
                  <a:gd name="connsiteX5" fmla="*/ 482656 w 737019"/>
                  <a:gd name="connsiteY5" fmla="*/ 549398 h 549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37019" h="549745">
                    <a:moveTo>
                      <a:pt x="482656" y="549398"/>
                    </a:moveTo>
                    <a:lnTo>
                      <a:pt x="341092" y="284282"/>
                    </a:lnTo>
                    <a:cubicBezTo>
                      <a:pt x="341092" y="284282"/>
                      <a:pt x="28650" y="343855"/>
                      <a:pt x="-2275" y="297399"/>
                    </a:cubicBezTo>
                    <a:lnTo>
                      <a:pt x="497212" y="-347"/>
                    </a:lnTo>
                    <a:lnTo>
                      <a:pt x="734745" y="403705"/>
                    </a:lnTo>
                    <a:lnTo>
                      <a:pt x="482656" y="549398"/>
                    </a:lnTo>
                  </a:path>
                </a:pathLst>
              </a:custGeom>
              <a:solidFill>
                <a:srgbClr val="A24027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2" name="Vrije vorm 920">
                <a:extLst>
                  <a:ext uri="{FF2B5EF4-FFF2-40B4-BE49-F238E27FC236}">
                    <a16:creationId xmlns:a16="http://schemas.microsoft.com/office/drawing/2014/main" id="{869DEE66-4038-485C-932C-767245A4B173}"/>
                  </a:ext>
                </a:extLst>
              </p:cNvPr>
              <p:cNvSpPr/>
              <p:nvPr/>
            </p:nvSpPr>
            <p:spPr>
              <a:xfrm flipV="1">
                <a:off x="9137195" y="5737233"/>
                <a:ext cx="553277" cy="354121"/>
              </a:xfrm>
              <a:custGeom>
                <a:avLst/>
                <a:gdLst>
                  <a:gd name="connsiteX0" fmla="*/ 501396 w 522511"/>
                  <a:gd name="connsiteY0" fmla="*/ -240 h 311421"/>
                  <a:gd name="connsiteX1" fmla="*/ 520313 w 522511"/>
                  <a:gd name="connsiteY1" fmla="*/ 31944 h 311421"/>
                  <a:gd name="connsiteX2" fmla="*/ 29715 w 522511"/>
                  <a:gd name="connsiteY2" fmla="*/ 311181 h 311421"/>
                  <a:gd name="connsiteX3" fmla="*/ -2199 w 522511"/>
                  <a:gd name="connsiteY3" fmla="*/ 296261 h 311421"/>
                  <a:gd name="connsiteX4" fmla="*/ 501396 w 522511"/>
                  <a:gd name="connsiteY4" fmla="*/ -240 h 311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2511" h="311421">
                    <a:moveTo>
                      <a:pt x="501396" y="-240"/>
                    </a:moveTo>
                    <a:lnTo>
                      <a:pt x="520313" y="31944"/>
                    </a:lnTo>
                    <a:lnTo>
                      <a:pt x="29715" y="311181"/>
                    </a:lnTo>
                    <a:cubicBezTo>
                      <a:pt x="29715" y="311181"/>
                      <a:pt x="7970" y="310661"/>
                      <a:pt x="-2199" y="296261"/>
                    </a:cubicBezTo>
                    <a:lnTo>
                      <a:pt x="501396" y="-240"/>
                    </a:lnTo>
                  </a:path>
                </a:pathLst>
              </a:custGeom>
              <a:solidFill>
                <a:schemeClr val="tx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3" name="Vrije vorm 1007">
                <a:extLst>
                  <a:ext uri="{FF2B5EF4-FFF2-40B4-BE49-F238E27FC236}">
                    <a16:creationId xmlns:a16="http://schemas.microsoft.com/office/drawing/2014/main" id="{395E33BD-0397-4D46-AEC7-D74520AA9944}"/>
                  </a:ext>
                </a:extLst>
              </p:cNvPr>
              <p:cNvSpPr/>
              <p:nvPr/>
            </p:nvSpPr>
            <p:spPr>
              <a:xfrm flipV="1">
                <a:off x="11375752" y="3212352"/>
                <a:ext cx="262553" cy="426065"/>
              </a:xfrm>
              <a:custGeom>
                <a:avLst/>
                <a:gdLst>
                  <a:gd name="connsiteX0" fmla="*/ -2132 w 71754"/>
                  <a:gd name="connsiteY0" fmla="*/ 110616 h 148616"/>
                  <a:gd name="connsiteX1" fmla="*/ 624 w 71754"/>
                  <a:gd name="connsiteY1" fmla="*/ -3767 h 148616"/>
                  <a:gd name="connsiteX2" fmla="*/ 69622 w 71754"/>
                  <a:gd name="connsiteY2" fmla="*/ 27058 h 148616"/>
                  <a:gd name="connsiteX3" fmla="*/ 67446 w 71754"/>
                  <a:gd name="connsiteY3" fmla="*/ 144849 h 148616"/>
                  <a:gd name="connsiteX4" fmla="*/ -2132 w 71754"/>
                  <a:gd name="connsiteY4" fmla="*/ 11061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-2132" y="110616"/>
                    </a:moveTo>
                    <a:lnTo>
                      <a:pt x="624" y="-3767"/>
                    </a:lnTo>
                    <a:lnTo>
                      <a:pt x="69622" y="27058"/>
                    </a:lnTo>
                    <a:lnTo>
                      <a:pt x="67446" y="144849"/>
                    </a:lnTo>
                    <a:lnTo>
                      <a:pt x="-2132" y="11061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4" name="Vrije vorm 1008">
                <a:extLst>
                  <a:ext uri="{FF2B5EF4-FFF2-40B4-BE49-F238E27FC236}">
                    <a16:creationId xmlns:a16="http://schemas.microsoft.com/office/drawing/2014/main" id="{A264ECB7-ACAD-4369-B80A-52284E51E1B2}"/>
                  </a:ext>
                </a:extLst>
              </p:cNvPr>
              <p:cNvSpPr/>
              <p:nvPr/>
            </p:nvSpPr>
            <p:spPr>
              <a:xfrm flipV="1">
                <a:off x="11147100" y="2478913"/>
                <a:ext cx="795689" cy="870305"/>
              </a:xfrm>
              <a:custGeom>
                <a:avLst/>
                <a:gdLst>
                  <a:gd name="connsiteX0" fmla="*/ 117813 w 217456"/>
                  <a:gd name="connsiteY0" fmla="*/ 294452 h 303572"/>
                  <a:gd name="connsiteX1" fmla="*/ 181598 w 217456"/>
                  <a:gd name="connsiteY1" fmla="*/ 234500 h 303572"/>
                  <a:gd name="connsiteX2" fmla="*/ 178261 w 217456"/>
                  <a:gd name="connsiteY2" fmla="*/ 158389 h 303572"/>
                  <a:gd name="connsiteX3" fmla="*/ 205112 w 217456"/>
                  <a:gd name="connsiteY3" fmla="*/ 165702 h 303572"/>
                  <a:gd name="connsiteX4" fmla="*/ 177028 w 217456"/>
                  <a:gd name="connsiteY4" fmla="*/ 91995 h 303572"/>
                  <a:gd name="connsiteX5" fmla="*/ 171121 w 217456"/>
                  <a:gd name="connsiteY5" fmla="*/ 51805 h 303572"/>
                  <a:gd name="connsiteX6" fmla="*/ 82589 w 217456"/>
                  <a:gd name="connsiteY6" fmla="*/ -3382 h 303572"/>
                  <a:gd name="connsiteX7" fmla="*/ -1198 w 217456"/>
                  <a:gd name="connsiteY7" fmla="*/ 60372 h 303572"/>
                  <a:gd name="connsiteX8" fmla="*/ -2141 w 217456"/>
                  <a:gd name="connsiteY8" fmla="*/ 246877 h 303572"/>
                  <a:gd name="connsiteX9" fmla="*/ 117813 w 217456"/>
                  <a:gd name="connsiteY9" fmla="*/ 294452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6" h="303572">
                    <a:moveTo>
                      <a:pt x="117813" y="294452"/>
                    </a:moveTo>
                    <a:cubicBezTo>
                      <a:pt x="183350" y="279516"/>
                      <a:pt x="181598" y="234500"/>
                      <a:pt x="181598" y="234500"/>
                    </a:cubicBezTo>
                    <a:cubicBezTo>
                      <a:pt x="181598" y="234500"/>
                      <a:pt x="179557" y="199759"/>
                      <a:pt x="178261" y="158389"/>
                    </a:cubicBezTo>
                    <a:cubicBezTo>
                      <a:pt x="184324" y="166717"/>
                      <a:pt x="194583" y="170208"/>
                      <a:pt x="205112" y="165702"/>
                    </a:cubicBezTo>
                    <a:cubicBezTo>
                      <a:pt x="227424" y="156162"/>
                      <a:pt x="210937" y="85914"/>
                      <a:pt x="177028" y="91995"/>
                    </a:cubicBezTo>
                    <a:cubicBezTo>
                      <a:pt x="175567" y="72376"/>
                      <a:pt x="173639" y="57098"/>
                      <a:pt x="171121" y="51805"/>
                    </a:cubicBezTo>
                    <a:cubicBezTo>
                      <a:pt x="161608" y="31825"/>
                      <a:pt x="119709" y="1372"/>
                      <a:pt x="82589" y="-3382"/>
                    </a:cubicBezTo>
                    <a:cubicBezTo>
                      <a:pt x="45457" y="-8136"/>
                      <a:pt x="-1198" y="16599"/>
                      <a:pt x="-1198" y="60372"/>
                    </a:cubicBezTo>
                    <a:cubicBezTo>
                      <a:pt x="-1198" y="104144"/>
                      <a:pt x="-2141" y="246877"/>
                      <a:pt x="-2141" y="246877"/>
                    </a:cubicBezTo>
                    <a:cubicBezTo>
                      <a:pt x="-2141" y="246877"/>
                      <a:pt x="9279" y="319197"/>
                      <a:pt x="117813" y="29445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5" name="Vrije vorm 1009">
                <a:extLst>
                  <a:ext uri="{FF2B5EF4-FFF2-40B4-BE49-F238E27FC236}">
                    <a16:creationId xmlns:a16="http://schemas.microsoft.com/office/drawing/2014/main" id="{DD498C0D-E95B-4089-A35C-69D526D45F74}"/>
                  </a:ext>
                </a:extLst>
              </p:cNvPr>
              <p:cNvSpPr/>
              <p:nvPr/>
            </p:nvSpPr>
            <p:spPr>
              <a:xfrm flipV="1">
                <a:off x="11240988" y="2856518"/>
                <a:ext cx="123805" cy="237323"/>
              </a:xfrm>
              <a:custGeom>
                <a:avLst/>
                <a:gdLst>
                  <a:gd name="connsiteX0" fmla="*/ 31750 w 33835"/>
                  <a:gd name="connsiteY0" fmla="*/ 78842 h 82781"/>
                  <a:gd name="connsiteX1" fmla="*/ 22082 w 33835"/>
                  <a:gd name="connsiteY1" fmla="*/ 41346 h 82781"/>
                  <a:gd name="connsiteX2" fmla="*/ 13770 w 33835"/>
                  <a:gd name="connsiteY2" fmla="*/ 23655 h 82781"/>
                  <a:gd name="connsiteX3" fmla="*/ 1448 w 33835"/>
                  <a:gd name="connsiteY3" fmla="*/ 8149 h 82781"/>
                  <a:gd name="connsiteX4" fmla="*/ 1438 w 33835"/>
                  <a:gd name="connsiteY4" fmla="*/ 10624 h 82781"/>
                  <a:gd name="connsiteX5" fmla="*/ 15573 w 33835"/>
                  <a:gd name="connsiteY5" fmla="*/ -3939 h 82781"/>
                  <a:gd name="connsiteX6" fmla="*/ -749 w 33835"/>
                  <a:gd name="connsiteY6" fmla="*/ 8128 h 82781"/>
                  <a:gd name="connsiteX7" fmla="*/ -2085 w 33835"/>
                  <a:gd name="connsiteY7" fmla="*/ 9184 h 82781"/>
                  <a:gd name="connsiteX8" fmla="*/ -769 w 33835"/>
                  <a:gd name="connsiteY8" fmla="*/ 10604 h 82781"/>
                  <a:gd name="connsiteX9" fmla="*/ 17884 w 33835"/>
                  <a:gd name="connsiteY9" fmla="*/ 43035 h 82781"/>
                  <a:gd name="connsiteX10" fmla="*/ 31750 w 33835"/>
                  <a:gd name="connsiteY10" fmla="*/ 78842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5" h="82781">
                    <a:moveTo>
                      <a:pt x="31750" y="78842"/>
                    </a:moveTo>
                    <a:cubicBezTo>
                      <a:pt x="30009" y="66040"/>
                      <a:pt x="26828" y="53424"/>
                      <a:pt x="22082" y="41346"/>
                    </a:cubicBezTo>
                    <a:cubicBezTo>
                      <a:pt x="19833" y="35256"/>
                      <a:pt x="17180" y="29279"/>
                      <a:pt x="13770" y="23655"/>
                    </a:cubicBezTo>
                    <a:cubicBezTo>
                      <a:pt x="10444" y="18041"/>
                      <a:pt x="6765" y="12406"/>
                      <a:pt x="1448" y="8149"/>
                    </a:cubicBezTo>
                    <a:lnTo>
                      <a:pt x="1438" y="10624"/>
                    </a:lnTo>
                    <a:cubicBezTo>
                      <a:pt x="6298" y="5942"/>
                      <a:pt x="11024" y="1116"/>
                      <a:pt x="15573" y="-3939"/>
                    </a:cubicBezTo>
                    <a:cubicBezTo>
                      <a:pt x="9957" y="-117"/>
                      <a:pt x="4536" y="3923"/>
                      <a:pt x="-749" y="8128"/>
                    </a:cubicBezTo>
                    <a:lnTo>
                      <a:pt x="-2085" y="9184"/>
                    </a:lnTo>
                    <a:lnTo>
                      <a:pt x="-769" y="10604"/>
                    </a:lnTo>
                    <a:cubicBezTo>
                      <a:pt x="7615" y="19667"/>
                      <a:pt x="12734" y="31506"/>
                      <a:pt x="17884" y="43035"/>
                    </a:cubicBezTo>
                    <a:cubicBezTo>
                      <a:pt x="22734" y="54780"/>
                      <a:pt x="27232" y="66744"/>
                      <a:pt x="31750" y="7884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6" name="Vrije vorm 1010">
                <a:extLst>
                  <a:ext uri="{FF2B5EF4-FFF2-40B4-BE49-F238E27FC236}">
                    <a16:creationId xmlns:a16="http://schemas.microsoft.com/office/drawing/2014/main" id="{C80FBCBE-1045-41FC-9164-E2EB7DFD69BF}"/>
                  </a:ext>
                </a:extLst>
              </p:cNvPr>
              <p:cNvSpPr/>
              <p:nvPr/>
            </p:nvSpPr>
            <p:spPr>
              <a:xfrm flipV="1">
                <a:off x="11463026" y="2824713"/>
                <a:ext cx="69468" cy="99062"/>
              </a:xfrm>
              <a:custGeom>
                <a:avLst/>
                <a:gdLst>
                  <a:gd name="connsiteX0" fmla="*/ -2141 w 18985"/>
                  <a:gd name="connsiteY0" fmla="*/ 13300 h 34554"/>
                  <a:gd name="connsiteX1" fmla="*/ 7352 w 18985"/>
                  <a:gd name="connsiteY1" fmla="*/ -3978 h 34554"/>
                  <a:gd name="connsiteX2" fmla="*/ 16845 w 18985"/>
                  <a:gd name="connsiteY2" fmla="*/ 13300 h 34554"/>
                  <a:gd name="connsiteX3" fmla="*/ 7352 w 18985"/>
                  <a:gd name="connsiteY3" fmla="*/ 30577 h 34554"/>
                  <a:gd name="connsiteX4" fmla="*/ -2141 w 18985"/>
                  <a:gd name="connsiteY4" fmla="*/ 13300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141" y="13300"/>
                    </a:moveTo>
                    <a:cubicBezTo>
                      <a:pt x="-2141" y="3760"/>
                      <a:pt x="2108" y="-3978"/>
                      <a:pt x="7352" y="-3978"/>
                    </a:cubicBezTo>
                    <a:cubicBezTo>
                      <a:pt x="12596" y="-3978"/>
                      <a:pt x="16845" y="3760"/>
                      <a:pt x="16845" y="13300"/>
                    </a:cubicBezTo>
                    <a:cubicBezTo>
                      <a:pt x="16845" y="22839"/>
                      <a:pt x="12596" y="30577"/>
                      <a:pt x="7352" y="30577"/>
                    </a:cubicBezTo>
                    <a:cubicBezTo>
                      <a:pt x="2108" y="30577"/>
                      <a:pt x="-2141" y="22839"/>
                      <a:pt x="-2141" y="13300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7" name="Vrije vorm 1011">
                <a:extLst>
                  <a:ext uri="{FF2B5EF4-FFF2-40B4-BE49-F238E27FC236}">
                    <a16:creationId xmlns:a16="http://schemas.microsoft.com/office/drawing/2014/main" id="{98CDD4CE-4C74-4C69-A943-9ACE67F19808}"/>
                  </a:ext>
                </a:extLst>
              </p:cNvPr>
              <p:cNvSpPr/>
              <p:nvPr/>
            </p:nvSpPr>
            <p:spPr>
              <a:xfrm flipV="1">
                <a:off x="11170399" y="2835642"/>
                <a:ext cx="69468" cy="99062"/>
              </a:xfrm>
              <a:custGeom>
                <a:avLst/>
                <a:gdLst>
                  <a:gd name="connsiteX0" fmla="*/ -2074 w 18985"/>
                  <a:gd name="connsiteY0" fmla="*/ 13304 h 34554"/>
                  <a:gd name="connsiteX1" fmla="*/ 7419 w 18985"/>
                  <a:gd name="connsiteY1" fmla="*/ -3973 h 34554"/>
                  <a:gd name="connsiteX2" fmla="*/ 16911 w 18985"/>
                  <a:gd name="connsiteY2" fmla="*/ 13304 h 34554"/>
                  <a:gd name="connsiteX3" fmla="*/ 7419 w 18985"/>
                  <a:gd name="connsiteY3" fmla="*/ 30581 h 34554"/>
                  <a:gd name="connsiteX4" fmla="*/ -2074 w 18985"/>
                  <a:gd name="connsiteY4" fmla="*/ 13304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074" y="13304"/>
                    </a:moveTo>
                    <a:cubicBezTo>
                      <a:pt x="-2074" y="3764"/>
                      <a:pt x="2175" y="-3973"/>
                      <a:pt x="7419" y="-3973"/>
                    </a:cubicBezTo>
                    <a:cubicBezTo>
                      <a:pt x="12662" y="-3973"/>
                      <a:pt x="16911" y="3764"/>
                      <a:pt x="16911" y="13304"/>
                    </a:cubicBezTo>
                    <a:cubicBezTo>
                      <a:pt x="16911" y="22854"/>
                      <a:pt x="12662" y="30581"/>
                      <a:pt x="7419" y="30581"/>
                    </a:cubicBezTo>
                    <a:cubicBezTo>
                      <a:pt x="2175" y="30581"/>
                      <a:pt x="-2074" y="22854"/>
                      <a:pt x="-2074" y="13304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8" name="Vrije vorm 1012">
                <a:extLst>
                  <a:ext uri="{FF2B5EF4-FFF2-40B4-BE49-F238E27FC236}">
                    <a16:creationId xmlns:a16="http://schemas.microsoft.com/office/drawing/2014/main" id="{87CD206A-139E-4C23-84CA-11D1B559A932}"/>
                  </a:ext>
                </a:extLst>
              </p:cNvPr>
              <p:cNvSpPr/>
              <p:nvPr/>
            </p:nvSpPr>
            <p:spPr>
              <a:xfrm flipV="1">
                <a:off x="11453639" y="2725927"/>
                <a:ext cx="188117" cy="56948"/>
              </a:xfrm>
              <a:custGeom>
                <a:avLst/>
                <a:gdLst>
                  <a:gd name="connsiteX0" fmla="*/ -2141 w 51411"/>
                  <a:gd name="connsiteY0" fmla="*/ 3589 h 19864"/>
                  <a:gd name="connsiteX1" fmla="*/ 10294 w 51411"/>
                  <a:gd name="connsiteY1" fmla="*/ 12777 h 19864"/>
                  <a:gd name="connsiteX2" fmla="*/ 25994 w 51411"/>
                  <a:gd name="connsiteY2" fmla="*/ 15822 h 19864"/>
                  <a:gd name="connsiteX3" fmla="*/ 41550 w 51411"/>
                  <a:gd name="connsiteY3" fmla="*/ 9815 h 19864"/>
                  <a:gd name="connsiteX4" fmla="*/ 49270 w 51411"/>
                  <a:gd name="connsiteY4" fmla="*/ -4023 h 19864"/>
                  <a:gd name="connsiteX5" fmla="*/ 37404 w 51411"/>
                  <a:gd name="connsiteY5" fmla="*/ 3382 h 19864"/>
                  <a:gd name="connsiteX6" fmla="*/ 25466 w 51411"/>
                  <a:gd name="connsiteY6" fmla="*/ 6044 h 19864"/>
                  <a:gd name="connsiteX7" fmla="*/ -2141 w 51411"/>
                  <a:gd name="connsiteY7" fmla="*/ 3589 h 19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411" h="19864">
                    <a:moveTo>
                      <a:pt x="-2141" y="3589"/>
                    </a:moveTo>
                    <a:cubicBezTo>
                      <a:pt x="1133" y="7753"/>
                      <a:pt x="5517" y="10685"/>
                      <a:pt x="10294" y="12777"/>
                    </a:cubicBezTo>
                    <a:cubicBezTo>
                      <a:pt x="15082" y="14911"/>
                      <a:pt x="20430" y="15998"/>
                      <a:pt x="25994" y="15822"/>
                    </a:cubicBezTo>
                    <a:cubicBezTo>
                      <a:pt x="31539" y="15429"/>
                      <a:pt x="37249" y="13492"/>
                      <a:pt x="41550" y="9815"/>
                    </a:cubicBezTo>
                    <a:cubicBezTo>
                      <a:pt x="46058" y="6335"/>
                      <a:pt x="48389" y="1010"/>
                      <a:pt x="49270" y="-4023"/>
                    </a:cubicBezTo>
                    <a:cubicBezTo>
                      <a:pt x="44835" y="-1010"/>
                      <a:pt x="41446" y="1922"/>
                      <a:pt x="37404" y="3382"/>
                    </a:cubicBezTo>
                    <a:cubicBezTo>
                      <a:pt x="33508" y="4915"/>
                      <a:pt x="29642" y="5848"/>
                      <a:pt x="25466" y="6044"/>
                    </a:cubicBezTo>
                    <a:cubicBezTo>
                      <a:pt x="17041" y="6490"/>
                      <a:pt x="8149" y="4781"/>
                      <a:pt x="-2141" y="3589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9" name="Vrije vorm 1013">
                <a:extLst>
                  <a:ext uri="{FF2B5EF4-FFF2-40B4-BE49-F238E27FC236}">
                    <a16:creationId xmlns:a16="http://schemas.microsoft.com/office/drawing/2014/main" id="{651A2D1C-8D00-4BE7-A331-41082256361A}"/>
                  </a:ext>
                </a:extLst>
              </p:cNvPr>
              <p:cNvSpPr/>
              <p:nvPr/>
            </p:nvSpPr>
            <p:spPr>
              <a:xfrm flipV="1">
                <a:off x="11161016" y="2727580"/>
                <a:ext cx="149781" cy="55291"/>
              </a:xfrm>
              <a:custGeom>
                <a:avLst/>
                <a:gdLst>
                  <a:gd name="connsiteX0" fmla="*/ 38864 w 40934"/>
                  <a:gd name="connsiteY0" fmla="*/ 3590 h 19286"/>
                  <a:gd name="connsiteX1" fmla="*/ 16397 w 40934"/>
                  <a:gd name="connsiteY1" fmla="*/ 6490 h 19286"/>
                  <a:gd name="connsiteX2" fmla="*/ 7226 w 40934"/>
                  <a:gd name="connsiteY2" fmla="*/ 3362 h 19286"/>
                  <a:gd name="connsiteX3" fmla="*/ -2070 w 40934"/>
                  <a:gd name="connsiteY3" fmla="*/ -4023 h 19286"/>
                  <a:gd name="connsiteX4" fmla="*/ 2697 w 40934"/>
                  <a:gd name="connsiteY4" fmla="*/ 8458 h 19286"/>
                  <a:gd name="connsiteX5" fmla="*/ 15496 w 40934"/>
                  <a:gd name="connsiteY5" fmla="*/ 15181 h 19286"/>
                  <a:gd name="connsiteX6" fmla="*/ 29102 w 40934"/>
                  <a:gd name="connsiteY6" fmla="*/ 12373 h 19286"/>
                  <a:gd name="connsiteX7" fmla="*/ 38864 w 40934"/>
                  <a:gd name="connsiteY7" fmla="*/ 3590 h 1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34" h="19286">
                    <a:moveTo>
                      <a:pt x="38864" y="3590"/>
                    </a:moveTo>
                    <a:cubicBezTo>
                      <a:pt x="30274" y="5289"/>
                      <a:pt x="22926" y="7194"/>
                      <a:pt x="16397" y="6490"/>
                    </a:cubicBezTo>
                    <a:cubicBezTo>
                      <a:pt x="13133" y="6314"/>
                      <a:pt x="10221" y="5154"/>
                      <a:pt x="7226" y="3362"/>
                    </a:cubicBezTo>
                    <a:cubicBezTo>
                      <a:pt x="4127" y="1632"/>
                      <a:pt x="1443" y="-1164"/>
                      <a:pt x="-2070" y="-4023"/>
                    </a:cubicBezTo>
                    <a:cubicBezTo>
                      <a:pt x="-1863" y="348"/>
                      <a:pt x="-526" y="4895"/>
                      <a:pt x="2697" y="8458"/>
                    </a:cubicBezTo>
                    <a:cubicBezTo>
                      <a:pt x="5671" y="12187"/>
                      <a:pt x="10573" y="14745"/>
                      <a:pt x="15496" y="15181"/>
                    </a:cubicBezTo>
                    <a:cubicBezTo>
                      <a:pt x="20418" y="15584"/>
                      <a:pt x="25133" y="14486"/>
                      <a:pt x="29102" y="12373"/>
                    </a:cubicBezTo>
                    <a:cubicBezTo>
                      <a:pt x="33072" y="10302"/>
                      <a:pt x="36543" y="7443"/>
                      <a:pt x="38864" y="3590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0" name="Vrije vorm 1016">
                <a:extLst>
                  <a:ext uri="{FF2B5EF4-FFF2-40B4-BE49-F238E27FC236}">
                    <a16:creationId xmlns:a16="http://schemas.microsoft.com/office/drawing/2014/main" id="{02B16968-1222-4C86-9EBE-34CDB129FE91}"/>
                  </a:ext>
                </a:extLst>
              </p:cNvPr>
              <p:cNvSpPr/>
              <p:nvPr/>
            </p:nvSpPr>
            <p:spPr>
              <a:xfrm flipV="1">
                <a:off x="11812438" y="2894315"/>
                <a:ext cx="101843" cy="148054"/>
              </a:xfrm>
              <a:custGeom>
                <a:avLst/>
                <a:gdLst>
                  <a:gd name="connsiteX0" fmla="*/ 20192 w 27833"/>
                  <a:gd name="connsiteY0" fmla="*/ 46603 h 51643"/>
                  <a:gd name="connsiteX1" fmla="*/ -2214 w 27833"/>
                  <a:gd name="connsiteY1" fmla="*/ 13789 h 51643"/>
                  <a:gd name="connsiteX2" fmla="*/ 3611 w 27833"/>
                  <a:gd name="connsiteY2" fmla="*/ -3706 h 51643"/>
                  <a:gd name="connsiteX3" fmla="*/ 20192 w 27833"/>
                  <a:gd name="connsiteY3" fmla="*/ 4660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33" h="51643">
                    <a:moveTo>
                      <a:pt x="20192" y="46603"/>
                    </a:moveTo>
                    <a:cubicBezTo>
                      <a:pt x="8554" y="52486"/>
                      <a:pt x="-1737" y="33769"/>
                      <a:pt x="-2214" y="13789"/>
                    </a:cubicBezTo>
                    <a:cubicBezTo>
                      <a:pt x="7310" y="15208"/>
                      <a:pt x="8916" y="4135"/>
                      <a:pt x="3611" y="-3706"/>
                    </a:cubicBezTo>
                    <a:cubicBezTo>
                      <a:pt x="22503" y="-7704"/>
                      <a:pt x="32524" y="40357"/>
                      <a:pt x="20192" y="4660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1" name="Vrije vorm 1017">
                <a:extLst>
                  <a:ext uri="{FF2B5EF4-FFF2-40B4-BE49-F238E27FC236}">
                    <a16:creationId xmlns:a16="http://schemas.microsoft.com/office/drawing/2014/main" id="{10A25E96-159C-44A9-B21F-753025DC98A0}"/>
                  </a:ext>
                </a:extLst>
              </p:cNvPr>
              <p:cNvSpPr/>
              <p:nvPr/>
            </p:nvSpPr>
            <p:spPr>
              <a:xfrm flipH="1" flipV="1">
                <a:off x="11084515" y="2357227"/>
                <a:ext cx="821227" cy="576420"/>
              </a:xfrm>
              <a:custGeom>
                <a:avLst/>
                <a:gdLst>
                  <a:gd name="connsiteX0" fmla="*/ 7576 w 467845"/>
                  <a:gd name="connsiteY0" fmla="*/ 18404 h 298152"/>
                  <a:gd name="connsiteX1" fmla="*/ 88440 w 467845"/>
                  <a:gd name="connsiteY1" fmla="*/ -4021 h 298152"/>
                  <a:gd name="connsiteX2" fmla="*/ 117187 w 467845"/>
                  <a:gd name="connsiteY2" fmla="*/ -4021 h 298152"/>
                  <a:gd name="connsiteX3" fmla="*/ 129509 w 467845"/>
                  <a:gd name="connsiteY3" fmla="*/ 87036 h 298152"/>
                  <a:gd name="connsiteX4" fmla="*/ 206736 w 467845"/>
                  <a:gd name="connsiteY4" fmla="*/ 156010 h 298152"/>
                  <a:gd name="connsiteX5" fmla="*/ 418963 w 467845"/>
                  <a:gd name="connsiteY5" fmla="*/ 132508 h 298152"/>
                  <a:gd name="connsiteX6" fmla="*/ 91165 w 467845"/>
                  <a:gd name="connsiteY6" fmla="*/ 270352 h 298152"/>
                  <a:gd name="connsiteX7" fmla="*/ 7576 w 467845"/>
                  <a:gd name="connsiteY7" fmla="*/ 18404 h 29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7845" h="298152">
                    <a:moveTo>
                      <a:pt x="7576" y="18404"/>
                    </a:moveTo>
                    <a:cubicBezTo>
                      <a:pt x="7576" y="18404"/>
                      <a:pt x="51464" y="46971"/>
                      <a:pt x="88440" y="-4021"/>
                    </a:cubicBezTo>
                    <a:lnTo>
                      <a:pt x="117187" y="-4021"/>
                    </a:lnTo>
                    <a:cubicBezTo>
                      <a:pt x="117187" y="-4021"/>
                      <a:pt x="115550" y="55020"/>
                      <a:pt x="129509" y="87036"/>
                    </a:cubicBezTo>
                    <a:cubicBezTo>
                      <a:pt x="143468" y="119063"/>
                      <a:pt x="198517" y="118235"/>
                      <a:pt x="206736" y="156010"/>
                    </a:cubicBezTo>
                    <a:cubicBezTo>
                      <a:pt x="206736" y="156010"/>
                      <a:pt x="341467" y="91180"/>
                      <a:pt x="418963" y="132508"/>
                    </a:cubicBezTo>
                    <a:cubicBezTo>
                      <a:pt x="594173" y="225927"/>
                      <a:pt x="225969" y="345758"/>
                      <a:pt x="91165" y="270352"/>
                    </a:cubicBezTo>
                    <a:cubicBezTo>
                      <a:pt x="-8984" y="214346"/>
                      <a:pt x="-13316" y="118918"/>
                      <a:pt x="7576" y="18404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 dirty="0"/>
              </a:p>
            </p:txBody>
          </p:sp>
          <p:sp>
            <p:nvSpPr>
              <p:cNvPr id="352" name="Vrije vorm 1021">
                <a:extLst>
                  <a:ext uri="{FF2B5EF4-FFF2-40B4-BE49-F238E27FC236}">
                    <a16:creationId xmlns:a16="http://schemas.microsoft.com/office/drawing/2014/main" id="{349F35F6-2783-4F53-B494-2B92069BBFF4}"/>
                  </a:ext>
                </a:extLst>
              </p:cNvPr>
              <p:cNvSpPr/>
              <p:nvPr/>
            </p:nvSpPr>
            <p:spPr>
              <a:xfrm flipV="1">
                <a:off x="11605696" y="2857196"/>
                <a:ext cx="206743" cy="17924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3" name="Vrije vorm 927">
                <a:extLst>
                  <a:ext uri="{FF2B5EF4-FFF2-40B4-BE49-F238E27FC236}">
                    <a16:creationId xmlns:a16="http://schemas.microsoft.com/office/drawing/2014/main" id="{2295131C-6CE4-4662-8EBA-AA9B9D0DC065}"/>
                  </a:ext>
                </a:extLst>
              </p:cNvPr>
              <p:cNvSpPr/>
              <p:nvPr/>
            </p:nvSpPr>
            <p:spPr>
              <a:xfrm flipV="1">
                <a:off x="9516340" y="4412054"/>
                <a:ext cx="2083160" cy="1485860"/>
              </a:xfrm>
              <a:custGeom>
                <a:avLst/>
                <a:gdLst>
                  <a:gd name="connsiteX0" fmla="*/ 1963957 w 1967324"/>
                  <a:gd name="connsiteY0" fmla="*/ 822827 h 1306696"/>
                  <a:gd name="connsiteX1" fmla="*/ 1295621 w 1967324"/>
                  <a:gd name="connsiteY1" fmla="*/ 1073077 h 1306696"/>
                  <a:gd name="connsiteX2" fmla="*/ 757184 w 1967324"/>
                  <a:gd name="connsiteY2" fmla="*/ 1297092 h 1306696"/>
                  <a:gd name="connsiteX3" fmla="*/ 379254 w 1967324"/>
                  <a:gd name="connsiteY3" fmla="*/ 1044509 h 1306696"/>
                  <a:gd name="connsiteX4" fmla="*/ -2937 w 1967324"/>
                  <a:gd name="connsiteY4" fmla="*/ 165761 h 1306696"/>
                  <a:gd name="connsiteX5" fmla="*/ 254008 w 1967324"/>
                  <a:gd name="connsiteY5" fmla="*/ -837 h 1306696"/>
                  <a:gd name="connsiteX6" fmla="*/ 767378 w 1967324"/>
                  <a:gd name="connsiteY6" fmla="*/ 914836 h 1306696"/>
                  <a:gd name="connsiteX7" fmla="*/ 1518243 w 1967324"/>
                  <a:gd name="connsiteY7" fmla="*/ 427227 h 1306696"/>
                  <a:gd name="connsiteX8" fmla="*/ 1809346 w 1967324"/>
                  <a:gd name="connsiteY8" fmla="*/ 430157 h 1306696"/>
                  <a:gd name="connsiteX9" fmla="*/ 1963957 w 1967324"/>
                  <a:gd name="connsiteY9" fmla="*/ 822827 h 1306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67324" h="1306696">
                    <a:moveTo>
                      <a:pt x="1963957" y="822827"/>
                    </a:moveTo>
                    <a:lnTo>
                      <a:pt x="1295621" y="1073077"/>
                    </a:lnTo>
                    <a:cubicBezTo>
                      <a:pt x="1295621" y="1073077"/>
                      <a:pt x="900738" y="1257500"/>
                      <a:pt x="757184" y="1297092"/>
                    </a:cubicBezTo>
                    <a:cubicBezTo>
                      <a:pt x="603524" y="1339475"/>
                      <a:pt x="464915" y="1223820"/>
                      <a:pt x="379254" y="1044509"/>
                    </a:cubicBezTo>
                    <a:cubicBezTo>
                      <a:pt x="321234" y="923069"/>
                      <a:pt x="-2937" y="165761"/>
                      <a:pt x="-2937" y="165761"/>
                    </a:cubicBezTo>
                    <a:lnTo>
                      <a:pt x="254008" y="-837"/>
                    </a:lnTo>
                    <a:lnTo>
                      <a:pt x="767378" y="914836"/>
                    </a:lnTo>
                    <a:lnTo>
                      <a:pt x="1518243" y="427227"/>
                    </a:lnTo>
                    <a:cubicBezTo>
                      <a:pt x="1518243" y="427227"/>
                      <a:pt x="1666274" y="430157"/>
                      <a:pt x="1809346" y="430157"/>
                    </a:cubicBezTo>
                    <a:cubicBezTo>
                      <a:pt x="1938674" y="430157"/>
                      <a:pt x="1968484" y="763776"/>
                      <a:pt x="1963957" y="822827"/>
                    </a:cubicBezTo>
                  </a:path>
                </a:pathLst>
              </a:custGeom>
              <a:solidFill>
                <a:schemeClr val="tx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4" name="Vrije vorm 929">
                <a:extLst>
                  <a:ext uri="{FF2B5EF4-FFF2-40B4-BE49-F238E27FC236}">
                    <a16:creationId xmlns:a16="http://schemas.microsoft.com/office/drawing/2014/main" id="{75B73C74-A7E8-45DC-81DE-EF2F46C16CDD}"/>
                  </a:ext>
                </a:extLst>
              </p:cNvPr>
              <p:cNvSpPr/>
              <p:nvPr/>
            </p:nvSpPr>
            <p:spPr>
              <a:xfrm flipV="1">
                <a:off x="9869009" y="4905261"/>
                <a:ext cx="1275236" cy="1524054"/>
              </a:xfrm>
              <a:custGeom>
                <a:avLst/>
                <a:gdLst>
                  <a:gd name="connsiteX0" fmla="*/ -2904 w 1204325"/>
                  <a:gd name="connsiteY0" fmla="*/ 13088 h 1340285"/>
                  <a:gd name="connsiteX1" fmla="*/ 91189 w 1204325"/>
                  <a:gd name="connsiteY1" fmla="*/ 1051330 h 1340285"/>
                  <a:gd name="connsiteX2" fmla="*/ 232410 w 1204325"/>
                  <a:gd name="connsiteY2" fmla="*/ 1310612 h 1340285"/>
                  <a:gd name="connsiteX3" fmla="*/ 502808 w 1204325"/>
                  <a:gd name="connsiteY3" fmla="*/ 1336401 h 1340285"/>
                  <a:gd name="connsiteX4" fmla="*/ 1201422 w 1204325"/>
                  <a:gd name="connsiteY4" fmla="*/ 895246 h 1340285"/>
                  <a:gd name="connsiteX5" fmla="*/ 484676 w 1204325"/>
                  <a:gd name="connsiteY5" fmla="*/ 882929 h 1340285"/>
                  <a:gd name="connsiteX6" fmla="*/ 437814 w 1204325"/>
                  <a:gd name="connsiteY6" fmla="*/ 666601 h 1340285"/>
                  <a:gd name="connsiteX7" fmla="*/ 332716 w 1204325"/>
                  <a:gd name="connsiteY7" fmla="*/ -434 h 1340285"/>
                  <a:gd name="connsiteX8" fmla="*/ -2904 w 1204325"/>
                  <a:gd name="connsiteY8" fmla="*/ 13088 h 134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4325" h="1340285">
                    <a:moveTo>
                      <a:pt x="-2904" y="13088"/>
                    </a:moveTo>
                    <a:lnTo>
                      <a:pt x="91189" y="1051330"/>
                    </a:lnTo>
                    <a:cubicBezTo>
                      <a:pt x="91189" y="1051330"/>
                      <a:pt x="107760" y="1267455"/>
                      <a:pt x="232410" y="1310612"/>
                    </a:cubicBezTo>
                    <a:cubicBezTo>
                      <a:pt x="357072" y="1353755"/>
                      <a:pt x="502808" y="1336401"/>
                      <a:pt x="502808" y="1336401"/>
                    </a:cubicBezTo>
                    <a:lnTo>
                      <a:pt x="1201422" y="895246"/>
                    </a:lnTo>
                    <a:lnTo>
                      <a:pt x="484676" y="882929"/>
                    </a:lnTo>
                    <a:cubicBezTo>
                      <a:pt x="484676" y="882929"/>
                      <a:pt x="448211" y="732046"/>
                      <a:pt x="437814" y="666601"/>
                    </a:cubicBezTo>
                    <a:cubicBezTo>
                      <a:pt x="425414" y="588569"/>
                      <a:pt x="332716" y="-434"/>
                      <a:pt x="332716" y="-434"/>
                    </a:cubicBezTo>
                    <a:lnTo>
                      <a:pt x="-2904" y="13088"/>
                    </a:lnTo>
                  </a:path>
                </a:pathLst>
              </a:custGeom>
              <a:solidFill>
                <a:schemeClr val="tx1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5" name="Vrije vorm 932">
                <a:extLst>
                  <a:ext uri="{FF2B5EF4-FFF2-40B4-BE49-F238E27FC236}">
                    <a16:creationId xmlns:a16="http://schemas.microsoft.com/office/drawing/2014/main" id="{017404DF-619F-4925-AF6A-71F61BDE46ED}"/>
                  </a:ext>
                </a:extLst>
              </p:cNvPr>
              <p:cNvSpPr/>
              <p:nvPr/>
            </p:nvSpPr>
            <p:spPr>
              <a:xfrm flipV="1">
                <a:off x="10899922" y="3349224"/>
                <a:ext cx="930798" cy="1663926"/>
              </a:xfrm>
              <a:custGeom>
                <a:avLst/>
                <a:gdLst>
                  <a:gd name="connsiteX0" fmla="*/ 765716 w 879040"/>
                  <a:gd name="connsiteY0" fmla="*/ 1394785 h 1463291"/>
                  <a:gd name="connsiteX1" fmla="*/ 863473 w 879040"/>
                  <a:gd name="connsiteY1" fmla="*/ 911286 h 1463291"/>
                  <a:gd name="connsiteX2" fmla="*/ 711994 w 879040"/>
                  <a:gd name="connsiteY2" fmla="*/ 42511 h 1463291"/>
                  <a:gd name="connsiteX3" fmla="*/ 683123 w 879040"/>
                  <a:gd name="connsiteY3" fmla="*/ -1470 h 1463291"/>
                  <a:gd name="connsiteX4" fmla="*/ -3458 w 879040"/>
                  <a:gd name="connsiteY4" fmla="*/ 285504 h 1463291"/>
                  <a:gd name="connsiteX5" fmla="*/ 141580 w 879040"/>
                  <a:gd name="connsiteY5" fmla="*/ 869499 h 1463291"/>
                  <a:gd name="connsiteX6" fmla="*/ 358762 w 879040"/>
                  <a:gd name="connsiteY6" fmla="*/ 1265988 h 1463291"/>
                  <a:gd name="connsiteX7" fmla="*/ 392299 w 879040"/>
                  <a:gd name="connsiteY7" fmla="*/ 1367828 h 1463291"/>
                  <a:gd name="connsiteX8" fmla="*/ 751300 w 879040"/>
                  <a:gd name="connsiteY8" fmla="*/ 1461689 h 1463291"/>
                  <a:gd name="connsiteX9" fmla="*/ 765716 w 879040"/>
                  <a:gd name="connsiteY9" fmla="*/ 1394785 h 1463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79040" h="1463291">
                    <a:moveTo>
                      <a:pt x="765716" y="1394785"/>
                    </a:moveTo>
                    <a:cubicBezTo>
                      <a:pt x="765716" y="1394785"/>
                      <a:pt x="918970" y="1185193"/>
                      <a:pt x="863473" y="911286"/>
                    </a:cubicBezTo>
                    <a:cubicBezTo>
                      <a:pt x="807976" y="637378"/>
                      <a:pt x="714745" y="101918"/>
                      <a:pt x="711994" y="42511"/>
                    </a:cubicBezTo>
                    <a:cubicBezTo>
                      <a:pt x="709737" y="-6303"/>
                      <a:pt x="683123" y="-1470"/>
                      <a:pt x="683123" y="-1470"/>
                    </a:cubicBezTo>
                    <a:lnTo>
                      <a:pt x="-3458" y="285504"/>
                    </a:lnTo>
                    <a:lnTo>
                      <a:pt x="141580" y="869499"/>
                    </a:lnTo>
                    <a:lnTo>
                      <a:pt x="358762" y="1265988"/>
                    </a:lnTo>
                    <a:lnTo>
                      <a:pt x="392299" y="1367828"/>
                    </a:lnTo>
                    <a:lnTo>
                      <a:pt x="751300" y="1461689"/>
                    </a:lnTo>
                    <a:lnTo>
                      <a:pt x="765716" y="1394785"/>
                    </a:lnTo>
                  </a:path>
                </a:pathLst>
              </a:custGeom>
              <a:solidFill>
                <a:srgbClr val="E0F5F8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6" name="Vrije vorm 933">
                <a:extLst>
                  <a:ext uri="{FF2B5EF4-FFF2-40B4-BE49-F238E27FC236}">
                    <a16:creationId xmlns:a16="http://schemas.microsoft.com/office/drawing/2014/main" id="{F479976D-5BE5-4A80-8B66-2F34E89469D6}"/>
                  </a:ext>
                </a:extLst>
              </p:cNvPr>
              <p:cNvSpPr/>
              <p:nvPr/>
            </p:nvSpPr>
            <p:spPr>
              <a:xfrm flipV="1">
                <a:off x="10655748" y="4500841"/>
                <a:ext cx="284230" cy="497855"/>
              </a:xfrm>
              <a:custGeom>
                <a:avLst/>
                <a:gdLst>
                  <a:gd name="connsiteX0" fmla="*/ 254043 w 268425"/>
                  <a:gd name="connsiteY0" fmla="*/ 361215 h 437824"/>
                  <a:gd name="connsiteX1" fmla="*/ 265290 w 268425"/>
                  <a:gd name="connsiteY1" fmla="*/ 224730 h 437824"/>
                  <a:gd name="connsiteX2" fmla="*/ 245180 w 268425"/>
                  <a:gd name="connsiteY2" fmla="*/ 132747 h 437824"/>
                  <a:gd name="connsiteX3" fmla="*/ 241833 w 268425"/>
                  <a:gd name="connsiteY3" fmla="*/ 70017 h 437824"/>
                  <a:gd name="connsiteX4" fmla="*/ 195579 w 268425"/>
                  <a:gd name="connsiteY4" fmla="*/ 88271 h 437824"/>
                  <a:gd name="connsiteX5" fmla="*/ 194108 w 268425"/>
                  <a:gd name="connsiteY5" fmla="*/ 168977 h 437824"/>
                  <a:gd name="connsiteX6" fmla="*/ 177384 w 268425"/>
                  <a:gd name="connsiteY6" fmla="*/ 114835 h 437824"/>
                  <a:gd name="connsiteX7" fmla="*/ 171818 w 268425"/>
                  <a:gd name="connsiteY7" fmla="*/ 13223 h 437824"/>
                  <a:gd name="connsiteX8" fmla="*/ 150732 w 268425"/>
                  <a:gd name="connsiteY8" fmla="*/ -1035 h 437824"/>
                  <a:gd name="connsiteX9" fmla="*/ 122179 w 268425"/>
                  <a:gd name="connsiteY9" fmla="*/ 15938 h 437824"/>
                  <a:gd name="connsiteX10" fmla="*/ 89847 w 268425"/>
                  <a:gd name="connsiteY10" fmla="*/ 35727 h 437824"/>
                  <a:gd name="connsiteX11" fmla="*/ 47866 w 268425"/>
                  <a:gd name="connsiteY11" fmla="*/ 82601 h 437824"/>
                  <a:gd name="connsiteX12" fmla="*/ 23547 w 268425"/>
                  <a:gd name="connsiteY12" fmla="*/ 93104 h 437824"/>
                  <a:gd name="connsiteX13" fmla="*/ -3092 w 268425"/>
                  <a:gd name="connsiteY13" fmla="*/ 145039 h 437824"/>
                  <a:gd name="connsiteX14" fmla="*/ 10424 w 268425"/>
                  <a:gd name="connsiteY14" fmla="*/ 308164 h 437824"/>
                  <a:gd name="connsiteX15" fmla="*/ 103807 w 268425"/>
                  <a:gd name="connsiteY15" fmla="*/ 436669 h 437824"/>
                  <a:gd name="connsiteX16" fmla="*/ 226352 w 268425"/>
                  <a:gd name="connsiteY16" fmla="*/ 432216 h 437824"/>
                  <a:gd name="connsiteX17" fmla="*/ 254043 w 268425"/>
                  <a:gd name="connsiteY17" fmla="*/ 361215 h 437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68425" h="437824">
                    <a:moveTo>
                      <a:pt x="254043" y="361215"/>
                    </a:moveTo>
                    <a:cubicBezTo>
                      <a:pt x="254043" y="361215"/>
                      <a:pt x="264149" y="239864"/>
                      <a:pt x="265290" y="224730"/>
                    </a:cubicBezTo>
                    <a:cubicBezTo>
                      <a:pt x="266418" y="209584"/>
                      <a:pt x="245383" y="160275"/>
                      <a:pt x="245180" y="132747"/>
                    </a:cubicBezTo>
                    <a:cubicBezTo>
                      <a:pt x="244990" y="105232"/>
                      <a:pt x="253511" y="78554"/>
                      <a:pt x="241833" y="70017"/>
                    </a:cubicBezTo>
                    <a:cubicBezTo>
                      <a:pt x="230155" y="61479"/>
                      <a:pt x="201691" y="68279"/>
                      <a:pt x="195579" y="88271"/>
                    </a:cubicBezTo>
                    <a:cubicBezTo>
                      <a:pt x="189468" y="108276"/>
                      <a:pt x="194108" y="168977"/>
                      <a:pt x="194108" y="168977"/>
                    </a:cubicBezTo>
                    <a:lnTo>
                      <a:pt x="177384" y="114835"/>
                    </a:lnTo>
                    <a:lnTo>
                      <a:pt x="171818" y="13223"/>
                    </a:lnTo>
                    <a:cubicBezTo>
                      <a:pt x="171818" y="13223"/>
                      <a:pt x="168991" y="-2685"/>
                      <a:pt x="150732" y="-1035"/>
                    </a:cubicBezTo>
                    <a:cubicBezTo>
                      <a:pt x="132487" y="626"/>
                      <a:pt x="122179" y="15938"/>
                      <a:pt x="122179" y="15938"/>
                    </a:cubicBezTo>
                    <a:cubicBezTo>
                      <a:pt x="122179" y="15938"/>
                      <a:pt x="100320" y="11561"/>
                      <a:pt x="89847" y="35727"/>
                    </a:cubicBezTo>
                    <a:cubicBezTo>
                      <a:pt x="89847" y="35727"/>
                      <a:pt x="56627" y="27063"/>
                      <a:pt x="47866" y="82601"/>
                    </a:cubicBezTo>
                    <a:cubicBezTo>
                      <a:pt x="47866" y="82601"/>
                      <a:pt x="32562" y="78199"/>
                      <a:pt x="23547" y="93104"/>
                    </a:cubicBezTo>
                    <a:cubicBezTo>
                      <a:pt x="14532" y="108023"/>
                      <a:pt x="-3092" y="145039"/>
                      <a:pt x="-3092" y="145039"/>
                    </a:cubicBezTo>
                    <a:cubicBezTo>
                      <a:pt x="-3092" y="145039"/>
                      <a:pt x="978" y="279190"/>
                      <a:pt x="10424" y="308164"/>
                    </a:cubicBezTo>
                    <a:cubicBezTo>
                      <a:pt x="19870" y="337138"/>
                      <a:pt x="103807" y="436669"/>
                      <a:pt x="103807" y="436669"/>
                    </a:cubicBezTo>
                    <a:cubicBezTo>
                      <a:pt x="103807" y="436669"/>
                      <a:pt x="191534" y="429540"/>
                      <a:pt x="226352" y="432216"/>
                    </a:cubicBezTo>
                    <a:lnTo>
                      <a:pt x="254043" y="361215"/>
                    </a:lnTo>
                  </a:path>
                </a:pathLst>
              </a:custGeom>
              <a:solidFill>
                <a:srgbClr val="F9A78D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7" name="Vrije vorm 942">
                <a:extLst>
                  <a:ext uri="{FF2B5EF4-FFF2-40B4-BE49-F238E27FC236}">
                    <a16:creationId xmlns:a16="http://schemas.microsoft.com/office/drawing/2014/main" id="{0A76249D-AB65-4973-8354-54A5C448BA50}"/>
                  </a:ext>
                </a:extLst>
              </p:cNvPr>
              <p:cNvSpPr/>
              <p:nvPr/>
            </p:nvSpPr>
            <p:spPr>
              <a:xfrm flipV="1">
                <a:off x="10410914" y="3612131"/>
                <a:ext cx="1307907" cy="927427"/>
              </a:xfrm>
              <a:custGeom>
                <a:avLst/>
                <a:gdLst>
                  <a:gd name="connsiteX0" fmla="*/ 1228626 w 1235179"/>
                  <a:gd name="connsiteY0" fmla="*/ 697877 h 815599"/>
                  <a:gd name="connsiteX1" fmla="*/ 1213246 w 1235179"/>
                  <a:gd name="connsiteY1" fmla="*/ 739689 h 815599"/>
                  <a:gd name="connsiteX2" fmla="*/ 830320 w 1235179"/>
                  <a:gd name="connsiteY2" fmla="*/ 713937 h 815599"/>
                  <a:gd name="connsiteX3" fmla="*/ 419018 w 1235179"/>
                  <a:gd name="connsiteY3" fmla="*/ 275611 h 815599"/>
                  <a:gd name="connsiteX4" fmla="*/ -3264 w 1235179"/>
                  <a:gd name="connsiteY4" fmla="*/ 202834 h 815599"/>
                  <a:gd name="connsiteX5" fmla="*/ 43598 w 1235179"/>
                  <a:gd name="connsiteY5" fmla="*/ 45786 h 815599"/>
                  <a:gd name="connsiteX6" fmla="*/ 238491 w 1235179"/>
                  <a:gd name="connsiteY6" fmla="*/ 10735 h 815599"/>
                  <a:gd name="connsiteX7" fmla="*/ 484126 w 1235179"/>
                  <a:gd name="connsiteY7" fmla="*/ 11408 h 815599"/>
                  <a:gd name="connsiteX8" fmla="*/ 938981 w 1235179"/>
                  <a:gd name="connsiteY8" fmla="*/ 296961 h 815599"/>
                  <a:gd name="connsiteX9" fmla="*/ 1228626 w 1235179"/>
                  <a:gd name="connsiteY9" fmla="*/ 697877 h 81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35179" h="815599">
                    <a:moveTo>
                      <a:pt x="1228626" y="697877"/>
                    </a:moveTo>
                    <a:cubicBezTo>
                      <a:pt x="1226458" y="709294"/>
                      <a:pt x="1217849" y="729845"/>
                      <a:pt x="1213246" y="739689"/>
                    </a:cubicBezTo>
                    <a:cubicBezTo>
                      <a:pt x="1149178" y="876580"/>
                      <a:pt x="924730" y="797726"/>
                      <a:pt x="830320" y="713937"/>
                    </a:cubicBezTo>
                    <a:cubicBezTo>
                      <a:pt x="745877" y="639016"/>
                      <a:pt x="419018" y="275611"/>
                      <a:pt x="419018" y="275611"/>
                    </a:cubicBezTo>
                    <a:lnTo>
                      <a:pt x="-3264" y="202834"/>
                    </a:lnTo>
                    <a:lnTo>
                      <a:pt x="43598" y="45786"/>
                    </a:lnTo>
                    <a:cubicBezTo>
                      <a:pt x="43598" y="45786"/>
                      <a:pt x="128372" y="22038"/>
                      <a:pt x="238491" y="10735"/>
                    </a:cubicBezTo>
                    <a:cubicBezTo>
                      <a:pt x="382198" y="-4018"/>
                      <a:pt x="404830" y="-7786"/>
                      <a:pt x="484126" y="11408"/>
                    </a:cubicBezTo>
                    <a:cubicBezTo>
                      <a:pt x="557361" y="29129"/>
                      <a:pt x="802642" y="198444"/>
                      <a:pt x="938981" y="296961"/>
                    </a:cubicBezTo>
                    <a:cubicBezTo>
                      <a:pt x="1074447" y="394830"/>
                      <a:pt x="1258841" y="538419"/>
                      <a:pt x="1228626" y="697877"/>
                    </a:cubicBezTo>
                  </a:path>
                </a:pathLst>
              </a:custGeom>
              <a:solidFill>
                <a:srgbClr val="E0F5F8"/>
              </a:solidFill>
              <a:ln w="12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grpSp>
          <p:nvGrpSpPr>
            <p:cNvPr id="333" name="Groep 332">
              <a:extLst>
                <a:ext uri="{FF2B5EF4-FFF2-40B4-BE49-F238E27FC236}">
                  <a16:creationId xmlns:a16="http://schemas.microsoft.com/office/drawing/2014/main" id="{6C751C57-AF36-43CC-A4D1-BB35DE33D406}"/>
                </a:ext>
              </a:extLst>
            </p:cNvPr>
            <p:cNvGrpSpPr/>
            <p:nvPr/>
          </p:nvGrpSpPr>
          <p:grpSpPr>
            <a:xfrm>
              <a:off x="11122864" y="2775322"/>
              <a:ext cx="490928" cy="211504"/>
              <a:chOff x="9566150" y="2880671"/>
              <a:chExt cx="490928" cy="211504"/>
            </a:xfrm>
          </p:grpSpPr>
          <p:sp>
            <p:nvSpPr>
              <p:cNvPr id="336" name="Vrije vorm 1019">
                <a:extLst>
                  <a:ext uri="{FF2B5EF4-FFF2-40B4-BE49-F238E27FC236}">
                    <a16:creationId xmlns:a16="http://schemas.microsoft.com/office/drawing/2014/main" id="{7D296B79-2D85-47C2-899D-657F3EC7F7D1}"/>
                  </a:ext>
                </a:extLst>
              </p:cNvPr>
              <p:cNvSpPr/>
              <p:nvPr/>
            </p:nvSpPr>
            <p:spPr>
              <a:xfrm flipV="1">
                <a:off x="9566150" y="2895953"/>
                <a:ext cx="206743" cy="196222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7" name="Vrije vorm 1020">
                <a:extLst>
                  <a:ext uri="{FF2B5EF4-FFF2-40B4-BE49-F238E27FC236}">
                    <a16:creationId xmlns:a16="http://schemas.microsoft.com/office/drawing/2014/main" id="{075C7F62-79AB-4B2B-A7F4-34E4D92790CF}"/>
                  </a:ext>
                </a:extLst>
              </p:cNvPr>
              <p:cNvSpPr/>
              <p:nvPr/>
            </p:nvSpPr>
            <p:spPr>
              <a:xfrm flipV="1">
                <a:off x="9850335" y="2880671"/>
                <a:ext cx="206743" cy="196222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8" name="Vrije vorm 1022">
                <a:extLst>
                  <a:ext uri="{FF2B5EF4-FFF2-40B4-BE49-F238E27FC236}">
                    <a16:creationId xmlns:a16="http://schemas.microsoft.com/office/drawing/2014/main" id="{A8E57D04-254A-48A7-B752-632E318B57C4}"/>
                  </a:ext>
                </a:extLst>
              </p:cNvPr>
              <p:cNvSpPr/>
              <p:nvPr/>
            </p:nvSpPr>
            <p:spPr>
              <a:xfrm flipV="1">
                <a:off x="9773936" y="2964458"/>
                <a:ext cx="82697" cy="1608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334" name="Vrije vorm 1014">
              <a:extLst>
                <a:ext uri="{FF2B5EF4-FFF2-40B4-BE49-F238E27FC236}">
                  <a16:creationId xmlns:a16="http://schemas.microsoft.com/office/drawing/2014/main" id="{FC7F462A-A9A2-4115-92CB-0ECF13794D09}"/>
                </a:ext>
              </a:extLst>
            </p:cNvPr>
            <p:cNvSpPr/>
            <p:nvPr/>
          </p:nvSpPr>
          <p:spPr>
            <a:xfrm flipV="1">
              <a:off x="11261323" y="3146149"/>
              <a:ext cx="320835" cy="83796"/>
            </a:xfrm>
            <a:custGeom>
              <a:avLst/>
              <a:gdLst>
                <a:gd name="connsiteX0" fmla="*/ 85563 w 87682"/>
                <a:gd name="connsiteY0" fmla="*/ 25361 h 29229"/>
                <a:gd name="connsiteX1" fmla="*/ -2119 w 87682"/>
                <a:gd name="connsiteY1" fmla="*/ 20793 h 29229"/>
                <a:gd name="connsiteX2" fmla="*/ 85563 w 87682"/>
                <a:gd name="connsiteY2" fmla="*/ 25361 h 29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7682" h="29229">
                  <a:moveTo>
                    <a:pt x="85563" y="25361"/>
                  </a:moveTo>
                  <a:lnTo>
                    <a:pt x="-2119" y="20793"/>
                  </a:lnTo>
                  <a:cubicBezTo>
                    <a:pt x="-2119" y="20793"/>
                    <a:pt x="43551" y="-37626"/>
                    <a:pt x="85563" y="25361"/>
                  </a:cubicBezTo>
                </a:path>
              </a:pathLst>
            </a:custGeom>
            <a:solidFill>
              <a:srgbClr val="B85964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35" name="Vrije vorm 1015">
              <a:extLst>
                <a:ext uri="{FF2B5EF4-FFF2-40B4-BE49-F238E27FC236}">
                  <a16:creationId xmlns:a16="http://schemas.microsoft.com/office/drawing/2014/main" id="{D678C59E-510C-442E-BDA8-036906A04537}"/>
                </a:ext>
              </a:extLst>
            </p:cNvPr>
            <p:cNvSpPr/>
            <p:nvPr/>
          </p:nvSpPr>
          <p:spPr>
            <a:xfrm flipV="1">
              <a:off x="11261323" y="3146149"/>
              <a:ext cx="320835" cy="73968"/>
            </a:xfrm>
            <a:custGeom>
              <a:avLst/>
              <a:gdLst>
                <a:gd name="connsiteX0" fmla="*/ 77252 w 87682"/>
                <a:gd name="connsiteY0" fmla="*/ 17032 h 25801"/>
                <a:gd name="connsiteX1" fmla="*/ 25188 w 87682"/>
                <a:gd name="connsiteY1" fmla="*/ -3870 h 25801"/>
                <a:gd name="connsiteX2" fmla="*/ -2119 w 87682"/>
                <a:gd name="connsiteY2" fmla="*/ 17364 h 25801"/>
                <a:gd name="connsiteX3" fmla="*/ 85563 w 87682"/>
                <a:gd name="connsiteY3" fmla="*/ 21932 h 25801"/>
                <a:gd name="connsiteX4" fmla="*/ 82278 w 87682"/>
                <a:gd name="connsiteY4" fmla="*/ 16732 h 25801"/>
                <a:gd name="connsiteX5" fmla="*/ 77252 w 87682"/>
                <a:gd name="connsiteY5" fmla="*/ 17032 h 2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7682" h="25801">
                  <a:moveTo>
                    <a:pt x="77252" y="17032"/>
                  </a:moveTo>
                  <a:cubicBezTo>
                    <a:pt x="56858" y="17032"/>
                    <a:pt x="37686" y="9937"/>
                    <a:pt x="25188" y="-3870"/>
                  </a:cubicBezTo>
                  <a:cubicBezTo>
                    <a:pt x="5124" y="2334"/>
                    <a:pt x="-2119" y="17364"/>
                    <a:pt x="-2119" y="17364"/>
                  </a:cubicBezTo>
                  <a:lnTo>
                    <a:pt x="85563" y="21932"/>
                  </a:lnTo>
                  <a:cubicBezTo>
                    <a:pt x="84486" y="20088"/>
                    <a:pt x="83387" y="18368"/>
                    <a:pt x="82278" y="16732"/>
                  </a:cubicBezTo>
                  <a:cubicBezTo>
                    <a:pt x="80620" y="16918"/>
                    <a:pt x="78952" y="17032"/>
                    <a:pt x="77252" y="17032"/>
                  </a:cubicBezTo>
                </a:path>
              </a:pathLst>
            </a:custGeom>
            <a:solidFill>
              <a:srgbClr val="642A32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</p:spTree>
    <p:extLst>
      <p:ext uri="{BB962C8B-B14F-4D97-AF65-F5344CB8AC3E}">
        <p14:creationId xmlns:p14="http://schemas.microsoft.com/office/powerpoint/2010/main" val="1563082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4" grpId="0" animBg="1"/>
      <p:bldP spid="215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3" name="Groep 2262">
            <a:extLst>
              <a:ext uri="{FF2B5EF4-FFF2-40B4-BE49-F238E27FC236}">
                <a16:creationId xmlns:a16="http://schemas.microsoft.com/office/drawing/2014/main" id="{EEEA2432-7E07-5675-BEC5-0F7BA037260B}"/>
              </a:ext>
            </a:extLst>
          </p:cNvPr>
          <p:cNvGrpSpPr/>
          <p:nvPr/>
        </p:nvGrpSpPr>
        <p:grpSpPr>
          <a:xfrm>
            <a:off x="8903276" y="1761031"/>
            <a:ext cx="1755121" cy="3991906"/>
            <a:chOff x="3746777" y="1060540"/>
            <a:chExt cx="1755121" cy="3991906"/>
          </a:xfrm>
        </p:grpSpPr>
        <p:grpSp>
          <p:nvGrpSpPr>
            <p:cNvPr id="2256" name="Groep 2255">
              <a:extLst>
                <a:ext uri="{FF2B5EF4-FFF2-40B4-BE49-F238E27FC236}">
                  <a16:creationId xmlns:a16="http://schemas.microsoft.com/office/drawing/2014/main" id="{84673D5D-CFB9-43C6-88B5-AA9870BF4544}"/>
                </a:ext>
              </a:extLst>
            </p:cNvPr>
            <p:cNvGrpSpPr/>
            <p:nvPr/>
          </p:nvGrpSpPr>
          <p:grpSpPr>
            <a:xfrm>
              <a:off x="3746777" y="1172166"/>
              <a:ext cx="1755121" cy="3880280"/>
              <a:chOff x="3596071" y="1050503"/>
              <a:chExt cx="550926" cy="1475463"/>
            </a:xfrm>
          </p:grpSpPr>
          <p:sp>
            <p:nvSpPr>
              <p:cNvPr id="2172" name="Vrije vorm 2171">
                <a:extLst>
                  <a:ext uri="{FF2B5EF4-FFF2-40B4-BE49-F238E27FC236}">
                    <a16:creationId xmlns:a16="http://schemas.microsoft.com/office/drawing/2014/main" id="{E6121BB5-03D7-66C7-4002-03EFC1756B40}"/>
                  </a:ext>
                </a:extLst>
              </p:cNvPr>
              <p:cNvSpPr/>
              <p:nvPr/>
            </p:nvSpPr>
            <p:spPr>
              <a:xfrm flipV="1">
                <a:off x="3976741" y="1601908"/>
                <a:ext cx="158297" cy="158377"/>
              </a:xfrm>
              <a:custGeom>
                <a:avLst/>
                <a:gdLst>
                  <a:gd name="connsiteX0" fmla="*/ 156021 w 158297"/>
                  <a:gd name="connsiteY0" fmla="*/ 129444 h 158377"/>
                  <a:gd name="connsiteX1" fmla="*/ -1510 w 158297"/>
                  <a:gd name="connsiteY1" fmla="*/ -3439 h 158377"/>
                  <a:gd name="connsiteX2" fmla="*/ -2277 w 158297"/>
                  <a:gd name="connsiteY2" fmla="*/ 33436 h 158377"/>
                  <a:gd name="connsiteX3" fmla="*/ 80711 w 158297"/>
                  <a:gd name="connsiteY3" fmla="*/ 127901 h 158377"/>
                  <a:gd name="connsiteX4" fmla="*/ 156021 w 158297"/>
                  <a:gd name="connsiteY4" fmla="*/ 129444 h 158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297" h="158377">
                    <a:moveTo>
                      <a:pt x="156021" y="129444"/>
                    </a:moveTo>
                    <a:cubicBezTo>
                      <a:pt x="156021" y="129444"/>
                      <a:pt x="76867" y="18065"/>
                      <a:pt x="-1510" y="-3439"/>
                    </a:cubicBezTo>
                    <a:lnTo>
                      <a:pt x="-2277" y="33436"/>
                    </a:lnTo>
                    <a:cubicBezTo>
                      <a:pt x="-2277" y="33436"/>
                      <a:pt x="40751" y="68001"/>
                      <a:pt x="80711" y="127901"/>
                    </a:cubicBezTo>
                    <a:cubicBezTo>
                      <a:pt x="120672" y="187822"/>
                      <a:pt x="156021" y="129444"/>
                      <a:pt x="156021" y="129444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3" name="Vrije vorm 2172">
                <a:extLst>
                  <a:ext uri="{FF2B5EF4-FFF2-40B4-BE49-F238E27FC236}">
                    <a16:creationId xmlns:a16="http://schemas.microsoft.com/office/drawing/2014/main" id="{2B96E10B-2911-35AD-6890-D3C8DFE5F726}"/>
                  </a:ext>
                </a:extLst>
              </p:cNvPr>
              <p:cNvSpPr/>
              <p:nvPr/>
            </p:nvSpPr>
            <p:spPr>
              <a:xfrm flipV="1">
                <a:off x="3968834" y="2397861"/>
                <a:ext cx="46271" cy="90725"/>
              </a:xfrm>
              <a:custGeom>
                <a:avLst/>
                <a:gdLst>
                  <a:gd name="connsiteX0" fmla="*/ -2223 w 46271"/>
                  <a:gd name="connsiteY0" fmla="*/ 80808 h 90725"/>
                  <a:gd name="connsiteX1" fmla="*/ 11653 w 46271"/>
                  <a:gd name="connsiteY1" fmla="*/ -2605 h 90725"/>
                  <a:gd name="connsiteX2" fmla="*/ 44048 w 46271"/>
                  <a:gd name="connsiteY2" fmla="*/ -2605 h 90725"/>
                  <a:gd name="connsiteX3" fmla="*/ 33219 w 46271"/>
                  <a:gd name="connsiteY3" fmla="*/ 88121 h 90725"/>
                  <a:gd name="connsiteX4" fmla="*/ -2223 w 46271"/>
                  <a:gd name="connsiteY4" fmla="*/ 8080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71" h="90725">
                    <a:moveTo>
                      <a:pt x="-2223" y="80808"/>
                    </a:moveTo>
                    <a:lnTo>
                      <a:pt x="11653" y="-2605"/>
                    </a:lnTo>
                    <a:lnTo>
                      <a:pt x="44048" y="-2605"/>
                    </a:lnTo>
                    <a:lnTo>
                      <a:pt x="33219" y="88121"/>
                    </a:lnTo>
                    <a:lnTo>
                      <a:pt x="-2223" y="8080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4" name="Vrije vorm 2173">
                <a:extLst>
                  <a:ext uri="{FF2B5EF4-FFF2-40B4-BE49-F238E27FC236}">
                    <a16:creationId xmlns:a16="http://schemas.microsoft.com/office/drawing/2014/main" id="{F00A5DF4-4D66-D570-BACF-4E2C0C9B33F1}"/>
                  </a:ext>
                </a:extLst>
              </p:cNvPr>
              <p:cNvSpPr/>
              <p:nvPr/>
            </p:nvSpPr>
            <p:spPr>
              <a:xfrm flipV="1">
                <a:off x="3968834" y="2449050"/>
                <a:ext cx="154062" cy="76915"/>
              </a:xfrm>
              <a:custGeom>
                <a:avLst/>
                <a:gdLst>
                  <a:gd name="connsiteX0" fmla="*/ 53828 w 154062"/>
                  <a:gd name="connsiteY0" fmla="*/ 74360 h 76915"/>
                  <a:gd name="connsiteX1" fmla="*/ 100348 w 154062"/>
                  <a:gd name="connsiteY1" fmla="*/ 41908 h 76915"/>
                  <a:gd name="connsiteX2" fmla="*/ 151677 w 154062"/>
                  <a:gd name="connsiteY2" fmla="*/ 5873 h 76915"/>
                  <a:gd name="connsiteX3" fmla="*/ 42200 w 154062"/>
                  <a:gd name="connsiteY3" fmla="*/ 8172 h 76915"/>
                  <a:gd name="connsiteX4" fmla="*/ 42200 w 154062"/>
                  <a:gd name="connsiteY4" fmla="*/ 1025 h 76915"/>
                  <a:gd name="connsiteX5" fmla="*/ -2268 w 154062"/>
                  <a:gd name="connsiteY5" fmla="*/ 2972 h 76915"/>
                  <a:gd name="connsiteX6" fmla="*/ -2268 w 154062"/>
                  <a:gd name="connsiteY6" fmla="*/ 62023 h 76915"/>
                  <a:gd name="connsiteX7" fmla="*/ 34666 w 154062"/>
                  <a:gd name="connsiteY7" fmla="*/ 59423 h 76915"/>
                  <a:gd name="connsiteX8" fmla="*/ 31941 w 154062"/>
                  <a:gd name="connsiteY8" fmla="*/ 65265 h 76915"/>
                  <a:gd name="connsiteX9" fmla="*/ 53828 w 154062"/>
                  <a:gd name="connsiteY9" fmla="*/ 74360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4062" h="76915">
                    <a:moveTo>
                      <a:pt x="53828" y="74360"/>
                    </a:moveTo>
                    <a:cubicBezTo>
                      <a:pt x="53828" y="74360"/>
                      <a:pt x="72295" y="50339"/>
                      <a:pt x="100348" y="41908"/>
                    </a:cubicBezTo>
                    <a:cubicBezTo>
                      <a:pt x="128401" y="33477"/>
                      <a:pt x="153739" y="22746"/>
                      <a:pt x="151677" y="5873"/>
                    </a:cubicBezTo>
                    <a:cubicBezTo>
                      <a:pt x="151677" y="5873"/>
                      <a:pt x="109934" y="-14543"/>
                      <a:pt x="42200" y="8172"/>
                    </a:cubicBezTo>
                    <a:lnTo>
                      <a:pt x="42200" y="1025"/>
                    </a:lnTo>
                    <a:lnTo>
                      <a:pt x="-2268" y="2972"/>
                    </a:lnTo>
                    <a:lnTo>
                      <a:pt x="-2268" y="62023"/>
                    </a:lnTo>
                    <a:lnTo>
                      <a:pt x="34666" y="59423"/>
                    </a:lnTo>
                    <a:lnTo>
                      <a:pt x="31941" y="65265"/>
                    </a:lnTo>
                    <a:lnTo>
                      <a:pt x="53828" y="74360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5" name="Vrije vorm 2174">
                <a:extLst>
                  <a:ext uri="{FF2B5EF4-FFF2-40B4-BE49-F238E27FC236}">
                    <a16:creationId xmlns:a16="http://schemas.microsoft.com/office/drawing/2014/main" id="{8F344841-6649-9A59-7E1B-C0949663EB37}"/>
                  </a:ext>
                </a:extLst>
              </p:cNvPr>
              <p:cNvSpPr/>
              <p:nvPr/>
            </p:nvSpPr>
            <p:spPr>
              <a:xfrm flipV="1">
                <a:off x="3968834" y="2508352"/>
                <a:ext cx="154025" cy="17614"/>
              </a:xfrm>
              <a:custGeom>
                <a:avLst/>
                <a:gdLst>
                  <a:gd name="connsiteX0" fmla="*/ 71673 w 154025"/>
                  <a:gd name="connsiteY0" fmla="*/ 7376 h 17614"/>
                  <a:gd name="connsiteX1" fmla="*/ 151335 w 154025"/>
                  <a:gd name="connsiteY1" fmla="*/ 10297 h 17614"/>
                  <a:gd name="connsiteX2" fmla="*/ 151677 w 154025"/>
                  <a:gd name="connsiteY2" fmla="*/ 5905 h 17614"/>
                  <a:gd name="connsiteX3" fmla="*/ 42200 w 154025"/>
                  <a:gd name="connsiteY3" fmla="*/ 8204 h 17614"/>
                  <a:gd name="connsiteX4" fmla="*/ 42200 w 154025"/>
                  <a:gd name="connsiteY4" fmla="*/ 1058 h 17614"/>
                  <a:gd name="connsiteX5" fmla="*/ -2268 w 154025"/>
                  <a:gd name="connsiteY5" fmla="*/ 3005 h 17614"/>
                  <a:gd name="connsiteX6" fmla="*/ -2268 w 154025"/>
                  <a:gd name="connsiteY6" fmla="*/ 14782 h 17614"/>
                  <a:gd name="connsiteX7" fmla="*/ 71673 w 154025"/>
                  <a:gd name="connsiteY7" fmla="*/ 7376 h 17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025" h="17614">
                    <a:moveTo>
                      <a:pt x="71673" y="7376"/>
                    </a:moveTo>
                    <a:cubicBezTo>
                      <a:pt x="132370" y="-8223"/>
                      <a:pt x="147780" y="9095"/>
                      <a:pt x="151335" y="10297"/>
                    </a:cubicBezTo>
                    <a:cubicBezTo>
                      <a:pt x="151718" y="8836"/>
                      <a:pt x="151863" y="7366"/>
                      <a:pt x="151677" y="5905"/>
                    </a:cubicBezTo>
                    <a:cubicBezTo>
                      <a:pt x="151677" y="5905"/>
                      <a:pt x="109934" y="-14511"/>
                      <a:pt x="42200" y="8204"/>
                    </a:cubicBezTo>
                    <a:lnTo>
                      <a:pt x="42200" y="1058"/>
                    </a:lnTo>
                    <a:lnTo>
                      <a:pt x="-2268" y="3005"/>
                    </a:lnTo>
                    <a:lnTo>
                      <a:pt x="-2268" y="14782"/>
                    </a:lnTo>
                    <a:cubicBezTo>
                      <a:pt x="13598" y="13829"/>
                      <a:pt x="26914" y="18884"/>
                      <a:pt x="71673" y="7376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6" name="Vrije vorm 2175">
                <a:extLst>
                  <a:ext uri="{FF2B5EF4-FFF2-40B4-BE49-F238E27FC236}">
                    <a16:creationId xmlns:a16="http://schemas.microsoft.com/office/drawing/2014/main" id="{6FB580B9-DED5-3F08-4A37-5D6C3995B742}"/>
                  </a:ext>
                </a:extLst>
              </p:cNvPr>
              <p:cNvSpPr/>
              <p:nvPr/>
            </p:nvSpPr>
            <p:spPr>
              <a:xfrm flipV="1">
                <a:off x="4017158" y="2461390"/>
                <a:ext cx="23928" cy="22058"/>
              </a:xfrm>
              <a:custGeom>
                <a:avLst/>
                <a:gdLst>
                  <a:gd name="connsiteX0" fmla="*/ -638 w 23928"/>
                  <a:gd name="connsiteY0" fmla="*/ -2573 h 22058"/>
                  <a:gd name="connsiteX1" fmla="*/ 979 w 23928"/>
                  <a:gd name="connsiteY1" fmla="*/ -1713 h 22058"/>
                  <a:gd name="connsiteX2" fmla="*/ 20379 w 23928"/>
                  <a:gd name="connsiteY2" fmla="*/ 15699 h 22058"/>
                  <a:gd name="connsiteX3" fmla="*/ 21560 w 23928"/>
                  <a:gd name="connsiteY3" fmla="*/ 18195 h 22058"/>
                  <a:gd name="connsiteX4" fmla="*/ 19063 w 23928"/>
                  <a:gd name="connsiteY4" fmla="*/ 19376 h 22058"/>
                  <a:gd name="connsiteX5" fmla="*/ -2254 w 23928"/>
                  <a:gd name="connsiteY5" fmla="*/ 462 h 22058"/>
                  <a:gd name="connsiteX6" fmla="*/ -1726 w 23928"/>
                  <a:gd name="connsiteY6" fmla="*/ -2241 h 22058"/>
                  <a:gd name="connsiteX7" fmla="*/ -638 w 23928"/>
                  <a:gd name="connsiteY7" fmla="*/ -257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8" h="22058">
                    <a:moveTo>
                      <a:pt x="-638" y="-2573"/>
                    </a:moveTo>
                    <a:lnTo>
                      <a:pt x="979" y="-1713"/>
                    </a:lnTo>
                    <a:cubicBezTo>
                      <a:pt x="10098" y="11877"/>
                      <a:pt x="20275" y="15668"/>
                      <a:pt x="20379" y="15699"/>
                    </a:cubicBezTo>
                    <a:cubicBezTo>
                      <a:pt x="21394" y="16072"/>
                      <a:pt x="21923" y="17190"/>
                      <a:pt x="21560" y="18195"/>
                    </a:cubicBezTo>
                    <a:cubicBezTo>
                      <a:pt x="21187" y="19210"/>
                      <a:pt x="20068" y="19728"/>
                      <a:pt x="19063" y="19376"/>
                    </a:cubicBezTo>
                    <a:cubicBezTo>
                      <a:pt x="18596" y="19200"/>
                      <a:pt x="7560" y="15098"/>
                      <a:pt x="-2254" y="462"/>
                    </a:cubicBezTo>
                    <a:lnTo>
                      <a:pt x="-1726" y="-2241"/>
                    </a:lnTo>
                    <a:lnTo>
                      <a:pt x="-638" y="-257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7" name="Vrije vorm 2176">
                <a:extLst>
                  <a:ext uri="{FF2B5EF4-FFF2-40B4-BE49-F238E27FC236}">
                    <a16:creationId xmlns:a16="http://schemas.microsoft.com/office/drawing/2014/main" id="{9AED3979-3B35-34D9-C159-D64930DD35C9}"/>
                  </a:ext>
                </a:extLst>
              </p:cNvPr>
              <p:cNvSpPr/>
              <p:nvPr/>
            </p:nvSpPr>
            <p:spPr>
              <a:xfrm flipV="1">
                <a:off x="4027334" y="2465958"/>
                <a:ext cx="23930" cy="22069"/>
              </a:xfrm>
              <a:custGeom>
                <a:avLst/>
                <a:gdLst>
                  <a:gd name="connsiteX0" fmla="*/ -646 w 23930"/>
                  <a:gd name="connsiteY0" fmla="*/ -2568 h 22069"/>
                  <a:gd name="connsiteX1" fmla="*/ 971 w 23930"/>
                  <a:gd name="connsiteY1" fmla="*/ -1698 h 22069"/>
                  <a:gd name="connsiteX2" fmla="*/ 20381 w 23930"/>
                  <a:gd name="connsiteY2" fmla="*/ 15714 h 22069"/>
                  <a:gd name="connsiteX3" fmla="*/ 21552 w 23930"/>
                  <a:gd name="connsiteY3" fmla="*/ 18211 h 22069"/>
                  <a:gd name="connsiteX4" fmla="*/ 19054 w 23930"/>
                  <a:gd name="connsiteY4" fmla="*/ 19391 h 22069"/>
                  <a:gd name="connsiteX5" fmla="*/ -2263 w 23930"/>
                  <a:gd name="connsiteY5" fmla="*/ 477 h 22069"/>
                  <a:gd name="connsiteX6" fmla="*/ -1734 w 23930"/>
                  <a:gd name="connsiteY6" fmla="*/ -2236 h 22069"/>
                  <a:gd name="connsiteX7" fmla="*/ -646 w 23930"/>
                  <a:gd name="connsiteY7" fmla="*/ -2568 h 2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9">
                    <a:moveTo>
                      <a:pt x="-646" y="-2568"/>
                    </a:moveTo>
                    <a:lnTo>
                      <a:pt x="971" y="-1698"/>
                    </a:lnTo>
                    <a:cubicBezTo>
                      <a:pt x="10090" y="11892"/>
                      <a:pt x="20277" y="15673"/>
                      <a:pt x="20381" y="15714"/>
                    </a:cubicBezTo>
                    <a:cubicBezTo>
                      <a:pt x="21396" y="16077"/>
                      <a:pt x="21915" y="17195"/>
                      <a:pt x="21552" y="18211"/>
                    </a:cubicBezTo>
                    <a:cubicBezTo>
                      <a:pt x="21189" y="19226"/>
                      <a:pt x="20059" y="19743"/>
                      <a:pt x="19054" y="19391"/>
                    </a:cubicBezTo>
                    <a:cubicBezTo>
                      <a:pt x="18588" y="19226"/>
                      <a:pt x="7561" y="15113"/>
                      <a:pt x="-2263" y="477"/>
                    </a:cubicBezTo>
                    <a:lnTo>
                      <a:pt x="-1734" y="-2236"/>
                    </a:lnTo>
                    <a:lnTo>
                      <a:pt x="-646" y="-256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8" name="Vrije vorm 2177">
                <a:extLst>
                  <a:ext uri="{FF2B5EF4-FFF2-40B4-BE49-F238E27FC236}">
                    <a16:creationId xmlns:a16="http://schemas.microsoft.com/office/drawing/2014/main" id="{849E6182-8A00-5781-6A64-34DAA201F478}"/>
                  </a:ext>
                </a:extLst>
              </p:cNvPr>
              <p:cNvSpPr/>
              <p:nvPr/>
            </p:nvSpPr>
            <p:spPr>
              <a:xfrm flipV="1">
                <a:off x="4037511" y="2470470"/>
                <a:ext cx="23930" cy="22062"/>
              </a:xfrm>
              <a:custGeom>
                <a:avLst/>
                <a:gdLst>
                  <a:gd name="connsiteX0" fmla="*/ -655 w 23930"/>
                  <a:gd name="connsiteY0" fmla="*/ -2563 h 22062"/>
                  <a:gd name="connsiteX1" fmla="*/ 972 w 23930"/>
                  <a:gd name="connsiteY1" fmla="*/ -1703 h 22062"/>
                  <a:gd name="connsiteX2" fmla="*/ 20372 w 23930"/>
                  <a:gd name="connsiteY2" fmla="*/ 15719 h 22062"/>
                  <a:gd name="connsiteX3" fmla="*/ 21543 w 23930"/>
                  <a:gd name="connsiteY3" fmla="*/ 18215 h 22062"/>
                  <a:gd name="connsiteX4" fmla="*/ 19046 w 23930"/>
                  <a:gd name="connsiteY4" fmla="*/ 19386 h 22062"/>
                  <a:gd name="connsiteX5" fmla="*/ -2271 w 23930"/>
                  <a:gd name="connsiteY5" fmla="*/ 472 h 22062"/>
                  <a:gd name="connsiteX6" fmla="*/ -1732 w 23930"/>
                  <a:gd name="connsiteY6" fmla="*/ -2231 h 22062"/>
                  <a:gd name="connsiteX7" fmla="*/ -655 w 23930"/>
                  <a:gd name="connsiteY7" fmla="*/ -2563 h 2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2">
                    <a:moveTo>
                      <a:pt x="-655" y="-2563"/>
                    </a:moveTo>
                    <a:lnTo>
                      <a:pt x="972" y="-1703"/>
                    </a:lnTo>
                    <a:cubicBezTo>
                      <a:pt x="10030" y="11804"/>
                      <a:pt x="20279" y="15678"/>
                      <a:pt x="20372" y="15719"/>
                    </a:cubicBezTo>
                    <a:cubicBezTo>
                      <a:pt x="21388" y="16092"/>
                      <a:pt x="21906" y="17210"/>
                      <a:pt x="21543" y="18215"/>
                    </a:cubicBezTo>
                    <a:cubicBezTo>
                      <a:pt x="21170" y="19220"/>
                      <a:pt x="20051" y="19748"/>
                      <a:pt x="19046" y="19386"/>
                    </a:cubicBezTo>
                    <a:cubicBezTo>
                      <a:pt x="18579" y="19220"/>
                      <a:pt x="7553" y="15108"/>
                      <a:pt x="-2271" y="472"/>
                    </a:cubicBezTo>
                    <a:lnTo>
                      <a:pt x="-1732" y="-2231"/>
                    </a:lnTo>
                    <a:lnTo>
                      <a:pt x="-655" y="-256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79" name="Vrije vorm 2178">
                <a:extLst>
                  <a:ext uri="{FF2B5EF4-FFF2-40B4-BE49-F238E27FC236}">
                    <a16:creationId xmlns:a16="http://schemas.microsoft.com/office/drawing/2014/main" id="{07439461-02AE-A3DD-B2E7-5D95B6725AC5}"/>
                  </a:ext>
                </a:extLst>
              </p:cNvPr>
              <p:cNvSpPr/>
              <p:nvPr/>
            </p:nvSpPr>
            <p:spPr>
              <a:xfrm flipV="1">
                <a:off x="3771239" y="2397861"/>
                <a:ext cx="46281" cy="90725"/>
              </a:xfrm>
              <a:custGeom>
                <a:avLst/>
                <a:gdLst>
                  <a:gd name="connsiteX0" fmla="*/ 44224 w 46281"/>
                  <a:gd name="connsiteY0" fmla="*/ 80808 h 90725"/>
                  <a:gd name="connsiteX1" fmla="*/ 30348 w 46281"/>
                  <a:gd name="connsiteY1" fmla="*/ -2605 h 90725"/>
                  <a:gd name="connsiteX2" fmla="*/ -2058 w 46281"/>
                  <a:gd name="connsiteY2" fmla="*/ -2605 h 90725"/>
                  <a:gd name="connsiteX3" fmla="*/ 8782 w 46281"/>
                  <a:gd name="connsiteY3" fmla="*/ 88121 h 90725"/>
                  <a:gd name="connsiteX4" fmla="*/ 44224 w 46281"/>
                  <a:gd name="connsiteY4" fmla="*/ 8080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81" h="90725">
                    <a:moveTo>
                      <a:pt x="44224" y="80808"/>
                    </a:moveTo>
                    <a:lnTo>
                      <a:pt x="30348" y="-2605"/>
                    </a:lnTo>
                    <a:lnTo>
                      <a:pt x="-2058" y="-2605"/>
                    </a:lnTo>
                    <a:lnTo>
                      <a:pt x="8782" y="88121"/>
                    </a:lnTo>
                    <a:lnTo>
                      <a:pt x="44224" y="8080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0" name="Vrije vorm 2179">
                <a:extLst>
                  <a:ext uri="{FF2B5EF4-FFF2-40B4-BE49-F238E27FC236}">
                    <a16:creationId xmlns:a16="http://schemas.microsoft.com/office/drawing/2014/main" id="{EEC07634-47E1-0806-1C4D-FABB20A4FCB8}"/>
                  </a:ext>
                </a:extLst>
              </p:cNvPr>
              <p:cNvSpPr/>
              <p:nvPr/>
            </p:nvSpPr>
            <p:spPr>
              <a:xfrm flipV="1">
                <a:off x="3660393" y="2449050"/>
                <a:ext cx="157127" cy="76915"/>
              </a:xfrm>
              <a:custGeom>
                <a:avLst/>
                <a:gdLst>
                  <a:gd name="connsiteX0" fmla="*/ 99020 w 157127"/>
                  <a:gd name="connsiteY0" fmla="*/ 74360 h 76915"/>
                  <a:gd name="connsiteX1" fmla="*/ 52500 w 157127"/>
                  <a:gd name="connsiteY1" fmla="*/ 41908 h 76915"/>
                  <a:gd name="connsiteX2" fmla="*/ -1907 w 157127"/>
                  <a:gd name="connsiteY2" fmla="*/ 5873 h 76915"/>
                  <a:gd name="connsiteX3" fmla="*/ 110648 w 157127"/>
                  <a:gd name="connsiteY3" fmla="*/ 8172 h 76915"/>
                  <a:gd name="connsiteX4" fmla="*/ 110648 w 157127"/>
                  <a:gd name="connsiteY4" fmla="*/ 1025 h 76915"/>
                  <a:gd name="connsiteX5" fmla="*/ 155116 w 157127"/>
                  <a:gd name="connsiteY5" fmla="*/ 2972 h 76915"/>
                  <a:gd name="connsiteX6" fmla="*/ 155116 w 157127"/>
                  <a:gd name="connsiteY6" fmla="*/ 62023 h 76915"/>
                  <a:gd name="connsiteX7" fmla="*/ 118171 w 157127"/>
                  <a:gd name="connsiteY7" fmla="*/ 59423 h 76915"/>
                  <a:gd name="connsiteX8" fmla="*/ 120907 w 157127"/>
                  <a:gd name="connsiteY8" fmla="*/ 65265 h 76915"/>
                  <a:gd name="connsiteX9" fmla="*/ 99020 w 157127"/>
                  <a:gd name="connsiteY9" fmla="*/ 74360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7127" h="76915">
                    <a:moveTo>
                      <a:pt x="99020" y="74360"/>
                    </a:moveTo>
                    <a:cubicBezTo>
                      <a:pt x="99020" y="74360"/>
                      <a:pt x="80543" y="50339"/>
                      <a:pt x="52500" y="41908"/>
                    </a:cubicBezTo>
                    <a:cubicBezTo>
                      <a:pt x="24447" y="33477"/>
                      <a:pt x="-3959" y="22746"/>
                      <a:pt x="-1907" y="5873"/>
                    </a:cubicBezTo>
                    <a:cubicBezTo>
                      <a:pt x="-1907" y="5873"/>
                      <a:pt x="42914" y="-14543"/>
                      <a:pt x="110648" y="8172"/>
                    </a:cubicBezTo>
                    <a:lnTo>
                      <a:pt x="110648" y="1025"/>
                    </a:lnTo>
                    <a:lnTo>
                      <a:pt x="155116" y="2972"/>
                    </a:lnTo>
                    <a:lnTo>
                      <a:pt x="155116" y="62023"/>
                    </a:lnTo>
                    <a:lnTo>
                      <a:pt x="118171" y="59423"/>
                    </a:lnTo>
                    <a:lnTo>
                      <a:pt x="120907" y="65265"/>
                    </a:lnTo>
                    <a:lnTo>
                      <a:pt x="99020" y="74360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1" name="Vrije vorm 2180">
                <a:extLst>
                  <a:ext uri="{FF2B5EF4-FFF2-40B4-BE49-F238E27FC236}">
                    <a16:creationId xmlns:a16="http://schemas.microsoft.com/office/drawing/2014/main" id="{F015E664-BD19-F37B-DC9F-7368BE723372}"/>
                  </a:ext>
                </a:extLst>
              </p:cNvPr>
              <p:cNvSpPr/>
              <p:nvPr/>
            </p:nvSpPr>
            <p:spPr>
              <a:xfrm flipV="1">
                <a:off x="3660417" y="2505584"/>
                <a:ext cx="157103" cy="20381"/>
              </a:xfrm>
              <a:custGeom>
                <a:avLst/>
                <a:gdLst>
                  <a:gd name="connsiteX0" fmla="*/ 71928 w 157103"/>
                  <a:gd name="connsiteY0" fmla="*/ 4308 h 20381"/>
                  <a:gd name="connsiteX1" fmla="*/ -1589 w 157103"/>
                  <a:gd name="connsiteY1" fmla="*/ 10295 h 20381"/>
                  <a:gd name="connsiteX2" fmla="*/ -1931 w 157103"/>
                  <a:gd name="connsiteY2" fmla="*/ 5904 h 20381"/>
                  <a:gd name="connsiteX3" fmla="*/ 110624 w 157103"/>
                  <a:gd name="connsiteY3" fmla="*/ 8203 h 20381"/>
                  <a:gd name="connsiteX4" fmla="*/ 110624 w 157103"/>
                  <a:gd name="connsiteY4" fmla="*/ 1056 h 20381"/>
                  <a:gd name="connsiteX5" fmla="*/ 155092 w 157103"/>
                  <a:gd name="connsiteY5" fmla="*/ 3003 h 20381"/>
                  <a:gd name="connsiteX6" fmla="*/ 155092 w 157103"/>
                  <a:gd name="connsiteY6" fmla="*/ 17857 h 20381"/>
                  <a:gd name="connsiteX7" fmla="*/ 71928 w 157103"/>
                  <a:gd name="connsiteY7" fmla="*/ 4308 h 20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03" h="20381">
                    <a:moveTo>
                      <a:pt x="71928" y="4308"/>
                    </a:moveTo>
                    <a:cubicBezTo>
                      <a:pt x="29314" y="-2393"/>
                      <a:pt x="1966" y="9094"/>
                      <a:pt x="-1589" y="10295"/>
                    </a:cubicBezTo>
                    <a:cubicBezTo>
                      <a:pt x="-1972" y="8835"/>
                      <a:pt x="-2117" y="7364"/>
                      <a:pt x="-1931" y="5904"/>
                    </a:cubicBezTo>
                    <a:cubicBezTo>
                      <a:pt x="-1931" y="5904"/>
                      <a:pt x="42890" y="-14512"/>
                      <a:pt x="110624" y="8203"/>
                    </a:cubicBezTo>
                    <a:lnTo>
                      <a:pt x="110624" y="1056"/>
                    </a:lnTo>
                    <a:lnTo>
                      <a:pt x="155092" y="3003"/>
                    </a:lnTo>
                    <a:lnTo>
                      <a:pt x="155092" y="17857"/>
                    </a:lnTo>
                    <a:cubicBezTo>
                      <a:pt x="139216" y="16893"/>
                      <a:pt x="112841" y="10741"/>
                      <a:pt x="71928" y="43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2" name="Vrije vorm 2181">
                <a:extLst>
                  <a:ext uri="{FF2B5EF4-FFF2-40B4-BE49-F238E27FC236}">
                    <a16:creationId xmlns:a16="http://schemas.microsoft.com/office/drawing/2014/main" id="{7E837022-0899-43EC-2719-59AE819551BF}"/>
                  </a:ext>
                </a:extLst>
              </p:cNvPr>
              <p:cNvSpPr/>
              <p:nvPr/>
            </p:nvSpPr>
            <p:spPr>
              <a:xfrm flipV="1">
                <a:off x="3745269" y="2461390"/>
                <a:ext cx="23929" cy="22058"/>
              </a:xfrm>
              <a:custGeom>
                <a:avLst/>
                <a:gdLst>
                  <a:gd name="connsiteX0" fmla="*/ 20285 w 23929"/>
                  <a:gd name="connsiteY0" fmla="*/ -2573 h 22058"/>
                  <a:gd name="connsiteX1" fmla="*/ 18658 w 23929"/>
                  <a:gd name="connsiteY1" fmla="*/ -1713 h 22058"/>
                  <a:gd name="connsiteX2" fmla="*/ -742 w 23929"/>
                  <a:gd name="connsiteY2" fmla="*/ 15699 h 22058"/>
                  <a:gd name="connsiteX3" fmla="*/ -1912 w 23929"/>
                  <a:gd name="connsiteY3" fmla="*/ 18195 h 22058"/>
                  <a:gd name="connsiteX4" fmla="*/ 585 w 23929"/>
                  <a:gd name="connsiteY4" fmla="*/ 19376 h 22058"/>
                  <a:gd name="connsiteX5" fmla="*/ 21902 w 23929"/>
                  <a:gd name="connsiteY5" fmla="*/ 462 h 22058"/>
                  <a:gd name="connsiteX6" fmla="*/ 21374 w 23929"/>
                  <a:gd name="connsiteY6" fmla="*/ -2241 h 22058"/>
                  <a:gd name="connsiteX7" fmla="*/ 20285 w 23929"/>
                  <a:gd name="connsiteY7" fmla="*/ -257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9" h="22058">
                    <a:moveTo>
                      <a:pt x="20285" y="-2573"/>
                    </a:moveTo>
                    <a:lnTo>
                      <a:pt x="18658" y="-1713"/>
                    </a:lnTo>
                    <a:cubicBezTo>
                      <a:pt x="9549" y="11877"/>
                      <a:pt x="-638" y="15668"/>
                      <a:pt x="-742" y="15699"/>
                    </a:cubicBezTo>
                    <a:cubicBezTo>
                      <a:pt x="-1747" y="16072"/>
                      <a:pt x="-2275" y="17190"/>
                      <a:pt x="-1912" y="18195"/>
                    </a:cubicBezTo>
                    <a:cubicBezTo>
                      <a:pt x="-1539" y="19210"/>
                      <a:pt x="-420" y="19728"/>
                      <a:pt x="585" y="19376"/>
                    </a:cubicBezTo>
                    <a:cubicBezTo>
                      <a:pt x="1051" y="19200"/>
                      <a:pt x="12088" y="15098"/>
                      <a:pt x="21902" y="462"/>
                    </a:cubicBezTo>
                    <a:lnTo>
                      <a:pt x="21374" y="-2241"/>
                    </a:lnTo>
                    <a:lnTo>
                      <a:pt x="20285" y="-257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3" name="Vrije vorm 2182">
                <a:extLst>
                  <a:ext uri="{FF2B5EF4-FFF2-40B4-BE49-F238E27FC236}">
                    <a16:creationId xmlns:a16="http://schemas.microsoft.com/office/drawing/2014/main" id="{F9BB557D-5FE9-E8CD-11EA-1EDC82838B80}"/>
                  </a:ext>
                </a:extLst>
              </p:cNvPr>
              <p:cNvSpPr/>
              <p:nvPr/>
            </p:nvSpPr>
            <p:spPr>
              <a:xfrm flipV="1">
                <a:off x="3735087" y="2465958"/>
                <a:ext cx="23934" cy="22069"/>
              </a:xfrm>
              <a:custGeom>
                <a:avLst/>
                <a:gdLst>
                  <a:gd name="connsiteX0" fmla="*/ 20299 w 23934"/>
                  <a:gd name="connsiteY0" fmla="*/ -2568 h 22069"/>
                  <a:gd name="connsiteX1" fmla="*/ 18672 w 23934"/>
                  <a:gd name="connsiteY1" fmla="*/ -1698 h 22069"/>
                  <a:gd name="connsiteX2" fmla="*/ -728 w 23934"/>
                  <a:gd name="connsiteY2" fmla="*/ 15714 h 22069"/>
                  <a:gd name="connsiteX3" fmla="*/ -1899 w 23934"/>
                  <a:gd name="connsiteY3" fmla="*/ 18211 h 22069"/>
                  <a:gd name="connsiteX4" fmla="*/ 599 w 23934"/>
                  <a:gd name="connsiteY4" fmla="*/ 19391 h 22069"/>
                  <a:gd name="connsiteX5" fmla="*/ 21916 w 23934"/>
                  <a:gd name="connsiteY5" fmla="*/ 477 h 22069"/>
                  <a:gd name="connsiteX6" fmla="*/ 21387 w 23934"/>
                  <a:gd name="connsiteY6" fmla="*/ -2236 h 22069"/>
                  <a:gd name="connsiteX7" fmla="*/ 20299 w 23934"/>
                  <a:gd name="connsiteY7" fmla="*/ -2568 h 2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4" h="22069">
                    <a:moveTo>
                      <a:pt x="20299" y="-2568"/>
                    </a:moveTo>
                    <a:lnTo>
                      <a:pt x="18672" y="-1698"/>
                    </a:lnTo>
                    <a:cubicBezTo>
                      <a:pt x="9563" y="11892"/>
                      <a:pt x="-624" y="15673"/>
                      <a:pt x="-728" y="15714"/>
                    </a:cubicBezTo>
                    <a:cubicBezTo>
                      <a:pt x="-1743" y="16077"/>
                      <a:pt x="-2272" y="17195"/>
                      <a:pt x="-1899" y="18211"/>
                    </a:cubicBezTo>
                    <a:cubicBezTo>
                      <a:pt x="-1536" y="19226"/>
                      <a:pt x="-406" y="19743"/>
                      <a:pt x="599" y="19391"/>
                    </a:cubicBezTo>
                    <a:cubicBezTo>
                      <a:pt x="1065" y="19226"/>
                      <a:pt x="12092" y="15113"/>
                      <a:pt x="21916" y="477"/>
                    </a:cubicBezTo>
                    <a:lnTo>
                      <a:pt x="21387" y="-2236"/>
                    </a:lnTo>
                    <a:lnTo>
                      <a:pt x="20299" y="-256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4" name="Vrije vorm 2183">
                <a:extLst>
                  <a:ext uri="{FF2B5EF4-FFF2-40B4-BE49-F238E27FC236}">
                    <a16:creationId xmlns:a16="http://schemas.microsoft.com/office/drawing/2014/main" id="{3A8837B4-9412-DE7B-157B-0F1409EC1B8D}"/>
                  </a:ext>
                </a:extLst>
              </p:cNvPr>
              <p:cNvSpPr/>
              <p:nvPr/>
            </p:nvSpPr>
            <p:spPr>
              <a:xfrm flipV="1">
                <a:off x="3724910" y="2470470"/>
                <a:ext cx="23923" cy="22062"/>
              </a:xfrm>
              <a:custGeom>
                <a:avLst/>
                <a:gdLst>
                  <a:gd name="connsiteX0" fmla="*/ 20297 w 23923"/>
                  <a:gd name="connsiteY0" fmla="*/ -2563 h 22062"/>
                  <a:gd name="connsiteX1" fmla="*/ 18681 w 23923"/>
                  <a:gd name="connsiteY1" fmla="*/ -1703 h 22062"/>
                  <a:gd name="connsiteX2" fmla="*/ -729 w 23923"/>
                  <a:gd name="connsiteY2" fmla="*/ 15719 h 22062"/>
                  <a:gd name="connsiteX3" fmla="*/ -1890 w 23923"/>
                  <a:gd name="connsiteY3" fmla="*/ 18215 h 22062"/>
                  <a:gd name="connsiteX4" fmla="*/ 597 w 23923"/>
                  <a:gd name="connsiteY4" fmla="*/ 19386 h 22062"/>
                  <a:gd name="connsiteX5" fmla="*/ 21914 w 23923"/>
                  <a:gd name="connsiteY5" fmla="*/ 472 h 22062"/>
                  <a:gd name="connsiteX6" fmla="*/ 21385 w 23923"/>
                  <a:gd name="connsiteY6" fmla="*/ -2231 h 22062"/>
                  <a:gd name="connsiteX7" fmla="*/ 20297 w 23923"/>
                  <a:gd name="connsiteY7" fmla="*/ -2563 h 2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3" h="22062">
                    <a:moveTo>
                      <a:pt x="20297" y="-2563"/>
                    </a:moveTo>
                    <a:lnTo>
                      <a:pt x="18681" y="-1703"/>
                    </a:lnTo>
                    <a:cubicBezTo>
                      <a:pt x="9623" y="11804"/>
                      <a:pt x="-626" y="15678"/>
                      <a:pt x="-729" y="15719"/>
                    </a:cubicBezTo>
                    <a:cubicBezTo>
                      <a:pt x="-1735" y="16092"/>
                      <a:pt x="-2263" y="17210"/>
                      <a:pt x="-1890" y="18215"/>
                    </a:cubicBezTo>
                    <a:cubicBezTo>
                      <a:pt x="-1517" y="19220"/>
                      <a:pt x="-398" y="19748"/>
                      <a:pt x="597" y="19386"/>
                    </a:cubicBezTo>
                    <a:cubicBezTo>
                      <a:pt x="1074" y="19220"/>
                      <a:pt x="12100" y="15108"/>
                      <a:pt x="21914" y="472"/>
                    </a:cubicBezTo>
                    <a:lnTo>
                      <a:pt x="21385" y="-2231"/>
                    </a:lnTo>
                    <a:lnTo>
                      <a:pt x="20297" y="-256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5" name="Vrije vorm 2184">
                <a:extLst>
                  <a:ext uri="{FF2B5EF4-FFF2-40B4-BE49-F238E27FC236}">
                    <a16:creationId xmlns:a16="http://schemas.microsoft.com/office/drawing/2014/main" id="{33B03FB8-1F2C-845F-27ED-B5587803D134}"/>
                  </a:ext>
                </a:extLst>
              </p:cNvPr>
              <p:cNvSpPr/>
              <p:nvPr/>
            </p:nvSpPr>
            <p:spPr>
              <a:xfrm flipV="1">
                <a:off x="3753881" y="1725721"/>
                <a:ext cx="274592" cy="732766"/>
              </a:xfrm>
              <a:custGeom>
                <a:avLst/>
                <a:gdLst>
                  <a:gd name="connsiteX0" fmla="*/ 204917 w 274592"/>
                  <a:gd name="connsiteY0" fmla="*/ 716696 h 732766"/>
                  <a:gd name="connsiteX1" fmla="*/ 238649 w 274592"/>
                  <a:gd name="connsiteY1" fmla="*/ 313987 h 732766"/>
                  <a:gd name="connsiteX2" fmla="*/ 272454 w 274592"/>
                  <a:gd name="connsiteY2" fmla="*/ 19043 h 732766"/>
                  <a:gd name="connsiteX3" fmla="*/ 194585 w 274592"/>
                  <a:gd name="connsiteY3" fmla="*/ 6749 h 732766"/>
                  <a:gd name="connsiteX4" fmla="*/ 148479 w 274592"/>
                  <a:gd name="connsiteY4" fmla="*/ 295550 h 732766"/>
                  <a:gd name="connsiteX5" fmla="*/ 111597 w 274592"/>
                  <a:gd name="connsiteY5" fmla="*/ 570016 h 732766"/>
                  <a:gd name="connsiteX6" fmla="*/ 91098 w 274592"/>
                  <a:gd name="connsiteY6" fmla="*/ 570016 h 732766"/>
                  <a:gd name="connsiteX7" fmla="*/ 73678 w 274592"/>
                  <a:gd name="connsiteY7" fmla="*/ 6749 h 732766"/>
                  <a:gd name="connsiteX8" fmla="*/ -2139 w 274592"/>
                  <a:gd name="connsiteY8" fmla="*/ 4708 h 732766"/>
                  <a:gd name="connsiteX9" fmla="*/ 4006 w 274592"/>
                  <a:gd name="connsiteY9" fmla="*/ 729778 h 732766"/>
                  <a:gd name="connsiteX10" fmla="*/ 204917 w 274592"/>
                  <a:gd name="connsiteY10" fmla="*/ 716696 h 732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4592" h="732766">
                    <a:moveTo>
                      <a:pt x="204917" y="716696"/>
                    </a:moveTo>
                    <a:lnTo>
                      <a:pt x="238649" y="313987"/>
                    </a:lnTo>
                    <a:lnTo>
                      <a:pt x="272454" y="19043"/>
                    </a:lnTo>
                    <a:cubicBezTo>
                      <a:pt x="272454" y="19043"/>
                      <a:pt x="256070" y="-3496"/>
                      <a:pt x="194585" y="6749"/>
                    </a:cubicBezTo>
                    <a:lnTo>
                      <a:pt x="148479" y="295550"/>
                    </a:lnTo>
                    <a:lnTo>
                      <a:pt x="111597" y="570016"/>
                    </a:lnTo>
                    <a:lnTo>
                      <a:pt x="91098" y="570016"/>
                    </a:lnTo>
                    <a:lnTo>
                      <a:pt x="73678" y="6749"/>
                    </a:lnTo>
                    <a:cubicBezTo>
                      <a:pt x="73678" y="6749"/>
                      <a:pt x="47034" y="-13729"/>
                      <a:pt x="-2139" y="4708"/>
                    </a:cubicBezTo>
                    <a:lnTo>
                      <a:pt x="4006" y="729778"/>
                    </a:lnTo>
                    <a:lnTo>
                      <a:pt x="204917" y="716696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6" name="Vrije vorm 2185">
                <a:extLst>
                  <a:ext uri="{FF2B5EF4-FFF2-40B4-BE49-F238E27FC236}">
                    <a16:creationId xmlns:a16="http://schemas.microsoft.com/office/drawing/2014/main" id="{BECDB975-821C-692D-01DE-7C7180F05C64}"/>
                  </a:ext>
                </a:extLst>
              </p:cNvPr>
              <p:cNvSpPr/>
              <p:nvPr/>
            </p:nvSpPr>
            <p:spPr>
              <a:xfrm flipV="1">
                <a:off x="3847118" y="1306335"/>
                <a:ext cx="71754" cy="148616"/>
              </a:xfrm>
              <a:custGeom>
                <a:avLst/>
                <a:gdLst>
                  <a:gd name="connsiteX0" fmla="*/ -2132 w 71754"/>
                  <a:gd name="connsiteY0" fmla="*/ 110616 h 148616"/>
                  <a:gd name="connsiteX1" fmla="*/ 624 w 71754"/>
                  <a:gd name="connsiteY1" fmla="*/ -3767 h 148616"/>
                  <a:gd name="connsiteX2" fmla="*/ 69622 w 71754"/>
                  <a:gd name="connsiteY2" fmla="*/ 27058 h 148616"/>
                  <a:gd name="connsiteX3" fmla="*/ 67446 w 71754"/>
                  <a:gd name="connsiteY3" fmla="*/ 144849 h 148616"/>
                  <a:gd name="connsiteX4" fmla="*/ -2132 w 71754"/>
                  <a:gd name="connsiteY4" fmla="*/ 11061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-2132" y="110616"/>
                    </a:moveTo>
                    <a:lnTo>
                      <a:pt x="624" y="-3767"/>
                    </a:lnTo>
                    <a:lnTo>
                      <a:pt x="69622" y="27058"/>
                    </a:lnTo>
                    <a:lnTo>
                      <a:pt x="67446" y="144849"/>
                    </a:lnTo>
                    <a:lnTo>
                      <a:pt x="-2132" y="11061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7" name="Vrije vorm 2186">
                <a:extLst>
                  <a:ext uri="{FF2B5EF4-FFF2-40B4-BE49-F238E27FC236}">
                    <a16:creationId xmlns:a16="http://schemas.microsoft.com/office/drawing/2014/main" id="{F64C87EA-70C9-3D9B-A9D6-5DE729C2A05A}"/>
                  </a:ext>
                </a:extLst>
              </p:cNvPr>
              <p:cNvSpPr/>
              <p:nvPr/>
            </p:nvSpPr>
            <p:spPr>
              <a:xfrm flipV="1">
                <a:off x="3734958" y="1382383"/>
                <a:ext cx="319165" cy="371257"/>
              </a:xfrm>
              <a:custGeom>
                <a:avLst/>
                <a:gdLst>
                  <a:gd name="connsiteX0" fmla="*/ -1074 w 319165"/>
                  <a:gd name="connsiteY0" fmla="*/ 324719 h 371257"/>
                  <a:gd name="connsiteX1" fmla="*/ 18833 w 319165"/>
                  <a:gd name="connsiteY1" fmla="*/ 16165 h 371257"/>
                  <a:gd name="connsiteX2" fmla="*/ 150321 w 319165"/>
                  <a:gd name="connsiteY2" fmla="*/ -3236 h 371257"/>
                  <a:gd name="connsiteX3" fmla="*/ 223838 w 319165"/>
                  <a:gd name="connsiteY3" fmla="*/ 11276 h 371257"/>
                  <a:gd name="connsiteX4" fmla="*/ 317023 w 319165"/>
                  <a:gd name="connsiteY4" fmla="*/ 356912 h 371257"/>
                  <a:gd name="connsiteX5" fmla="*/ 177545 w 319165"/>
                  <a:gd name="connsiteY5" fmla="*/ 367695 h 371257"/>
                  <a:gd name="connsiteX6" fmla="*/ 137212 w 319165"/>
                  <a:gd name="connsiteY6" fmla="*/ 330344 h 371257"/>
                  <a:gd name="connsiteX7" fmla="*/ 104630 w 319165"/>
                  <a:gd name="connsiteY7" fmla="*/ 365115 h 371257"/>
                  <a:gd name="connsiteX8" fmla="*/ -2142 w 319165"/>
                  <a:gd name="connsiteY8" fmla="*/ 352634 h 371257"/>
                  <a:gd name="connsiteX9" fmla="*/ -1074 w 319165"/>
                  <a:gd name="connsiteY9" fmla="*/ 324719 h 371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9165" h="371257">
                    <a:moveTo>
                      <a:pt x="-1074" y="324719"/>
                    </a:moveTo>
                    <a:cubicBezTo>
                      <a:pt x="-1074" y="324719"/>
                      <a:pt x="5579" y="120045"/>
                      <a:pt x="18833" y="16165"/>
                    </a:cubicBezTo>
                    <a:cubicBezTo>
                      <a:pt x="18833" y="16165"/>
                      <a:pt x="69540" y="-6529"/>
                      <a:pt x="150321" y="-3236"/>
                    </a:cubicBezTo>
                    <a:cubicBezTo>
                      <a:pt x="207391" y="-915"/>
                      <a:pt x="223838" y="11276"/>
                      <a:pt x="223838" y="11276"/>
                    </a:cubicBezTo>
                    <a:lnTo>
                      <a:pt x="317023" y="356912"/>
                    </a:lnTo>
                    <a:cubicBezTo>
                      <a:pt x="317023" y="356912"/>
                      <a:pt x="264513" y="367798"/>
                      <a:pt x="177545" y="367695"/>
                    </a:cubicBezTo>
                    <a:lnTo>
                      <a:pt x="137212" y="330344"/>
                    </a:lnTo>
                    <a:cubicBezTo>
                      <a:pt x="137212" y="330344"/>
                      <a:pt x="126268" y="359346"/>
                      <a:pt x="104630" y="365115"/>
                    </a:cubicBezTo>
                    <a:cubicBezTo>
                      <a:pt x="71851" y="362857"/>
                      <a:pt x="36067" y="358921"/>
                      <a:pt x="-2142" y="352634"/>
                    </a:cubicBezTo>
                    <a:lnTo>
                      <a:pt x="-1074" y="324719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8" name="Vrije vorm 2187">
                <a:extLst>
                  <a:ext uri="{FF2B5EF4-FFF2-40B4-BE49-F238E27FC236}">
                    <a16:creationId xmlns:a16="http://schemas.microsoft.com/office/drawing/2014/main" id="{A9E2E2D5-88C4-47F9-C8A8-377153885F56}"/>
                  </a:ext>
                </a:extLst>
              </p:cNvPr>
              <p:cNvSpPr/>
              <p:nvPr/>
            </p:nvSpPr>
            <p:spPr>
              <a:xfrm flipV="1">
                <a:off x="3983456" y="1393167"/>
                <a:ext cx="151447" cy="235778"/>
              </a:xfrm>
              <a:custGeom>
                <a:avLst/>
                <a:gdLst>
                  <a:gd name="connsiteX0" fmla="*/ 73993 w 151447"/>
                  <a:gd name="connsiteY0" fmla="*/ -3625 h 235778"/>
                  <a:gd name="connsiteX1" fmla="*/ -2279 w 151447"/>
                  <a:gd name="connsiteY1" fmla="*/ 208797 h 235778"/>
                  <a:gd name="connsiteX2" fmla="*/ 68387 w 151447"/>
                  <a:gd name="connsiteY2" fmla="*/ 232154 h 235778"/>
                  <a:gd name="connsiteX3" fmla="*/ 149168 w 151447"/>
                  <a:gd name="connsiteY3" fmla="*/ 2901 h 235778"/>
                  <a:gd name="connsiteX4" fmla="*/ 73993 w 151447"/>
                  <a:gd name="connsiteY4" fmla="*/ -3625 h 235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447" h="235778">
                    <a:moveTo>
                      <a:pt x="73993" y="-3625"/>
                    </a:moveTo>
                    <a:lnTo>
                      <a:pt x="-2279" y="208797"/>
                    </a:lnTo>
                    <a:lnTo>
                      <a:pt x="68387" y="232154"/>
                    </a:lnTo>
                    <a:lnTo>
                      <a:pt x="149168" y="2901"/>
                    </a:lnTo>
                    <a:lnTo>
                      <a:pt x="73993" y="-3625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89" name="Vrije vorm 2188">
                <a:extLst>
                  <a:ext uri="{FF2B5EF4-FFF2-40B4-BE49-F238E27FC236}">
                    <a16:creationId xmlns:a16="http://schemas.microsoft.com/office/drawing/2014/main" id="{AF57E26C-C6D5-7452-6B91-D8869835032F}"/>
                  </a:ext>
                </a:extLst>
              </p:cNvPr>
              <p:cNvSpPr/>
              <p:nvPr/>
            </p:nvSpPr>
            <p:spPr>
              <a:xfrm flipV="1">
                <a:off x="3754820" y="1744586"/>
                <a:ext cx="31166" cy="29350"/>
              </a:xfrm>
              <a:custGeom>
                <a:avLst/>
                <a:gdLst>
                  <a:gd name="connsiteX0" fmla="*/ 29129 w 31166"/>
                  <a:gd name="connsiteY0" fmla="*/ 16938 h 29350"/>
                  <a:gd name="connsiteX1" fmla="*/ 3169 w 31166"/>
                  <a:gd name="connsiteY1" fmla="*/ 25660 h 29350"/>
                  <a:gd name="connsiteX2" fmla="*/ -1826 w 31166"/>
                  <a:gd name="connsiteY2" fmla="*/ 17218 h 29350"/>
                  <a:gd name="connsiteX3" fmla="*/ 3169 w 31166"/>
                  <a:gd name="connsiteY3" fmla="*/ 5244 h 29350"/>
                  <a:gd name="connsiteX4" fmla="*/ 25284 w 31166"/>
                  <a:gd name="connsiteY4" fmla="*/ -3353 h 29350"/>
                  <a:gd name="connsiteX5" fmla="*/ 29129 w 31166"/>
                  <a:gd name="connsiteY5" fmla="*/ 16938 h 2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66" h="29350">
                    <a:moveTo>
                      <a:pt x="29129" y="16938"/>
                    </a:moveTo>
                    <a:cubicBezTo>
                      <a:pt x="11781" y="20677"/>
                      <a:pt x="3366" y="25598"/>
                      <a:pt x="3169" y="25660"/>
                    </a:cubicBezTo>
                    <a:cubicBezTo>
                      <a:pt x="-1919" y="27348"/>
                      <a:pt x="-1256" y="22418"/>
                      <a:pt x="-1826" y="17218"/>
                    </a:cubicBezTo>
                    <a:cubicBezTo>
                      <a:pt x="-2583" y="10340"/>
                      <a:pt x="-1401" y="6663"/>
                      <a:pt x="3169" y="5244"/>
                    </a:cubicBezTo>
                    <a:cubicBezTo>
                      <a:pt x="3998" y="4995"/>
                      <a:pt x="8008" y="801"/>
                      <a:pt x="25284" y="-3353"/>
                    </a:cubicBezTo>
                    <a:cubicBezTo>
                      <a:pt x="26579" y="3411"/>
                      <a:pt x="27864" y="10174"/>
                      <a:pt x="29129" y="1693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0" name="Vrije vorm 2189">
                <a:extLst>
                  <a:ext uri="{FF2B5EF4-FFF2-40B4-BE49-F238E27FC236}">
                    <a16:creationId xmlns:a16="http://schemas.microsoft.com/office/drawing/2014/main" id="{951BBB1C-9D83-78BE-E77A-4C367F15EBF2}"/>
                  </a:ext>
                </a:extLst>
              </p:cNvPr>
              <p:cNvSpPr/>
              <p:nvPr/>
            </p:nvSpPr>
            <p:spPr>
              <a:xfrm flipV="1">
                <a:off x="3798619" y="1756359"/>
                <a:ext cx="114316" cy="25998"/>
              </a:xfrm>
              <a:custGeom>
                <a:avLst/>
                <a:gdLst>
                  <a:gd name="connsiteX0" fmla="*/ 109668 w 114316"/>
                  <a:gd name="connsiteY0" fmla="*/ 19839 h 25998"/>
                  <a:gd name="connsiteX1" fmla="*/ 46338 w 114316"/>
                  <a:gd name="connsiteY1" fmla="*/ 18171 h 25998"/>
                  <a:gd name="connsiteX2" fmla="*/ -420 w 114316"/>
                  <a:gd name="connsiteY2" fmla="*/ 22656 h 25998"/>
                  <a:gd name="connsiteX3" fmla="*/ -2109 w 114316"/>
                  <a:gd name="connsiteY3" fmla="*/ 1640 h 25998"/>
                  <a:gd name="connsiteX4" fmla="*/ 45914 w 114316"/>
                  <a:gd name="connsiteY4" fmla="*/ -3187 h 25998"/>
                  <a:gd name="connsiteX5" fmla="*/ 67769 w 114316"/>
                  <a:gd name="connsiteY5" fmla="*/ -3260 h 25998"/>
                  <a:gd name="connsiteX6" fmla="*/ 112207 w 114316"/>
                  <a:gd name="connsiteY6" fmla="*/ -494 h 25998"/>
                  <a:gd name="connsiteX7" fmla="*/ 109668 w 114316"/>
                  <a:gd name="connsiteY7" fmla="*/ 19839 h 25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16" h="25998">
                    <a:moveTo>
                      <a:pt x="109668" y="19839"/>
                    </a:moveTo>
                    <a:cubicBezTo>
                      <a:pt x="90361" y="18005"/>
                      <a:pt x="69231" y="17632"/>
                      <a:pt x="46338" y="18171"/>
                    </a:cubicBezTo>
                    <a:cubicBezTo>
                      <a:pt x="28700" y="18596"/>
                      <a:pt x="12876" y="20419"/>
                      <a:pt x="-420" y="22656"/>
                    </a:cubicBezTo>
                    <a:cubicBezTo>
                      <a:pt x="5" y="15613"/>
                      <a:pt x="-928" y="8611"/>
                      <a:pt x="-2109" y="1640"/>
                    </a:cubicBezTo>
                    <a:cubicBezTo>
                      <a:pt x="11425" y="-794"/>
                      <a:pt x="27591" y="-2752"/>
                      <a:pt x="45914" y="-3187"/>
                    </a:cubicBezTo>
                    <a:cubicBezTo>
                      <a:pt x="53375" y="-3374"/>
                      <a:pt x="60660" y="-3384"/>
                      <a:pt x="67769" y="-3260"/>
                    </a:cubicBezTo>
                    <a:cubicBezTo>
                      <a:pt x="83719" y="-2959"/>
                      <a:pt x="98413" y="-2089"/>
                      <a:pt x="112207" y="-494"/>
                    </a:cubicBezTo>
                    <a:cubicBezTo>
                      <a:pt x="110694" y="6176"/>
                      <a:pt x="109803" y="12951"/>
                      <a:pt x="109668" y="19839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1" name="Vrije vorm 2190">
                <a:extLst>
                  <a:ext uri="{FF2B5EF4-FFF2-40B4-BE49-F238E27FC236}">
                    <a16:creationId xmlns:a16="http://schemas.microsoft.com/office/drawing/2014/main" id="{144FB1C2-F211-1DD3-D889-1B7D4D4C90B6}"/>
                  </a:ext>
                </a:extLst>
              </p:cNvPr>
              <p:cNvSpPr/>
              <p:nvPr/>
            </p:nvSpPr>
            <p:spPr>
              <a:xfrm flipV="1">
                <a:off x="3923049" y="1749031"/>
                <a:ext cx="44557" cy="28800"/>
              </a:xfrm>
              <a:custGeom>
                <a:avLst/>
                <a:gdLst>
                  <a:gd name="connsiteX0" fmla="*/ 41755 w 44557"/>
                  <a:gd name="connsiteY0" fmla="*/ 17057 h 28800"/>
                  <a:gd name="connsiteX1" fmla="*/ 35082 w 44557"/>
                  <a:gd name="connsiteY1" fmla="*/ 25084 h 28800"/>
                  <a:gd name="connsiteX2" fmla="*/ -2184 w 44557"/>
                  <a:gd name="connsiteY2" fmla="*/ 16715 h 28800"/>
                  <a:gd name="connsiteX3" fmla="*/ 261 w 44557"/>
                  <a:gd name="connsiteY3" fmla="*/ -3348 h 28800"/>
                  <a:gd name="connsiteX4" fmla="*/ 39372 w 44557"/>
                  <a:gd name="connsiteY4" fmla="*/ 6461 h 28800"/>
                  <a:gd name="connsiteX5" fmla="*/ 41755 w 44557"/>
                  <a:gd name="connsiteY5" fmla="*/ 17057 h 2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557" h="28800">
                    <a:moveTo>
                      <a:pt x="41755" y="17057"/>
                    </a:moveTo>
                    <a:cubicBezTo>
                      <a:pt x="40781" y="22215"/>
                      <a:pt x="40160" y="26804"/>
                      <a:pt x="35082" y="25084"/>
                    </a:cubicBezTo>
                    <a:cubicBezTo>
                      <a:pt x="23713" y="21262"/>
                      <a:pt x="11267" y="18559"/>
                      <a:pt x="-2184" y="16715"/>
                    </a:cubicBezTo>
                    <a:cubicBezTo>
                      <a:pt x="-1739" y="9993"/>
                      <a:pt x="-744" y="3322"/>
                      <a:pt x="261" y="-3348"/>
                    </a:cubicBezTo>
                    <a:cubicBezTo>
                      <a:pt x="14231" y="-1132"/>
                      <a:pt x="27226" y="1996"/>
                      <a:pt x="39372" y="6461"/>
                    </a:cubicBezTo>
                    <a:cubicBezTo>
                      <a:pt x="42916" y="7766"/>
                      <a:pt x="42750" y="11836"/>
                      <a:pt x="41755" y="17057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2" name="Vrije vorm 2191">
                <a:extLst>
                  <a:ext uri="{FF2B5EF4-FFF2-40B4-BE49-F238E27FC236}">
                    <a16:creationId xmlns:a16="http://schemas.microsoft.com/office/drawing/2014/main" id="{45989386-952D-F1FE-9810-F4C865A1B64E}"/>
                  </a:ext>
                </a:extLst>
              </p:cNvPr>
              <p:cNvSpPr/>
              <p:nvPr/>
            </p:nvSpPr>
            <p:spPr>
              <a:xfrm flipV="1">
                <a:off x="3833822" y="1757499"/>
                <a:ext cx="45370" cy="27676"/>
              </a:xfrm>
              <a:custGeom>
                <a:avLst/>
                <a:gdLst>
                  <a:gd name="connsiteX0" fmla="*/ 35560 w 45370"/>
                  <a:gd name="connsiteY0" fmla="*/ 1352 h 27676"/>
                  <a:gd name="connsiteX1" fmla="*/ 5890 w 45370"/>
                  <a:gd name="connsiteY1" fmla="*/ 2854 h 27676"/>
                  <a:gd name="connsiteX2" fmla="*/ 5580 w 45370"/>
                  <a:gd name="connsiteY2" fmla="*/ 19645 h 27676"/>
                  <a:gd name="connsiteX3" fmla="*/ 35229 w 45370"/>
                  <a:gd name="connsiteY3" fmla="*/ 19448 h 27676"/>
                  <a:gd name="connsiteX4" fmla="*/ -2110 w 45370"/>
                  <a:gd name="connsiteY4" fmla="*/ 24337 h 27676"/>
                  <a:gd name="connsiteX5" fmla="*/ -1644 w 45370"/>
                  <a:gd name="connsiteY5" fmla="*/ -1071 h 27676"/>
                  <a:gd name="connsiteX6" fmla="*/ 43260 w 45370"/>
                  <a:gd name="connsiteY6" fmla="*/ -3340 h 27676"/>
                  <a:gd name="connsiteX7" fmla="*/ 42752 w 45370"/>
                  <a:gd name="connsiteY7" fmla="*/ 24036 h 27676"/>
                  <a:gd name="connsiteX8" fmla="*/ -2110 w 45370"/>
                  <a:gd name="connsiteY8" fmla="*/ 24337 h 2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70" h="27676">
                    <a:moveTo>
                      <a:pt x="35560" y="1352"/>
                    </a:moveTo>
                    <a:lnTo>
                      <a:pt x="5890" y="2854"/>
                    </a:lnTo>
                    <a:lnTo>
                      <a:pt x="5580" y="19645"/>
                    </a:lnTo>
                    <a:lnTo>
                      <a:pt x="35229" y="19448"/>
                    </a:lnTo>
                    <a:close/>
                    <a:moveTo>
                      <a:pt x="-2110" y="24337"/>
                    </a:moveTo>
                    <a:lnTo>
                      <a:pt x="-1644" y="-1071"/>
                    </a:lnTo>
                    <a:lnTo>
                      <a:pt x="43260" y="-3340"/>
                    </a:lnTo>
                    <a:lnTo>
                      <a:pt x="42752" y="24036"/>
                    </a:lnTo>
                    <a:lnTo>
                      <a:pt x="-2110" y="24337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3" name="Vrije vorm 2192">
                <a:extLst>
                  <a:ext uri="{FF2B5EF4-FFF2-40B4-BE49-F238E27FC236}">
                    <a16:creationId xmlns:a16="http://schemas.microsoft.com/office/drawing/2014/main" id="{2CC58B2F-A4CC-F93C-998C-6F20975142D7}"/>
                  </a:ext>
                </a:extLst>
              </p:cNvPr>
              <p:cNvSpPr/>
              <p:nvPr/>
            </p:nvSpPr>
            <p:spPr>
              <a:xfrm flipV="1">
                <a:off x="3874311" y="1383389"/>
                <a:ext cx="33669" cy="36346"/>
              </a:xfrm>
              <a:custGeom>
                <a:avLst/>
                <a:gdLst>
                  <a:gd name="connsiteX0" fmla="*/ -2139 w 33669"/>
                  <a:gd name="connsiteY0" fmla="*/ -3744 h 36346"/>
                  <a:gd name="connsiteX1" fmla="*/ 8328 w 33669"/>
                  <a:gd name="connsiteY1" fmla="*/ 32602 h 36346"/>
                  <a:gd name="connsiteX2" fmla="*/ 31531 w 33669"/>
                  <a:gd name="connsiteY2" fmla="*/ 21985 h 3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69" h="36346">
                    <a:moveTo>
                      <a:pt x="-2139" y="-3744"/>
                    </a:moveTo>
                    <a:lnTo>
                      <a:pt x="8328" y="32602"/>
                    </a:lnTo>
                    <a:lnTo>
                      <a:pt x="31531" y="21985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4" name="Vrije vorm 2193">
                <a:extLst>
                  <a:ext uri="{FF2B5EF4-FFF2-40B4-BE49-F238E27FC236}">
                    <a16:creationId xmlns:a16="http://schemas.microsoft.com/office/drawing/2014/main" id="{BE0074B5-DC9C-13BC-A008-8BFB7977EF05}"/>
                  </a:ext>
                </a:extLst>
              </p:cNvPr>
              <p:cNvSpPr/>
              <p:nvPr/>
            </p:nvSpPr>
            <p:spPr>
              <a:xfrm flipV="1">
                <a:off x="3855316" y="1386537"/>
                <a:ext cx="18995" cy="33197"/>
              </a:xfrm>
              <a:custGeom>
                <a:avLst/>
                <a:gdLst>
                  <a:gd name="connsiteX0" fmla="*/ 13894 w 18995"/>
                  <a:gd name="connsiteY0" fmla="*/ 29455 h 33197"/>
                  <a:gd name="connsiteX1" fmla="*/ 16879 w 18995"/>
                  <a:gd name="connsiteY1" fmla="*/ -3743 h 33197"/>
                  <a:gd name="connsiteX2" fmla="*/ -2117 w 18995"/>
                  <a:gd name="connsiteY2" fmla="*/ 19760 h 33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95" h="33197">
                    <a:moveTo>
                      <a:pt x="13894" y="29455"/>
                    </a:moveTo>
                    <a:lnTo>
                      <a:pt x="16879" y="-3743"/>
                    </a:lnTo>
                    <a:lnTo>
                      <a:pt x="-2117" y="19760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6" name="Vrije vorm 2195">
                <a:extLst>
                  <a:ext uri="{FF2B5EF4-FFF2-40B4-BE49-F238E27FC236}">
                    <a16:creationId xmlns:a16="http://schemas.microsoft.com/office/drawing/2014/main" id="{684A0119-FE8E-5299-890D-738F91A19DDB}"/>
                  </a:ext>
                </a:extLst>
              </p:cNvPr>
              <p:cNvSpPr/>
              <p:nvPr/>
            </p:nvSpPr>
            <p:spPr>
              <a:xfrm flipV="1">
                <a:off x="3818982" y="1361492"/>
                <a:ext cx="52344" cy="61174"/>
              </a:xfrm>
              <a:custGeom>
                <a:avLst/>
                <a:gdLst>
                  <a:gd name="connsiteX0" fmla="*/ -2100 w 52344"/>
                  <a:gd name="connsiteY0" fmla="*/ 34559 h 61174"/>
                  <a:gd name="connsiteX1" fmla="*/ 26305 w 52344"/>
                  <a:gd name="connsiteY1" fmla="*/ -3755 h 61174"/>
                  <a:gd name="connsiteX2" fmla="*/ 50244 w 52344"/>
                  <a:gd name="connsiteY2" fmla="*/ 32374 h 61174"/>
                  <a:gd name="connsiteX3" fmla="*/ 12605 w 52344"/>
                  <a:gd name="connsiteY3" fmla="*/ 57420 h 61174"/>
                  <a:gd name="connsiteX4" fmla="*/ -2100 w 52344"/>
                  <a:gd name="connsiteY4" fmla="*/ 34559 h 6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44" h="61174">
                    <a:moveTo>
                      <a:pt x="-2100" y="34559"/>
                    </a:moveTo>
                    <a:lnTo>
                      <a:pt x="26305" y="-3755"/>
                    </a:lnTo>
                    <a:lnTo>
                      <a:pt x="50244" y="32374"/>
                    </a:lnTo>
                    <a:lnTo>
                      <a:pt x="12605" y="57420"/>
                    </a:lnTo>
                    <a:lnTo>
                      <a:pt x="-2100" y="3455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7" name="Vrije vorm 2196">
                <a:extLst>
                  <a:ext uri="{FF2B5EF4-FFF2-40B4-BE49-F238E27FC236}">
                    <a16:creationId xmlns:a16="http://schemas.microsoft.com/office/drawing/2014/main" id="{5A68B336-E9A5-7E92-666C-E812265DD42B}"/>
                  </a:ext>
                </a:extLst>
              </p:cNvPr>
              <p:cNvSpPr/>
              <p:nvPr/>
            </p:nvSpPr>
            <p:spPr>
              <a:xfrm flipV="1">
                <a:off x="3884778" y="1356437"/>
                <a:ext cx="56085" cy="64115"/>
              </a:xfrm>
              <a:custGeom>
                <a:avLst/>
                <a:gdLst>
                  <a:gd name="connsiteX0" fmla="*/ 53928 w 56085"/>
                  <a:gd name="connsiteY0" fmla="*/ 37539 h 64115"/>
                  <a:gd name="connsiteX1" fmla="*/ 17844 w 56085"/>
                  <a:gd name="connsiteY1" fmla="*/ -3759 h 64115"/>
                  <a:gd name="connsiteX2" fmla="*/ -2157 w 56085"/>
                  <a:gd name="connsiteY2" fmla="*/ 33406 h 64115"/>
                  <a:gd name="connsiteX3" fmla="*/ 39451 w 56085"/>
                  <a:gd name="connsiteY3" fmla="*/ 60357 h 64115"/>
                  <a:gd name="connsiteX4" fmla="*/ 53928 w 56085"/>
                  <a:gd name="connsiteY4" fmla="*/ 37539 h 6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085" h="64115">
                    <a:moveTo>
                      <a:pt x="53928" y="37539"/>
                    </a:moveTo>
                    <a:lnTo>
                      <a:pt x="17844" y="-3759"/>
                    </a:lnTo>
                    <a:lnTo>
                      <a:pt x="-2157" y="33406"/>
                    </a:lnTo>
                    <a:lnTo>
                      <a:pt x="39451" y="60357"/>
                    </a:lnTo>
                    <a:lnTo>
                      <a:pt x="53928" y="375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8" name="Vrije vorm 2197">
                <a:extLst>
                  <a:ext uri="{FF2B5EF4-FFF2-40B4-BE49-F238E27FC236}">
                    <a16:creationId xmlns:a16="http://schemas.microsoft.com/office/drawing/2014/main" id="{EEA4C16C-B79D-65EE-9D16-0E5E8F5F0D33}"/>
                  </a:ext>
                </a:extLst>
              </p:cNvPr>
              <p:cNvSpPr/>
              <p:nvPr/>
            </p:nvSpPr>
            <p:spPr>
              <a:xfrm flipV="1">
                <a:off x="4045895" y="1589513"/>
                <a:ext cx="101102" cy="51717"/>
              </a:xfrm>
              <a:custGeom>
                <a:avLst/>
                <a:gdLst>
                  <a:gd name="connsiteX0" fmla="*/ -2311 w 101102"/>
                  <a:gd name="connsiteY0" fmla="*/ 33354 h 51717"/>
                  <a:gd name="connsiteX1" fmla="*/ 84781 w 101102"/>
                  <a:gd name="connsiteY1" fmla="*/ 48207 h 51717"/>
                  <a:gd name="connsiteX2" fmla="*/ 98792 w 101102"/>
                  <a:gd name="connsiteY2" fmla="*/ 12669 h 51717"/>
                  <a:gd name="connsiteX3" fmla="*/ 3845 w 101102"/>
                  <a:gd name="connsiteY3" fmla="*/ -3510 h 51717"/>
                  <a:gd name="connsiteX4" fmla="*/ -2311 w 101102"/>
                  <a:gd name="connsiteY4" fmla="*/ 33354 h 5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102" h="51717">
                    <a:moveTo>
                      <a:pt x="-2311" y="33354"/>
                    </a:moveTo>
                    <a:lnTo>
                      <a:pt x="84781" y="48207"/>
                    </a:lnTo>
                    <a:lnTo>
                      <a:pt x="98792" y="12669"/>
                    </a:lnTo>
                    <a:lnTo>
                      <a:pt x="3845" y="-3510"/>
                    </a:lnTo>
                    <a:lnTo>
                      <a:pt x="-2311" y="33354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99" name="Vrije vorm 2198">
                <a:extLst>
                  <a:ext uri="{FF2B5EF4-FFF2-40B4-BE49-F238E27FC236}">
                    <a16:creationId xmlns:a16="http://schemas.microsoft.com/office/drawing/2014/main" id="{576313D6-6877-E4D1-1060-1347F14ACE8F}"/>
                  </a:ext>
                </a:extLst>
              </p:cNvPr>
              <p:cNvSpPr/>
              <p:nvPr/>
            </p:nvSpPr>
            <p:spPr>
              <a:xfrm flipV="1">
                <a:off x="3784629" y="1050503"/>
                <a:ext cx="217456" cy="303572"/>
              </a:xfrm>
              <a:custGeom>
                <a:avLst/>
                <a:gdLst>
                  <a:gd name="connsiteX0" fmla="*/ 117813 w 217456"/>
                  <a:gd name="connsiteY0" fmla="*/ 294452 h 303572"/>
                  <a:gd name="connsiteX1" fmla="*/ 181598 w 217456"/>
                  <a:gd name="connsiteY1" fmla="*/ 234500 h 303572"/>
                  <a:gd name="connsiteX2" fmla="*/ 178261 w 217456"/>
                  <a:gd name="connsiteY2" fmla="*/ 158389 h 303572"/>
                  <a:gd name="connsiteX3" fmla="*/ 205112 w 217456"/>
                  <a:gd name="connsiteY3" fmla="*/ 165702 h 303572"/>
                  <a:gd name="connsiteX4" fmla="*/ 177028 w 217456"/>
                  <a:gd name="connsiteY4" fmla="*/ 91995 h 303572"/>
                  <a:gd name="connsiteX5" fmla="*/ 171121 w 217456"/>
                  <a:gd name="connsiteY5" fmla="*/ 51805 h 303572"/>
                  <a:gd name="connsiteX6" fmla="*/ 82589 w 217456"/>
                  <a:gd name="connsiteY6" fmla="*/ -3382 h 303572"/>
                  <a:gd name="connsiteX7" fmla="*/ -1198 w 217456"/>
                  <a:gd name="connsiteY7" fmla="*/ 60372 h 303572"/>
                  <a:gd name="connsiteX8" fmla="*/ -2141 w 217456"/>
                  <a:gd name="connsiteY8" fmla="*/ 246877 h 303572"/>
                  <a:gd name="connsiteX9" fmla="*/ 117813 w 217456"/>
                  <a:gd name="connsiteY9" fmla="*/ 294452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6" h="303572">
                    <a:moveTo>
                      <a:pt x="117813" y="294452"/>
                    </a:moveTo>
                    <a:cubicBezTo>
                      <a:pt x="183350" y="279516"/>
                      <a:pt x="181598" y="234500"/>
                      <a:pt x="181598" y="234500"/>
                    </a:cubicBezTo>
                    <a:cubicBezTo>
                      <a:pt x="181598" y="234500"/>
                      <a:pt x="179557" y="199759"/>
                      <a:pt x="178261" y="158389"/>
                    </a:cubicBezTo>
                    <a:cubicBezTo>
                      <a:pt x="184324" y="166717"/>
                      <a:pt x="194583" y="170208"/>
                      <a:pt x="205112" y="165702"/>
                    </a:cubicBezTo>
                    <a:cubicBezTo>
                      <a:pt x="227424" y="156162"/>
                      <a:pt x="210937" y="85914"/>
                      <a:pt x="177028" y="91995"/>
                    </a:cubicBezTo>
                    <a:cubicBezTo>
                      <a:pt x="175567" y="72376"/>
                      <a:pt x="173639" y="57098"/>
                      <a:pt x="171121" y="51805"/>
                    </a:cubicBezTo>
                    <a:cubicBezTo>
                      <a:pt x="161608" y="31825"/>
                      <a:pt x="119709" y="1372"/>
                      <a:pt x="82589" y="-3382"/>
                    </a:cubicBezTo>
                    <a:cubicBezTo>
                      <a:pt x="45457" y="-8136"/>
                      <a:pt x="-1198" y="16599"/>
                      <a:pt x="-1198" y="60372"/>
                    </a:cubicBezTo>
                    <a:cubicBezTo>
                      <a:pt x="-1198" y="104144"/>
                      <a:pt x="-2141" y="246877"/>
                      <a:pt x="-2141" y="246877"/>
                    </a:cubicBezTo>
                    <a:cubicBezTo>
                      <a:pt x="-2141" y="246877"/>
                      <a:pt x="9279" y="319197"/>
                      <a:pt x="117813" y="29445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0" name="Vrije vorm 2199">
                <a:extLst>
                  <a:ext uri="{FF2B5EF4-FFF2-40B4-BE49-F238E27FC236}">
                    <a16:creationId xmlns:a16="http://schemas.microsoft.com/office/drawing/2014/main" id="{EEB6601C-690E-ED8B-CDB4-77C1394EE0CB}"/>
                  </a:ext>
                </a:extLst>
              </p:cNvPr>
              <p:cNvSpPr/>
              <p:nvPr/>
            </p:nvSpPr>
            <p:spPr>
              <a:xfrm flipV="1">
                <a:off x="3810288" y="1182216"/>
                <a:ext cx="33835" cy="82781"/>
              </a:xfrm>
              <a:custGeom>
                <a:avLst/>
                <a:gdLst>
                  <a:gd name="connsiteX0" fmla="*/ 31750 w 33835"/>
                  <a:gd name="connsiteY0" fmla="*/ 78842 h 82781"/>
                  <a:gd name="connsiteX1" fmla="*/ 22082 w 33835"/>
                  <a:gd name="connsiteY1" fmla="*/ 41346 h 82781"/>
                  <a:gd name="connsiteX2" fmla="*/ 13770 w 33835"/>
                  <a:gd name="connsiteY2" fmla="*/ 23655 h 82781"/>
                  <a:gd name="connsiteX3" fmla="*/ 1448 w 33835"/>
                  <a:gd name="connsiteY3" fmla="*/ 8149 h 82781"/>
                  <a:gd name="connsiteX4" fmla="*/ 1438 w 33835"/>
                  <a:gd name="connsiteY4" fmla="*/ 10624 h 82781"/>
                  <a:gd name="connsiteX5" fmla="*/ 15573 w 33835"/>
                  <a:gd name="connsiteY5" fmla="*/ -3939 h 82781"/>
                  <a:gd name="connsiteX6" fmla="*/ -749 w 33835"/>
                  <a:gd name="connsiteY6" fmla="*/ 8128 h 82781"/>
                  <a:gd name="connsiteX7" fmla="*/ -2085 w 33835"/>
                  <a:gd name="connsiteY7" fmla="*/ 9184 h 82781"/>
                  <a:gd name="connsiteX8" fmla="*/ -769 w 33835"/>
                  <a:gd name="connsiteY8" fmla="*/ 10604 h 82781"/>
                  <a:gd name="connsiteX9" fmla="*/ 17884 w 33835"/>
                  <a:gd name="connsiteY9" fmla="*/ 43035 h 82781"/>
                  <a:gd name="connsiteX10" fmla="*/ 31750 w 33835"/>
                  <a:gd name="connsiteY10" fmla="*/ 78842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5" h="82781">
                    <a:moveTo>
                      <a:pt x="31750" y="78842"/>
                    </a:moveTo>
                    <a:cubicBezTo>
                      <a:pt x="30009" y="66040"/>
                      <a:pt x="26828" y="53424"/>
                      <a:pt x="22082" y="41346"/>
                    </a:cubicBezTo>
                    <a:cubicBezTo>
                      <a:pt x="19833" y="35256"/>
                      <a:pt x="17180" y="29279"/>
                      <a:pt x="13770" y="23655"/>
                    </a:cubicBezTo>
                    <a:cubicBezTo>
                      <a:pt x="10444" y="18041"/>
                      <a:pt x="6765" y="12406"/>
                      <a:pt x="1448" y="8149"/>
                    </a:cubicBezTo>
                    <a:lnTo>
                      <a:pt x="1438" y="10624"/>
                    </a:lnTo>
                    <a:cubicBezTo>
                      <a:pt x="6298" y="5942"/>
                      <a:pt x="11024" y="1116"/>
                      <a:pt x="15573" y="-3939"/>
                    </a:cubicBezTo>
                    <a:cubicBezTo>
                      <a:pt x="9957" y="-117"/>
                      <a:pt x="4536" y="3923"/>
                      <a:pt x="-749" y="8128"/>
                    </a:cubicBezTo>
                    <a:lnTo>
                      <a:pt x="-2085" y="9184"/>
                    </a:lnTo>
                    <a:lnTo>
                      <a:pt x="-769" y="10604"/>
                    </a:lnTo>
                    <a:cubicBezTo>
                      <a:pt x="7615" y="19667"/>
                      <a:pt x="12734" y="31506"/>
                      <a:pt x="17884" y="43035"/>
                    </a:cubicBezTo>
                    <a:cubicBezTo>
                      <a:pt x="22734" y="54780"/>
                      <a:pt x="27232" y="66744"/>
                      <a:pt x="31750" y="7884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1" name="Vrije vorm 2200">
                <a:extLst>
                  <a:ext uri="{FF2B5EF4-FFF2-40B4-BE49-F238E27FC236}">
                    <a16:creationId xmlns:a16="http://schemas.microsoft.com/office/drawing/2014/main" id="{75CB5B7E-4F8C-BE3D-5318-62B88F707E89}"/>
                  </a:ext>
                </a:extLst>
              </p:cNvPr>
              <p:cNvSpPr/>
              <p:nvPr/>
            </p:nvSpPr>
            <p:spPr>
              <a:xfrm flipV="1">
                <a:off x="3883877" y="1171122"/>
                <a:ext cx="18985" cy="34554"/>
              </a:xfrm>
              <a:custGeom>
                <a:avLst/>
                <a:gdLst>
                  <a:gd name="connsiteX0" fmla="*/ -2141 w 18985"/>
                  <a:gd name="connsiteY0" fmla="*/ 13300 h 34554"/>
                  <a:gd name="connsiteX1" fmla="*/ 7352 w 18985"/>
                  <a:gd name="connsiteY1" fmla="*/ -3978 h 34554"/>
                  <a:gd name="connsiteX2" fmla="*/ 16845 w 18985"/>
                  <a:gd name="connsiteY2" fmla="*/ 13300 h 34554"/>
                  <a:gd name="connsiteX3" fmla="*/ 7352 w 18985"/>
                  <a:gd name="connsiteY3" fmla="*/ 30577 h 34554"/>
                  <a:gd name="connsiteX4" fmla="*/ -2141 w 18985"/>
                  <a:gd name="connsiteY4" fmla="*/ 13300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141" y="13300"/>
                    </a:moveTo>
                    <a:cubicBezTo>
                      <a:pt x="-2141" y="3760"/>
                      <a:pt x="2108" y="-3978"/>
                      <a:pt x="7352" y="-3978"/>
                    </a:cubicBezTo>
                    <a:cubicBezTo>
                      <a:pt x="12596" y="-3978"/>
                      <a:pt x="16845" y="3760"/>
                      <a:pt x="16845" y="13300"/>
                    </a:cubicBezTo>
                    <a:cubicBezTo>
                      <a:pt x="16845" y="22839"/>
                      <a:pt x="12596" y="30577"/>
                      <a:pt x="7352" y="30577"/>
                    </a:cubicBezTo>
                    <a:cubicBezTo>
                      <a:pt x="2108" y="30577"/>
                      <a:pt x="-2141" y="22839"/>
                      <a:pt x="-2141" y="13300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2" name="Vrije vorm 2201">
                <a:extLst>
                  <a:ext uri="{FF2B5EF4-FFF2-40B4-BE49-F238E27FC236}">
                    <a16:creationId xmlns:a16="http://schemas.microsoft.com/office/drawing/2014/main" id="{9527E8AD-7F84-B534-7C26-B29D483E5BCD}"/>
                  </a:ext>
                </a:extLst>
              </p:cNvPr>
              <p:cNvSpPr/>
              <p:nvPr/>
            </p:nvSpPr>
            <p:spPr>
              <a:xfrm flipV="1">
                <a:off x="3803904" y="1174934"/>
                <a:ext cx="18985" cy="34554"/>
              </a:xfrm>
              <a:custGeom>
                <a:avLst/>
                <a:gdLst>
                  <a:gd name="connsiteX0" fmla="*/ -2074 w 18985"/>
                  <a:gd name="connsiteY0" fmla="*/ 13304 h 34554"/>
                  <a:gd name="connsiteX1" fmla="*/ 7419 w 18985"/>
                  <a:gd name="connsiteY1" fmla="*/ -3973 h 34554"/>
                  <a:gd name="connsiteX2" fmla="*/ 16911 w 18985"/>
                  <a:gd name="connsiteY2" fmla="*/ 13304 h 34554"/>
                  <a:gd name="connsiteX3" fmla="*/ 7419 w 18985"/>
                  <a:gd name="connsiteY3" fmla="*/ 30581 h 34554"/>
                  <a:gd name="connsiteX4" fmla="*/ -2074 w 18985"/>
                  <a:gd name="connsiteY4" fmla="*/ 13304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2074" y="13304"/>
                    </a:moveTo>
                    <a:cubicBezTo>
                      <a:pt x="-2074" y="3764"/>
                      <a:pt x="2175" y="-3973"/>
                      <a:pt x="7419" y="-3973"/>
                    </a:cubicBezTo>
                    <a:cubicBezTo>
                      <a:pt x="12662" y="-3973"/>
                      <a:pt x="16911" y="3764"/>
                      <a:pt x="16911" y="13304"/>
                    </a:cubicBezTo>
                    <a:cubicBezTo>
                      <a:pt x="16911" y="22854"/>
                      <a:pt x="12662" y="30581"/>
                      <a:pt x="7419" y="30581"/>
                    </a:cubicBezTo>
                    <a:cubicBezTo>
                      <a:pt x="2175" y="30581"/>
                      <a:pt x="-2074" y="22854"/>
                      <a:pt x="-2074" y="13304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3" name="Vrije vorm 2202">
                <a:extLst>
                  <a:ext uri="{FF2B5EF4-FFF2-40B4-BE49-F238E27FC236}">
                    <a16:creationId xmlns:a16="http://schemas.microsoft.com/office/drawing/2014/main" id="{6383AF2F-125C-8F6F-31EE-BD98CAA71F41}"/>
                  </a:ext>
                </a:extLst>
              </p:cNvPr>
              <p:cNvSpPr/>
              <p:nvPr/>
            </p:nvSpPr>
            <p:spPr>
              <a:xfrm flipV="1">
                <a:off x="3868404" y="1136664"/>
                <a:ext cx="51411" cy="19864"/>
              </a:xfrm>
              <a:custGeom>
                <a:avLst/>
                <a:gdLst>
                  <a:gd name="connsiteX0" fmla="*/ -2141 w 51411"/>
                  <a:gd name="connsiteY0" fmla="*/ 3589 h 19864"/>
                  <a:gd name="connsiteX1" fmla="*/ 10294 w 51411"/>
                  <a:gd name="connsiteY1" fmla="*/ 12777 h 19864"/>
                  <a:gd name="connsiteX2" fmla="*/ 25994 w 51411"/>
                  <a:gd name="connsiteY2" fmla="*/ 15822 h 19864"/>
                  <a:gd name="connsiteX3" fmla="*/ 41550 w 51411"/>
                  <a:gd name="connsiteY3" fmla="*/ 9815 h 19864"/>
                  <a:gd name="connsiteX4" fmla="*/ 49270 w 51411"/>
                  <a:gd name="connsiteY4" fmla="*/ -4023 h 19864"/>
                  <a:gd name="connsiteX5" fmla="*/ 37404 w 51411"/>
                  <a:gd name="connsiteY5" fmla="*/ 3382 h 19864"/>
                  <a:gd name="connsiteX6" fmla="*/ 25466 w 51411"/>
                  <a:gd name="connsiteY6" fmla="*/ 6044 h 19864"/>
                  <a:gd name="connsiteX7" fmla="*/ -2141 w 51411"/>
                  <a:gd name="connsiteY7" fmla="*/ 3589 h 19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411" h="19864">
                    <a:moveTo>
                      <a:pt x="-2141" y="3589"/>
                    </a:moveTo>
                    <a:cubicBezTo>
                      <a:pt x="1133" y="7753"/>
                      <a:pt x="5517" y="10685"/>
                      <a:pt x="10294" y="12777"/>
                    </a:cubicBezTo>
                    <a:cubicBezTo>
                      <a:pt x="15082" y="14911"/>
                      <a:pt x="20430" y="15998"/>
                      <a:pt x="25994" y="15822"/>
                    </a:cubicBezTo>
                    <a:cubicBezTo>
                      <a:pt x="31539" y="15429"/>
                      <a:pt x="37249" y="13492"/>
                      <a:pt x="41550" y="9815"/>
                    </a:cubicBezTo>
                    <a:cubicBezTo>
                      <a:pt x="46058" y="6335"/>
                      <a:pt x="48389" y="1010"/>
                      <a:pt x="49270" y="-4023"/>
                    </a:cubicBezTo>
                    <a:cubicBezTo>
                      <a:pt x="44835" y="-1010"/>
                      <a:pt x="41446" y="1922"/>
                      <a:pt x="37404" y="3382"/>
                    </a:cubicBezTo>
                    <a:cubicBezTo>
                      <a:pt x="33508" y="4915"/>
                      <a:pt x="29642" y="5848"/>
                      <a:pt x="25466" y="6044"/>
                    </a:cubicBezTo>
                    <a:cubicBezTo>
                      <a:pt x="17041" y="6490"/>
                      <a:pt x="8149" y="4781"/>
                      <a:pt x="-2141" y="3589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4" name="Vrije vorm 2203">
                <a:extLst>
                  <a:ext uri="{FF2B5EF4-FFF2-40B4-BE49-F238E27FC236}">
                    <a16:creationId xmlns:a16="http://schemas.microsoft.com/office/drawing/2014/main" id="{FB08627D-B637-E22C-EA3B-370CFBE65E72}"/>
                  </a:ext>
                </a:extLst>
              </p:cNvPr>
              <p:cNvSpPr/>
              <p:nvPr/>
            </p:nvSpPr>
            <p:spPr>
              <a:xfrm flipV="1">
                <a:off x="3788432" y="1137241"/>
                <a:ext cx="40934" cy="19286"/>
              </a:xfrm>
              <a:custGeom>
                <a:avLst/>
                <a:gdLst>
                  <a:gd name="connsiteX0" fmla="*/ 38864 w 40934"/>
                  <a:gd name="connsiteY0" fmla="*/ 3590 h 19286"/>
                  <a:gd name="connsiteX1" fmla="*/ 16397 w 40934"/>
                  <a:gd name="connsiteY1" fmla="*/ 6490 h 19286"/>
                  <a:gd name="connsiteX2" fmla="*/ 7226 w 40934"/>
                  <a:gd name="connsiteY2" fmla="*/ 3362 h 19286"/>
                  <a:gd name="connsiteX3" fmla="*/ -2070 w 40934"/>
                  <a:gd name="connsiteY3" fmla="*/ -4023 h 19286"/>
                  <a:gd name="connsiteX4" fmla="*/ 2697 w 40934"/>
                  <a:gd name="connsiteY4" fmla="*/ 8458 h 19286"/>
                  <a:gd name="connsiteX5" fmla="*/ 15496 w 40934"/>
                  <a:gd name="connsiteY5" fmla="*/ 15181 h 19286"/>
                  <a:gd name="connsiteX6" fmla="*/ 29102 w 40934"/>
                  <a:gd name="connsiteY6" fmla="*/ 12373 h 19286"/>
                  <a:gd name="connsiteX7" fmla="*/ 38864 w 40934"/>
                  <a:gd name="connsiteY7" fmla="*/ 3590 h 1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34" h="19286">
                    <a:moveTo>
                      <a:pt x="38864" y="3590"/>
                    </a:moveTo>
                    <a:cubicBezTo>
                      <a:pt x="30274" y="5289"/>
                      <a:pt x="22926" y="7194"/>
                      <a:pt x="16397" y="6490"/>
                    </a:cubicBezTo>
                    <a:cubicBezTo>
                      <a:pt x="13133" y="6314"/>
                      <a:pt x="10221" y="5154"/>
                      <a:pt x="7226" y="3362"/>
                    </a:cubicBezTo>
                    <a:cubicBezTo>
                      <a:pt x="4127" y="1632"/>
                      <a:pt x="1443" y="-1164"/>
                      <a:pt x="-2070" y="-4023"/>
                    </a:cubicBezTo>
                    <a:cubicBezTo>
                      <a:pt x="-1863" y="348"/>
                      <a:pt x="-526" y="4895"/>
                      <a:pt x="2697" y="8458"/>
                    </a:cubicBezTo>
                    <a:cubicBezTo>
                      <a:pt x="5671" y="12187"/>
                      <a:pt x="10573" y="14745"/>
                      <a:pt x="15496" y="15181"/>
                    </a:cubicBezTo>
                    <a:cubicBezTo>
                      <a:pt x="20418" y="15584"/>
                      <a:pt x="25133" y="14486"/>
                      <a:pt x="29102" y="12373"/>
                    </a:cubicBezTo>
                    <a:cubicBezTo>
                      <a:pt x="33072" y="10302"/>
                      <a:pt x="36543" y="7443"/>
                      <a:pt x="38864" y="3590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5" name="Vrije vorm 2204">
                <a:extLst>
                  <a:ext uri="{FF2B5EF4-FFF2-40B4-BE49-F238E27FC236}">
                    <a16:creationId xmlns:a16="http://schemas.microsoft.com/office/drawing/2014/main" id="{91E55DE5-72FA-F12D-E9C2-0FCD13D28F62}"/>
                  </a:ext>
                </a:extLst>
              </p:cNvPr>
              <p:cNvSpPr/>
              <p:nvPr/>
            </p:nvSpPr>
            <p:spPr>
              <a:xfrm flipV="1">
                <a:off x="3823977" y="1273677"/>
                <a:ext cx="87682" cy="29229"/>
              </a:xfrm>
              <a:custGeom>
                <a:avLst/>
                <a:gdLst>
                  <a:gd name="connsiteX0" fmla="*/ 85563 w 87682"/>
                  <a:gd name="connsiteY0" fmla="*/ 25361 h 29229"/>
                  <a:gd name="connsiteX1" fmla="*/ -2119 w 87682"/>
                  <a:gd name="connsiteY1" fmla="*/ 20793 h 29229"/>
                  <a:gd name="connsiteX2" fmla="*/ 85563 w 87682"/>
                  <a:gd name="connsiteY2" fmla="*/ 25361 h 29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682" h="29229">
                    <a:moveTo>
                      <a:pt x="85563" y="25361"/>
                    </a:moveTo>
                    <a:lnTo>
                      <a:pt x="-2119" y="20793"/>
                    </a:lnTo>
                    <a:cubicBezTo>
                      <a:pt x="-2119" y="20793"/>
                      <a:pt x="43551" y="-37626"/>
                      <a:pt x="85563" y="25361"/>
                    </a:cubicBezTo>
                  </a:path>
                </a:pathLst>
              </a:custGeom>
              <a:solidFill>
                <a:srgbClr val="B8596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6" name="Vrije vorm 2205">
                <a:extLst>
                  <a:ext uri="{FF2B5EF4-FFF2-40B4-BE49-F238E27FC236}">
                    <a16:creationId xmlns:a16="http://schemas.microsoft.com/office/drawing/2014/main" id="{7031E771-19BA-D139-5254-1F62EB164364}"/>
                  </a:ext>
                </a:extLst>
              </p:cNvPr>
              <p:cNvSpPr/>
              <p:nvPr/>
            </p:nvSpPr>
            <p:spPr>
              <a:xfrm flipV="1">
                <a:off x="3823977" y="1273677"/>
                <a:ext cx="87682" cy="25801"/>
              </a:xfrm>
              <a:custGeom>
                <a:avLst/>
                <a:gdLst>
                  <a:gd name="connsiteX0" fmla="*/ 77252 w 87682"/>
                  <a:gd name="connsiteY0" fmla="*/ 17032 h 25801"/>
                  <a:gd name="connsiteX1" fmla="*/ 25188 w 87682"/>
                  <a:gd name="connsiteY1" fmla="*/ -3870 h 25801"/>
                  <a:gd name="connsiteX2" fmla="*/ -2119 w 87682"/>
                  <a:gd name="connsiteY2" fmla="*/ 17364 h 25801"/>
                  <a:gd name="connsiteX3" fmla="*/ 85563 w 87682"/>
                  <a:gd name="connsiteY3" fmla="*/ 21932 h 25801"/>
                  <a:gd name="connsiteX4" fmla="*/ 82278 w 87682"/>
                  <a:gd name="connsiteY4" fmla="*/ 16732 h 25801"/>
                  <a:gd name="connsiteX5" fmla="*/ 77252 w 87682"/>
                  <a:gd name="connsiteY5" fmla="*/ 17032 h 25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7682" h="25801">
                    <a:moveTo>
                      <a:pt x="77252" y="17032"/>
                    </a:moveTo>
                    <a:cubicBezTo>
                      <a:pt x="56858" y="17032"/>
                      <a:pt x="37686" y="9937"/>
                      <a:pt x="25188" y="-3870"/>
                    </a:cubicBezTo>
                    <a:cubicBezTo>
                      <a:pt x="5124" y="2334"/>
                      <a:pt x="-2119" y="17364"/>
                      <a:pt x="-2119" y="17364"/>
                    </a:cubicBezTo>
                    <a:lnTo>
                      <a:pt x="85563" y="21932"/>
                    </a:lnTo>
                    <a:cubicBezTo>
                      <a:pt x="84486" y="20088"/>
                      <a:pt x="83387" y="18368"/>
                      <a:pt x="82278" y="16732"/>
                    </a:cubicBezTo>
                    <a:cubicBezTo>
                      <a:pt x="80620" y="16918"/>
                      <a:pt x="78952" y="17032"/>
                      <a:pt x="77252" y="17032"/>
                    </a:cubicBezTo>
                  </a:path>
                </a:pathLst>
              </a:custGeom>
              <a:solidFill>
                <a:srgbClr val="642A32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8" name="Vrije vorm 2207">
                <a:extLst>
                  <a:ext uri="{FF2B5EF4-FFF2-40B4-BE49-F238E27FC236}">
                    <a16:creationId xmlns:a16="http://schemas.microsoft.com/office/drawing/2014/main" id="{5F201119-BD85-6A21-E9F6-7DAFBDDB745E}"/>
                  </a:ext>
                </a:extLst>
              </p:cNvPr>
              <p:cNvSpPr/>
              <p:nvPr/>
            </p:nvSpPr>
            <p:spPr>
              <a:xfrm flipV="1">
                <a:off x="3966461" y="1195400"/>
                <a:ext cx="27833" cy="51643"/>
              </a:xfrm>
              <a:custGeom>
                <a:avLst/>
                <a:gdLst>
                  <a:gd name="connsiteX0" fmla="*/ 20192 w 27833"/>
                  <a:gd name="connsiteY0" fmla="*/ 46603 h 51643"/>
                  <a:gd name="connsiteX1" fmla="*/ -2214 w 27833"/>
                  <a:gd name="connsiteY1" fmla="*/ 13789 h 51643"/>
                  <a:gd name="connsiteX2" fmla="*/ 3611 w 27833"/>
                  <a:gd name="connsiteY2" fmla="*/ -3706 h 51643"/>
                  <a:gd name="connsiteX3" fmla="*/ 20192 w 27833"/>
                  <a:gd name="connsiteY3" fmla="*/ 4660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33" h="51643">
                    <a:moveTo>
                      <a:pt x="20192" y="46603"/>
                    </a:moveTo>
                    <a:cubicBezTo>
                      <a:pt x="8554" y="52486"/>
                      <a:pt x="-1737" y="33769"/>
                      <a:pt x="-2214" y="13789"/>
                    </a:cubicBezTo>
                    <a:cubicBezTo>
                      <a:pt x="7310" y="15208"/>
                      <a:pt x="8916" y="4135"/>
                      <a:pt x="3611" y="-3706"/>
                    </a:cubicBezTo>
                    <a:cubicBezTo>
                      <a:pt x="22503" y="-7704"/>
                      <a:pt x="32524" y="40357"/>
                      <a:pt x="20192" y="4660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09" name="Vrije vorm 2208">
                <a:extLst>
                  <a:ext uri="{FF2B5EF4-FFF2-40B4-BE49-F238E27FC236}">
                    <a16:creationId xmlns:a16="http://schemas.microsoft.com/office/drawing/2014/main" id="{4C2F19CA-83D3-5BFF-3A17-C484974AEFB4}"/>
                  </a:ext>
                </a:extLst>
              </p:cNvPr>
              <p:cNvSpPr/>
              <p:nvPr/>
            </p:nvSpPr>
            <p:spPr>
              <a:xfrm flipV="1">
                <a:off x="3937574" y="1663561"/>
                <a:ext cx="56069" cy="97947"/>
              </a:xfrm>
              <a:custGeom>
                <a:avLst/>
                <a:gdLst>
                  <a:gd name="connsiteX0" fmla="*/ 53868 w 56069"/>
                  <a:gd name="connsiteY0" fmla="*/ 3972 h 97947"/>
                  <a:gd name="connsiteX1" fmla="*/ 24665 w 56069"/>
                  <a:gd name="connsiteY1" fmla="*/ 44679 h 97947"/>
                  <a:gd name="connsiteX2" fmla="*/ 20053 w 56069"/>
                  <a:gd name="connsiteY2" fmla="*/ 60806 h 97947"/>
                  <a:gd name="connsiteX3" fmla="*/ 24665 w 56069"/>
                  <a:gd name="connsiteY3" fmla="*/ 71558 h 97947"/>
                  <a:gd name="connsiteX4" fmla="*/ 45412 w 56069"/>
                  <a:gd name="connsiteY4" fmla="*/ 70791 h 97947"/>
                  <a:gd name="connsiteX5" fmla="*/ 52334 w 56069"/>
                  <a:gd name="connsiteY5" fmla="*/ 26242 h 97947"/>
                  <a:gd name="connsiteX6" fmla="*/ 53868 w 56069"/>
                  <a:gd name="connsiteY6" fmla="*/ 3972 h 97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069" h="97947">
                    <a:moveTo>
                      <a:pt x="53868" y="3972"/>
                    </a:moveTo>
                    <a:cubicBezTo>
                      <a:pt x="53868" y="3972"/>
                      <a:pt x="9296" y="-29060"/>
                      <a:pt x="24665" y="44679"/>
                    </a:cubicBezTo>
                    <a:cubicBezTo>
                      <a:pt x="24665" y="44679"/>
                      <a:pt x="-29897" y="60040"/>
                      <a:pt x="20053" y="60806"/>
                    </a:cubicBezTo>
                    <a:cubicBezTo>
                      <a:pt x="20053" y="60806"/>
                      <a:pt x="-32965" y="86152"/>
                      <a:pt x="24665" y="71558"/>
                    </a:cubicBezTo>
                    <a:cubicBezTo>
                      <a:pt x="24665" y="71558"/>
                      <a:pt x="-15296" y="123783"/>
                      <a:pt x="45412" y="70791"/>
                    </a:cubicBezTo>
                    <a:cubicBezTo>
                      <a:pt x="45412" y="70791"/>
                      <a:pt x="57454" y="58755"/>
                      <a:pt x="52334" y="26242"/>
                    </a:cubicBezTo>
                    <a:lnTo>
                      <a:pt x="53868" y="3972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0" name="Vrije vorm 2209">
                <a:extLst>
                  <a:ext uri="{FF2B5EF4-FFF2-40B4-BE49-F238E27FC236}">
                    <a16:creationId xmlns:a16="http://schemas.microsoft.com/office/drawing/2014/main" id="{630B33E8-0C78-130D-7DCC-46F1410372DC}"/>
                  </a:ext>
                </a:extLst>
              </p:cNvPr>
              <p:cNvSpPr/>
              <p:nvPr/>
            </p:nvSpPr>
            <p:spPr>
              <a:xfrm flipV="1">
                <a:off x="3607439" y="1594472"/>
                <a:ext cx="139353" cy="177144"/>
              </a:xfrm>
              <a:custGeom>
                <a:avLst/>
                <a:gdLst>
                  <a:gd name="connsiteX0" fmla="*/ -1960 w 139353"/>
                  <a:gd name="connsiteY0" fmla="*/ 154626 h 177144"/>
                  <a:gd name="connsiteX1" fmla="*/ 130274 w 139353"/>
                  <a:gd name="connsiteY1" fmla="*/ -3436 h 177144"/>
                  <a:gd name="connsiteX2" fmla="*/ 137394 w 139353"/>
                  <a:gd name="connsiteY2" fmla="*/ 32744 h 177144"/>
                  <a:gd name="connsiteX3" fmla="*/ 71961 w 139353"/>
                  <a:gd name="connsiteY3" fmla="*/ 140115 h 177144"/>
                  <a:gd name="connsiteX4" fmla="*/ -1960 w 139353"/>
                  <a:gd name="connsiteY4" fmla="*/ 154626 h 177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353" h="177144">
                    <a:moveTo>
                      <a:pt x="-1960" y="154626"/>
                    </a:moveTo>
                    <a:cubicBezTo>
                      <a:pt x="-1960" y="154626"/>
                      <a:pt x="56778" y="31263"/>
                      <a:pt x="130274" y="-3436"/>
                    </a:cubicBezTo>
                    <a:lnTo>
                      <a:pt x="137394" y="32744"/>
                    </a:lnTo>
                    <a:cubicBezTo>
                      <a:pt x="137394" y="32744"/>
                      <a:pt x="100978" y="74207"/>
                      <a:pt x="71961" y="140115"/>
                    </a:cubicBezTo>
                    <a:cubicBezTo>
                      <a:pt x="42944" y="206023"/>
                      <a:pt x="-1960" y="154626"/>
                      <a:pt x="-1960" y="154626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1" name="Vrije vorm 2210">
                <a:extLst>
                  <a:ext uri="{FF2B5EF4-FFF2-40B4-BE49-F238E27FC236}">
                    <a16:creationId xmlns:a16="http://schemas.microsoft.com/office/drawing/2014/main" id="{A27D118F-CD2A-F07B-3C2B-E92B3CBCE930}"/>
                  </a:ext>
                </a:extLst>
              </p:cNvPr>
              <p:cNvSpPr/>
              <p:nvPr/>
            </p:nvSpPr>
            <p:spPr>
              <a:xfrm flipV="1">
                <a:off x="3608444" y="1397444"/>
                <a:ext cx="191791" cy="230620"/>
              </a:xfrm>
              <a:custGeom>
                <a:avLst/>
                <a:gdLst>
                  <a:gd name="connsiteX0" fmla="*/ 70933 w 191791"/>
                  <a:gd name="connsiteY0" fmla="*/ -3623 h 230620"/>
                  <a:gd name="connsiteX1" fmla="*/ 189809 w 191791"/>
                  <a:gd name="connsiteY1" fmla="*/ 171852 h 230620"/>
                  <a:gd name="connsiteX2" fmla="*/ 124531 w 191791"/>
                  <a:gd name="connsiteY2" fmla="*/ 226998 h 230620"/>
                  <a:gd name="connsiteX3" fmla="*/ -1983 w 191791"/>
                  <a:gd name="connsiteY3" fmla="*/ 15767 h 230620"/>
                  <a:gd name="connsiteX4" fmla="*/ 70933 w 191791"/>
                  <a:gd name="connsiteY4" fmla="*/ -3623 h 230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791" h="230620">
                    <a:moveTo>
                      <a:pt x="70933" y="-3623"/>
                    </a:moveTo>
                    <a:lnTo>
                      <a:pt x="189809" y="171852"/>
                    </a:lnTo>
                    <a:lnTo>
                      <a:pt x="124531" y="226998"/>
                    </a:lnTo>
                    <a:lnTo>
                      <a:pt x="-1983" y="15767"/>
                    </a:lnTo>
                    <a:lnTo>
                      <a:pt x="70933" y="-3623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2" name="Vrije vorm 2211">
                <a:extLst>
                  <a:ext uri="{FF2B5EF4-FFF2-40B4-BE49-F238E27FC236}">
                    <a16:creationId xmlns:a16="http://schemas.microsoft.com/office/drawing/2014/main" id="{AF593494-8DFF-F2AA-66D3-5C881F75E2A5}"/>
                  </a:ext>
                </a:extLst>
              </p:cNvPr>
              <p:cNvSpPr/>
              <p:nvPr/>
            </p:nvSpPr>
            <p:spPr>
              <a:xfrm flipV="1">
                <a:off x="3596071" y="1576596"/>
                <a:ext cx="103155" cy="64892"/>
              </a:xfrm>
              <a:custGeom>
                <a:avLst/>
                <a:gdLst>
                  <a:gd name="connsiteX0" fmla="*/ 101220 w 103155"/>
                  <a:gd name="connsiteY0" fmla="*/ 31731 h 64892"/>
                  <a:gd name="connsiteX1" fmla="*/ 18003 w 103155"/>
                  <a:gd name="connsiteY1" fmla="*/ 61375 h 64892"/>
                  <a:gd name="connsiteX2" fmla="*/ -1935 w 103155"/>
                  <a:gd name="connsiteY2" fmla="*/ 28800 h 64892"/>
                  <a:gd name="connsiteX3" fmla="*/ 88805 w 103155"/>
                  <a:gd name="connsiteY3" fmla="*/ -3517 h 64892"/>
                  <a:gd name="connsiteX4" fmla="*/ 101220 w 103155"/>
                  <a:gd name="connsiteY4" fmla="*/ 31731 h 64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155" h="64892">
                    <a:moveTo>
                      <a:pt x="101220" y="31731"/>
                    </a:moveTo>
                    <a:lnTo>
                      <a:pt x="18003" y="61375"/>
                    </a:lnTo>
                    <a:lnTo>
                      <a:pt x="-1935" y="28800"/>
                    </a:lnTo>
                    <a:lnTo>
                      <a:pt x="88805" y="-3517"/>
                    </a:lnTo>
                    <a:lnTo>
                      <a:pt x="101220" y="31731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13" name="Vrije vorm 2212">
                <a:extLst>
                  <a:ext uri="{FF2B5EF4-FFF2-40B4-BE49-F238E27FC236}">
                    <a16:creationId xmlns:a16="http://schemas.microsoft.com/office/drawing/2014/main" id="{B645E64A-862D-ED65-6C36-D57D417ED1CD}"/>
                  </a:ext>
                </a:extLst>
              </p:cNvPr>
              <p:cNvSpPr/>
              <p:nvPr/>
            </p:nvSpPr>
            <p:spPr>
              <a:xfrm flipV="1">
                <a:off x="3724833" y="1680583"/>
                <a:ext cx="67506" cy="92936"/>
              </a:xfrm>
              <a:custGeom>
                <a:avLst/>
                <a:gdLst>
                  <a:gd name="connsiteX0" fmla="*/ -2028 w 67506"/>
                  <a:gd name="connsiteY0" fmla="*/ 7349 h 92936"/>
                  <a:gd name="connsiteX1" fmla="*/ 33766 w 67506"/>
                  <a:gd name="connsiteY1" fmla="*/ 42401 h 92936"/>
                  <a:gd name="connsiteX2" fmla="*/ 41093 w 67506"/>
                  <a:gd name="connsiteY2" fmla="*/ 57493 h 92936"/>
                  <a:gd name="connsiteX3" fmla="*/ 38409 w 67506"/>
                  <a:gd name="connsiteY3" fmla="*/ 68886 h 92936"/>
                  <a:gd name="connsiteX4" fmla="*/ 17838 w 67506"/>
                  <a:gd name="connsiteY4" fmla="*/ 71704 h 92936"/>
                  <a:gd name="connsiteX5" fmla="*/ 3340 w 67506"/>
                  <a:gd name="connsiteY5" fmla="*/ 29018 h 92936"/>
                  <a:gd name="connsiteX6" fmla="*/ -2028 w 67506"/>
                  <a:gd name="connsiteY6" fmla="*/ 7349 h 92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506" h="92936">
                    <a:moveTo>
                      <a:pt x="-2028" y="7349"/>
                    </a:moveTo>
                    <a:cubicBezTo>
                      <a:pt x="-2028" y="7349"/>
                      <a:pt x="36170" y="-32881"/>
                      <a:pt x="33766" y="42401"/>
                    </a:cubicBezTo>
                    <a:cubicBezTo>
                      <a:pt x="33766" y="42401"/>
                      <a:pt x="90163" y="48129"/>
                      <a:pt x="41093" y="57493"/>
                    </a:cubicBezTo>
                    <a:cubicBezTo>
                      <a:pt x="41093" y="57493"/>
                      <a:pt x="97707" y="73320"/>
                      <a:pt x="38409" y="68886"/>
                    </a:cubicBezTo>
                    <a:cubicBezTo>
                      <a:pt x="38409" y="68886"/>
                      <a:pt x="86795" y="113436"/>
                      <a:pt x="17838" y="71704"/>
                    </a:cubicBezTo>
                    <a:cubicBezTo>
                      <a:pt x="17838" y="71704"/>
                      <a:pt x="3900" y="61936"/>
                      <a:pt x="3340" y="29018"/>
                    </a:cubicBezTo>
                    <a:lnTo>
                      <a:pt x="-2028" y="7349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2257" name="Vrije vorm 2256">
              <a:extLst>
                <a:ext uri="{FF2B5EF4-FFF2-40B4-BE49-F238E27FC236}">
                  <a16:creationId xmlns:a16="http://schemas.microsoft.com/office/drawing/2014/main" id="{1880F8EB-4527-A0E8-DDC6-C973D18512BE}"/>
                </a:ext>
              </a:extLst>
            </p:cNvPr>
            <p:cNvSpPr/>
            <p:nvPr/>
          </p:nvSpPr>
          <p:spPr>
            <a:xfrm flipH="1" flipV="1">
              <a:off x="4292989" y="1060540"/>
              <a:ext cx="714998" cy="528767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dirty="0"/>
            </a:p>
          </p:txBody>
        </p:sp>
        <p:grpSp>
          <p:nvGrpSpPr>
            <p:cNvPr id="2262" name="Groep 2261">
              <a:extLst>
                <a:ext uri="{FF2B5EF4-FFF2-40B4-BE49-F238E27FC236}">
                  <a16:creationId xmlns:a16="http://schemas.microsoft.com/office/drawing/2014/main" id="{DBFC7257-7A59-D3F4-94D8-33C1BF3E202A}"/>
                </a:ext>
              </a:extLst>
            </p:cNvPr>
            <p:cNvGrpSpPr/>
            <p:nvPr/>
          </p:nvGrpSpPr>
          <p:grpSpPr>
            <a:xfrm>
              <a:off x="4327649" y="1446834"/>
              <a:ext cx="599104" cy="194023"/>
              <a:chOff x="4327649" y="1446834"/>
              <a:chExt cx="599104" cy="194023"/>
            </a:xfrm>
          </p:grpSpPr>
          <p:sp>
            <p:nvSpPr>
              <p:cNvPr id="2258" name="Vrije vorm 2257">
                <a:extLst>
                  <a:ext uri="{FF2B5EF4-FFF2-40B4-BE49-F238E27FC236}">
                    <a16:creationId xmlns:a16="http://schemas.microsoft.com/office/drawing/2014/main" id="{E4396E65-836C-E7DB-E6F0-0FB5193DFD78}"/>
                  </a:ext>
                </a:extLst>
              </p:cNvPr>
              <p:cNvSpPr/>
              <p:nvPr/>
            </p:nvSpPr>
            <p:spPr>
              <a:xfrm flipV="1">
                <a:off x="4327649" y="1460857"/>
                <a:ext cx="180000" cy="180000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59" name="Vrije vorm 2258">
                <a:extLst>
                  <a:ext uri="{FF2B5EF4-FFF2-40B4-BE49-F238E27FC236}">
                    <a16:creationId xmlns:a16="http://schemas.microsoft.com/office/drawing/2014/main" id="{821F3876-C4DB-1C18-E816-777C8E5AE327}"/>
                  </a:ext>
                </a:extLst>
              </p:cNvPr>
              <p:cNvSpPr/>
              <p:nvPr/>
            </p:nvSpPr>
            <p:spPr>
              <a:xfrm flipV="1">
                <a:off x="4575074" y="1446834"/>
                <a:ext cx="180000" cy="180000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0" name="Vrije vorm 2259">
                <a:extLst>
                  <a:ext uri="{FF2B5EF4-FFF2-40B4-BE49-F238E27FC236}">
                    <a16:creationId xmlns:a16="http://schemas.microsoft.com/office/drawing/2014/main" id="{EE0FF516-9D34-D080-5231-06F78D90ADD9}"/>
                  </a:ext>
                </a:extLst>
              </p:cNvPr>
              <p:cNvSpPr/>
              <p:nvPr/>
            </p:nvSpPr>
            <p:spPr>
              <a:xfrm flipV="1">
                <a:off x="4746753" y="1519175"/>
                <a:ext cx="180000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61" name="Vrije vorm 2260">
                <a:extLst>
                  <a:ext uri="{FF2B5EF4-FFF2-40B4-BE49-F238E27FC236}">
                    <a16:creationId xmlns:a16="http://schemas.microsoft.com/office/drawing/2014/main" id="{0139FC2F-F275-1637-71FC-039748278B69}"/>
                  </a:ext>
                </a:extLst>
              </p:cNvPr>
              <p:cNvSpPr/>
              <p:nvPr/>
            </p:nvSpPr>
            <p:spPr>
              <a:xfrm flipV="1">
                <a:off x="4508557" y="1523698"/>
                <a:ext cx="72000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</p:grpSp>
      <p:pic>
        <p:nvPicPr>
          <p:cNvPr id="2265" name="Graphic 2264">
            <a:extLst>
              <a:ext uri="{FF2B5EF4-FFF2-40B4-BE49-F238E27FC236}">
                <a16:creationId xmlns:a16="http://schemas.microsoft.com/office/drawing/2014/main" id="{DC7DDFBB-6CA7-A839-3846-778F62CB0A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20303"/>
            <a:ext cx="12192000" cy="6873851"/>
          </a:xfrm>
          <a:prstGeom prst="rect">
            <a:avLst/>
          </a:prstGeom>
        </p:spPr>
      </p:pic>
      <p:grpSp>
        <p:nvGrpSpPr>
          <p:cNvPr id="2326" name="Groep 2325">
            <a:extLst>
              <a:ext uri="{FF2B5EF4-FFF2-40B4-BE49-F238E27FC236}">
                <a16:creationId xmlns:a16="http://schemas.microsoft.com/office/drawing/2014/main" id="{DEDCD940-183D-E73D-71BF-4D857089BF65}"/>
              </a:ext>
            </a:extLst>
          </p:cNvPr>
          <p:cNvGrpSpPr/>
          <p:nvPr/>
        </p:nvGrpSpPr>
        <p:grpSpPr>
          <a:xfrm>
            <a:off x="3346784" y="2278933"/>
            <a:ext cx="2474284" cy="4007313"/>
            <a:chOff x="3346784" y="2278933"/>
            <a:chExt cx="2474284" cy="4007313"/>
          </a:xfrm>
        </p:grpSpPr>
        <p:grpSp>
          <p:nvGrpSpPr>
            <p:cNvPr id="2268" name="Groep 2267">
              <a:extLst>
                <a:ext uri="{FF2B5EF4-FFF2-40B4-BE49-F238E27FC236}">
                  <a16:creationId xmlns:a16="http://schemas.microsoft.com/office/drawing/2014/main" id="{7316C90A-4C59-A986-2BEC-B6E4BF944BE1}"/>
                </a:ext>
              </a:extLst>
            </p:cNvPr>
            <p:cNvGrpSpPr/>
            <p:nvPr/>
          </p:nvGrpSpPr>
          <p:grpSpPr>
            <a:xfrm>
              <a:off x="3346784" y="2389533"/>
              <a:ext cx="2474284" cy="3896713"/>
              <a:chOff x="5922996" y="1634703"/>
              <a:chExt cx="831373" cy="1475463"/>
            </a:xfrm>
          </p:grpSpPr>
          <p:sp>
            <p:nvSpPr>
              <p:cNvPr id="2269" name="Vrije vorm 2268">
                <a:extLst>
                  <a:ext uri="{FF2B5EF4-FFF2-40B4-BE49-F238E27FC236}">
                    <a16:creationId xmlns:a16="http://schemas.microsoft.com/office/drawing/2014/main" id="{CE360275-3737-85AF-B5E4-2DA58FD25F43}"/>
                  </a:ext>
                </a:extLst>
              </p:cNvPr>
              <p:cNvSpPr/>
              <p:nvPr/>
            </p:nvSpPr>
            <p:spPr>
              <a:xfrm flipV="1">
                <a:off x="5970778" y="2130499"/>
                <a:ext cx="190775" cy="117842"/>
              </a:xfrm>
              <a:custGeom>
                <a:avLst/>
                <a:gdLst>
                  <a:gd name="connsiteX0" fmla="*/ 173918 w 190775"/>
                  <a:gd name="connsiteY0" fmla="*/ -3522 h 117842"/>
                  <a:gd name="connsiteX1" fmla="*/ -3448 w 190775"/>
                  <a:gd name="connsiteY1" fmla="*/ 101467 h 117842"/>
                  <a:gd name="connsiteX2" fmla="*/ 31134 w 190775"/>
                  <a:gd name="connsiteY2" fmla="*/ 114321 h 117842"/>
                  <a:gd name="connsiteX3" fmla="*/ 147689 w 190775"/>
                  <a:gd name="connsiteY3" fmla="*/ 67058 h 117842"/>
                  <a:gd name="connsiteX4" fmla="*/ 173918 w 190775"/>
                  <a:gd name="connsiteY4" fmla="*/ -3522 h 11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775" h="117842">
                    <a:moveTo>
                      <a:pt x="173918" y="-3522"/>
                    </a:moveTo>
                    <a:cubicBezTo>
                      <a:pt x="173918" y="-3522"/>
                      <a:pt x="42647" y="34554"/>
                      <a:pt x="-3448" y="101467"/>
                    </a:cubicBezTo>
                    <a:lnTo>
                      <a:pt x="31134" y="114321"/>
                    </a:lnTo>
                    <a:cubicBezTo>
                      <a:pt x="31134" y="114321"/>
                      <a:pt x="77934" y="85070"/>
                      <a:pt x="147689" y="67058"/>
                    </a:cubicBezTo>
                    <a:cubicBezTo>
                      <a:pt x="217432" y="49045"/>
                      <a:pt x="173918" y="-3522"/>
                      <a:pt x="173918" y="-352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0" name="Vrije vorm 2269">
                <a:extLst>
                  <a:ext uri="{FF2B5EF4-FFF2-40B4-BE49-F238E27FC236}">
                    <a16:creationId xmlns:a16="http://schemas.microsoft.com/office/drawing/2014/main" id="{C4759EF8-05CE-98DD-C635-2D249B689678}"/>
                  </a:ext>
                </a:extLst>
              </p:cNvPr>
              <p:cNvSpPr/>
              <p:nvPr/>
            </p:nvSpPr>
            <p:spPr>
              <a:xfrm flipV="1">
                <a:off x="5922996" y="2120061"/>
                <a:ext cx="86323" cy="66210"/>
              </a:xfrm>
              <a:custGeom>
                <a:avLst/>
                <a:gdLst>
                  <a:gd name="connsiteX0" fmla="*/ 82959 w 86323"/>
                  <a:gd name="connsiteY0" fmla="*/ 49850 h 66210"/>
                  <a:gd name="connsiteX1" fmla="*/ 35982 w 86323"/>
                  <a:gd name="connsiteY1" fmla="*/ 32396 h 66210"/>
                  <a:gd name="connsiteX2" fmla="*/ 23143 w 86323"/>
                  <a:gd name="connsiteY2" fmla="*/ 21603 h 66210"/>
                  <a:gd name="connsiteX3" fmla="*/ 20945 w 86323"/>
                  <a:gd name="connsiteY3" fmla="*/ 10106 h 66210"/>
                  <a:gd name="connsiteX4" fmla="*/ 38584 w 86323"/>
                  <a:gd name="connsiteY4" fmla="*/ -843 h 66210"/>
                  <a:gd name="connsiteX5" fmla="*/ 69228 w 86323"/>
                  <a:gd name="connsiteY5" fmla="*/ 32231 h 66210"/>
                  <a:gd name="connsiteX6" fmla="*/ 82959 w 86323"/>
                  <a:gd name="connsiteY6" fmla="*/ 49850 h 66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6323" h="66210">
                    <a:moveTo>
                      <a:pt x="82959" y="49850"/>
                    </a:moveTo>
                    <a:cubicBezTo>
                      <a:pt x="82959" y="49850"/>
                      <a:pt x="48957" y="88081"/>
                      <a:pt x="35982" y="32396"/>
                    </a:cubicBezTo>
                    <a:cubicBezTo>
                      <a:pt x="35982" y="32396"/>
                      <a:pt x="-17854" y="50139"/>
                      <a:pt x="23143" y="21603"/>
                    </a:cubicBezTo>
                    <a:cubicBezTo>
                      <a:pt x="23143" y="21603"/>
                      <a:pt x="-35005" y="30200"/>
                      <a:pt x="20945" y="10106"/>
                    </a:cubicBezTo>
                    <a:cubicBezTo>
                      <a:pt x="20945" y="10106"/>
                      <a:pt x="-41389" y="-10879"/>
                      <a:pt x="38584" y="-843"/>
                    </a:cubicBezTo>
                    <a:cubicBezTo>
                      <a:pt x="38584" y="-843"/>
                      <a:pt x="55300" y="2410"/>
                      <a:pt x="69228" y="32231"/>
                    </a:cubicBezTo>
                    <a:lnTo>
                      <a:pt x="82959" y="49850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1" name="Vrije vorm 2270">
                <a:extLst>
                  <a:ext uri="{FF2B5EF4-FFF2-40B4-BE49-F238E27FC236}">
                    <a16:creationId xmlns:a16="http://schemas.microsoft.com/office/drawing/2014/main" id="{30918089-83F3-D02A-5A3D-5FA9A00B7274}"/>
                  </a:ext>
                </a:extLst>
              </p:cNvPr>
              <p:cNvSpPr/>
              <p:nvPr/>
            </p:nvSpPr>
            <p:spPr>
              <a:xfrm flipV="1">
                <a:off x="5958713" y="2128834"/>
                <a:ext cx="20829" cy="15037"/>
              </a:xfrm>
              <a:custGeom>
                <a:avLst/>
                <a:gdLst>
                  <a:gd name="connsiteX0" fmla="*/ 4729 w 20829"/>
                  <a:gd name="connsiteY0" fmla="*/ -3580 h 15037"/>
                  <a:gd name="connsiteX1" fmla="*/ 7869 w 20829"/>
                  <a:gd name="connsiteY1" fmla="*/ 8954 h 15037"/>
                  <a:gd name="connsiteX2" fmla="*/ 4729 w 20829"/>
                  <a:gd name="connsiteY2" fmla="*/ -3580 h 15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829" h="15037">
                    <a:moveTo>
                      <a:pt x="4729" y="-3580"/>
                    </a:moveTo>
                    <a:cubicBezTo>
                      <a:pt x="4729" y="-3580"/>
                      <a:pt x="-15428" y="18804"/>
                      <a:pt x="7869" y="8954"/>
                    </a:cubicBezTo>
                    <a:cubicBezTo>
                      <a:pt x="31155" y="-897"/>
                      <a:pt x="4729" y="-3580"/>
                      <a:pt x="4729" y="-3580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2" name="Vrije vorm 2271">
                <a:extLst>
                  <a:ext uri="{FF2B5EF4-FFF2-40B4-BE49-F238E27FC236}">
                    <a16:creationId xmlns:a16="http://schemas.microsoft.com/office/drawing/2014/main" id="{3D6948FE-A32F-3B6F-BE95-B627B7B1D56A}"/>
                  </a:ext>
                </a:extLst>
              </p:cNvPr>
              <p:cNvSpPr/>
              <p:nvPr/>
            </p:nvSpPr>
            <p:spPr>
              <a:xfrm flipV="1">
                <a:off x="6412322" y="2982061"/>
                <a:ext cx="46281" cy="90725"/>
              </a:xfrm>
              <a:custGeom>
                <a:avLst/>
                <a:gdLst>
                  <a:gd name="connsiteX0" fmla="*/ -3757 w 46281"/>
                  <a:gd name="connsiteY0" fmla="*/ 80808 h 90725"/>
                  <a:gd name="connsiteX1" fmla="*/ 10130 w 46281"/>
                  <a:gd name="connsiteY1" fmla="*/ -2605 h 90725"/>
                  <a:gd name="connsiteX2" fmla="*/ 42525 w 46281"/>
                  <a:gd name="connsiteY2" fmla="*/ -2605 h 90725"/>
                  <a:gd name="connsiteX3" fmla="*/ 31695 w 46281"/>
                  <a:gd name="connsiteY3" fmla="*/ 88121 h 90725"/>
                  <a:gd name="connsiteX4" fmla="*/ -3757 w 46281"/>
                  <a:gd name="connsiteY4" fmla="*/ 8080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81" h="90725">
                    <a:moveTo>
                      <a:pt x="-3757" y="80808"/>
                    </a:moveTo>
                    <a:lnTo>
                      <a:pt x="10130" y="-2605"/>
                    </a:lnTo>
                    <a:lnTo>
                      <a:pt x="42525" y="-2605"/>
                    </a:lnTo>
                    <a:lnTo>
                      <a:pt x="31695" y="88121"/>
                    </a:lnTo>
                    <a:lnTo>
                      <a:pt x="-3757" y="8080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3" name="Vrije vorm 2272">
                <a:extLst>
                  <a:ext uri="{FF2B5EF4-FFF2-40B4-BE49-F238E27FC236}">
                    <a16:creationId xmlns:a16="http://schemas.microsoft.com/office/drawing/2014/main" id="{CFA68804-4B6E-9848-4B6D-47A0B2527798}"/>
                  </a:ext>
                </a:extLst>
              </p:cNvPr>
              <p:cNvSpPr/>
              <p:nvPr/>
            </p:nvSpPr>
            <p:spPr>
              <a:xfrm flipV="1">
                <a:off x="6412322" y="3033250"/>
                <a:ext cx="154081" cy="76915"/>
              </a:xfrm>
              <a:custGeom>
                <a:avLst/>
                <a:gdLst>
                  <a:gd name="connsiteX0" fmla="*/ 52304 w 154081"/>
                  <a:gd name="connsiteY0" fmla="*/ 74360 h 76915"/>
                  <a:gd name="connsiteX1" fmla="*/ 98824 w 154081"/>
                  <a:gd name="connsiteY1" fmla="*/ 41908 h 76915"/>
                  <a:gd name="connsiteX2" fmla="*/ 150163 w 154081"/>
                  <a:gd name="connsiteY2" fmla="*/ 5873 h 76915"/>
                  <a:gd name="connsiteX3" fmla="*/ 40666 w 154081"/>
                  <a:gd name="connsiteY3" fmla="*/ 8172 h 76915"/>
                  <a:gd name="connsiteX4" fmla="*/ 40666 w 154081"/>
                  <a:gd name="connsiteY4" fmla="*/ 1025 h 76915"/>
                  <a:gd name="connsiteX5" fmla="*/ -3802 w 154081"/>
                  <a:gd name="connsiteY5" fmla="*/ 2972 h 76915"/>
                  <a:gd name="connsiteX6" fmla="*/ -3802 w 154081"/>
                  <a:gd name="connsiteY6" fmla="*/ 62023 h 76915"/>
                  <a:gd name="connsiteX7" fmla="*/ 33153 w 154081"/>
                  <a:gd name="connsiteY7" fmla="*/ 59423 h 76915"/>
                  <a:gd name="connsiteX8" fmla="*/ 30407 w 154081"/>
                  <a:gd name="connsiteY8" fmla="*/ 65265 h 76915"/>
                  <a:gd name="connsiteX9" fmla="*/ 52304 w 154081"/>
                  <a:gd name="connsiteY9" fmla="*/ 74360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4081" h="76915">
                    <a:moveTo>
                      <a:pt x="52304" y="74360"/>
                    </a:moveTo>
                    <a:cubicBezTo>
                      <a:pt x="52304" y="74360"/>
                      <a:pt x="70781" y="50339"/>
                      <a:pt x="98824" y="41908"/>
                    </a:cubicBezTo>
                    <a:cubicBezTo>
                      <a:pt x="126878" y="33477"/>
                      <a:pt x="152205" y="22746"/>
                      <a:pt x="150163" y="5873"/>
                    </a:cubicBezTo>
                    <a:cubicBezTo>
                      <a:pt x="150163" y="5873"/>
                      <a:pt x="108410" y="-14543"/>
                      <a:pt x="40666" y="8172"/>
                    </a:cubicBezTo>
                    <a:lnTo>
                      <a:pt x="40666" y="1025"/>
                    </a:lnTo>
                    <a:lnTo>
                      <a:pt x="-3802" y="2972"/>
                    </a:lnTo>
                    <a:lnTo>
                      <a:pt x="-3802" y="62023"/>
                    </a:lnTo>
                    <a:lnTo>
                      <a:pt x="33153" y="59423"/>
                    </a:lnTo>
                    <a:lnTo>
                      <a:pt x="30407" y="65265"/>
                    </a:lnTo>
                    <a:lnTo>
                      <a:pt x="52304" y="74360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4" name="Vrije vorm 2273">
                <a:extLst>
                  <a:ext uri="{FF2B5EF4-FFF2-40B4-BE49-F238E27FC236}">
                    <a16:creationId xmlns:a16="http://schemas.microsoft.com/office/drawing/2014/main" id="{4492C37D-3281-7543-3AC4-2306393CFC8B}"/>
                  </a:ext>
                </a:extLst>
              </p:cNvPr>
              <p:cNvSpPr/>
              <p:nvPr/>
            </p:nvSpPr>
            <p:spPr>
              <a:xfrm flipV="1">
                <a:off x="6412322" y="3092552"/>
                <a:ext cx="154035" cy="17614"/>
              </a:xfrm>
              <a:custGeom>
                <a:avLst/>
                <a:gdLst>
                  <a:gd name="connsiteX0" fmla="*/ 70139 w 154035"/>
                  <a:gd name="connsiteY0" fmla="*/ 7376 h 17614"/>
                  <a:gd name="connsiteX1" fmla="*/ 149811 w 154035"/>
                  <a:gd name="connsiteY1" fmla="*/ 10297 h 17614"/>
                  <a:gd name="connsiteX2" fmla="*/ 150164 w 154035"/>
                  <a:gd name="connsiteY2" fmla="*/ 5905 h 17614"/>
                  <a:gd name="connsiteX3" fmla="*/ 40666 w 154035"/>
                  <a:gd name="connsiteY3" fmla="*/ 8204 h 17614"/>
                  <a:gd name="connsiteX4" fmla="*/ 40666 w 154035"/>
                  <a:gd name="connsiteY4" fmla="*/ 1058 h 17614"/>
                  <a:gd name="connsiteX5" fmla="*/ -3802 w 154035"/>
                  <a:gd name="connsiteY5" fmla="*/ 3005 h 17614"/>
                  <a:gd name="connsiteX6" fmla="*/ -3802 w 154035"/>
                  <a:gd name="connsiteY6" fmla="*/ 14782 h 17614"/>
                  <a:gd name="connsiteX7" fmla="*/ 70139 w 154035"/>
                  <a:gd name="connsiteY7" fmla="*/ 7376 h 17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035" h="17614">
                    <a:moveTo>
                      <a:pt x="70139" y="7376"/>
                    </a:moveTo>
                    <a:cubicBezTo>
                      <a:pt x="130857" y="-8223"/>
                      <a:pt x="146257" y="9095"/>
                      <a:pt x="149811" y="10297"/>
                    </a:cubicBezTo>
                    <a:cubicBezTo>
                      <a:pt x="150195" y="8836"/>
                      <a:pt x="150329" y="7366"/>
                      <a:pt x="150164" y="5905"/>
                    </a:cubicBezTo>
                    <a:cubicBezTo>
                      <a:pt x="150164" y="5905"/>
                      <a:pt x="108410" y="-14511"/>
                      <a:pt x="40666" y="8204"/>
                    </a:cubicBezTo>
                    <a:lnTo>
                      <a:pt x="40666" y="1058"/>
                    </a:lnTo>
                    <a:lnTo>
                      <a:pt x="-3802" y="3005"/>
                    </a:lnTo>
                    <a:lnTo>
                      <a:pt x="-3802" y="14782"/>
                    </a:lnTo>
                    <a:cubicBezTo>
                      <a:pt x="12085" y="13829"/>
                      <a:pt x="25391" y="18884"/>
                      <a:pt x="70139" y="7376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5" name="Vrije vorm 2274">
                <a:extLst>
                  <a:ext uri="{FF2B5EF4-FFF2-40B4-BE49-F238E27FC236}">
                    <a16:creationId xmlns:a16="http://schemas.microsoft.com/office/drawing/2014/main" id="{8B6E7698-CD29-4A09-3A7F-661926CC5BD4}"/>
                  </a:ext>
                </a:extLst>
              </p:cNvPr>
              <p:cNvSpPr/>
              <p:nvPr/>
            </p:nvSpPr>
            <p:spPr>
              <a:xfrm flipV="1">
                <a:off x="6460645" y="3045590"/>
                <a:ext cx="23930" cy="22058"/>
              </a:xfrm>
              <a:custGeom>
                <a:avLst/>
                <a:gdLst>
                  <a:gd name="connsiteX0" fmla="*/ -2161 w 23930"/>
                  <a:gd name="connsiteY0" fmla="*/ -2573 h 22058"/>
                  <a:gd name="connsiteX1" fmla="*/ -544 w 23930"/>
                  <a:gd name="connsiteY1" fmla="*/ -1713 h 22058"/>
                  <a:gd name="connsiteX2" fmla="*/ 18856 w 23930"/>
                  <a:gd name="connsiteY2" fmla="*/ 15699 h 22058"/>
                  <a:gd name="connsiteX3" fmla="*/ 20027 w 23930"/>
                  <a:gd name="connsiteY3" fmla="*/ 18195 h 22058"/>
                  <a:gd name="connsiteX4" fmla="*/ 17529 w 23930"/>
                  <a:gd name="connsiteY4" fmla="*/ 19376 h 22058"/>
                  <a:gd name="connsiteX5" fmla="*/ -3788 w 23930"/>
                  <a:gd name="connsiteY5" fmla="*/ 462 h 22058"/>
                  <a:gd name="connsiteX6" fmla="*/ -3249 w 23930"/>
                  <a:gd name="connsiteY6" fmla="*/ -2241 h 22058"/>
                  <a:gd name="connsiteX7" fmla="*/ -2161 w 23930"/>
                  <a:gd name="connsiteY7" fmla="*/ -257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58">
                    <a:moveTo>
                      <a:pt x="-2161" y="-2573"/>
                    </a:moveTo>
                    <a:lnTo>
                      <a:pt x="-544" y="-1713"/>
                    </a:lnTo>
                    <a:cubicBezTo>
                      <a:pt x="8575" y="11877"/>
                      <a:pt x="18752" y="15668"/>
                      <a:pt x="18856" y="15699"/>
                    </a:cubicBezTo>
                    <a:cubicBezTo>
                      <a:pt x="19871" y="16072"/>
                      <a:pt x="20389" y="17190"/>
                      <a:pt x="20027" y="18195"/>
                    </a:cubicBezTo>
                    <a:cubicBezTo>
                      <a:pt x="19664" y="19210"/>
                      <a:pt x="18544" y="19728"/>
                      <a:pt x="17529" y="19376"/>
                    </a:cubicBezTo>
                    <a:cubicBezTo>
                      <a:pt x="17063" y="19200"/>
                      <a:pt x="6036" y="15098"/>
                      <a:pt x="-3788" y="462"/>
                    </a:cubicBezTo>
                    <a:lnTo>
                      <a:pt x="-3249" y="-2241"/>
                    </a:lnTo>
                    <a:lnTo>
                      <a:pt x="-2161" y="-257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6" name="Vrije vorm 2275">
                <a:extLst>
                  <a:ext uri="{FF2B5EF4-FFF2-40B4-BE49-F238E27FC236}">
                    <a16:creationId xmlns:a16="http://schemas.microsoft.com/office/drawing/2014/main" id="{3343359E-2694-563A-86E4-19CC115D1992}"/>
                  </a:ext>
                </a:extLst>
              </p:cNvPr>
              <p:cNvSpPr/>
              <p:nvPr/>
            </p:nvSpPr>
            <p:spPr>
              <a:xfrm flipV="1">
                <a:off x="6470833" y="3050158"/>
                <a:ext cx="23928" cy="22069"/>
              </a:xfrm>
              <a:custGeom>
                <a:avLst/>
                <a:gdLst>
                  <a:gd name="connsiteX0" fmla="*/ -2180 w 23928"/>
                  <a:gd name="connsiteY0" fmla="*/ -2568 h 22069"/>
                  <a:gd name="connsiteX1" fmla="*/ -563 w 23928"/>
                  <a:gd name="connsiteY1" fmla="*/ -1698 h 22069"/>
                  <a:gd name="connsiteX2" fmla="*/ 18836 w 23928"/>
                  <a:gd name="connsiteY2" fmla="*/ 15714 h 22069"/>
                  <a:gd name="connsiteX3" fmla="*/ 20018 w 23928"/>
                  <a:gd name="connsiteY3" fmla="*/ 18211 h 22069"/>
                  <a:gd name="connsiteX4" fmla="*/ 17520 w 23928"/>
                  <a:gd name="connsiteY4" fmla="*/ 19391 h 22069"/>
                  <a:gd name="connsiteX5" fmla="*/ -3797 w 23928"/>
                  <a:gd name="connsiteY5" fmla="*/ 477 h 22069"/>
                  <a:gd name="connsiteX6" fmla="*/ -3258 w 23928"/>
                  <a:gd name="connsiteY6" fmla="*/ -2236 h 22069"/>
                  <a:gd name="connsiteX7" fmla="*/ -2180 w 23928"/>
                  <a:gd name="connsiteY7" fmla="*/ -2568 h 2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8" h="22069">
                    <a:moveTo>
                      <a:pt x="-2180" y="-2568"/>
                    </a:moveTo>
                    <a:lnTo>
                      <a:pt x="-563" y="-1698"/>
                    </a:lnTo>
                    <a:cubicBezTo>
                      <a:pt x="8556" y="11892"/>
                      <a:pt x="18743" y="15673"/>
                      <a:pt x="18836" y="15714"/>
                    </a:cubicBezTo>
                    <a:cubicBezTo>
                      <a:pt x="19852" y="16077"/>
                      <a:pt x="20381" y="17195"/>
                      <a:pt x="20018" y="18211"/>
                    </a:cubicBezTo>
                    <a:cubicBezTo>
                      <a:pt x="19655" y="19226"/>
                      <a:pt x="18526" y="19743"/>
                      <a:pt x="17520" y="19391"/>
                    </a:cubicBezTo>
                    <a:cubicBezTo>
                      <a:pt x="17054" y="19226"/>
                      <a:pt x="6017" y="15113"/>
                      <a:pt x="-3797" y="477"/>
                    </a:cubicBezTo>
                    <a:lnTo>
                      <a:pt x="-3258" y="-2236"/>
                    </a:lnTo>
                    <a:lnTo>
                      <a:pt x="-2180" y="-256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7" name="Vrije vorm 2276">
                <a:extLst>
                  <a:ext uri="{FF2B5EF4-FFF2-40B4-BE49-F238E27FC236}">
                    <a16:creationId xmlns:a16="http://schemas.microsoft.com/office/drawing/2014/main" id="{2DA124D0-E474-8BC0-3D62-57225A8811EC}"/>
                  </a:ext>
                </a:extLst>
              </p:cNvPr>
              <p:cNvSpPr/>
              <p:nvPr/>
            </p:nvSpPr>
            <p:spPr>
              <a:xfrm flipV="1">
                <a:off x="6481009" y="3054670"/>
                <a:ext cx="23930" cy="22062"/>
              </a:xfrm>
              <a:custGeom>
                <a:avLst/>
                <a:gdLst>
                  <a:gd name="connsiteX0" fmla="*/ -2178 w 23930"/>
                  <a:gd name="connsiteY0" fmla="*/ -2563 h 22062"/>
                  <a:gd name="connsiteX1" fmla="*/ -561 w 23930"/>
                  <a:gd name="connsiteY1" fmla="*/ -1703 h 22062"/>
                  <a:gd name="connsiteX2" fmla="*/ 18839 w 23930"/>
                  <a:gd name="connsiteY2" fmla="*/ 15719 h 22062"/>
                  <a:gd name="connsiteX3" fmla="*/ 20010 w 23930"/>
                  <a:gd name="connsiteY3" fmla="*/ 18215 h 22062"/>
                  <a:gd name="connsiteX4" fmla="*/ 17512 w 23930"/>
                  <a:gd name="connsiteY4" fmla="*/ 19386 h 22062"/>
                  <a:gd name="connsiteX5" fmla="*/ -3805 w 23930"/>
                  <a:gd name="connsiteY5" fmla="*/ 472 h 22062"/>
                  <a:gd name="connsiteX6" fmla="*/ -3276 w 23930"/>
                  <a:gd name="connsiteY6" fmla="*/ -2231 h 22062"/>
                  <a:gd name="connsiteX7" fmla="*/ -2178 w 23930"/>
                  <a:gd name="connsiteY7" fmla="*/ -2563 h 2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2">
                    <a:moveTo>
                      <a:pt x="-2178" y="-2563"/>
                    </a:moveTo>
                    <a:lnTo>
                      <a:pt x="-561" y="-1703"/>
                    </a:lnTo>
                    <a:cubicBezTo>
                      <a:pt x="8496" y="11804"/>
                      <a:pt x="18735" y="15678"/>
                      <a:pt x="18839" y="15719"/>
                    </a:cubicBezTo>
                    <a:cubicBezTo>
                      <a:pt x="19854" y="16092"/>
                      <a:pt x="20372" y="17210"/>
                      <a:pt x="20010" y="18215"/>
                    </a:cubicBezTo>
                    <a:cubicBezTo>
                      <a:pt x="19637" y="19220"/>
                      <a:pt x="18528" y="19748"/>
                      <a:pt x="17512" y="19386"/>
                    </a:cubicBezTo>
                    <a:cubicBezTo>
                      <a:pt x="17046" y="19220"/>
                      <a:pt x="6019" y="15108"/>
                      <a:pt x="-3805" y="472"/>
                    </a:cubicBezTo>
                    <a:lnTo>
                      <a:pt x="-3276" y="-2231"/>
                    </a:lnTo>
                    <a:lnTo>
                      <a:pt x="-2178" y="-256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8" name="Vrije vorm 2277">
                <a:extLst>
                  <a:ext uri="{FF2B5EF4-FFF2-40B4-BE49-F238E27FC236}">
                    <a16:creationId xmlns:a16="http://schemas.microsoft.com/office/drawing/2014/main" id="{88F8EE91-DBC1-8CF4-4693-C9AC4A77C97B}"/>
                  </a:ext>
                </a:extLst>
              </p:cNvPr>
              <p:cNvSpPr/>
              <p:nvPr/>
            </p:nvSpPr>
            <p:spPr>
              <a:xfrm flipV="1">
                <a:off x="6214738" y="2982061"/>
                <a:ext cx="46282" cy="90725"/>
              </a:xfrm>
              <a:custGeom>
                <a:avLst/>
                <a:gdLst>
                  <a:gd name="connsiteX0" fmla="*/ 42690 w 46282"/>
                  <a:gd name="connsiteY0" fmla="*/ 80808 h 90725"/>
                  <a:gd name="connsiteX1" fmla="*/ 28804 w 46282"/>
                  <a:gd name="connsiteY1" fmla="*/ -2605 h 90725"/>
                  <a:gd name="connsiteX2" fmla="*/ -3592 w 46282"/>
                  <a:gd name="connsiteY2" fmla="*/ -2605 h 90725"/>
                  <a:gd name="connsiteX3" fmla="*/ 7248 w 46282"/>
                  <a:gd name="connsiteY3" fmla="*/ 88121 h 90725"/>
                  <a:gd name="connsiteX4" fmla="*/ 42690 w 46282"/>
                  <a:gd name="connsiteY4" fmla="*/ 80808 h 9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82" h="90725">
                    <a:moveTo>
                      <a:pt x="42690" y="80808"/>
                    </a:moveTo>
                    <a:lnTo>
                      <a:pt x="28804" y="-2605"/>
                    </a:lnTo>
                    <a:lnTo>
                      <a:pt x="-3592" y="-2605"/>
                    </a:lnTo>
                    <a:lnTo>
                      <a:pt x="7248" y="88121"/>
                    </a:lnTo>
                    <a:lnTo>
                      <a:pt x="42690" y="80808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79" name="Vrije vorm 2278">
                <a:extLst>
                  <a:ext uri="{FF2B5EF4-FFF2-40B4-BE49-F238E27FC236}">
                    <a16:creationId xmlns:a16="http://schemas.microsoft.com/office/drawing/2014/main" id="{D022587E-9753-2C32-593F-01F72DAFEBA6}"/>
                  </a:ext>
                </a:extLst>
              </p:cNvPr>
              <p:cNvSpPr/>
              <p:nvPr/>
            </p:nvSpPr>
            <p:spPr>
              <a:xfrm flipV="1">
                <a:off x="6103882" y="3033250"/>
                <a:ext cx="157138" cy="76915"/>
              </a:xfrm>
              <a:custGeom>
                <a:avLst/>
                <a:gdLst>
                  <a:gd name="connsiteX0" fmla="*/ 97497 w 157138"/>
                  <a:gd name="connsiteY0" fmla="*/ 74360 h 76915"/>
                  <a:gd name="connsiteX1" fmla="*/ 50966 w 157138"/>
                  <a:gd name="connsiteY1" fmla="*/ 41908 h 76915"/>
                  <a:gd name="connsiteX2" fmla="*/ -3440 w 157138"/>
                  <a:gd name="connsiteY2" fmla="*/ 5873 h 76915"/>
                  <a:gd name="connsiteX3" fmla="*/ 109124 w 157138"/>
                  <a:gd name="connsiteY3" fmla="*/ 8172 h 76915"/>
                  <a:gd name="connsiteX4" fmla="*/ 109124 w 157138"/>
                  <a:gd name="connsiteY4" fmla="*/ 1025 h 76915"/>
                  <a:gd name="connsiteX5" fmla="*/ 153593 w 157138"/>
                  <a:gd name="connsiteY5" fmla="*/ 2972 h 76915"/>
                  <a:gd name="connsiteX6" fmla="*/ 153593 w 157138"/>
                  <a:gd name="connsiteY6" fmla="*/ 62023 h 76915"/>
                  <a:gd name="connsiteX7" fmla="*/ 116648 w 157138"/>
                  <a:gd name="connsiteY7" fmla="*/ 59423 h 76915"/>
                  <a:gd name="connsiteX8" fmla="*/ 119384 w 157138"/>
                  <a:gd name="connsiteY8" fmla="*/ 65265 h 76915"/>
                  <a:gd name="connsiteX9" fmla="*/ 97497 w 157138"/>
                  <a:gd name="connsiteY9" fmla="*/ 74360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7138" h="76915">
                    <a:moveTo>
                      <a:pt x="97497" y="74360"/>
                    </a:moveTo>
                    <a:cubicBezTo>
                      <a:pt x="97497" y="74360"/>
                      <a:pt x="79019" y="50339"/>
                      <a:pt x="50966" y="41908"/>
                    </a:cubicBezTo>
                    <a:cubicBezTo>
                      <a:pt x="22913" y="33477"/>
                      <a:pt x="-5492" y="22746"/>
                      <a:pt x="-3440" y="5873"/>
                    </a:cubicBezTo>
                    <a:cubicBezTo>
                      <a:pt x="-3440" y="5873"/>
                      <a:pt x="41401" y="-14543"/>
                      <a:pt x="109124" y="8172"/>
                    </a:cubicBezTo>
                    <a:lnTo>
                      <a:pt x="109124" y="1025"/>
                    </a:lnTo>
                    <a:lnTo>
                      <a:pt x="153593" y="2972"/>
                    </a:lnTo>
                    <a:lnTo>
                      <a:pt x="153593" y="62023"/>
                    </a:lnTo>
                    <a:lnTo>
                      <a:pt x="116648" y="59423"/>
                    </a:lnTo>
                    <a:lnTo>
                      <a:pt x="119384" y="65265"/>
                    </a:lnTo>
                    <a:lnTo>
                      <a:pt x="97497" y="74360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0" name="Vrije vorm 2279">
                <a:extLst>
                  <a:ext uri="{FF2B5EF4-FFF2-40B4-BE49-F238E27FC236}">
                    <a16:creationId xmlns:a16="http://schemas.microsoft.com/office/drawing/2014/main" id="{C321674E-4004-FECC-3C43-BC2F61F33DE5}"/>
                  </a:ext>
                </a:extLst>
              </p:cNvPr>
              <p:cNvSpPr/>
              <p:nvPr/>
            </p:nvSpPr>
            <p:spPr>
              <a:xfrm flipV="1">
                <a:off x="6103917" y="3089784"/>
                <a:ext cx="157102" cy="20381"/>
              </a:xfrm>
              <a:custGeom>
                <a:avLst/>
                <a:gdLst>
                  <a:gd name="connsiteX0" fmla="*/ 70393 w 157102"/>
                  <a:gd name="connsiteY0" fmla="*/ 4308 h 20381"/>
                  <a:gd name="connsiteX1" fmla="*/ -3113 w 157102"/>
                  <a:gd name="connsiteY1" fmla="*/ 10295 h 20381"/>
                  <a:gd name="connsiteX2" fmla="*/ -3476 w 157102"/>
                  <a:gd name="connsiteY2" fmla="*/ 5904 h 20381"/>
                  <a:gd name="connsiteX3" fmla="*/ 109089 w 157102"/>
                  <a:gd name="connsiteY3" fmla="*/ 8203 h 20381"/>
                  <a:gd name="connsiteX4" fmla="*/ 109089 w 157102"/>
                  <a:gd name="connsiteY4" fmla="*/ 1056 h 20381"/>
                  <a:gd name="connsiteX5" fmla="*/ 153557 w 157102"/>
                  <a:gd name="connsiteY5" fmla="*/ 3003 h 20381"/>
                  <a:gd name="connsiteX6" fmla="*/ 153557 w 157102"/>
                  <a:gd name="connsiteY6" fmla="*/ 17857 h 20381"/>
                  <a:gd name="connsiteX7" fmla="*/ 70393 w 157102"/>
                  <a:gd name="connsiteY7" fmla="*/ 4308 h 20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02" h="20381">
                    <a:moveTo>
                      <a:pt x="70393" y="4308"/>
                    </a:moveTo>
                    <a:cubicBezTo>
                      <a:pt x="27779" y="-2393"/>
                      <a:pt x="421" y="9094"/>
                      <a:pt x="-3113" y="10295"/>
                    </a:cubicBezTo>
                    <a:cubicBezTo>
                      <a:pt x="-3507" y="8835"/>
                      <a:pt x="-3642" y="7364"/>
                      <a:pt x="-3476" y="5904"/>
                    </a:cubicBezTo>
                    <a:cubicBezTo>
                      <a:pt x="-3476" y="5904"/>
                      <a:pt x="41366" y="-14512"/>
                      <a:pt x="109089" y="8203"/>
                    </a:cubicBezTo>
                    <a:lnTo>
                      <a:pt x="109089" y="1056"/>
                    </a:lnTo>
                    <a:lnTo>
                      <a:pt x="153557" y="3003"/>
                    </a:lnTo>
                    <a:lnTo>
                      <a:pt x="153557" y="17857"/>
                    </a:lnTo>
                    <a:cubicBezTo>
                      <a:pt x="137691" y="16893"/>
                      <a:pt x="111307" y="10741"/>
                      <a:pt x="70393" y="43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1" name="Vrije vorm 2280">
                <a:extLst>
                  <a:ext uri="{FF2B5EF4-FFF2-40B4-BE49-F238E27FC236}">
                    <a16:creationId xmlns:a16="http://schemas.microsoft.com/office/drawing/2014/main" id="{F06DE122-1626-035D-3D26-E3D84DCA7D5A}"/>
                  </a:ext>
                </a:extLst>
              </p:cNvPr>
              <p:cNvSpPr/>
              <p:nvPr/>
            </p:nvSpPr>
            <p:spPr>
              <a:xfrm flipV="1">
                <a:off x="6188766" y="3045590"/>
                <a:ext cx="23940" cy="22058"/>
              </a:xfrm>
              <a:custGeom>
                <a:avLst/>
                <a:gdLst>
                  <a:gd name="connsiteX0" fmla="*/ 18753 w 23940"/>
                  <a:gd name="connsiteY0" fmla="*/ -2573 h 22058"/>
                  <a:gd name="connsiteX1" fmla="*/ 17126 w 23940"/>
                  <a:gd name="connsiteY1" fmla="*/ -1713 h 22058"/>
                  <a:gd name="connsiteX2" fmla="*/ -2274 w 23940"/>
                  <a:gd name="connsiteY2" fmla="*/ 15699 h 22058"/>
                  <a:gd name="connsiteX3" fmla="*/ -3445 w 23940"/>
                  <a:gd name="connsiteY3" fmla="*/ 18195 h 22058"/>
                  <a:gd name="connsiteX4" fmla="*/ -948 w 23940"/>
                  <a:gd name="connsiteY4" fmla="*/ 19376 h 22058"/>
                  <a:gd name="connsiteX5" fmla="*/ 20380 w 23940"/>
                  <a:gd name="connsiteY5" fmla="*/ 462 h 22058"/>
                  <a:gd name="connsiteX6" fmla="*/ 19841 w 23940"/>
                  <a:gd name="connsiteY6" fmla="*/ -2241 h 22058"/>
                  <a:gd name="connsiteX7" fmla="*/ 18753 w 23940"/>
                  <a:gd name="connsiteY7" fmla="*/ -257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40" h="22058">
                    <a:moveTo>
                      <a:pt x="18753" y="-2573"/>
                    </a:moveTo>
                    <a:lnTo>
                      <a:pt x="17126" y="-1713"/>
                    </a:lnTo>
                    <a:cubicBezTo>
                      <a:pt x="8006" y="11877"/>
                      <a:pt x="-2170" y="15668"/>
                      <a:pt x="-2274" y="15699"/>
                    </a:cubicBezTo>
                    <a:cubicBezTo>
                      <a:pt x="-3290" y="16072"/>
                      <a:pt x="-3808" y="17190"/>
                      <a:pt x="-3445" y="18195"/>
                    </a:cubicBezTo>
                    <a:cubicBezTo>
                      <a:pt x="-3083" y="19210"/>
                      <a:pt x="-1963" y="19728"/>
                      <a:pt x="-948" y="19376"/>
                    </a:cubicBezTo>
                    <a:cubicBezTo>
                      <a:pt x="-481" y="19200"/>
                      <a:pt x="10545" y="15098"/>
                      <a:pt x="20380" y="462"/>
                    </a:cubicBezTo>
                    <a:lnTo>
                      <a:pt x="19841" y="-2241"/>
                    </a:lnTo>
                    <a:lnTo>
                      <a:pt x="18753" y="-257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2" name="Vrije vorm 2281">
                <a:extLst>
                  <a:ext uri="{FF2B5EF4-FFF2-40B4-BE49-F238E27FC236}">
                    <a16:creationId xmlns:a16="http://schemas.microsoft.com/office/drawing/2014/main" id="{0CB7E9C8-3E22-4E11-9843-A1BA287875AE}"/>
                  </a:ext>
                </a:extLst>
              </p:cNvPr>
              <p:cNvSpPr/>
              <p:nvPr/>
            </p:nvSpPr>
            <p:spPr>
              <a:xfrm flipV="1">
                <a:off x="6178580" y="3050158"/>
                <a:ext cx="23939" cy="22069"/>
              </a:xfrm>
              <a:custGeom>
                <a:avLst/>
                <a:gdLst>
                  <a:gd name="connsiteX0" fmla="*/ 18770 w 23939"/>
                  <a:gd name="connsiteY0" fmla="*/ -2568 h 22069"/>
                  <a:gd name="connsiteX1" fmla="*/ 17144 w 23939"/>
                  <a:gd name="connsiteY1" fmla="*/ -1698 h 22069"/>
                  <a:gd name="connsiteX2" fmla="*/ -2256 w 23939"/>
                  <a:gd name="connsiteY2" fmla="*/ 15714 h 22069"/>
                  <a:gd name="connsiteX3" fmla="*/ -3438 w 23939"/>
                  <a:gd name="connsiteY3" fmla="*/ 18211 h 22069"/>
                  <a:gd name="connsiteX4" fmla="*/ -930 w 23939"/>
                  <a:gd name="connsiteY4" fmla="*/ 19391 h 22069"/>
                  <a:gd name="connsiteX5" fmla="*/ 20387 w 23939"/>
                  <a:gd name="connsiteY5" fmla="*/ 477 h 22069"/>
                  <a:gd name="connsiteX6" fmla="*/ 19859 w 23939"/>
                  <a:gd name="connsiteY6" fmla="*/ -2236 h 22069"/>
                  <a:gd name="connsiteX7" fmla="*/ 18770 w 23939"/>
                  <a:gd name="connsiteY7" fmla="*/ -2568 h 2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69">
                    <a:moveTo>
                      <a:pt x="18770" y="-2568"/>
                    </a:moveTo>
                    <a:lnTo>
                      <a:pt x="17144" y="-1698"/>
                    </a:lnTo>
                    <a:cubicBezTo>
                      <a:pt x="8034" y="11892"/>
                      <a:pt x="-2163" y="15673"/>
                      <a:pt x="-2256" y="15714"/>
                    </a:cubicBezTo>
                    <a:cubicBezTo>
                      <a:pt x="-3272" y="16077"/>
                      <a:pt x="-3800" y="17195"/>
                      <a:pt x="-3438" y="18211"/>
                    </a:cubicBezTo>
                    <a:cubicBezTo>
                      <a:pt x="-3065" y="19226"/>
                      <a:pt x="-1945" y="19743"/>
                      <a:pt x="-930" y="19391"/>
                    </a:cubicBezTo>
                    <a:cubicBezTo>
                      <a:pt x="-463" y="19226"/>
                      <a:pt x="10563" y="15113"/>
                      <a:pt x="20387" y="477"/>
                    </a:cubicBezTo>
                    <a:lnTo>
                      <a:pt x="19859" y="-2236"/>
                    </a:lnTo>
                    <a:lnTo>
                      <a:pt x="18770" y="-2568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3" name="Vrije vorm 2282">
                <a:extLst>
                  <a:ext uri="{FF2B5EF4-FFF2-40B4-BE49-F238E27FC236}">
                    <a16:creationId xmlns:a16="http://schemas.microsoft.com/office/drawing/2014/main" id="{A918DBBD-4902-EE2F-D5EB-3B56CF560EE5}"/>
                  </a:ext>
                </a:extLst>
              </p:cNvPr>
              <p:cNvSpPr/>
              <p:nvPr/>
            </p:nvSpPr>
            <p:spPr>
              <a:xfrm flipV="1">
                <a:off x="6168413" y="3054670"/>
                <a:ext cx="23930" cy="22062"/>
              </a:xfrm>
              <a:custGeom>
                <a:avLst/>
                <a:gdLst>
                  <a:gd name="connsiteX0" fmla="*/ 18770 w 23930"/>
                  <a:gd name="connsiteY0" fmla="*/ -2563 h 22062"/>
                  <a:gd name="connsiteX1" fmla="*/ 17133 w 23930"/>
                  <a:gd name="connsiteY1" fmla="*/ -1703 h 22062"/>
                  <a:gd name="connsiteX2" fmla="*/ -2267 w 23930"/>
                  <a:gd name="connsiteY2" fmla="*/ 15719 h 22062"/>
                  <a:gd name="connsiteX3" fmla="*/ -3428 w 23930"/>
                  <a:gd name="connsiteY3" fmla="*/ 18215 h 22062"/>
                  <a:gd name="connsiteX4" fmla="*/ -941 w 23930"/>
                  <a:gd name="connsiteY4" fmla="*/ 19386 h 22062"/>
                  <a:gd name="connsiteX5" fmla="*/ 20387 w 23930"/>
                  <a:gd name="connsiteY5" fmla="*/ 472 h 22062"/>
                  <a:gd name="connsiteX6" fmla="*/ 19848 w 23930"/>
                  <a:gd name="connsiteY6" fmla="*/ -2231 h 22062"/>
                  <a:gd name="connsiteX7" fmla="*/ 18770 w 23930"/>
                  <a:gd name="connsiteY7" fmla="*/ -2563 h 2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2">
                    <a:moveTo>
                      <a:pt x="18770" y="-2563"/>
                    </a:moveTo>
                    <a:lnTo>
                      <a:pt x="17133" y="-1703"/>
                    </a:lnTo>
                    <a:cubicBezTo>
                      <a:pt x="8075" y="11804"/>
                      <a:pt x="-2164" y="15678"/>
                      <a:pt x="-2267" y="15719"/>
                    </a:cubicBezTo>
                    <a:cubicBezTo>
                      <a:pt x="-3273" y="16092"/>
                      <a:pt x="-3791" y="17210"/>
                      <a:pt x="-3428" y="18215"/>
                    </a:cubicBezTo>
                    <a:cubicBezTo>
                      <a:pt x="-3065" y="19220"/>
                      <a:pt x="-1936" y="19748"/>
                      <a:pt x="-941" y="19386"/>
                    </a:cubicBezTo>
                    <a:cubicBezTo>
                      <a:pt x="-474" y="19220"/>
                      <a:pt x="10562" y="15108"/>
                      <a:pt x="20387" y="472"/>
                    </a:cubicBezTo>
                    <a:lnTo>
                      <a:pt x="19848" y="-2231"/>
                    </a:lnTo>
                    <a:lnTo>
                      <a:pt x="18770" y="-2563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4" name="Vrije vorm 2283">
                <a:extLst>
                  <a:ext uri="{FF2B5EF4-FFF2-40B4-BE49-F238E27FC236}">
                    <a16:creationId xmlns:a16="http://schemas.microsoft.com/office/drawing/2014/main" id="{C6412C53-CF4A-EC81-53F9-6C6D0D1CF9AE}"/>
                  </a:ext>
                </a:extLst>
              </p:cNvPr>
              <p:cNvSpPr/>
              <p:nvPr/>
            </p:nvSpPr>
            <p:spPr>
              <a:xfrm flipV="1">
                <a:off x="6197369" y="2309921"/>
                <a:ext cx="274603" cy="732766"/>
              </a:xfrm>
              <a:custGeom>
                <a:avLst/>
                <a:gdLst>
                  <a:gd name="connsiteX0" fmla="*/ 203394 w 274603"/>
                  <a:gd name="connsiteY0" fmla="*/ 716696 h 732766"/>
                  <a:gd name="connsiteX1" fmla="*/ 237126 w 274603"/>
                  <a:gd name="connsiteY1" fmla="*/ 313987 h 732766"/>
                  <a:gd name="connsiteX2" fmla="*/ 270931 w 274603"/>
                  <a:gd name="connsiteY2" fmla="*/ 19043 h 732766"/>
                  <a:gd name="connsiteX3" fmla="*/ 193072 w 274603"/>
                  <a:gd name="connsiteY3" fmla="*/ 6749 h 732766"/>
                  <a:gd name="connsiteX4" fmla="*/ 146956 w 274603"/>
                  <a:gd name="connsiteY4" fmla="*/ 295550 h 732766"/>
                  <a:gd name="connsiteX5" fmla="*/ 110073 w 274603"/>
                  <a:gd name="connsiteY5" fmla="*/ 570016 h 732766"/>
                  <a:gd name="connsiteX6" fmla="*/ 89575 w 274603"/>
                  <a:gd name="connsiteY6" fmla="*/ 570016 h 732766"/>
                  <a:gd name="connsiteX7" fmla="*/ 72165 w 274603"/>
                  <a:gd name="connsiteY7" fmla="*/ 6749 h 732766"/>
                  <a:gd name="connsiteX8" fmla="*/ -3673 w 274603"/>
                  <a:gd name="connsiteY8" fmla="*/ 4708 h 732766"/>
                  <a:gd name="connsiteX9" fmla="*/ 2483 w 274603"/>
                  <a:gd name="connsiteY9" fmla="*/ 729778 h 732766"/>
                  <a:gd name="connsiteX10" fmla="*/ 203394 w 274603"/>
                  <a:gd name="connsiteY10" fmla="*/ 716696 h 732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4603" h="732766">
                    <a:moveTo>
                      <a:pt x="203394" y="716696"/>
                    </a:moveTo>
                    <a:lnTo>
                      <a:pt x="237126" y="313987"/>
                    </a:lnTo>
                    <a:lnTo>
                      <a:pt x="270931" y="19043"/>
                    </a:lnTo>
                    <a:cubicBezTo>
                      <a:pt x="270931" y="19043"/>
                      <a:pt x="254536" y="-3496"/>
                      <a:pt x="193072" y="6749"/>
                    </a:cubicBezTo>
                    <a:lnTo>
                      <a:pt x="146956" y="295550"/>
                    </a:lnTo>
                    <a:lnTo>
                      <a:pt x="110073" y="570016"/>
                    </a:lnTo>
                    <a:lnTo>
                      <a:pt x="89575" y="570016"/>
                    </a:lnTo>
                    <a:lnTo>
                      <a:pt x="72165" y="6749"/>
                    </a:lnTo>
                    <a:cubicBezTo>
                      <a:pt x="72165" y="6749"/>
                      <a:pt x="45511" y="-13729"/>
                      <a:pt x="-3673" y="4708"/>
                    </a:cubicBezTo>
                    <a:lnTo>
                      <a:pt x="2483" y="729778"/>
                    </a:lnTo>
                    <a:lnTo>
                      <a:pt x="203394" y="716696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5" name="Vrije vorm 2284">
                <a:extLst>
                  <a:ext uri="{FF2B5EF4-FFF2-40B4-BE49-F238E27FC236}">
                    <a16:creationId xmlns:a16="http://schemas.microsoft.com/office/drawing/2014/main" id="{FACBA6B0-8F88-0371-3B39-F7D0786C28EB}"/>
                  </a:ext>
                </a:extLst>
              </p:cNvPr>
              <p:cNvSpPr/>
              <p:nvPr/>
            </p:nvSpPr>
            <p:spPr>
              <a:xfrm flipV="1">
                <a:off x="6290617" y="1890535"/>
                <a:ext cx="71744" cy="148616"/>
              </a:xfrm>
              <a:custGeom>
                <a:avLst/>
                <a:gdLst>
                  <a:gd name="connsiteX0" fmla="*/ -3666 w 71744"/>
                  <a:gd name="connsiteY0" fmla="*/ 110616 h 148616"/>
                  <a:gd name="connsiteX1" fmla="*/ -899 w 71744"/>
                  <a:gd name="connsiteY1" fmla="*/ -3767 h 148616"/>
                  <a:gd name="connsiteX2" fmla="*/ 68078 w 71744"/>
                  <a:gd name="connsiteY2" fmla="*/ 27058 h 148616"/>
                  <a:gd name="connsiteX3" fmla="*/ 65912 w 71744"/>
                  <a:gd name="connsiteY3" fmla="*/ 144849 h 148616"/>
                  <a:gd name="connsiteX4" fmla="*/ -3666 w 71744"/>
                  <a:gd name="connsiteY4" fmla="*/ 110616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44" h="148616">
                    <a:moveTo>
                      <a:pt x="-3666" y="110616"/>
                    </a:moveTo>
                    <a:lnTo>
                      <a:pt x="-899" y="-3767"/>
                    </a:lnTo>
                    <a:lnTo>
                      <a:pt x="68078" y="27058"/>
                    </a:lnTo>
                    <a:lnTo>
                      <a:pt x="65912" y="144849"/>
                    </a:lnTo>
                    <a:lnTo>
                      <a:pt x="-3666" y="110616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6" name="Vrije vorm 2285">
                <a:extLst>
                  <a:ext uri="{FF2B5EF4-FFF2-40B4-BE49-F238E27FC236}">
                    <a16:creationId xmlns:a16="http://schemas.microsoft.com/office/drawing/2014/main" id="{5B892F8B-38A6-E6F8-D3F6-DC21003D0A64}"/>
                  </a:ext>
                </a:extLst>
              </p:cNvPr>
              <p:cNvSpPr/>
              <p:nvPr/>
            </p:nvSpPr>
            <p:spPr>
              <a:xfrm flipV="1">
                <a:off x="6178456" y="1966583"/>
                <a:ext cx="319165" cy="371257"/>
              </a:xfrm>
              <a:custGeom>
                <a:avLst/>
                <a:gdLst>
                  <a:gd name="connsiteX0" fmla="*/ -2598 w 319165"/>
                  <a:gd name="connsiteY0" fmla="*/ 324719 h 371257"/>
                  <a:gd name="connsiteX1" fmla="*/ 17289 w 319165"/>
                  <a:gd name="connsiteY1" fmla="*/ 16165 h 371257"/>
                  <a:gd name="connsiteX2" fmla="*/ 148787 w 319165"/>
                  <a:gd name="connsiteY2" fmla="*/ -3236 h 371257"/>
                  <a:gd name="connsiteX3" fmla="*/ 222304 w 319165"/>
                  <a:gd name="connsiteY3" fmla="*/ 11276 h 371257"/>
                  <a:gd name="connsiteX4" fmla="*/ 315490 w 319165"/>
                  <a:gd name="connsiteY4" fmla="*/ 356912 h 371257"/>
                  <a:gd name="connsiteX5" fmla="*/ 176012 w 319165"/>
                  <a:gd name="connsiteY5" fmla="*/ 367695 h 371257"/>
                  <a:gd name="connsiteX6" fmla="*/ 135678 w 319165"/>
                  <a:gd name="connsiteY6" fmla="*/ 330344 h 371257"/>
                  <a:gd name="connsiteX7" fmla="*/ 103107 w 319165"/>
                  <a:gd name="connsiteY7" fmla="*/ 365115 h 371257"/>
                  <a:gd name="connsiteX8" fmla="*/ -3675 w 319165"/>
                  <a:gd name="connsiteY8" fmla="*/ 352634 h 371257"/>
                  <a:gd name="connsiteX9" fmla="*/ -2598 w 319165"/>
                  <a:gd name="connsiteY9" fmla="*/ 324719 h 371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9165" h="371257">
                    <a:moveTo>
                      <a:pt x="-2598" y="324719"/>
                    </a:moveTo>
                    <a:cubicBezTo>
                      <a:pt x="-2598" y="324719"/>
                      <a:pt x="4045" y="120045"/>
                      <a:pt x="17289" y="16165"/>
                    </a:cubicBezTo>
                    <a:cubicBezTo>
                      <a:pt x="17289" y="16165"/>
                      <a:pt x="68007" y="-6529"/>
                      <a:pt x="148787" y="-3236"/>
                    </a:cubicBezTo>
                    <a:cubicBezTo>
                      <a:pt x="205858" y="-915"/>
                      <a:pt x="222304" y="11276"/>
                      <a:pt x="222304" y="11276"/>
                    </a:cubicBezTo>
                    <a:lnTo>
                      <a:pt x="315490" y="356912"/>
                    </a:lnTo>
                    <a:cubicBezTo>
                      <a:pt x="315490" y="356912"/>
                      <a:pt x="262969" y="367798"/>
                      <a:pt x="176012" y="367695"/>
                    </a:cubicBezTo>
                    <a:lnTo>
                      <a:pt x="135678" y="330344"/>
                    </a:lnTo>
                    <a:cubicBezTo>
                      <a:pt x="135678" y="330344"/>
                      <a:pt x="124735" y="359346"/>
                      <a:pt x="103107" y="365115"/>
                    </a:cubicBezTo>
                    <a:cubicBezTo>
                      <a:pt x="70328" y="362857"/>
                      <a:pt x="34533" y="358921"/>
                      <a:pt x="-3675" y="352634"/>
                    </a:cubicBezTo>
                    <a:lnTo>
                      <a:pt x="-2598" y="324719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7" name="Vrije vorm 2286">
                <a:extLst>
                  <a:ext uri="{FF2B5EF4-FFF2-40B4-BE49-F238E27FC236}">
                    <a16:creationId xmlns:a16="http://schemas.microsoft.com/office/drawing/2014/main" id="{5B360FB5-2FD9-95D3-87D9-5F0424347F54}"/>
                  </a:ext>
                </a:extLst>
              </p:cNvPr>
              <p:cNvSpPr/>
              <p:nvPr/>
            </p:nvSpPr>
            <p:spPr>
              <a:xfrm flipV="1">
                <a:off x="6100328" y="1982711"/>
                <a:ext cx="146887" cy="253553"/>
              </a:xfrm>
              <a:custGeom>
                <a:avLst/>
                <a:gdLst>
                  <a:gd name="connsiteX0" fmla="*/ -3538 w 146887"/>
                  <a:gd name="connsiteY0" fmla="*/ 62092 h 253553"/>
                  <a:gd name="connsiteX1" fmla="*/ 75999 w 146887"/>
                  <a:gd name="connsiteY1" fmla="*/ 249944 h 253553"/>
                  <a:gd name="connsiteX2" fmla="*/ 143349 w 146887"/>
                  <a:gd name="connsiteY2" fmla="*/ 218280 h 253553"/>
                  <a:gd name="connsiteX3" fmla="*/ 44101 w 146887"/>
                  <a:gd name="connsiteY3" fmla="*/ -3609 h 253553"/>
                  <a:gd name="connsiteX4" fmla="*/ -3538 w 146887"/>
                  <a:gd name="connsiteY4" fmla="*/ 62092 h 253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887" h="253553">
                    <a:moveTo>
                      <a:pt x="-3538" y="62092"/>
                    </a:moveTo>
                    <a:lnTo>
                      <a:pt x="75999" y="249944"/>
                    </a:lnTo>
                    <a:lnTo>
                      <a:pt x="143349" y="218280"/>
                    </a:lnTo>
                    <a:lnTo>
                      <a:pt x="44101" y="-3609"/>
                    </a:lnTo>
                    <a:lnTo>
                      <a:pt x="-3538" y="62092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8" name="Vrije vorm 2287">
                <a:extLst>
                  <a:ext uri="{FF2B5EF4-FFF2-40B4-BE49-F238E27FC236}">
                    <a16:creationId xmlns:a16="http://schemas.microsoft.com/office/drawing/2014/main" id="{F7967003-D537-806A-53C4-F56C23143030}"/>
                  </a:ext>
                </a:extLst>
              </p:cNvPr>
              <p:cNvSpPr/>
              <p:nvPr/>
            </p:nvSpPr>
            <p:spPr>
              <a:xfrm flipV="1">
                <a:off x="6198318" y="2328786"/>
                <a:ext cx="31166" cy="29350"/>
              </a:xfrm>
              <a:custGeom>
                <a:avLst/>
                <a:gdLst>
                  <a:gd name="connsiteX0" fmla="*/ 27595 w 31166"/>
                  <a:gd name="connsiteY0" fmla="*/ 16938 h 29350"/>
                  <a:gd name="connsiteX1" fmla="*/ 1635 w 31166"/>
                  <a:gd name="connsiteY1" fmla="*/ 25660 h 29350"/>
                  <a:gd name="connsiteX2" fmla="*/ -3360 w 31166"/>
                  <a:gd name="connsiteY2" fmla="*/ 17218 h 29350"/>
                  <a:gd name="connsiteX3" fmla="*/ 1635 w 31166"/>
                  <a:gd name="connsiteY3" fmla="*/ 5244 h 29350"/>
                  <a:gd name="connsiteX4" fmla="*/ 23761 w 31166"/>
                  <a:gd name="connsiteY4" fmla="*/ -3353 h 29350"/>
                  <a:gd name="connsiteX5" fmla="*/ 27595 w 31166"/>
                  <a:gd name="connsiteY5" fmla="*/ 16938 h 2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66" h="29350">
                    <a:moveTo>
                      <a:pt x="27595" y="16938"/>
                    </a:moveTo>
                    <a:cubicBezTo>
                      <a:pt x="10237" y="20677"/>
                      <a:pt x="1822" y="25598"/>
                      <a:pt x="1635" y="25660"/>
                    </a:cubicBezTo>
                    <a:cubicBezTo>
                      <a:pt x="-3442" y="27348"/>
                      <a:pt x="-2790" y="22418"/>
                      <a:pt x="-3360" y="17218"/>
                    </a:cubicBezTo>
                    <a:cubicBezTo>
                      <a:pt x="-4116" y="10340"/>
                      <a:pt x="-2935" y="6663"/>
                      <a:pt x="1635" y="5244"/>
                    </a:cubicBezTo>
                    <a:cubicBezTo>
                      <a:pt x="2464" y="4995"/>
                      <a:pt x="6475" y="801"/>
                      <a:pt x="23761" y="-3353"/>
                    </a:cubicBezTo>
                    <a:cubicBezTo>
                      <a:pt x="25046" y="3411"/>
                      <a:pt x="26331" y="10174"/>
                      <a:pt x="27595" y="1693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89" name="Vrije vorm 2288">
                <a:extLst>
                  <a:ext uri="{FF2B5EF4-FFF2-40B4-BE49-F238E27FC236}">
                    <a16:creationId xmlns:a16="http://schemas.microsoft.com/office/drawing/2014/main" id="{EE9EEAFB-5577-8CC7-2E49-83E8D07A93F2}"/>
                  </a:ext>
                </a:extLst>
              </p:cNvPr>
              <p:cNvSpPr/>
              <p:nvPr/>
            </p:nvSpPr>
            <p:spPr>
              <a:xfrm flipV="1">
                <a:off x="6242117" y="2340559"/>
                <a:ext cx="114326" cy="25998"/>
              </a:xfrm>
              <a:custGeom>
                <a:avLst/>
                <a:gdLst>
                  <a:gd name="connsiteX0" fmla="*/ 108135 w 114326"/>
                  <a:gd name="connsiteY0" fmla="*/ 19839 h 25998"/>
                  <a:gd name="connsiteX1" fmla="*/ 44805 w 114326"/>
                  <a:gd name="connsiteY1" fmla="*/ 18171 h 25998"/>
                  <a:gd name="connsiteX2" fmla="*/ -1943 w 114326"/>
                  <a:gd name="connsiteY2" fmla="*/ 22656 h 25998"/>
                  <a:gd name="connsiteX3" fmla="*/ -3643 w 114326"/>
                  <a:gd name="connsiteY3" fmla="*/ 1640 h 25998"/>
                  <a:gd name="connsiteX4" fmla="*/ 44380 w 114326"/>
                  <a:gd name="connsiteY4" fmla="*/ -3187 h 25998"/>
                  <a:gd name="connsiteX5" fmla="*/ 66246 w 114326"/>
                  <a:gd name="connsiteY5" fmla="*/ -3260 h 25998"/>
                  <a:gd name="connsiteX6" fmla="*/ 110684 w 114326"/>
                  <a:gd name="connsiteY6" fmla="*/ -494 h 25998"/>
                  <a:gd name="connsiteX7" fmla="*/ 108135 w 114326"/>
                  <a:gd name="connsiteY7" fmla="*/ 19839 h 25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26" h="25998">
                    <a:moveTo>
                      <a:pt x="108135" y="19839"/>
                    </a:moveTo>
                    <a:cubicBezTo>
                      <a:pt x="88817" y="18005"/>
                      <a:pt x="67697" y="17632"/>
                      <a:pt x="44805" y="18171"/>
                    </a:cubicBezTo>
                    <a:cubicBezTo>
                      <a:pt x="27157" y="18596"/>
                      <a:pt x="11342" y="20419"/>
                      <a:pt x="-1943" y="22656"/>
                    </a:cubicBezTo>
                    <a:cubicBezTo>
                      <a:pt x="-1529" y="15613"/>
                      <a:pt x="-2451" y="8611"/>
                      <a:pt x="-3643" y="1640"/>
                    </a:cubicBezTo>
                    <a:cubicBezTo>
                      <a:pt x="9891" y="-794"/>
                      <a:pt x="26068" y="-2752"/>
                      <a:pt x="44380" y="-3187"/>
                    </a:cubicBezTo>
                    <a:cubicBezTo>
                      <a:pt x="51831" y="-3374"/>
                      <a:pt x="59127" y="-3384"/>
                      <a:pt x="66246" y="-3260"/>
                    </a:cubicBezTo>
                    <a:cubicBezTo>
                      <a:pt x="82185" y="-2959"/>
                      <a:pt x="96880" y="-2089"/>
                      <a:pt x="110684" y="-494"/>
                    </a:cubicBezTo>
                    <a:cubicBezTo>
                      <a:pt x="109160" y="6176"/>
                      <a:pt x="108258" y="12951"/>
                      <a:pt x="108135" y="19839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0" name="Vrije vorm 2289">
                <a:extLst>
                  <a:ext uri="{FF2B5EF4-FFF2-40B4-BE49-F238E27FC236}">
                    <a16:creationId xmlns:a16="http://schemas.microsoft.com/office/drawing/2014/main" id="{EF6733C4-7C94-10AC-E542-4A3E27E91140}"/>
                  </a:ext>
                </a:extLst>
              </p:cNvPr>
              <p:cNvSpPr/>
              <p:nvPr/>
            </p:nvSpPr>
            <p:spPr>
              <a:xfrm flipV="1">
                <a:off x="6366537" y="2333231"/>
                <a:ext cx="44563" cy="28800"/>
              </a:xfrm>
              <a:custGeom>
                <a:avLst/>
                <a:gdLst>
                  <a:gd name="connsiteX0" fmla="*/ 40243 w 44563"/>
                  <a:gd name="connsiteY0" fmla="*/ 17057 h 28800"/>
                  <a:gd name="connsiteX1" fmla="*/ 33559 w 44563"/>
                  <a:gd name="connsiteY1" fmla="*/ 25084 h 28800"/>
                  <a:gd name="connsiteX2" fmla="*/ -3718 w 44563"/>
                  <a:gd name="connsiteY2" fmla="*/ 16715 h 28800"/>
                  <a:gd name="connsiteX3" fmla="*/ -1262 w 44563"/>
                  <a:gd name="connsiteY3" fmla="*/ -3348 h 28800"/>
                  <a:gd name="connsiteX4" fmla="*/ 37849 w 44563"/>
                  <a:gd name="connsiteY4" fmla="*/ 6461 h 28800"/>
                  <a:gd name="connsiteX5" fmla="*/ 40243 w 44563"/>
                  <a:gd name="connsiteY5" fmla="*/ 17057 h 2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563" h="28800">
                    <a:moveTo>
                      <a:pt x="40243" y="17057"/>
                    </a:moveTo>
                    <a:cubicBezTo>
                      <a:pt x="39258" y="22215"/>
                      <a:pt x="38636" y="26804"/>
                      <a:pt x="33559" y="25084"/>
                    </a:cubicBezTo>
                    <a:cubicBezTo>
                      <a:pt x="22180" y="21262"/>
                      <a:pt x="9744" y="18559"/>
                      <a:pt x="-3718" y="16715"/>
                    </a:cubicBezTo>
                    <a:cubicBezTo>
                      <a:pt x="-3262" y="9993"/>
                      <a:pt x="-2267" y="3322"/>
                      <a:pt x="-1262" y="-3348"/>
                    </a:cubicBezTo>
                    <a:cubicBezTo>
                      <a:pt x="12697" y="-1132"/>
                      <a:pt x="25703" y="1996"/>
                      <a:pt x="37849" y="6461"/>
                    </a:cubicBezTo>
                    <a:cubicBezTo>
                      <a:pt x="41383" y="7766"/>
                      <a:pt x="41217" y="11836"/>
                      <a:pt x="40243" y="17057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1" name="Vrije vorm 2290">
                <a:extLst>
                  <a:ext uri="{FF2B5EF4-FFF2-40B4-BE49-F238E27FC236}">
                    <a16:creationId xmlns:a16="http://schemas.microsoft.com/office/drawing/2014/main" id="{C010A026-CE53-A6A3-9B76-D0F5B0BE2609}"/>
                  </a:ext>
                </a:extLst>
              </p:cNvPr>
              <p:cNvSpPr/>
              <p:nvPr/>
            </p:nvSpPr>
            <p:spPr>
              <a:xfrm flipV="1">
                <a:off x="6277321" y="2341699"/>
                <a:ext cx="45369" cy="27676"/>
              </a:xfrm>
              <a:custGeom>
                <a:avLst/>
                <a:gdLst>
                  <a:gd name="connsiteX0" fmla="*/ 34037 w 45369"/>
                  <a:gd name="connsiteY0" fmla="*/ 1352 h 27676"/>
                  <a:gd name="connsiteX1" fmla="*/ 4356 w 45369"/>
                  <a:gd name="connsiteY1" fmla="*/ 2854 h 27676"/>
                  <a:gd name="connsiteX2" fmla="*/ 4046 w 45369"/>
                  <a:gd name="connsiteY2" fmla="*/ 19645 h 27676"/>
                  <a:gd name="connsiteX3" fmla="*/ 33695 w 45369"/>
                  <a:gd name="connsiteY3" fmla="*/ 19448 h 27676"/>
                  <a:gd name="connsiteX4" fmla="*/ -3644 w 45369"/>
                  <a:gd name="connsiteY4" fmla="*/ 24337 h 27676"/>
                  <a:gd name="connsiteX5" fmla="*/ -3178 w 45369"/>
                  <a:gd name="connsiteY5" fmla="*/ -1071 h 27676"/>
                  <a:gd name="connsiteX6" fmla="*/ 41726 w 45369"/>
                  <a:gd name="connsiteY6" fmla="*/ -3340 h 27676"/>
                  <a:gd name="connsiteX7" fmla="*/ 41208 w 45369"/>
                  <a:gd name="connsiteY7" fmla="*/ 24036 h 27676"/>
                  <a:gd name="connsiteX8" fmla="*/ -3644 w 45369"/>
                  <a:gd name="connsiteY8" fmla="*/ 24337 h 2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69" h="27676">
                    <a:moveTo>
                      <a:pt x="34037" y="1352"/>
                    </a:moveTo>
                    <a:lnTo>
                      <a:pt x="4356" y="2854"/>
                    </a:lnTo>
                    <a:lnTo>
                      <a:pt x="4046" y="19645"/>
                    </a:lnTo>
                    <a:lnTo>
                      <a:pt x="33695" y="19448"/>
                    </a:lnTo>
                    <a:close/>
                    <a:moveTo>
                      <a:pt x="-3644" y="24337"/>
                    </a:moveTo>
                    <a:lnTo>
                      <a:pt x="-3178" y="-1071"/>
                    </a:lnTo>
                    <a:lnTo>
                      <a:pt x="41726" y="-3340"/>
                    </a:lnTo>
                    <a:lnTo>
                      <a:pt x="41208" y="24036"/>
                    </a:lnTo>
                    <a:lnTo>
                      <a:pt x="-3644" y="24337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2" name="Vrije vorm 2291">
                <a:extLst>
                  <a:ext uri="{FF2B5EF4-FFF2-40B4-BE49-F238E27FC236}">
                    <a16:creationId xmlns:a16="http://schemas.microsoft.com/office/drawing/2014/main" id="{77F5F9D0-BE07-94EB-6400-B1A0C77A5843}"/>
                  </a:ext>
                </a:extLst>
              </p:cNvPr>
              <p:cNvSpPr/>
              <p:nvPr/>
            </p:nvSpPr>
            <p:spPr>
              <a:xfrm flipV="1">
                <a:off x="6317810" y="1967589"/>
                <a:ext cx="33659" cy="36346"/>
              </a:xfrm>
              <a:custGeom>
                <a:avLst/>
                <a:gdLst>
                  <a:gd name="connsiteX0" fmla="*/ -3673 w 33659"/>
                  <a:gd name="connsiteY0" fmla="*/ -3744 h 36346"/>
                  <a:gd name="connsiteX1" fmla="*/ 6794 w 33659"/>
                  <a:gd name="connsiteY1" fmla="*/ 32602 h 36346"/>
                  <a:gd name="connsiteX2" fmla="*/ 29987 w 33659"/>
                  <a:gd name="connsiteY2" fmla="*/ 21985 h 3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59" h="36346">
                    <a:moveTo>
                      <a:pt x="-3673" y="-3744"/>
                    </a:moveTo>
                    <a:lnTo>
                      <a:pt x="6794" y="32602"/>
                    </a:lnTo>
                    <a:lnTo>
                      <a:pt x="29987" y="21985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3" name="Vrije vorm 2292">
                <a:extLst>
                  <a:ext uri="{FF2B5EF4-FFF2-40B4-BE49-F238E27FC236}">
                    <a16:creationId xmlns:a16="http://schemas.microsoft.com/office/drawing/2014/main" id="{B2BD50F4-8388-7B58-E31E-89E50A3AFB08}"/>
                  </a:ext>
                </a:extLst>
              </p:cNvPr>
              <p:cNvSpPr/>
              <p:nvPr/>
            </p:nvSpPr>
            <p:spPr>
              <a:xfrm flipV="1">
                <a:off x="6298814" y="1970737"/>
                <a:ext cx="18995" cy="33197"/>
              </a:xfrm>
              <a:custGeom>
                <a:avLst/>
                <a:gdLst>
                  <a:gd name="connsiteX0" fmla="*/ 12361 w 18995"/>
                  <a:gd name="connsiteY0" fmla="*/ 29455 h 33197"/>
                  <a:gd name="connsiteX1" fmla="*/ 15345 w 18995"/>
                  <a:gd name="connsiteY1" fmla="*/ -3743 h 33197"/>
                  <a:gd name="connsiteX2" fmla="*/ -3651 w 18995"/>
                  <a:gd name="connsiteY2" fmla="*/ 19760 h 33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95" h="33197">
                    <a:moveTo>
                      <a:pt x="12361" y="29455"/>
                    </a:moveTo>
                    <a:lnTo>
                      <a:pt x="15345" y="-3743"/>
                    </a:lnTo>
                    <a:lnTo>
                      <a:pt x="-3651" y="19760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4" name="Vrije vorm 2293">
                <a:extLst>
                  <a:ext uri="{FF2B5EF4-FFF2-40B4-BE49-F238E27FC236}">
                    <a16:creationId xmlns:a16="http://schemas.microsoft.com/office/drawing/2014/main" id="{30EABB33-D2CB-DC5B-823A-1D553EE23518}"/>
                  </a:ext>
                </a:extLst>
              </p:cNvPr>
              <p:cNvSpPr/>
              <p:nvPr/>
            </p:nvSpPr>
            <p:spPr>
              <a:xfrm flipV="1">
                <a:off x="6262470" y="1945692"/>
                <a:ext cx="52354" cy="61174"/>
              </a:xfrm>
              <a:custGeom>
                <a:avLst/>
                <a:gdLst>
                  <a:gd name="connsiteX0" fmla="*/ -3634 w 52354"/>
                  <a:gd name="connsiteY0" fmla="*/ 34559 h 61174"/>
                  <a:gd name="connsiteX1" fmla="*/ 24782 w 52354"/>
                  <a:gd name="connsiteY1" fmla="*/ -3755 h 61174"/>
                  <a:gd name="connsiteX2" fmla="*/ 48721 w 52354"/>
                  <a:gd name="connsiteY2" fmla="*/ 32374 h 61174"/>
                  <a:gd name="connsiteX3" fmla="*/ 11071 w 52354"/>
                  <a:gd name="connsiteY3" fmla="*/ 57420 h 61174"/>
                  <a:gd name="connsiteX4" fmla="*/ -3634 w 52354"/>
                  <a:gd name="connsiteY4" fmla="*/ 34559 h 6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54" h="61174">
                    <a:moveTo>
                      <a:pt x="-3634" y="34559"/>
                    </a:moveTo>
                    <a:lnTo>
                      <a:pt x="24782" y="-3755"/>
                    </a:lnTo>
                    <a:lnTo>
                      <a:pt x="48721" y="32374"/>
                    </a:lnTo>
                    <a:lnTo>
                      <a:pt x="11071" y="57420"/>
                    </a:lnTo>
                    <a:lnTo>
                      <a:pt x="-3634" y="3455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5" name="Vrije vorm 2294">
                <a:extLst>
                  <a:ext uri="{FF2B5EF4-FFF2-40B4-BE49-F238E27FC236}">
                    <a16:creationId xmlns:a16="http://schemas.microsoft.com/office/drawing/2014/main" id="{A9A47099-D34B-EBD8-4B2E-8C00561EB39B}"/>
                  </a:ext>
                </a:extLst>
              </p:cNvPr>
              <p:cNvSpPr/>
              <p:nvPr/>
            </p:nvSpPr>
            <p:spPr>
              <a:xfrm flipV="1">
                <a:off x="6328277" y="1940637"/>
                <a:ext cx="56085" cy="64115"/>
              </a:xfrm>
              <a:custGeom>
                <a:avLst/>
                <a:gdLst>
                  <a:gd name="connsiteX0" fmla="*/ 52395 w 56085"/>
                  <a:gd name="connsiteY0" fmla="*/ 37539 h 64115"/>
                  <a:gd name="connsiteX1" fmla="*/ 16310 w 56085"/>
                  <a:gd name="connsiteY1" fmla="*/ -3759 h 64115"/>
                  <a:gd name="connsiteX2" fmla="*/ -3691 w 56085"/>
                  <a:gd name="connsiteY2" fmla="*/ 33406 h 64115"/>
                  <a:gd name="connsiteX3" fmla="*/ 37917 w 56085"/>
                  <a:gd name="connsiteY3" fmla="*/ 60357 h 64115"/>
                  <a:gd name="connsiteX4" fmla="*/ 52395 w 56085"/>
                  <a:gd name="connsiteY4" fmla="*/ 37539 h 6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085" h="64115">
                    <a:moveTo>
                      <a:pt x="52395" y="37539"/>
                    </a:moveTo>
                    <a:lnTo>
                      <a:pt x="16310" y="-3759"/>
                    </a:lnTo>
                    <a:lnTo>
                      <a:pt x="-3691" y="33406"/>
                    </a:lnTo>
                    <a:lnTo>
                      <a:pt x="37917" y="60357"/>
                    </a:lnTo>
                    <a:lnTo>
                      <a:pt x="52395" y="375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6" name="Vrije vorm 2295">
                <a:extLst>
                  <a:ext uri="{FF2B5EF4-FFF2-40B4-BE49-F238E27FC236}">
                    <a16:creationId xmlns:a16="http://schemas.microsoft.com/office/drawing/2014/main" id="{236449F9-9903-A18A-FD8B-98BE527D4B39}"/>
                  </a:ext>
                </a:extLst>
              </p:cNvPr>
              <p:cNvSpPr/>
              <p:nvPr/>
            </p:nvSpPr>
            <p:spPr>
              <a:xfrm flipV="1">
                <a:off x="6091271" y="2161936"/>
                <a:ext cx="77962" cy="84552"/>
              </a:xfrm>
              <a:custGeom>
                <a:avLst/>
                <a:gdLst>
                  <a:gd name="connsiteX0" fmla="*/ 1058 w 77962"/>
                  <a:gd name="connsiteY0" fmla="*/ 81047 h 84552"/>
                  <a:gd name="connsiteX1" fmla="*/ 74460 w 77962"/>
                  <a:gd name="connsiteY1" fmla="*/ 31909 h 84552"/>
                  <a:gd name="connsiteX2" fmla="*/ 60159 w 77962"/>
                  <a:gd name="connsiteY2" fmla="*/ -3505 h 84552"/>
                  <a:gd name="connsiteX3" fmla="*/ -3502 w 77962"/>
                  <a:gd name="connsiteY3" fmla="*/ 75443 h 84552"/>
                  <a:gd name="connsiteX4" fmla="*/ 1058 w 77962"/>
                  <a:gd name="connsiteY4" fmla="*/ 81047 h 84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962" h="84552">
                    <a:moveTo>
                      <a:pt x="1058" y="81047"/>
                    </a:moveTo>
                    <a:lnTo>
                      <a:pt x="74460" y="31909"/>
                    </a:lnTo>
                    <a:lnTo>
                      <a:pt x="60159" y="-3505"/>
                    </a:lnTo>
                    <a:lnTo>
                      <a:pt x="-3502" y="75443"/>
                    </a:lnTo>
                    <a:lnTo>
                      <a:pt x="1058" y="81047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7" name="Vrije vorm 2296">
                <a:extLst>
                  <a:ext uri="{FF2B5EF4-FFF2-40B4-BE49-F238E27FC236}">
                    <a16:creationId xmlns:a16="http://schemas.microsoft.com/office/drawing/2014/main" id="{08348070-8D26-7A4B-4046-2655686FEE55}"/>
                  </a:ext>
                </a:extLst>
              </p:cNvPr>
              <p:cNvSpPr/>
              <p:nvPr/>
            </p:nvSpPr>
            <p:spPr>
              <a:xfrm flipV="1">
                <a:off x="6515809" y="2126480"/>
                <a:ext cx="190786" cy="117832"/>
              </a:xfrm>
              <a:custGeom>
                <a:avLst/>
                <a:gdLst>
                  <a:gd name="connsiteX0" fmla="*/ 9516 w 190786"/>
                  <a:gd name="connsiteY0" fmla="*/ -3526 h 117832"/>
                  <a:gd name="connsiteX1" fmla="*/ 186882 w 190786"/>
                  <a:gd name="connsiteY1" fmla="*/ 101452 h 117832"/>
                  <a:gd name="connsiteX2" fmla="*/ 152300 w 190786"/>
                  <a:gd name="connsiteY2" fmla="*/ 114307 h 117832"/>
                  <a:gd name="connsiteX3" fmla="*/ 35735 w 190786"/>
                  <a:gd name="connsiteY3" fmla="*/ 67053 h 117832"/>
                  <a:gd name="connsiteX4" fmla="*/ 9516 w 190786"/>
                  <a:gd name="connsiteY4" fmla="*/ -3526 h 117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786" h="117832">
                    <a:moveTo>
                      <a:pt x="9516" y="-3526"/>
                    </a:moveTo>
                    <a:cubicBezTo>
                      <a:pt x="9516" y="-3526"/>
                      <a:pt x="140776" y="34540"/>
                      <a:pt x="186882" y="101452"/>
                    </a:cubicBezTo>
                    <a:lnTo>
                      <a:pt x="152300" y="114307"/>
                    </a:lnTo>
                    <a:cubicBezTo>
                      <a:pt x="152300" y="114307"/>
                      <a:pt x="105479" y="85056"/>
                      <a:pt x="35735" y="67053"/>
                    </a:cubicBezTo>
                    <a:cubicBezTo>
                      <a:pt x="-34019" y="49030"/>
                      <a:pt x="9516" y="-3526"/>
                      <a:pt x="9516" y="-3526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8" name="Vrije vorm 2297">
                <a:extLst>
                  <a:ext uri="{FF2B5EF4-FFF2-40B4-BE49-F238E27FC236}">
                    <a16:creationId xmlns:a16="http://schemas.microsoft.com/office/drawing/2014/main" id="{859B9293-76FB-BFC6-49E0-6A362ADDF7D0}"/>
                  </a:ext>
                </a:extLst>
              </p:cNvPr>
              <p:cNvSpPr/>
              <p:nvPr/>
            </p:nvSpPr>
            <p:spPr>
              <a:xfrm flipV="1">
                <a:off x="6668044" y="2116036"/>
                <a:ext cx="86325" cy="66215"/>
              </a:xfrm>
              <a:custGeom>
                <a:avLst/>
                <a:gdLst>
                  <a:gd name="connsiteX0" fmla="*/ -3988 w 86325"/>
                  <a:gd name="connsiteY0" fmla="*/ 49844 h 66215"/>
                  <a:gd name="connsiteX1" fmla="*/ 42989 w 86325"/>
                  <a:gd name="connsiteY1" fmla="*/ 32401 h 66215"/>
                  <a:gd name="connsiteX2" fmla="*/ 55839 w 86325"/>
                  <a:gd name="connsiteY2" fmla="*/ 21598 h 66215"/>
                  <a:gd name="connsiteX3" fmla="*/ 58026 w 86325"/>
                  <a:gd name="connsiteY3" fmla="*/ 10111 h 66215"/>
                  <a:gd name="connsiteX4" fmla="*/ 40377 w 86325"/>
                  <a:gd name="connsiteY4" fmla="*/ -848 h 66215"/>
                  <a:gd name="connsiteX5" fmla="*/ 9734 w 86325"/>
                  <a:gd name="connsiteY5" fmla="*/ 32235 h 66215"/>
                  <a:gd name="connsiteX6" fmla="*/ -3988 w 86325"/>
                  <a:gd name="connsiteY6" fmla="*/ 49844 h 66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6325" h="66215">
                    <a:moveTo>
                      <a:pt x="-3988" y="49844"/>
                    </a:moveTo>
                    <a:cubicBezTo>
                      <a:pt x="-3988" y="49844"/>
                      <a:pt x="30014" y="88086"/>
                      <a:pt x="42989" y="32401"/>
                    </a:cubicBezTo>
                    <a:cubicBezTo>
                      <a:pt x="42989" y="32401"/>
                      <a:pt x="96826" y="50134"/>
                      <a:pt x="55839" y="21598"/>
                    </a:cubicBezTo>
                    <a:cubicBezTo>
                      <a:pt x="55839" y="21598"/>
                      <a:pt x="113977" y="30195"/>
                      <a:pt x="58026" y="10111"/>
                    </a:cubicBezTo>
                    <a:cubicBezTo>
                      <a:pt x="58026" y="10111"/>
                      <a:pt x="120360" y="-10885"/>
                      <a:pt x="40377" y="-848"/>
                    </a:cubicBezTo>
                    <a:cubicBezTo>
                      <a:pt x="40377" y="-848"/>
                      <a:pt x="23672" y="2415"/>
                      <a:pt x="9734" y="32235"/>
                    </a:cubicBezTo>
                    <a:lnTo>
                      <a:pt x="-3988" y="49844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99" name="Vrije vorm 2298">
                <a:extLst>
                  <a:ext uri="{FF2B5EF4-FFF2-40B4-BE49-F238E27FC236}">
                    <a16:creationId xmlns:a16="http://schemas.microsoft.com/office/drawing/2014/main" id="{A237984C-F006-7727-CEB3-379F9FF2D1D0}"/>
                  </a:ext>
                </a:extLst>
              </p:cNvPr>
              <p:cNvSpPr/>
              <p:nvPr/>
            </p:nvSpPr>
            <p:spPr>
              <a:xfrm flipV="1">
                <a:off x="6697828" y="2124808"/>
                <a:ext cx="20823" cy="15033"/>
              </a:xfrm>
              <a:custGeom>
                <a:avLst/>
                <a:gdLst>
                  <a:gd name="connsiteX0" fmla="*/ 8740 w 20823"/>
                  <a:gd name="connsiteY0" fmla="*/ -3584 h 15033"/>
                  <a:gd name="connsiteX1" fmla="*/ 5611 w 20823"/>
                  <a:gd name="connsiteY1" fmla="*/ 8949 h 15033"/>
                  <a:gd name="connsiteX2" fmla="*/ 8740 w 20823"/>
                  <a:gd name="connsiteY2" fmla="*/ -3584 h 15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823" h="15033">
                    <a:moveTo>
                      <a:pt x="8740" y="-3584"/>
                    </a:moveTo>
                    <a:cubicBezTo>
                      <a:pt x="8740" y="-3584"/>
                      <a:pt x="28897" y="18789"/>
                      <a:pt x="5611" y="8949"/>
                    </a:cubicBezTo>
                    <a:cubicBezTo>
                      <a:pt x="-17675" y="-901"/>
                      <a:pt x="8740" y="-3584"/>
                      <a:pt x="8740" y="-3584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0" name="Vrije vorm 2299">
                <a:extLst>
                  <a:ext uri="{FF2B5EF4-FFF2-40B4-BE49-F238E27FC236}">
                    <a16:creationId xmlns:a16="http://schemas.microsoft.com/office/drawing/2014/main" id="{6BCF450A-2A4D-16E3-D0E2-1FFC4C8E8F3B}"/>
                  </a:ext>
                </a:extLst>
              </p:cNvPr>
              <p:cNvSpPr/>
              <p:nvPr/>
            </p:nvSpPr>
            <p:spPr>
              <a:xfrm flipV="1">
                <a:off x="6430146" y="1978682"/>
                <a:ext cx="146897" cy="253553"/>
              </a:xfrm>
              <a:custGeom>
                <a:avLst/>
                <a:gdLst>
                  <a:gd name="connsiteX0" fmla="*/ 143084 w 146897"/>
                  <a:gd name="connsiteY0" fmla="*/ 62088 h 253553"/>
                  <a:gd name="connsiteX1" fmla="*/ 63537 w 146897"/>
                  <a:gd name="connsiteY1" fmla="*/ 249940 h 253553"/>
                  <a:gd name="connsiteX2" fmla="*/ -3814 w 146897"/>
                  <a:gd name="connsiteY2" fmla="*/ 218265 h 253553"/>
                  <a:gd name="connsiteX3" fmla="*/ 95434 w 146897"/>
                  <a:gd name="connsiteY3" fmla="*/ -3613 h 253553"/>
                  <a:gd name="connsiteX4" fmla="*/ 143084 w 146897"/>
                  <a:gd name="connsiteY4" fmla="*/ 62088 h 253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897" h="253553">
                    <a:moveTo>
                      <a:pt x="143084" y="62088"/>
                    </a:moveTo>
                    <a:lnTo>
                      <a:pt x="63537" y="249940"/>
                    </a:lnTo>
                    <a:lnTo>
                      <a:pt x="-3814" y="218265"/>
                    </a:lnTo>
                    <a:lnTo>
                      <a:pt x="95434" y="-3613"/>
                    </a:lnTo>
                    <a:lnTo>
                      <a:pt x="143084" y="62088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1" name="Vrije vorm 2300">
                <a:extLst>
                  <a:ext uri="{FF2B5EF4-FFF2-40B4-BE49-F238E27FC236}">
                    <a16:creationId xmlns:a16="http://schemas.microsoft.com/office/drawing/2014/main" id="{FF3177F9-D97D-FBFA-7EB3-50971FA472E8}"/>
                  </a:ext>
                </a:extLst>
              </p:cNvPr>
              <p:cNvSpPr/>
              <p:nvPr/>
            </p:nvSpPr>
            <p:spPr>
              <a:xfrm flipV="1">
                <a:off x="6508129" y="2157917"/>
                <a:ext cx="77972" cy="84552"/>
              </a:xfrm>
              <a:custGeom>
                <a:avLst/>
                <a:gdLst>
                  <a:gd name="connsiteX0" fmla="*/ 69563 w 77972"/>
                  <a:gd name="connsiteY0" fmla="*/ 81042 h 84552"/>
                  <a:gd name="connsiteX1" fmla="*/ -3850 w 77972"/>
                  <a:gd name="connsiteY1" fmla="*/ 31904 h 84552"/>
                  <a:gd name="connsiteX2" fmla="*/ 10441 w 77972"/>
                  <a:gd name="connsiteY2" fmla="*/ -3510 h 84552"/>
                  <a:gd name="connsiteX3" fmla="*/ 74122 w 77972"/>
                  <a:gd name="connsiteY3" fmla="*/ 75439 h 84552"/>
                  <a:gd name="connsiteX4" fmla="*/ 69563 w 77972"/>
                  <a:gd name="connsiteY4" fmla="*/ 81042 h 84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972" h="84552">
                    <a:moveTo>
                      <a:pt x="69563" y="81042"/>
                    </a:moveTo>
                    <a:lnTo>
                      <a:pt x="-3850" y="31904"/>
                    </a:lnTo>
                    <a:lnTo>
                      <a:pt x="10441" y="-3510"/>
                    </a:lnTo>
                    <a:lnTo>
                      <a:pt x="74122" y="75439"/>
                    </a:lnTo>
                    <a:lnTo>
                      <a:pt x="69563" y="81042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2" name="Vrije vorm 2301">
                <a:extLst>
                  <a:ext uri="{FF2B5EF4-FFF2-40B4-BE49-F238E27FC236}">
                    <a16:creationId xmlns:a16="http://schemas.microsoft.com/office/drawing/2014/main" id="{280E4E1A-7DA2-CE56-5079-D98A41AA6BC6}"/>
                  </a:ext>
                </a:extLst>
              </p:cNvPr>
              <p:cNvSpPr/>
              <p:nvPr/>
            </p:nvSpPr>
            <p:spPr>
              <a:xfrm flipV="1">
                <a:off x="6222085" y="1634703"/>
                <a:ext cx="217456" cy="303572"/>
              </a:xfrm>
              <a:custGeom>
                <a:avLst/>
                <a:gdLst>
                  <a:gd name="connsiteX0" fmla="*/ 116284 w 217456"/>
                  <a:gd name="connsiteY0" fmla="*/ 294452 h 303572"/>
                  <a:gd name="connsiteX1" fmla="*/ 180070 w 217456"/>
                  <a:gd name="connsiteY1" fmla="*/ 234500 h 303572"/>
                  <a:gd name="connsiteX2" fmla="*/ 176733 w 217456"/>
                  <a:gd name="connsiteY2" fmla="*/ 158389 h 303572"/>
                  <a:gd name="connsiteX3" fmla="*/ 203584 w 217456"/>
                  <a:gd name="connsiteY3" fmla="*/ 165702 h 303572"/>
                  <a:gd name="connsiteX4" fmla="*/ 175500 w 217456"/>
                  <a:gd name="connsiteY4" fmla="*/ 91995 h 303572"/>
                  <a:gd name="connsiteX5" fmla="*/ 169603 w 217456"/>
                  <a:gd name="connsiteY5" fmla="*/ 51805 h 303572"/>
                  <a:gd name="connsiteX6" fmla="*/ 81060 w 217456"/>
                  <a:gd name="connsiteY6" fmla="*/ -3382 h 303572"/>
                  <a:gd name="connsiteX7" fmla="*/ -2716 w 217456"/>
                  <a:gd name="connsiteY7" fmla="*/ 60372 h 303572"/>
                  <a:gd name="connsiteX8" fmla="*/ -3669 w 217456"/>
                  <a:gd name="connsiteY8" fmla="*/ 246877 h 303572"/>
                  <a:gd name="connsiteX9" fmla="*/ 116284 w 217456"/>
                  <a:gd name="connsiteY9" fmla="*/ 294452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56" h="303572">
                    <a:moveTo>
                      <a:pt x="116284" y="294452"/>
                    </a:moveTo>
                    <a:cubicBezTo>
                      <a:pt x="181821" y="279516"/>
                      <a:pt x="180070" y="234500"/>
                      <a:pt x="180070" y="234500"/>
                    </a:cubicBezTo>
                    <a:cubicBezTo>
                      <a:pt x="180070" y="234500"/>
                      <a:pt x="178028" y="199759"/>
                      <a:pt x="176733" y="158389"/>
                    </a:cubicBezTo>
                    <a:cubicBezTo>
                      <a:pt x="182806" y="166717"/>
                      <a:pt x="193055" y="170208"/>
                      <a:pt x="203584" y="165702"/>
                    </a:cubicBezTo>
                    <a:cubicBezTo>
                      <a:pt x="225896" y="156162"/>
                      <a:pt x="209408" y="85914"/>
                      <a:pt x="175500" y="91995"/>
                    </a:cubicBezTo>
                    <a:cubicBezTo>
                      <a:pt x="174028" y="72376"/>
                      <a:pt x="172121" y="57098"/>
                      <a:pt x="169603" y="51805"/>
                    </a:cubicBezTo>
                    <a:cubicBezTo>
                      <a:pt x="160079" y="31825"/>
                      <a:pt x="118191" y="1372"/>
                      <a:pt x="81060" y="-3382"/>
                    </a:cubicBezTo>
                    <a:cubicBezTo>
                      <a:pt x="43939" y="-8136"/>
                      <a:pt x="-2716" y="16599"/>
                      <a:pt x="-2716" y="60372"/>
                    </a:cubicBezTo>
                    <a:cubicBezTo>
                      <a:pt x="-2716" y="104144"/>
                      <a:pt x="-3669" y="246877"/>
                      <a:pt x="-3669" y="246877"/>
                    </a:cubicBezTo>
                    <a:cubicBezTo>
                      <a:pt x="-3669" y="246877"/>
                      <a:pt x="7751" y="319197"/>
                      <a:pt x="116284" y="294452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3" name="Vrije vorm 2302">
                <a:extLst>
                  <a:ext uri="{FF2B5EF4-FFF2-40B4-BE49-F238E27FC236}">
                    <a16:creationId xmlns:a16="http://schemas.microsoft.com/office/drawing/2014/main" id="{41DA274A-E0B7-8B86-9E24-1357F20B58EA}"/>
                  </a:ext>
                </a:extLst>
              </p:cNvPr>
              <p:cNvSpPr/>
              <p:nvPr/>
            </p:nvSpPr>
            <p:spPr>
              <a:xfrm flipV="1">
                <a:off x="6253786" y="1766416"/>
                <a:ext cx="33835" cy="82781"/>
              </a:xfrm>
              <a:custGeom>
                <a:avLst/>
                <a:gdLst>
                  <a:gd name="connsiteX0" fmla="*/ 30217 w 33835"/>
                  <a:gd name="connsiteY0" fmla="*/ 78842 h 82781"/>
                  <a:gd name="connsiteX1" fmla="*/ 20558 w 33835"/>
                  <a:gd name="connsiteY1" fmla="*/ 41346 h 82781"/>
                  <a:gd name="connsiteX2" fmla="*/ 12236 w 33835"/>
                  <a:gd name="connsiteY2" fmla="*/ 23655 h 82781"/>
                  <a:gd name="connsiteX3" fmla="*/ -96 w 33835"/>
                  <a:gd name="connsiteY3" fmla="*/ 8149 h 82781"/>
                  <a:gd name="connsiteX4" fmla="*/ -106 w 33835"/>
                  <a:gd name="connsiteY4" fmla="*/ 10624 h 82781"/>
                  <a:gd name="connsiteX5" fmla="*/ 14040 w 33835"/>
                  <a:gd name="connsiteY5" fmla="*/ -3939 h 82781"/>
                  <a:gd name="connsiteX6" fmla="*/ -2293 w 33835"/>
                  <a:gd name="connsiteY6" fmla="*/ 8128 h 82781"/>
                  <a:gd name="connsiteX7" fmla="*/ -3619 w 33835"/>
                  <a:gd name="connsiteY7" fmla="*/ 9184 h 82781"/>
                  <a:gd name="connsiteX8" fmla="*/ -2303 w 33835"/>
                  <a:gd name="connsiteY8" fmla="*/ 10604 h 82781"/>
                  <a:gd name="connsiteX9" fmla="*/ 16351 w 33835"/>
                  <a:gd name="connsiteY9" fmla="*/ 43035 h 82781"/>
                  <a:gd name="connsiteX10" fmla="*/ 30217 w 33835"/>
                  <a:gd name="connsiteY10" fmla="*/ 78842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5" h="82781">
                    <a:moveTo>
                      <a:pt x="30217" y="78842"/>
                    </a:moveTo>
                    <a:cubicBezTo>
                      <a:pt x="28475" y="66040"/>
                      <a:pt x="25304" y="53424"/>
                      <a:pt x="20558" y="41346"/>
                    </a:cubicBezTo>
                    <a:cubicBezTo>
                      <a:pt x="18309" y="35256"/>
                      <a:pt x="15646" y="29279"/>
                      <a:pt x="12236" y="23655"/>
                    </a:cubicBezTo>
                    <a:cubicBezTo>
                      <a:pt x="8910" y="18041"/>
                      <a:pt x="5231" y="12406"/>
                      <a:pt x="-96" y="8149"/>
                    </a:cubicBezTo>
                    <a:lnTo>
                      <a:pt x="-106" y="10624"/>
                    </a:lnTo>
                    <a:cubicBezTo>
                      <a:pt x="4764" y="5942"/>
                      <a:pt x="9490" y="1116"/>
                      <a:pt x="14040" y="-3939"/>
                    </a:cubicBezTo>
                    <a:cubicBezTo>
                      <a:pt x="8423" y="-117"/>
                      <a:pt x="2992" y="3923"/>
                      <a:pt x="-2293" y="8128"/>
                    </a:cubicBezTo>
                    <a:lnTo>
                      <a:pt x="-3619" y="9184"/>
                    </a:lnTo>
                    <a:lnTo>
                      <a:pt x="-2303" y="10604"/>
                    </a:lnTo>
                    <a:cubicBezTo>
                      <a:pt x="6081" y="19667"/>
                      <a:pt x="11200" y="31506"/>
                      <a:pt x="16351" y="43035"/>
                    </a:cubicBezTo>
                    <a:cubicBezTo>
                      <a:pt x="21200" y="54780"/>
                      <a:pt x="25698" y="66744"/>
                      <a:pt x="30217" y="7884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4" name="Vrije vorm 2303">
                <a:extLst>
                  <a:ext uri="{FF2B5EF4-FFF2-40B4-BE49-F238E27FC236}">
                    <a16:creationId xmlns:a16="http://schemas.microsoft.com/office/drawing/2014/main" id="{75D29D19-6384-3152-5B78-E19BC2FE87C8}"/>
                  </a:ext>
                </a:extLst>
              </p:cNvPr>
              <p:cNvSpPr/>
              <p:nvPr/>
            </p:nvSpPr>
            <p:spPr>
              <a:xfrm flipV="1">
                <a:off x="6327365" y="1755322"/>
                <a:ext cx="18995" cy="34554"/>
              </a:xfrm>
              <a:custGeom>
                <a:avLst/>
                <a:gdLst>
                  <a:gd name="connsiteX0" fmla="*/ -3674 w 18995"/>
                  <a:gd name="connsiteY0" fmla="*/ 13300 h 34554"/>
                  <a:gd name="connsiteX1" fmla="*/ 5828 w 18995"/>
                  <a:gd name="connsiteY1" fmla="*/ -3978 h 34554"/>
                  <a:gd name="connsiteX2" fmla="*/ 15321 w 18995"/>
                  <a:gd name="connsiteY2" fmla="*/ 13300 h 34554"/>
                  <a:gd name="connsiteX3" fmla="*/ 5828 w 18995"/>
                  <a:gd name="connsiteY3" fmla="*/ 30577 h 34554"/>
                  <a:gd name="connsiteX4" fmla="*/ -3674 w 18995"/>
                  <a:gd name="connsiteY4" fmla="*/ 13300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95" h="34554">
                    <a:moveTo>
                      <a:pt x="-3674" y="13300"/>
                    </a:moveTo>
                    <a:cubicBezTo>
                      <a:pt x="-3674" y="3760"/>
                      <a:pt x="575" y="-3978"/>
                      <a:pt x="5828" y="-3978"/>
                    </a:cubicBezTo>
                    <a:cubicBezTo>
                      <a:pt x="11072" y="-3978"/>
                      <a:pt x="15321" y="3760"/>
                      <a:pt x="15321" y="13300"/>
                    </a:cubicBezTo>
                    <a:cubicBezTo>
                      <a:pt x="15321" y="22839"/>
                      <a:pt x="11072" y="30577"/>
                      <a:pt x="5828" y="30577"/>
                    </a:cubicBezTo>
                    <a:cubicBezTo>
                      <a:pt x="575" y="30577"/>
                      <a:pt x="-3674" y="22839"/>
                      <a:pt x="-3674" y="13300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5" name="Vrije vorm 2304">
                <a:extLst>
                  <a:ext uri="{FF2B5EF4-FFF2-40B4-BE49-F238E27FC236}">
                    <a16:creationId xmlns:a16="http://schemas.microsoft.com/office/drawing/2014/main" id="{5C8D63EB-6307-E312-5D0C-B41F9F125024}"/>
                  </a:ext>
                </a:extLst>
              </p:cNvPr>
              <p:cNvSpPr/>
              <p:nvPr/>
            </p:nvSpPr>
            <p:spPr>
              <a:xfrm flipV="1">
                <a:off x="6247402" y="1759134"/>
                <a:ext cx="18985" cy="34554"/>
              </a:xfrm>
              <a:custGeom>
                <a:avLst/>
                <a:gdLst>
                  <a:gd name="connsiteX0" fmla="*/ -3608 w 18985"/>
                  <a:gd name="connsiteY0" fmla="*/ 13304 h 34554"/>
                  <a:gd name="connsiteX1" fmla="*/ 5885 w 18985"/>
                  <a:gd name="connsiteY1" fmla="*/ -3973 h 34554"/>
                  <a:gd name="connsiteX2" fmla="*/ 15378 w 18985"/>
                  <a:gd name="connsiteY2" fmla="*/ 13304 h 34554"/>
                  <a:gd name="connsiteX3" fmla="*/ 5885 w 18985"/>
                  <a:gd name="connsiteY3" fmla="*/ 30581 h 34554"/>
                  <a:gd name="connsiteX4" fmla="*/ -3608 w 18985"/>
                  <a:gd name="connsiteY4" fmla="*/ 13304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3608" y="13304"/>
                    </a:moveTo>
                    <a:cubicBezTo>
                      <a:pt x="-3608" y="3764"/>
                      <a:pt x="641" y="-3973"/>
                      <a:pt x="5885" y="-3973"/>
                    </a:cubicBezTo>
                    <a:cubicBezTo>
                      <a:pt x="11129" y="-3973"/>
                      <a:pt x="15378" y="3764"/>
                      <a:pt x="15378" y="13304"/>
                    </a:cubicBezTo>
                    <a:cubicBezTo>
                      <a:pt x="15378" y="22854"/>
                      <a:pt x="11129" y="30581"/>
                      <a:pt x="5885" y="30581"/>
                    </a:cubicBezTo>
                    <a:cubicBezTo>
                      <a:pt x="641" y="30581"/>
                      <a:pt x="-3608" y="22854"/>
                      <a:pt x="-3608" y="13304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6" name="Vrije vorm 2305">
                <a:extLst>
                  <a:ext uri="{FF2B5EF4-FFF2-40B4-BE49-F238E27FC236}">
                    <a16:creationId xmlns:a16="http://schemas.microsoft.com/office/drawing/2014/main" id="{250F0DBE-4481-E3DF-6073-695BD70B20B7}"/>
                  </a:ext>
                </a:extLst>
              </p:cNvPr>
              <p:cNvSpPr/>
              <p:nvPr/>
            </p:nvSpPr>
            <p:spPr>
              <a:xfrm flipV="1">
                <a:off x="6310825" y="1725750"/>
                <a:ext cx="51370" cy="20758"/>
              </a:xfrm>
              <a:custGeom>
                <a:avLst/>
                <a:gdLst>
                  <a:gd name="connsiteX0" fmla="*/ 47696 w 51370"/>
                  <a:gd name="connsiteY0" fmla="*/ 16741 h 20758"/>
                  <a:gd name="connsiteX1" fmla="*/ 38524 w 51370"/>
                  <a:gd name="connsiteY1" fmla="*/ 4311 h 20758"/>
                  <a:gd name="connsiteX2" fmla="*/ 24410 w 51370"/>
                  <a:gd name="connsiteY2" fmla="*/ -3230 h 20758"/>
                  <a:gd name="connsiteX3" fmla="*/ 7788 w 51370"/>
                  <a:gd name="connsiteY3" fmla="*/ -2069 h 20758"/>
                  <a:gd name="connsiteX4" fmla="*/ -3674 w 51370"/>
                  <a:gd name="connsiteY4" fmla="*/ 8869 h 20758"/>
                  <a:gd name="connsiteX5" fmla="*/ 9850 w 51370"/>
                  <a:gd name="connsiteY5" fmla="*/ 5295 h 20758"/>
                  <a:gd name="connsiteX6" fmla="*/ 22037 w 51370"/>
                  <a:gd name="connsiteY6" fmla="*/ 6269 h 20758"/>
                  <a:gd name="connsiteX7" fmla="*/ 47696 w 51370"/>
                  <a:gd name="connsiteY7" fmla="*/ 16741 h 20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370" h="20758">
                    <a:moveTo>
                      <a:pt x="47696" y="16741"/>
                    </a:moveTo>
                    <a:cubicBezTo>
                      <a:pt x="45799" y="11800"/>
                      <a:pt x="42473" y="7719"/>
                      <a:pt x="38524" y="4311"/>
                    </a:cubicBezTo>
                    <a:cubicBezTo>
                      <a:pt x="34576" y="851"/>
                      <a:pt x="29789" y="-1759"/>
                      <a:pt x="24410" y="-3230"/>
                    </a:cubicBezTo>
                    <a:cubicBezTo>
                      <a:pt x="19010" y="-4493"/>
                      <a:pt x="12979" y="-4328"/>
                      <a:pt x="7788" y="-2069"/>
                    </a:cubicBezTo>
                    <a:cubicBezTo>
                      <a:pt x="2450" y="-91"/>
                      <a:pt x="-1342" y="4321"/>
                      <a:pt x="-3674" y="8869"/>
                    </a:cubicBezTo>
                    <a:cubicBezTo>
                      <a:pt x="1455" y="7304"/>
                      <a:pt x="5559" y="5502"/>
                      <a:pt x="9850" y="5295"/>
                    </a:cubicBezTo>
                    <a:cubicBezTo>
                      <a:pt x="14026" y="4984"/>
                      <a:pt x="17995" y="5212"/>
                      <a:pt x="22037" y="6269"/>
                    </a:cubicBezTo>
                    <a:cubicBezTo>
                      <a:pt x="30224" y="8319"/>
                      <a:pt x="38203" y="12587"/>
                      <a:pt x="47696" y="16741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7" name="Vrije vorm 2306">
                <a:extLst>
                  <a:ext uri="{FF2B5EF4-FFF2-40B4-BE49-F238E27FC236}">
                    <a16:creationId xmlns:a16="http://schemas.microsoft.com/office/drawing/2014/main" id="{9784E9AE-B61D-BDA3-034D-B160DE81ACE5}"/>
                  </a:ext>
                </a:extLst>
              </p:cNvPr>
              <p:cNvSpPr/>
              <p:nvPr/>
            </p:nvSpPr>
            <p:spPr>
              <a:xfrm flipV="1">
                <a:off x="6231930" y="1721441"/>
                <a:ext cx="40934" cy="19286"/>
              </a:xfrm>
              <a:custGeom>
                <a:avLst/>
                <a:gdLst>
                  <a:gd name="connsiteX0" fmla="*/ 37331 w 40934"/>
                  <a:gd name="connsiteY0" fmla="*/ 3590 h 19286"/>
                  <a:gd name="connsiteX1" fmla="*/ 14853 w 40934"/>
                  <a:gd name="connsiteY1" fmla="*/ 6490 h 19286"/>
                  <a:gd name="connsiteX2" fmla="*/ 5702 w 40934"/>
                  <a:gd name="connsiteY2" fmla="*/ 3362 h 19286"/>
                  <a:gd name="connsiteX3" fmla="*/ -3604 w 40934"/>
                  <a:gd name="connsiteY3" fmla="*/ -4023 h 19286"/>
                  <a:gd name="connsiteX4" fmla="*/ 1163 w 40934"/>
                  <a:gd name="connsiteY4" fmla="*/ 8458 h 19286"/>
                  <a:gd name="connsiteX5" fmla="*/ 13952 w 40934"/>
                  <a:gd name="connsiteY5" fmla="*/ 15181 h 19286"/>
                  <a:gd name="connsiteX6" fmla="*/ 27569 w 40934"/>
                  <a:gd name="connsiteY6" fmla="*/ 12373 h 19286"/>
                  <a:gd name="connsiteX7" fmla="*/ 37331 w 40934"/>
                  <a:gd name="connsiteY7" fmla="*/ 3590 h 1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34" h="19286">
                    <a:moveTo>
                      <a:pt x="37331" y="3590"/>
                    </a:moveTo>
                    <a:cubicBezTo>
                      <a:pt x="28740" y="5289"/>
                      <a:pt x="21392" y="7194"/>
                      <a:pt x="14853" y="6490"/>
                    </a:cubicBezTo>
                    <a:cubicBezTo>
                      <a:pt x="11589" y="6314"/>
                      <a:pt x="8687" y="5154"/>
                      <a:pt x="5702" y="3362"/>
                    </a:cubicBezTo>
                    <a:cubicBezTo>
                      <a:pt x="2593" y="1632"/>
                      <a:pt x="-91" y="-1164"/>
                      <a:pt x="-3604" y="-4023"/>
                    </a:cubicBezTo>
                    <a:cubicBezTo>
                      <a:pt x="-3386" y="348"/>
                      <a:pt x="-2059" y="4895"/>
                      <a:pt x="1163" y="8458"/>
                    </a:cubicBezTo>
                    <a:cubicBezTo>
                      <a:pt x="4128" y="12187"/>
                      <a:pt x="9039" y="14745"/>
                      <a:pt x="13952" y="15181"/>
                    </a:cubicBezTo>
                    <a:cubicBezTo>
                      <a:pt x="18884" y="15584"/>
                      <a:pt x="23589" y="14486"/>
                      <a:pt x="27569" y="12373"/>
                    </a:cubicBezTo>
                    <a:cubicBezTo>
                      <a:pt x="31538" y="10302"/>
                      <a:pt x="35010" y="7443"/>
                      <a:pt x="37331" y="3590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8" name="Vrije vorm 2307">
                <a:extLst>
                  <a:ext uri="{FF2B5EF4-FFF2-40B4-BE49-F238E27FC236}">
                    <a16:creationId xmlns:a16="http://schemas.microsoft.com/office/drawing/2014/main" id="{A8FDD7B1-9A53-BA31-C212-DEFE208AD455}"/>
                  </a:ext>
                </a:extLst>
              </p:cNvPr>
              <p:cNvSpPr/>
              <p:nvPr/>
            </p:nvSpPr>
            <p:spPr>
              <a:xfrm flipV="1">
                <a:off x="6409959" y="1779600"/>
                <a:ext cx="27832" cy="51643"/>
              </a:xfrm>
              <a:custGeom>
                <a:avLst/>
                <a:gdLst>
                  <a:gd name="connsiteX0" fmla="*/ 18648 w 27832"/>
                  <a:gd name="connsiteY0" fmla="*/ 46603 h 51643"/>
                  <a:gd name="connsiteX1" fmla="*/ -3747 w 27832"/>
                  <a:gd name="connsiteY1" fmla="*/ 13789 h 51643"/>
                  <a:gd name="connsiteX2" fmla="*/ 2077 w 27832"/>
                  <a:gd name="connsiteY2" fmla="*/ -3706 h 51643"/>
                  <a:gd name="connsiteX3" fmla="*/ 18648 w 27832"/>
                  <a:gd name="connsiteY3" fmla="*/ 46603 h 5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32" h="51643">
                    <a:moveTo>
                      <a:pt x="18648" y="46603"/>
                    </a:moveTo>
                    <a:cubicBezTo>
                      <a:pt x="7020" y="52486"/>
                      <a:pt x="-3271" y="33769"/>
                      <a:pt x="-3747" y="13789"/>
                    </a:cubicBezTo>
                    <a:cubicBezTo>
                      <a:pt x="5776" y="15208"/>
                      <a:pt x="7383" y="4135"/>
                      <a:pt x="2077" y="-3706"/>
                    </a:cubicBezTo>
                    <a:cubicBezTo>
                      <a:pt x="20980" y="-7704"/>
                      <a:pt x="30990" y="40357"/>
                      <a:pt x="18648" y="46603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09" name="Vrije vorm 2308">
                <a:extLst>
                  <a:ext uri="{FF2B5EF4-FFF2-40B4-BE49-F238E27FC236}">
                    <a16:creationId xmlns:a16="http://schemas.microsoft.com/office/drawing/2014/main" id="{6A50F3E4-1F78-0416-10D8-B001340654A9}"/>
                  </a:ext>
                </a:extLst>
              </p:cNvPr>
              <p:cNvSpPr/>
              <p:nvPr/>
            </p:nvSpPr>
            <p:spPr>
              <a:xfrm flipV="1">
                <a:off x="6260315" y="1864601"/>
                <a:ext cx="61889" cy="17813"/>
              </a:xfrm>
              <a:custGeom>
                <a:avLst/>
                <a:gdLst>
                  <a:gd name="connsiteX0" fmla="*/ -3636 w 61889"/>
                  <a:gd name="connsiteY0" fmla="*/ 659 h 17813"/>
                  <a:gd name="connsiteX1" fmla="*/ 28324 w 61889"/>
                  <a:gd name="connsiteY1" fmla="*/ 13731 h 17813"/>
                  <a:gd name="connsiteX2" fmla="*/ 45278 w 61889"/>
                  <a:gd name="connsiteY2" fmla="*/ 7817 h 17813"/>
                  <a:gd name="connsiteX3" fmla="*/ 52408 w 61889"/>
                  <a:gd name="connsiteY3" fmla="*/ 2638 h 17813"/>
                  <a:gd name="connsiteX4" fmla="*/ 58253 w 61889"/>
                  <a:gd name="connsiteY4" fmla="*/ -3867 h 17813"/>
                  <a:gd name="connsiteX5" fmla="*/ 42687 w 61889"/>
                  <a:gd name="connsiteY5" fmla="*/ 2337 h 17813"/>
                  <a:gd name="connsiteX6" fmla="*/ 27443 w 61889"/>
                  <a:gd name="connsiteY6" fmla="*/ 6025 h 17813"/>
                  <a:gd name="connsiteX7" fmla="*/ -3636 w 61889"/>
                  <a:gd name="connsiteY7" fmla="*/ 659 h 17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1889" h="17813">
                    <a:moveTo>
                      <a:pt x="-3636" y="659"/>
                    </a:moveTo>
                    <a:cubicBezTo>
                      <a:pt x="3079" y="10458"/>
                      <a:pt x="16230" y="15026"/>
                      <a:pt x="28324" y="13731"/>
                    </a:cubicBezTo>
                    <a:cubicBezTo>
                      <a:pt x="34365" y="12840"/>
                      <a:pt x="40210" y="10934"/>
                      <a:pt x="45278" y="7817"/>
                    </a:cubicBezTo>
                    <a:cubicBezTo>
                      <a:pt x="47869" y="6387"/>
                      <a:pt x="50107" y="4388"/>
                      <a:pt x="52408" y="2638"/>
                    </a:cubicBezTo>
                    <a:cubicBezTo>
                      <a:pt x="54418" y="463"/>
                      <a:pt x="56501" y="-1547"/>
                      <a:pt x="58253" y="-3867"/>
                    </a:cubicBezTo>
                    <a:cubicBezTo>
                      <a:pt x="52822" y="-1661"/>
                      <a:pt x="47754" y="535"/>
                      <a:pt x="42687" y="2337"/>
                    </a:cubicBezTo>
                    <a:cubicBezTo>
                      <a:pt x="37609" y="4078"/>
                      <a:pt x="32562" y="5372"/>
                      <a:pt x="27443" y="6025"/>
                    </a:cubicBezTo>
                    <a:cubicBezTo>
                      <a:pt x="17235" y="7102"/>
                      <a:pt x="6903" y="5455"/>
                      <a:pt x="-3636" y="659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2310" name="Vrije vorm 2309">
              <a:extLst>
                <a:ext uri="{FF2B5EF4-FFF2-40B4-BE49-F238E27FC236}">
                  <a16:creationId xmlns:a16="http://schemas.microsoft.com/office/drawing/2014/main" id="{14A53389-B775-7BF4-6276-00E5BAC85091}"/>
                </a:ext>
              </a:extLst>
            </p:cNvPr>
            <p:cNvSpPr/>
            <p:nvPr/>
          </p:nvSpPr>
          <p:spPr>
            <a:xfrm flipH="1" flipV="1">
              <a:off x="4157515" y="2278933"/>
              <a:ext cx="714998" cy="528767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rgbClr val="292E4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dirty="0"/>
            </a:p>
          </p:txBody>
        </p:sp>
        <p:grpSp>
          <p:nvGrpSpPr>
            <p:cNvPr id="2325" name="Groep 2324">
              <a:extLst>
                <a:ext uri="{FF2B5EF4-FFF2-40B4-BE49-F238E27FC236}">
                  <a16:creationId xmlns:a16="http://schemas.microsoft.com/office/drawing/2014/main" id="{F9D853C0-269F-B9BF-6650-663482C523D3}"/>
                </a:ext>
              </a:extLst>
            </p:cNvPr>
            <p:cNvGrpSpPr/>
            <p:nvPr/>
          </p:nvGrpSpPr>
          <p:grpSpPr>
            <a:xfrm>
              <a:off x="4247138" y="2680245"/>
              <a:ext cx="599104" cy="194023"/>
              <a:chOff x="4247138" y="2680245"/>
              <a:chExt cx="599104" cy="194023"/>
            </a:xfrm>
          </p:grpSpPr>
          <p:sp>
            <p:nvSpPr>
              <p:cNvPr id="2319" name="Vrije vorm 2318">
                <a:extLst>
                  <a:ext uri="{FF2B5EF4-FFF2-40B4-BE49-F238E27FC236}">
                    <a16:creationId xmlns:a16="http://schemas.microsoft.com/office/drawing/2014/main" id="{ED1A2868-BA71-1455-8779-A125F56FDD63}"/>
                  </a:ext>
                </a:extLst>
              </p:cNvPr>
              <p:cNvSpPr/>
              <p:nvPr/>
            </p:nvSpPr>
            <p:spPr>
              <a:xfrm flipV="1">
                <a:off x="4247138" y="2694268"/>
                <a:ext cx="180000" cy="180000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20" name="Vrije vorm 2319">
                <a:extLst>
                  <a:ext uri="{FF2B5EF4-FFF2-40B4-BE49-F238E27FC236}">
                    <a16:creationId xmlns:a16="http://schemas.microsoft.com/office/drawing/2014/main" id="{0A528AA1-FEB1-967F-BEEA-C33DB88C7AEB}"/>
                  </a:ext>
                </a:extLst>
              </p:cNvPr>
              <p:cNvSpPr/>
              <p:nvPr/>
            </p:nvSpPr>
            <p:spPr>
              <a:xfrm flipV="1">
                <a:off x="4494563" y="2680245"/>
                <a:ext cx="180000" cy="180000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21" name="Vrije vorm 2320">
                <a:extLst>
                  <a:ext uri="{FF2B5EF4-FFF2-40B4-BE49-F238E27FC236}">
                    <a16:creationId xmlns:a16="http://schemas.microsoft.com/office/drawing/2014/main" id="{7D46241F-A469-5705-DE16-12F8DA5B957F}"/>
                  </a:ext>
                </a:extLst>
              </p:cNvPr>
              <p:cNvSpPr/>
              <p:nvPr/>
            </p:nvSpPr>
            <p:spPr>
              <a:xfrm flipV="1">
                <a:off x="4666242" y="2752586"/>
                <a:ext cx="180000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22" name="Vrije vorm 2321">
                <a:extLst>
                  <a:ext uri="{FF2B5EF4-FFF2-40B4-BE49-F238E27FC236}">
                    <a16:creationId xmlns:a16="http://schemas.microsoft.com/office/drawing/2014/main" id="{5C8D2FFD-35EF-84B1-C588-CC156735FFA9}"/>
                  </a:ext>
                </a:extLst>
              </p:cNvPr>
              <p:cNvSpPr/>
              <p:nvPr/>
            </p:nvSpPr>
            <p:spPr>
              <a:xfrm flipV="1">
                <a:off x="4428046" y="2757109"/>
                <a:ext cx="72000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</p:grpSp>
      <p:sp>
        <p:nvSpPr>
          <p:cNvPr id="2328" name="Wolkvormige toelichting 2327">
            <a:extLst>
              <a:ext uri="{FF2B5EF4-FFF2-40B4-BE49-F238E27FC236}">
                <a16:creationId xmlns:a16="http://schemas.microsoft.com/office/drawing/2014/main" id="{1F4088A9-180B-6C80-09BB-04873A7AF6EE}"/>
              </a:ext>
            </a:extLst>
          </p:cNvPr>
          <p:cNvSpPr/>
          <p:nvPr/>
        </p:nvSpPr>
        <p:spPr>
          <a:xfrm>
            <a:off x="3622713" y="231483"/>
            <a:ext cx="5561551" cy="1918633"/>
          </a:xfrm>
          <a:prstGeom prst="cloudCallout">
            <a:avLst>
              <a:gd name="adj1" fmla="val -27299"/>
              <a:gd name="adj2" fmla="val 61306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l-BE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cerns…</a:t>
            </a:r>
          </a:p>
        </p:txBody>
      </p:sp>
    </p:spTree>
    <p:extLst>
      <p:ext uri="{BB962C8B-B14F-4D97-AF65-F5344CB8AC3E}">
        <p14:creationId xmlns:p14="http://schemas.microsoft.com/office/powerpoint/2010/main" val="18022528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F7C2903E-F346-EE7C-78DE-C26F3AD73346}"/>
              </a:ext>
            </a:extLst>
          </p:cNvPr>
          <p:cNvSpPr/>
          <p:nvPr/>
        </p:nvSpPr>
        <p:spPr>
          <a:xfrm>
            <a:off x="0" y="5104263"/>
            <a:ext cx="12192000" cy="17537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AC76B48E-6665-5316-A8F9-97C5FC168B9D}"/>
              </a:ext>
            </a:extLst>
          </p:cNvPr>
          <p:cNvSpPr/>
          <p:nvPr/>
        </p:nvSpPr>
        <p:spPr>
          <a:xfrm>
            <a:off x="0" y="4844955"/>
            <a:ext cx="12192000" cy="25930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5F96C064-8DE1-C7F7-5929-6093F34B4C40}"/>
              </a:ext>
            </a:extLst>
          </p:cNvPr>
          <p:cNvSpPr/>
          <p:nvPr/>
        </p:nvSpPr>
        <p:spPr>
          <a:xfrm>
            <a:off x="-34" y="1804"/>
            <a:ext cx="12192000" cy="4844955"/>
          </a:xfrm>
          <a:prstGeom prst="rect">
            <a:avLst/>
          </a:prstGeom>
          <a:solidFill>
            <a:srgbClr val="00A3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136" name="Groep 135">
            <a:extLst>
              <a:ext uri="{FF2B5EF4-FFF2-40B4-BE49-F238E27FC236}">
                <a16:creationId xmlns:a16="http://schemas.microsoft.com/office/drawing/2014/main" id="{5301C91F-3F77-9F09-514B-F2501E0EFDA0}"/>
              </a:ext>
            </a:extLst>
          </p:cNvPr>
          <p:cNvGrpSpPr/>
          <p:nvPr/>
        </p:nvGrpSpPr>
        <p:grpSpPr>
          <a:xfrm>
            <a:off x="742832" y="2755901"/>
            <a:ext cx="5073768" cy="2947914"/>
            <a:chOff x="1873132" y="4037307"/>
            <a:chExt cx="3014052" cy="1641107"/>
          </a:xfrm>
        </p:grpSpPr>
        <p:sp>
          <p:nvSpPr>
            <p:cNvPr id="5" name="Vrije vorm 4">
              <a:extLst>
                <a:ext uri="{FF2B5EF4-FFF2-40B4-BE49-F238E27FC236}">
                  <a16:creationId xmlns:a16="http://schemas.microsoft.com/office/drawing/2014/main" id="{8CB407DD-DED0-E42F-C000-142612377A6C}"/>
                </a:ext>
              </a:extLst>
            </p:cNvPr>
            <p:cNvSpPr/>
            <p:nvPr/>
          </p:nvSpPr>
          <p:spPr>
            <a:xfrm flipV="1">
              <a:off x="2624397" y="4447597"/>
              <a:ext cx="382114" cy="656666"/>
            </a:xfrm>
            <a:custGeom>
              <a:avLst/>
              <a:gdLst>
                <a:gd name="connsiteX0" fmla="*/ 181570 w 382114"/>
                <a:gd name="connsiteY0" fmla="*/ 650365 h 656666"/>
                <a:gd name="connsiteX1" fmla="*/ -32576 w 382114"/>
                <a:gd name="connsiteY1" fmla="*/ 186815 h 656666"/>
                <a:gd name="connsiteX2" fmla="*/ -18621 w 382114"/>
                <a:gd name="connsiteY2" fmla="*/ 39697 h 656666"/>
                <a:gd name="connsiteX3" fmla="*/ 115302 w 382114"/>
                <a:gd name="connsiteY3" fmla="*/ -6301 h 656666"/>
                <a:gd name="connsiteX4" fmla="*/ 349538 w 382114"/>
                <a:gd name="connsiteY4" fmla="*/ 514019 h 656666"/>
                <a:gd name="connsiteX5" fmla="*/ 181570 w 382114"/>
                <a:gd name="connsiteY5" fmla="*/ 650365 h 656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2114" h="656666">
                  <a:moveTo>
                    <a:pt x="181570" y="650365"/>
                  </a:moveTo>
                  <a:lnTo>
                    <a:pt x="-32576" y="186815"/>
                  </a:lnTo>
                  <a:lnTo>
                    <a:pt x="-18621" y="39697"/>
                  </a:lnTo>
                  <a:lnTo>
                    <a:pt x="115302" y="-6301"/>
                  </a:lnTo>
                  <a:lnTo>
                    <a:pt x="349538" y="514019"/>
                  </a:lnTo>
                  <a:lnTo>
                    <a:pt x="181570" y="650365"/>
                  </a:ln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" name="Vrije vorm 5">
              <a:extLst>
                <a:ext uri="{FF2B5EF4-FFF2-40B4-BE49-F238E27FC236}">
                  <a16:creationId xmlns:a16="http://schemas.microsoft.com/office/drawing/2014/main" id="{7081DDCB-7325-D740-852D-7E013AA6C68E}"/>
                </a:ext>
              </a:extLst>
            </p:cNvPr>
            <p:cNvSpPr/>
            <p:nvPr/>
          </p:nvSpPr>
          <p:spPr>
            <a:xfrm flipV="1">
              <a:off x="2785660" y="4561738"/>
              <a:ext cx="205209" cy="273681"/>
            </a:xfrm>
            <a:custGeom>
              <a:avLst/>
              <a:gdLst>
                <a:gd name="connsiteX0" fmla="*/ 147142 w 205209"/>
                <a:gd name="connsiteY0" fmla="*/ 109802 h 273681"/>
                <a:gd name="connsiteX1" fmla="*/ 88818 w 205209"/>
                <a:gd name="connsiteY1" fmla="*/ -6945 h 273681"/>
                <a:gd name="connsiteX2" fmla="*/ -33040 w 205209"/>
                <a:gd name="connsiteY2" fmla="*/ 103968 h 273681"/>
                <a:gd name="connsiteX3" fmla="*/ 99087 w 205209"/>
                <a:gd name="connsiteY3" fmla="*/ 266727 h 273681"/>
                <a:gd name="connsiteX4" fmla="*/ 172169 w 205209"/>
                <a:gd name="connsiteY4" fmla="*/ 148102 h 273681"/>
                <a:gd name="connsiteX5" fmla="*/ 147142 w 205209"/>
                <a:gd name="connsiteY5" fmla="*/ 109802 h 273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209" h="273681">
                  <a:moveTo>
                    <a:pt x="147142" y="109802"/>
                  </a:moveTo>
                  <a:lnTo>
                    <a:pt x="88818" y="-6945"/>
                  </a:lnTo>
                  <a:lnTo>
                    <a:pt x="-33040" y="103968"/>
                  </a:lnTo>
                  <a:cubicBezTo>
                    <a:pt x="-33040" y="103968"/>
                    <a:pt x="94884" y="268182"/>
                    <a:pt x="99087" y="266727"/>
                  </a:cubicBezTo>
                  <a:cubicBezTo>
                    <a:pt x="103304" y="265258"/>
                    <a:pt x="172169" y="148102"/>
                    <a:pt x="172169" y="148102"/>
                  </a:cubicBezTo>
                  <a:lnTo>
                    <a:pt x="147142" y="109802"/>
                  </a:lnTo>
                </a:path>
              </a:pathLst>
            </a:custGeom>
            <a:solidFill>
              <a:schemeClr val="bg1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" name="Vrije vorm 6">
              <a:extLst>
                <a:ext uri="{FF2B5EF4-FFF2-40B4-BE49-F238E27FC236}">
                  <a16:creationId xmlns:a16="http://schemas.microsoft.com/office/drawing/2014/main" id="{755AC5F9-0E21-8863-2D02-74CAB497AB8F}"/>
                </a:ext>
              </a:extLst>
            </p:cNvPr>
            <p:cNvSpPr/>
            <p:nvPr/>
          </p:nvSpPr>
          <p:spPr>
            <a:xfrm flipV="1">
              <a:off x="2822398" y="5451936"/>
              <a:ext cx="175000" cy="174999"/>
            </a:xfrm>
            <a:custGeom>
              <a:avLst/>
              <a:gdLst>
                <a:gd name="connsiteX0" fmla="*/ 139687 w 175000"/>
                <a:gd name="connsiteY0" fmla="*/ 61 h 174999"/>
                <a:gd name="connsiteX1" fmla="*/ -29764 w 175000"/>
                <a:gd name="connsiteY1" fmla="*/ 13812 h 174999"/>
                <a:gd name="connsiteX2" fmla="*/ -31505 w 175000"/>
                <a:gd name="connsiteY2" fmla="*/ 49432 h 174999"/>
                <a:gd name="connsiteX3" fmla="*/ -33178 w 175000"/>
                <a:gd name="connsiteY3" fmla="*/ 175061 h 174999"/>
                <a:gd name="connsiteX4" fmla="*/ 141822 w 175000"/>
                <a:gd name="connsiteY4" fmla="*/ 157312 h 174999"/>
                <a:gd name="connsiteX5" fmla="*/ 139687 w 175000"/>
                <a:gd name="connsiteY5" fmla="*/ 61 h 17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5000" h="174999">
                  <a:moveTo>
                    <a:pt x="139687" y="61"/>
                  </a:moveTo>
                  <a:lnTo>
                    <a:pt x="-29764" y="13812"/>
                  </a:lnTo>
                  <a:lnTo>
                    <a:pt x="-31505" y="49432"/>
                  </a:lnTo>
                  <a:lnTo>
                    <a:pt x="-33178" y="175061"/>
                  </a:lnTo>
                  <a:lnTo>
                    <a:pt x="141822" y="157312"/>
                  </a:lnTo>
                  <a:lnTo>
                    <a:pt x="139687" y="61"/>
                  </a:ln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" name="Vrije vorm 7">
              <a:extLst>
                <a:ext uri="{FF2B5EF4-FFF2-40B4-BE49-F238E27FC236}">
                  <a16:creationId xmlns:a16="http://schemas.microsoft.com/office/drawing/2014/main" id="{E1CA59B0-6EE4-2BB1-9244-C5A9489565BD}"/>
                </a:ext>
              </a:extLst>
            </p:cNvPr>
            <p:cNvSpPr/>
            <p:nvPr/>
          </p:nvSpPr>
          <p:spPr>
            <a:xfrm flipV="1">
              <a:off x="2377049" y="4743805"/>
              <a:ext cx="639765" cy="797402"/>
            </a:xfrm>
            <a:custGeom>
              <a:avLst/>
              <a:gdLst>
                <a:gd name="connsiteX0" fmla="*/ 129319 w 639765"/>
                <a:gd name="connsiteY0" fmla="*/ 794157 h 797402"/>
                <a:gd name="connsiteX1" fmla="*/ 545927 w 639765"/>
                <a:gd name="connsiteY1" fmla="*/ 682808 h 797402"/>
                <a:gd name="connsiteX2" fmla="*/ 603028 w 639765"/>
                <a:gd name="connsiteY2" fmla="*/ -2732 h 797402"/>
                <a:gd name="connsiteX3" fmla="*/ 399042 w 639765"/>
                <a:gd name="connsiteY3" fmla="*/ 2790 h 797402"/>
                <a:gd name="connsiteX4" fmla="*/ 392962 w 639765"/>
                <a:gd name="connsiteY4" fmla="*/ 482661 h 797402"/>
                <a:gd name="connsiteX5" fmla="*/ 112290 w 639765"/>
                <a:gd name="connsiteY5" fmla="*/ 567529 h 797402"/>
                <a:gd name="connsiteX6" fmla="*/ -31821 w 639765"/>
                <a:gd name="connsiteY6" fmla="*/ 788907 h 797402"/>
                <a:gd name="connsiteX7" fmla="*/ 129319 w 639765"/>
                <a:gd name="connsiteY7" fmla="*/ 794157 h 797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9765" h="797402">
                  <a:moveTo>
                    <a:pt x="129319" y="794157"/>
                  </a:moveTo>
                  <a:cubicBezTo>
                    <a:pt x="129319" y="794157"/>
                    <a:pt x="494839" y="748309"/>
                    <a:pt x="545927" y="682808"/>
                  </a:cubicBezTo>
                  <a:cubicBezTo>
                    <a:pt x="571118" y="650507"/>
                    <a:pt x="624314" y="177476"/>
                    <a:pt x="603028" y="-2732"/>
                  </a:cubicBezTo>
                  <a:cubicBezTo>
                    <a:pt x="603028" y="-2732"/>
                    <a:pt x="447804" y="-5738"/>
                    <a:pt x="399042" y="2790"/>
                  </a:cubicBezTo>
                  <a:lnTo>
                    <a:pt x="392962" y="482661"/>
                  </a:lnTo>
                  <a:lnTo>
                    <a:pt x="112290" y="567529"/>
                  </a:lnTo>
                  <a:lnTo>
                    <a:pt x="-31821" y="788907"/>
                  </a:lnTo>
                  <a:lnTo>
                    <a:pt x="129319" y="794157"/>
                  </a:lnTo>
                </a:path>
              </a:pathLst>
            </a:custGeom>
            <a:solidFill>
              <a:srgbClr val="012169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" name="Vrije vorm 8">
              <a:extLst>
                <a:ext uri="{FF2B5EF4-FFF2-40B4-BE49-F238E27FC236}">
                  <a16:creationId xmlns:a16="http://schemas.microsoft.com/office/drawing/2014/main" id="{CB7F0C9B-6511-5612-9BD8-98B26402E795}"/>
                </a:ext>
              </a:extLst>
            </p:cNvPr>
            <p:cNvSpPr/>
            <p:nvPr/>
          </p:nvSpPr>
          <p:spPr>
            <a:xfrm flipV="1">
              <a:off x="2824085" y="5562782"/>
              <a:ext cx="303742" cy="107754"/>
            </a:xfrm>
            <a:custGeom>
              <a:avLst/>
              <a:gdLst>
                <a:gd name="connsiteX0" fmla="*/ 18197 w 303742"/>
                <a:gd name="connsiteY0" fmla="*/ 715 h 107754"/>
                <a:gd name="connsiteX1" fmla="*/ 249576 w 303742"/>
                <a:gd name="connsiteY1" fmla="*/ 783 h 107754"/>
                <a:gd name="connsiteX2" fmla="*/ 254608 w 303742"/>
                <a:gd name="connsiteY2" fmla="*/ 1871 h 107754"/>
                <a:gd name="connsiteX3" fmla="*/ 269992 w 303742"/>
                <a:gd name="connsiteY3" fmla="*/ 20287 h 107754"/>
                <a:gd name="connsiteX4" fmla="*/ 266483 w 303742"/>
                <a:gd name="connsiteY4" fmla="*/ 25727 h 107754"/>
                <a:gd name="connsiteX5" fmla="*/ 138667 w 303742"/>
                <a:gd name="connsiteY5" fmla="*/ 108460 h 107754"/>
                <a:gd name="connsiteX6" fmla="*/ 96447 w 303742"/>
                <a:gd name="connsiteY6" fmla="*/ 89786 h 107754"/>
                <a:gd name="connsiteX7" fmla="*/ 53996 w 303742"/>
                <a:gd name="connsiteY7" fmla="*/ 78592 h 107754"/>
                <a:gd name="connsiteX8" fmla="*/ -33599 w 303742"/>
                <a:gd name="connsiteY8" fmla="*/ 92764 h 107754"/>
                <a:gd name="connsiteX9" fmla="*/ -32089 w 303742"/>
                <a:gd name="connsiteY9" fmla="*/ 21334 h 107754"/>
                <a:gd name="connsiteX10" fmla="*/ 18197 w 303742"/>
                <a:gd name="connsiteY10" fmla="*/ 715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3742" h="107754">
                  <a:moveTo>
                    <a:pt x="18197" y="715"/>
                  </a:moveTo>
                  <a:lnTo>
                    <a:pt x="249576" y="783"/>
                  </a:lnTo>
                  <a:cubicBezTo>
                    <a:pt x="251671" y="1110"/>
                    <a:pt x="253371" y="1477"/>
                    <a:pt x="254608" y="1871"/>
                  </a:cubicBezTo>
                  <a:cubicBezTo>
                    <a:pt x="269461" y="6604"/>
                    <a:pt x="270699" y="15282"/>
                    <a:pt x="269992" y="20287"/>
                  </a:cubicBezTo>
                  <a:cubicBezTo>
                    <a:pt x="269693" y="22517"/>
                    <a:pt x="268401" y="24489"/>
                    <a:pt x="266483" y="25727"/>
                  </a:cubicBezTo>
                  <a:lnTo>
                    <a:pt x="138667" y="108460"/>
                  </a:lnTo>
                  <a:lnTo>
                    <a:pt x="96447" y="89786"/>
                  </a:lnTo>
                  <a:cubicBezTo>
                    <a:pt x="82995" y="83802"/>
                    <a:pt x="68673" y="79993"/>
                    <a:pt x="53996" y="78592"/>
                  </a:cubicBezTo>
                  <a:cubicBezTo>
                    <a:pt x="24032" y="75709"/>
                    <a:pt x="-24051" y="74159"/>
                    <a:pt x="-33599" y="92764"/>
                  </a:cubicBezTo>
                  <a:lnTo>
                    <a:pt x="-32089" y="21334"/>
                  </a:lnTo>
                  <a:cubicBezTo>
                    <a:pt x="-32089" y="21334"/>
                    <a:pt x="-39080" y="171"/>
                    <a:pt x="18197" y="715"/>
                  </a:cubicBezTo>
                </a:path>
              </a:pathLst>
            </a:custGeom>
            <a:solidFill>
              <a:srgbClr val="A24027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" name="Vrije vorm 9">
              <a:extLst>
                <a:ext uri="{FF2B5EF4-FFF2-40B4-BE49-F238E27FC236}">
                  <a16:creationId xmlns:a16="http://schemas.microsoft.com/office/drawing/2014/main" id="{7702236A-5E27-5472-4C89-F073D8BAABE4}"/>
                </a:ext>
              </a:extLst>
            </p:cNvPr>
            <p:cNvSpPr/>
            <p:nvPr/>
          </p:nvSpPr>
          <p:spPr>
            <a:xfrm flipV="1">
              <a:off x="3136462" y="5427482"/>
              <a:ext cx="229339" cy="201126"/>
            </a:xfrm>
            <a:custGeom>
              <a:avLst/>
              <a:gdLst>
                <a:gd name="connsiteX0" fmla="*/ 193987 w 229339"/>
                <a:gd name="connsiteY0" fmla="*/ 56722 h 201126"/>
                <a:gd name="connsiteX1" fmla="*/ 33718 w 229339"/>
                <a:gd name="connsiteY1" fmla="*/ -33 h 201126"/>
                <a:gd name="connsiteX2" fmla="*/ 17572 w 229339"/>
                <a:gd name="connsiteY2" fmla="*/ 31765 h 201126"/>
                <a:gd name="connsiteX3" fmla="*/ -35352 w 229339"/>
                <a:gd name="connsiteY3" fmla="*/ 145725 h 201126"/>
                <a:gd name="connsiteX4" fmla="*/ 131609 w 229339"/>
                <a:gd name="connsiteY4" fmla="*/ 201093 h 201126"/>
                <a:gd name="connsiteX5" fmla="*/ 193987 w 229339"/>
                <a:gd name="connsiteY5" fmla="*/ 56722 h 201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9339" h="201126">
                  <a:moveTo>
                    <a:pt x="193987" y="56722"/>
                  </a:moveTo>
                  <a:lnTo>
                    <a:pt x="33718" y="-33"/>
                  </a:lnTo>
                  <a:lnTo>
                    <a:pt x="17572" y="31765"/>
                  </a:lnTo>
                  <a:lnTo>
                    <a:pt x="-35352" y="145725"/>
                  </a:lnTo>
                  <a:lnTo>
                    <a:pt x="131609" y="201093"/>
                  </a:lnTo>
                  <a:lnTo>
                    <a:pt x="193987" y="56722"/>
                  </a:ln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" name="Vrije vorm 10">
              <a:extLst>
                <a:ext uri="{FF2B5EF4-FFF2-40B4-BE49-F238E27FC236}">
                  <a16:creationId xmlns:a16="http://schemas.microsoft.com/office/drawing/2014/main" id="{6C71C66A-6411-1B94-0936-8862E0752833}"/>
                </a:ext>
              </a:extLst>
            </p:cNvPr>
            <p:cNvSpPr/>
            <p:nvPr/>
          </p:nvSpPr>
          <p:spPr>
            <a:xfrm flipV="1">
              <a:off x="3189768" y="5512854"/>
              <a:ext cx="308911" cy="157187"/>
            </a:xfrm>
            <a:custGeom>
              <a:avLst/>
              <a:gdLst>
                <a:gd name="connsiteX0" fmla="*/ 48971 w 308911"/>
                <a:gd name="connsiteY0" fmla="*/ 10088 h 157187"/>
                <a:gd name="connsiteX1" fmla="*/ 260083 w 308911"/>
                <a:gd name="connsiteY1" fmla="*/ 104776 h 157187"/>
                <a:gd name="connsiteX2" fmla="*/ 264232 w 308911"/>
                <a:gd name="connsiteY2" fmla="*/ 107836 h 157187"/>
                <a:gd name="connsiteX3" fmla="*/ 270747 w 308911"/>
                <a:gd name="connsiteY3" fmla="*/ 130930 h 157187"/>
                <a:gd name="connsiteX4" fmla="*/ 265320 w 308911"/>
                <a:gd name="connsiteY4" fmla="*/ 134453 h 157187"/>
                <a:gd name="connsiteX5" fmla="*/ 114830 w 308911"/>
                <a:gd name="connsiteY5" fmla="*/ 157683 h 157187"/>
                <a:gd name="connsiteX6" fmla="*/ 83940 w 308911"/>
                <a:gd name="connsiteY6" fmla="*/ 123368 h 157187"/>
                <a:gd name="connsiteX7" fmla="*/ 49787 w 308911"/>
                <a:gd name="connsiteY7" fmla="*/ 95786 h 157187"/>
                <a:gd name="connsiteX8" fmla="*/ -35945 w 308911"/>
                <a:gd name="connsiteY8" fmla="*/ 72896 h 157187"/>
                <a:gd name="connsiteX9" fmla="*/ -5355 w 308911"/>
                <a:gd name="connsiteY9" fmla="*/ 8334 h 157187"/>
                <a:gd name="connsiteX10" fmla="*/ 48971 w 308911"/>
                <a:gd name="connsiteY10" fmla="*/ 10088 h 157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911" h="157187">
                  <a:moveTo>
                    <a:pt x="48971" y="10088"/>
                  </a:moveTo>
                  <a:lnTo>
                    <a:pt x="260083" y="104776"/>
                  </a:lnTo>
                  <a:cubicBezTo>
                    <a:pt x="261851" y="105946"/>
                    <a:pt x="263266" y="106966"/>
                    <a:pt x="264232" y="107836"/>
                  </a:cubicBezTo>
                  <a:cubicBezTo>
                    <a:pt x="275848" y="118227"/>
                    <a:pt x="273427" y="126646"/>
                    <a:pt x="270747" y="130930"/>
                  </a:cubicBezTo>
                  <a:cubicBezTo>
                    <a:pt x="269550" y="132848"/>
                    <a:pt x="267564" y="134113"/>
                    <a:pt x="265320" y="134453"/>
                  </a:cubicBezTo>
                  <a:lnTo>
                    <a:pt x="114830" y="157683"/>
                  </a:lnTo>
                  <a:lnTo>
                    <a:pt x="83940" y="123368"/>
                  </a:lnTo>
                  <a:cubicBezTo>
                    <a:pt x="74120" y="112420"/>
                    <a:pt x="62613" y="103076"/>
                    <a:pt x="49787" y="95786"/>
                  </a:cubicBezTo>
                  <a:cubicBezTo>
                    <a:pt x="23617" y="80907"/>
                    <a:pt x="-19623" y="59812"/>
                    <a:pt x="-35945" y="72896"/>
                  </a:cubicBezTo>
                  <a:lnTo>
                    <a:pt x="-5355" y="8334"/>
                  </a:lnTo>
                  <a:cubicBezTo>
                    <a:pt x="-5355" y="8334"/>
                    <a:pt x="-2948" y="-10421"/>
                    <a:pt x="48971" y="10088"/>
                  </a:cubicBezTo>
                </a:path>
              </a:pathLst>
            </a:custGeom>
            <a:solidFill>
              <a:srgbClr val="A24027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" name="Vrije vorm 11">
              <a:extLst>
                <a:ext uri="{FF2B5EF4-FFF2-40B4-BE49-F238E27FC236}">
                  <a16:creationId xmlns:a16="http://schemas.microsoft.com/office/drawing/2014/main" id="{1BD24D1B-4FF0-355F-DD80-39080D886DFB}"/>
                </a:ext>
              </a:extLst>
            </p:cNvPr>
            <p:cNvSpPr/>
            <p:nvPr/>
          </p:nvSpPr>
          <p:spPr>
            <a:xfrm flipV="1">
              <a:off x="2801016" y="5119278"/>
              <a:ext cx="211031" cy="425332"/>
            </a:xfrm>
            <a:custGeom>
              <a:avLst/>
              <a:gdLst>
                <a:gd name="connsiteX0" fmla="*/ 119510 w 211031"/>
                <a:gd name="connsiteY0" fmla="*/ -1668 h 425332"/>
                <a:gd name="connsiteX1" fmla="*/ -26437 w 211031"/>
                <a:gd name="connsiteY1" fmla="*/ 6153 h 425332"/>
                <a:gd name="connsiteX2" fmla="*/ -27879 w 211031"/>
                <a:gd name="connsiteY2" fmla="*/ 6316 h 425332"/>
                <a:gd name="connsiteX3" fmla="*/ -33156 w 211031"/>
                <a:gd name="connsiteY3" fmla="*/ 423611 h 425332"/>
                <a:gd name="connsiteX4" fmla="*/ -29905 w 211031"/>
                <a:gd name="connsiteY4" fmla="*/ 423665 h 425332"/>
                <a:gd name="connsiteX5" fmla="*/ -24655 w 211031"/>
                <a:gd name="connsiteY5" fmla="*/ 9254 h 425332"/>
                <a:gd name="connsiteX6" fmla="*/ 177576 w 211031"/>
                <a:gd name="connsiteY6" fmla="*/ 3868 h 425332"/>
                <a:gd name="connsiteX7" fmla="*/ 177875 w 211031"/>
                <a:gd name="connsiteY7" fmla="*/ 617 h 425332"/>
                <a:gd name="connsiteX8" fmla="*/ 119510 w 211031"/>
                <a:gd name="connsiteY8" fmla="*/ -1668 h 425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1031" h="425332">
                  <a:moveTo>
                    <a:pt x="119510" y="-1668"/>
                  </a:moveTo>
                  <a:cubicBezTo>
                    <a:pt x="48794" y="-1668"/>
                    <a:pt x="-25471" y="6058"/>
                    <a:pt x="-26437" y="6153"/>
                  </a:cubicBezTo>
                  <a:lnTo>
                    <a:pt x="-27879" y="6316"/>
                  </a:lnTo>
                  <a:lnTo>
                    <a:pt x="-33156" y="423611"/>
                  </a:lnTo>
                  <a:lnTo>
                    <a:pt x="-29905" y="423665"/>
                  </a:lnTo>
                  <a:lnTo>
                    <a:pt x="-24655" y="9254"/>
                  </a:lnTo>
                  <a:cubicBezTo>
                    <a:pt x="-10618" y="7839"/>
                    <a:pt x="102331" y="-3041"/>
                    <a:pt x="177576" y="3868"/>
                  </a:cubicBezTo>
                  <a:lnTo>
                    <a:pt x="177875" y="617"/>
                  </a:lnTo>
                  <a:cubicBezTo>
                    <a:pt x="159934" y="-1028"/>
                    <a:pt x="139872" y="-1668"/>
                    <a:pt x="119510" y="-1668"/>
                  </a:cubicBez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" name="Vrije vorm 12">
              <a:extLst>
                <a:ext uri="{FF2B5EF4-FFF2-40B4-BE49-F238E27FC236}">
                  <a16:creationId xmlns:a16="http://schemas.microsoft.com/office/drawing/2014/main" id="{CE60554D-F633-4BC2-6866-3EAFFB8E30A4}"/>
                </a:ext>
              </a:extLst>
            </p:cNvPr>
            <p:cNvSpPr/>
            <p:nvPr/>
          </p:nvSpPr>
          <p:spPr>
            <a:xfrm flipV="1">
              <a:off x="2297996" y="5130240"/>
              <a:ext cx="356746" cy="540462"/>
            </a:xfrm>
            <a:custGeom>
              <a:avLst/>
              <a:gdLst>
                <a:gd name="connsiteX0" fmla="*/ 293673 w 356746"/>
                <a:gd name="connsiteY0" fmla="*/ 31559 h 540462"/>
                <a:gd name="connsiteX1" fmla="*/ 160975 w 356746"/>
                <a:gd name="connsiteY1" fmla="*/ 31559 h 540462"/>
                <a:gd name="connsiteX2" fmla="*/ 160975 w 356746"/>
                <a:gd name="connsiteY2" fmla="*/ 539366 h 540462"/>
                <a:gd name="connsiteX3" fmla="*/ 131499 w 356746"/>
                <a:gd name="connsiteY3" fmla="*/ 539366 h 540462"/>
                <a:gd name="connsiteX4" fmla="*/ 131499 w 356746"/>
                <a:gd name="connsiteY4" fmla="*/ 31559 h 540462"/>
                <a:gd name="connsiteX5" fmla="*/ 2242 w 356746"/>
                <a:gd name="connsiteY5" fmla="*/ 31559 h 540462"/>
                <a:gd name="connsiteX6" fmla="*/ -30416 w 356746"/>
                <a:gd name="connsiteY6" fmla="*/ -1097 h 540462"/>
                <a:gd name="connsiteX7" fmla="*/ 131499 w 356746"/>
                <a:gd name="connsiteY7" fmla="*/ -1097 h 540462"/>
                <a:gd name="connsiteX8" fmla="*/ 160975 w 356746"/>
                <a:gd name="connsiteY8" fmla="*/ -1097 h 540462"/>
                <a:gd name="connsiteX9" fmla="*/ 326331 w 356746"/>
                <a:gd name="connsiteY9" fmla="*/ -1097 h 540462"/>
                <a:gd name="connsiteX10" fmla="*/ 293673 w 356746"/>
                <a:gd name="connsiteY10" fmla="*/ 31559 h 5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6746" h="540462">
                  <a:moveTo>
                    <a:pt x="293673" y="31559"/>
                  </a:moveTo>
                  <a:lnTo>
                    <a:pt x="160975" y="31559"/>
                  </a:lnTo>
                  <a:lnTo>
                    <a:pt x="160975" y="539366"/>
                  </a:lnTo>
                  <a:lnTo>
                    <a:pt x="131499" y="539366"/>
                  </a:lnTo>
                  <a:lnTo>
                    <a:pt x="131499" y="31559"/>
                  </a:lnTo>
                  <a:lnTo>
                    <a:pt x="2242" y="31559"/>
                  </a:lnTo>
                  <a:cubicBezTo>
                    <a:pt x="-15794" y="31559"/>
                    <a:pt x="-30416" y="16938"/>
                    <a:pt x="-30416" y="-1097"/>
                  </a:cubicBezTo>
                  <a:lnTo>
                    <a:pt x="131499" y="-1097"/>
                  </a:lnTo>
                  <a:lnTo>
                    <a:pt x="160975" y="-1097"/>
                  </a:lnTo>
                  <a:lnTo>
                    <a:pt x="326331" y="-1097"/>
                  </a:lnTo>
                  <a:cubicBezTo>
                    <a:pt x="326331" y="16938"/>
                    <a:pt x="311709" y="31559"/>
                    <a:pt x="293673" y="31559"/>
                  </a:cubicBezTo>
                </a:path>
              </a:pathLst>
            </a:custGeom>
            <a:solidFill>
              <a:srgbClr val="F0716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" name="Vrije vorm 13">
              <a:extLst>
                <a:ext uri="{FF2B5EF4-FFF2-40B4-BE49-F238E27FC236}">
                  <a16:creationId xmlns:a16="http://schemas.microsoft.com/office/drawing/2014/main" id="{DD535EB6-559C-BEF1-DA11-B25DC694FE62}"/>
                </a:ext>
              </a:extLst>
            </p:cNvPr>
            <p:cNvSpPr/>
            <p:nvPr/>
          </p:nvSpPr>
          <p:spPr>
            <a:xfrm flipV="1">
              <a:off x="2090923" y="4416968"/>
              <a:ext cx="466308" cy="702337"/>
            </a:xfrm>
            <a:custGeom>
              <a:avLst/>
              <a:gdLst>
                <a:gd name="connsiteX0" fmla="*/ -29445 w 466308"/>
                <a:gd name="connsiteY0" fmla="*/ 695971 h 702337"/>
                <a:gd name="connsiteX1" fmla="*/ 221181 w 466308"/>
                <a:gd name="connsiteY1" fmla="*/ 695971 h 702337"/>
                <a:gd name="connsiteX2" fmla="*/ 287693 w 466308"/>
                <a:gd name="connsiteY2" fmla="*/ 643011 h 702337"/>
                <a:gd name="connsiteX3" fmla="*/ 436863 w 466308"/>
                <a:gd name="connsiteY3" fmla="*/ -6366 h 702337"/>
                <a:gd name="connsiteX4" fmla="*/ 87380 w 466308"/>
                <a:gd name="connsiteY4" fmla="*/ 30070 h 702337"/>
                <a:gd name="connsiteX5" fmla="*/ -29445 w 466308"/>
                <a:gd name="connsiteY5" fmla="*/ 695971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6308" h="702337">
                  <a:moveTo>
                    <a:pt x="-29445" y="695971"/>
                  </a:moveTo>
                  <a:lnTo>
                    <a:pt x="221181" y="695971"/>
                  </a:lnTo>
                  <a:cubicBezTo>
                    <a:pt x="252995" y="695971"/>
                    <a:pt x="280579" y="674006"/>
                    <a:pt x="287693" y="643011"/>
                  </a:cubicBezTo>
                  <a:lnTo>
                    <a:pt x="436863" y="-6366"/>
                  </a:lnTo>
                  <a:lnTo>
                    <a:pt x="87380" y="30070"/>
                  </a:lnTo>
                  <a:lnTo>
                    <a:pt x="-29445" y="695971"/>
                  </a:lnTo>
                </a:path>
              </a:pathLst>
            </a:custGeom>
            <a:solidFill>
              <a:srgbClr val="FEC786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5" name="Vrije vorm 14">
              <a:extLst>
                <a:ext uri="{FF2B5EF4-FFF2-40B4-BE49-F238E27FC236}">
                  <a16:creationId xmlns:a16="http://schemas.microsoft.com/office/drawing/2014/main" id="{E7737B52-FC68-70A4-1B69-027B864415EC}"/>
                </a:ext>
              </a:extLst>
            </p:cNvPr>
            <p:cNvSpPr/>
            <p:nvPr/>
          </p:nvSpPr>
          <p:spPr>
            <a:xfrm flipV="1">
              <a:off x="2068214" y="4416504"/>
              <a:ext cx="767200" cy="723107"/>
            </a:xfrm>
            <a:custGeom>
              <a:avLst/>
              <a:gdLst>
                <a:gd name="connsiteX0" fmla="*/ 691022 w 767200"/>
                <a:gd name="connsiteY0" fmla="*/ 85562 h 723107"/>
                <a:gd name="connsiteX1" fmla="*/ 170619 w 767200"/>
                <a:gd name="connsiteY1" fmla="*/ 85562 h 723107"/>
                <a:gd name="connsiteX2" fmla="*/ 131269 w 767200"/>
                <a:gd name="connsiteY2" fmla="*/ 118312 h 723107"/>
                <a:gd name="connsiteX3" fmla="*/ 24917 w 767200"/>
                <a:gd name="connsiteY3" fmla="*/ 694014 h 723107"/>
                <a:gd name="connsiteX4" fmla="*/ -8543 w 767200"/>
                <a:gd name="connsiteY4" fmla="*/ 716156 h 723107"/>
                <a:gd name="connsiteX5" fmla="*/ -29776 w 767200"/>
                <a:gd name="connsiteY5" fmla="*/ 683242 h 723107"/>
                <a:gd name="connsiteX6" fmla="*/ 90695 w 767200"/>
                <a:gd name="connsiteY6" fmla="*/ 31051 h 723107"/>
                <a:gd name="connsiteX7" fmla="*/ 97033 w 767200"/>
                <a:gd name="connsiteY7" fmla="*/ 17912 h 723107"/>
                <a:gd name="connsiteX8" fmla="*/ 137498 w 767200"/>
                <a:gd name="connsiteY8" fmla="*/ -6283 h 723107"/>
                <a:gd name="connsiteX9" fmla="*/ 691022 w 767200"/>
                <a:gd name="connsiteY9" fmla="*/ -6283 h 723107"/>
                <a:gd name="connsiteX10" fmla="*/ 736942 w 767200"/>
                <a:gd name="connsiteY10" fmla="*/ 39646 h 723107"/>
                <a:gd name="connsiteX11" fmla="*/ 691022 w 767200"/>
                <a:gd name="connsiteY11" fmla="*/ 85562 h 723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7200" h="723107">
                  <a:moveTo>
                    <a:pt x="691022" y="85562"/>
                  </a:moveTo>
                  <a:cubicBezTo>
                    <a:pt x="691022" y="85562"/>
                    <a:pt x="290232" y="85562"/>
                    <a:pt x="170619" y="85562"/>
                  </a:cubicBezTo>
                  <a:cubicBezTo>
                    <a:pt x="151318" y="85562"/>
                    <a:pt x="134764" y="99339"/>
                    <a:pt x="131269" y="118312"/>
                  </a:cubicBezTo>
                  <a:lnTo>
                    <a:pt x="24917" y="694014"/>
                  </a:lnTo>
                  <a:cubicBezTo>
                    <a:pt x="22061" y="709478"/>
                    <a:pt x="6949" y="719583"/>
                    <a:pt x="-8543" y="716156"/>
                  </a:cubicBezTo>
                  <a:cubicBezTo>
                    <a:pt x="-23301" y="712892"/>
                    <a:pt x="-32523" y="698094"/>
                    <a:pt x="-29776" y="683242"/>
                  </a:cubicBezTo>
                  <a:lnTo>
                    <a:pt x="90695" y="31051"/>
                  </a:lnTo>
                  <a:cubicBezTo>
                    <a:pt x="91633" y="25991"/>
                    <a:pt x="93905" y="21530"/>
                    <a:pt x="97033" y="17912"/>
                  </a:cubicBezTo>
                  <a:cubicBezTo>
                    <a:pt x="104786" y="3509"/>
                    <a:pt x="120006" y="-6283"/>
                    <a:pt x="137498" y="-6283"/>
                  </a:cubicBezTo>
                  <a:lnTo>
                    <a:pt x="691022" y="-6283"/>
                  </a:lnTo>
                  <a:cubicBezTo>
                    <a:pt x="716389" y="-6283"/>
                    <a:pt x="736942" y="14281"/>
                    <a:pt x="736942" y="39646"/>
                  </a:cubicBezTo>
                  <a:cubicBezTo>
                    <a:pt x="736942" y="65011"/>
                    <a:pt x="716389" y="85562"/>
                    <a:pt x="691022" y="85562"/>
                  </a:cubicBezTo>
                </a:path>
              </a:pathLst>
            </a:custGeom>
            <a:solidFill>
              <a:srgbClr val="F99247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6" name="Vrije vorm 15">
              <a:extLst>
                <a:ext uri="{FF2B5EF4-FFF2-40B4-BE49-F238E27FC236}">
                  <a16:creationId xmlns:a16="http://schemas.microsoft.com/office/drawing/2014/main" id="{8A42C5A5-F4AC-13D8-66F2-5F8269D815AB}"/>
                </a:ext>
              </a:extLst>
            </p:cNvPr>
            <p:cNvSpPr/>
            <p:nvPr/>
          </p:nvSpPr>
          <p:spPr>
            <a:xfrm flipV="1">
              <a:off x="2087685" y="4414257"/>
              <a:ext cx="183651" cy="635753"/>
            </a:xfrm>
            <a:custGeom>
              <a:avLst/>
              <a:gdLst>
                <a:gd name="connsiteX0" fmla="*/ 152883 w 183651"/>
                <a:gd name="connsiteY0" fmla="*/ -6666 h 635753"/>
                <a:gd name="connsiteX1" fmla="*/ 111330 w 183651"/>
                <a:gd name="connsiteY1" fmla="*/ 27921 h 635753"/>
                <a:gd name="connsiteX2" fmla="*/ 4978 w 183651"/>
                <a:gd name="connsiteY2" fmla="*/ 603622 h 635753"/>
                <a:gd name="connsiteX3" fmla="*/ -6067 w 183651"/>
                <a:gd name="connsiteY3" fmla="*/ 620337 h 635753"/>
                <a:gd name="connsiteX4" fmla="*/ -25789 w 183651"/>
                <a:gd name="connsiteY4" fmla="*/ 623982 h 635753"/>
                <a:gd name="connsiteX5" fmla="*/ -28469 w 183651"/>
                <a:gd name="connsiteY5" fmla="*/ 625683 h 635753"/>
                <a:gd name="connsiteX6" fmla="*/ -26769 w 183651"/>
                <a:gd name="connsiteY6" fmla="*/ 628362 h 635753"/>
                <a:gd name="connsiteX7" fmla="*/ -3605 w 183651"/>
                <a:gd name="connsiteY7" fmla="*/ 624078 h 635753"/>
                <a:gd name="connsiteX8" fmla="*/ 9385 w 183651"/>
                <a:gd name="connsiteY8" fmla="*/ 604438 h 635753"/>
                <a:gd name="connsiteX9" fmla="*/ 115737 w 183651"/>
                <a:gd name="connsiteY9" fmla="*/ 28737 h 635753"/>
                <a:gd name="connsiteX10" fmla="*/ 152883 w 183651"/>
                <a:gd name="connsiteY10" fmla="*/ -2178 h 635753"/>
                <a:gd name="connsiteX11" fmla="*/ 155128 w 183651"/>
                <a:gd name="connsiteY11" fmla="*/ -4422 h 635753"/>
                <a:gd name="connsiteX12" fmla="*/ 152883 w 183651"/>
                <a:gd name="connsiteY12" fmla="*/ -6666 h 635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3651" h="635753">
                  <a:moveTo>
                    <a:pt x="152883" y="-6666"/>
                  </a:moveTo>
                  <a:cubicBezTo>
                    <a:pt x="132508" y="-6666"/>
                    <a:pt x="115029" y="7887"/>
                    <a:pt x="111330" y="27921"/>
                  </a:cubicBezTo>
                  <a:lnTo>
                    <a:pt x="4978" y="603622"/>
                  </a:lnTo>
                  <a:cubicBezTo>
                    <a:pt x="3699" y="610531"/>
                    <a:pt x="-218" y="616461"/>
                    <a:pt x="-6067" y="620337"/>
                  </a:cubicBezTo>
                  <a:cubicBezTo>
                    <a:pt x="-11916" y="624214"/>
                    <a:pt x="-18920" y="625506"/>
                    <a:pt x="-25789" y="623982"/>
                  </a:cubicBezTo>
                  <a:cubicBezTo>
                    <a:pt x="-27000" y="623724"/>
                    <a:pt x="-28197" y="624486"/>
                    <a:pt x="-28469" y="625683"/>
                  </a:cubicBezTo>
                  <a:cubicBezTo>
                    <a:pt x="-28741" y="626893"/>
                    <a:pt x="-27979" y="628090"/>
                    <a:pt x="-26769" y="628362"/>
                  </a:cubicBezTo>
                  <a:cubicBezTo>
                    <a:pt x="-18703" y="630143"/>
                    <a:pt x="-10474" y="628620"/>
                    <a:pt x="-3605" y="624078"/>
                  </a:cubicBezTo>
                  <a:cubicBezTo>
                    <a:pt x="3278" y="619521"/>
                    <a:pt x="7889" y="612544"/>
                    <a:pt x="9385" y="604438"/>
                  </a:cubicBezTo>
                  <a:lnTo>
                    <a:pt x="115737" y="28737"/>
                  </a:lnTo>
                  <a:cubicBezTo>
                    <a:pt x="119042" y="10825"/>
                    <a:pt x="134671" y="-2178"/>
                    <a:pt x="152883" y="-2178"/>
                  </a:cubicBezTo>
                  <a:cubicBezTo>
                    <a:pt x="154121" y="-2178"/>
                    <a:pt x="155128" y="-3184"/>
                    <a:pt x="155128" y="-4422"/>
                  </a:cubicBezTo>
                  <a:cubicBezTo>
                    <a:pt x="155128" y="-5659"/>
                    <a:pt x="154121" y="-6666"/>
                    <a:pt x="152883" y="-6666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7" name="Vrije vorm 16">
              <a:extLst>
                <a:ext uri="{FF2B5EF4-FFF2-40B4-BE49-F238E27FC236}">
                  <a16:creationId xmlns:a16="http://schemas.microsoft.com/office/drawing/2014/main" id="{37E58976-9590-714F-013D-003BB4C7F999}"/>
                </a:ext>
              </a:extLst>
            </p:cNvPr>
            <p:cNvSpPr/>
            <p:nvPr/>
          </p:nvSpPr>
          <p:spPr>
            <a:xfrm flipV="1">
              <a:off x="2172484" y="5021817"/>
              <a:ext cx="298063" cy="120418"/>
            </a:xfrm>
            <a:custGeom>
              <a:avLst/>
              <a:gdLst>
                <a:gd name="connsiteX0" fmla="*/ 266404 w 298063"/>
                <a:gd name="connsiteY0" fmla="*/ -3750 h 120418"/>
                <a:gd name="connsiteX1" fmla="*/ 266391 w 298063"/>
                <a:gd name="connsiteY1" fmla="*/ -3750 h 120418"/>
                <a:gd name="connsiteX2" fmla="*/ 49293 w 298063"/>
                <a:gd name="connsiteY2" fmla="*/ -3356 h 120418"/>
                <a:gd name="connsiteX3" fmla="*/ -16485 w 298063"/>
                <a:gd name="connsiteY3" fmla="*/ 44151 h 120418"/>
                <a:gd name="connsiteX4" fmla="*/ -29393 w 298063"/>
                <a:gd name="connsiteY4" fmla="*/ 114031 h 120418"/>
                <a:gd name="connsiteX5" fmla="*/ -27598 w 298063"/>
                <a:gd name="connsiteY5" fmla="*/ 116629 h 120418"/>
                <a:gd name="connsiteX6" fmla="*/ -24987 w 298063"/>
                <a:gd name="connsiteY6" fmla="*/ 114847 h 120418"/>
                <a:gd name="connsiteX7" fmla="*/ -12037 w 298063"/>
                <a:gd name="connsiteY7" fmla="*/ 44709 h 120418"/>
                <a:gd name="connsiteX8" fmla="*/ 48994 w 298063"/>
                <a:gd name="connsiteY8" fmla="*/ 1105 h 120418"/>
                <a:gd name="connsiteX9" fmla="*/ 49198 w 298063"/>
                <a:gd name="connsiteY9" fmla="*/ 1119 h 120418"/>
                <a:gd name="connsiteX10" fmla="*/ 266404 w 298063"/>
                <a:gd name="connsiteY10" fmla="*/ 724 h 120418"/>
                <a:gd name="connsiteX11" fmla="*/ 268635 w 298063"/>
                <a:gd name="connsiteY11" fmla="*/ -1520 h 120418"/>
                <a:gd name="connsiteX12" fmla="*/ 266404 w 298063"/>
                <a:gd name="connsiteY12" fmla="*/ -3750 h 12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063" h="120418">
                  <a:moveTo>
                    <a:pt x="266404" y="-3750"/>
                  </a:moveTo>
                  <a:lnTo>
                    <a:pt x="266391" y="-3750"/>
                  </a:lnTo>
                  <a:lnTo>
                    <a:pt x="49293" y="-3356"/>
                  </a:lnTo>
                  <a:cubicBezTo>
                    <a:pt x="-9181" y="-8633"/>
                    <a:pt x="-16145" y="41404"/>
                    <a:pt x="-16485" y="44151"/>
                  </a:cubicBezTo>
                  <a:lnTo>
                    <a:pt x="-29393" y="114031"/>
                  </a:lnTo>
                  <a:cubicBezTo>
                    <a:pt x="-29611" y="115242"/>
                    <a:pt x="-28808" y="116412"/>
                    <a:pt x="-27598" y="116629"/>
                  </a:cubicBezTo>
                  <a:cubicBezTo>
                    <a:pt x="-26374" y="116860"/>
                    <a:pt x="-25204" y="116058"/>
                    <a:pt x="-24987" y="114847"/>
                  </a:cubicBezTo>
                  <a:lnTo>
                    <a:pt x="-12037" y="44709"/>
                  </a:lnTo>
                  <a:cubicBezTo>
                    <a:pt x="-11833" y="42723"/>
                    <a:pt x="-6447" y="-3954"/>
                    <a:pt x="48994" y="1105"/>
                  </a:cubicBezTo>
                  <a:lnTo>
                    <a:pt x="49198" y="1119"/>
                  </a:lnTo>
                  <a:lnTo>
                    <a:pt x="266404" y="724"/>
                  </a:lnTo>
                  <a:cubicBezTo>
                    <a:pt x="267642" y="724"/>
                    <a:pt x="268648" y="-282"/>
                    <a:pt x="268635" y="-1520"/>
                  </a:cubicBezTo>
                  <a:cubicBezTo>
                    <a:pt x="268635" y="-2757"/>
                    <a:pt x="267642" y="-3750"/>
                    <a:pt x="266404" y="-3750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8" name="Vrije vorm 17">
              <a:extLst>
                <a:ext uri="{FF2B5EF4-FFF2-40B4-BE49-F238E27FC236}">
                  <a16:creationId xmlns:a16="http://schemas.microsoft.com/office/drawing/2014/main" id="{7C2E920F-494E-5DB1-FDF9-36E7161FA927}"/>
                </a:ext>
              </a:extLst>
            </p:cNvPr>
            <p:cNvSpPr/>
            <p:nvPr/>
          </p:nvSpPr>
          <p:spPr>
            <a:xfrm flipV="1">
              <a:off x="2099451" y="4414575"/>
              <a:ext cx="111207" cy="4637"/>
            </a:xfrm>
            <a:custGeom>
              <a:avLst/>
              <a:gdLst>
                <a:gd name="connsiteX0" fmla="*/ 80595 w 111207"/>
                <a:gd name="connsiteY0" fmla="*/ -9293 h 4637"/>
                <a:gd name="connsiteX1" fmla="*/ 80595 w 111207"/>
                <a:gd name="connsiteY1" fmla="*/ -9293 h 4637"/>
                <a:gd name="connsiteX2" fmla="*/ -26124 w 111207"/>
                <a:gd name="connsiteY2" fmla="*/ -9129 h 4637"/>
                <a:gd name="connsiteX3" fmla="*/ -28368 w 111207"/>
                <a:gd name="connsiteY3" fmla="*/ -6899 h 4637"/>
                <a:gd name="connsiteX4" fmla="*/ -26124 w 111207"/>
                <a:gd name="connsiteY4" fmla="*/ -4655 h 4637"/>
                <a:gd name="connsiteX5" fmla="*/ -26124 w 111207"/>
                <a:gd name="connsiteY5" fmla="*/ -4655 h 4637"/>
                <a:gd name="connsiteX6" fmla="*/ 80595 w 111207"/>
                <a:gd name="connsiteY6" fmla="*/ -4804 h 4637"/>
                <a:gd name="connsiteX7" fmla="*/ 82839 w 111207"/>
                <a:gd name="connsiteY7" fmla="*/ -7049 h 4637"/>
                <a:gd name="connsiteX8" fmla="*/ 80595 w 111207"/>
                <a:gd name="connsiteY8" fmla="*/ -9293 h 4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1207" h="4637">
                  <a:moveTo>
                    <a:pt x="80595" y="-9293"/>
                  </a:moveTo>
                  <a:lnTo>
                    <a:pt x="80595" y="-9293"/>
                  </a:lnTo>
                  <a:lnTo>
                    <a:pt x="-26124" y="-9129"/>
                  </a:lnTo>
                  <a:cubicBezTo>
                    <a:pt x="-27362" y="-9129"/>
                    <a:pt x="-28368" y="-8123"/>
                    <a:pt x="-28368" y="-6899"/>
                  </a:cubicBezTo>
                  <a:cubicBezTo>
                    <a:pt x="-28368" y="-5648"/>
                    <a:pt x="-27362" y="-4655"/>
                    <a:pt x="-26124" y="-4655"/>
                  </a:cubicBezTo>
                  <a:lnTo>
                    <a:pt x="-26124" y="-4655"/>
                  </a:lnTo>
                  <a:lnTo>
                    <a:pt x="80595" y="-4804"/>
                  </a:lnTo>
                  <a:cubicBezTo>
                    <a:pt x="81833" y="-4818"/>
                    <a:pt x="82839" y="-5811"/>
                    <a:pt x="82839" y="-7049"/>
                  </a:cubicBezTo>
                  <a:cubicBezTo>
                    <a:pt x="82839" y="-8286"/>
                    <a:pt x="81833" y="-9293"/>
                    <a:pt x="80595" y="-9293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9" name="Vrije vorm 18">
              <a:extLst>
                <a:ext uri="{FF2B5EF4-FFF2-40B4-BE49-F238E27FC236}">
                  <a16:creationId xmlns:a16="http://schemas.microsoft.com/office/drawing/2014/main" id="{20FE366C-EF7A-F0AC-582B-733FF339CF0C}"/>
                </a:ext>
              </a:extLst>
            </p:cNvPr>
            <p:cNvSpPr/>
            <p:nvPr/>
          </p:nvSpPr>
          <p:spPr>
            <a:xfrm flipV="1">
              <a:off x="3253737" y="4395190"/>
              <a:ext cx="105617" cy="29055"/>
            </a:xfrm>
            <a:custGeom>
              <a:avLst/>
              <a:gdLst>
                <a:gd name="connsiteX0" fmla="*/ 69912 w 105617"/>
                <a:gd name="connsiteY0" fmla="*/ -9352 h 29055"/>
                <a:gd name="connsiteX1" fmla="*/ -35705 w 105617"/>
                <a:gd name="connsiteY1" fmla="*/ 15224 h 29055"/>
                <a:gd name="connsiteX2" fmla="*/ -28061 w 105617"/>
                <a:gd name="connsiteY2" fmla="*/ -920 h 29055"/>
                <a:gd name="connsiteX3" fmla="*/ 17110 w 105617"/>
                <a:gd name="connsiteY3" fmla="*/ 2915 h 29055"/>
                <a:gd name="connsiteX4" fmla="*/ 69912 w 105617"/>
                <a:gd name="connsiteY4" fmla="*/ -9352 h 2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617" h="29055">
                  <a:moveTo>
                    <a:pt x="69912" y="-9352"/>
                  </a:moveTo>
                  <a:cubicBezTo>
                    <a:pt x="69912" y="-9352"/>
                    <a:pt x="49686" y="33340"/>
                    <a:pt x="-35705" y="15224"/>
                  </a:cubicBezTo>
                  <a:lnTo>
                    <a:pt x="-28061" y="-920"/>
                  </a:lnTo>
                  <a:lnTo>
                    <a:pt x="17110" y="2915"/>
                  </a:lnTo>
                  <a:lnTo>
                    <a:pt x="69912" y="-9352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0" name="Vrije vorm 19">
              <a:extLst>
                <a:ext uri="{FF2B5EF4-FFF2-40B4-BE49-F238E27FC236}">
                  <a16:creationId xmlns:a16="http://schemas.microsoft.com/office/drawing/2014/main" id="{B252A5C6-7E9E-E35C-6F6B-BFBF19E02A1D}"/>
                </a:ext>
              </a:extLst>
            </p:cNvPr>
            <p:cNvSpPr/>
            <p:nvPr/>
          </p:nvSpPr>
          <p:spPr>
            <a:xfrm flipV="1">
              <a:off x="3025283" y="4401421"/>
              <a:ext cx="320061" cy="168064"/>
            </a:xfrm>
            <a:custGeom>
              <a:avLst/>
              <a:gdLst>
                <a:gd name="connsiteX0" fmla="*/ 241630 w 320061"/>
                <a:gd name="connsiteY0" fmla="*/ -8721 h 168064"/>
                <a:gd name="connsiteX1" fmla="*/ 117555 w 320061"/>
                <a:gd name="connsiteY1" fmla="*/ -4519 h 168064"/>
                <a:gd name="connsiteX2" fmla="*/ 71541 w 320061"/>
                <a:gd name="connsiteY2" fmla="*/ 31809 h 168064"/>
                <a:gd name="connsiteX3" fmla="*/ 15351 w 320061"/>
                <a:gd name="connsiteY3" fmla="*/ 26899 h 168064"/>
                <a:gd name="connsiteX4" fmla="*/ -30690 w 320061"/>
                <a:gd name="connsiteY4" fmla="*/ 58167 h 168064"/>
                <a:gd name="connsiteX5" fmla="*/ -34866 w 320061"/>
                <a:gd name="connsiteY5" fmla="*/ 92780 h 168064"/>
                <a:gd name="connsiteX6" fmla="*/ 14603 w 320061"/>
                <a:gd name="connsiteY6" fmla="*/ 158907 h 168064"/>
                <a:gd name="connsiteX7" fmla="*/ 105246 w 320061"/>
                <a:gd name="connsiteY7" fmla="*/ 148883 h 168064"/>
                <a:gd name="connsiteX8" fmla="*/ 142215 w 320061"/>
                <a:gd name="connsiteY8" fmla="*/ 148910 h 168064"/>
                <a:gd name="connsiteX9" fmla="*/ 285129 w 320061"/>
                <a:gd name="connsiteY9" fmla="*/ 139322 h 168064"/>
                <a:gd name="connsiteX10" fmla="*/ 241630 w 320061"/>
                <a:gd name="connsiteY10" fmla="*/ -8721 h 168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0061" h="168064">
                  <a:moveTo>
                    <a:pt x="241630" y="-8721"/>
                  </a:moveTo>
                  <a:lnTo>
                    <a:pt x="117555" y="-4519"/>
                  </a:lnTo>
                  <a:cubicBezTo>
                    <a:pt x="117555" y="-4519"/>
                    <a:pt x="75553" y="-4832"/>
                    <a:pt x="71541" y="31809"/>
                  </a:cubicBezTo>
                  <a:lnTo>
                    <a:pt x="15351" y="26899"/>
                  </a:lnTo>
                  <a:cubicBezTo>
                    <a:pt x="-5540" y="25063"/>
                    <a:pt x="-25032" y="38106"/>
                    <a:pt x="-30690" y="58167"/>
                  </a:cubicBezTo>
                  <a:cubicBezTo>
                    <a:pt x="-33452" y="67973"/>
                    <a:pt x="-35315" y="79642"/>
                    <a:pt x="-34866" y="92780"/>
                  </a:cubicBezTo>
                  <a:cubicBezTo>
                    <a:pt x="-33465" y="134452"/>
                    <a:pt x="-1243" y="155969"/>
                    <a:pt x="14603" y="158907"/>
                  </a:cubicBezTo>
                  <a:cubicBezTo>
                    <a:pt x="30449" y="161858"/>
                    <a:pt x="105246" y="148883"/>
                    <a:pt x="105246" y="148883"/>
                  </a:cubicBezTo>
                  <a:lnTo>
                    <a:pt x="142215" y="148910"/>
                  </a:lnTo>
                  <a:lnTo>
                    <a:pt x="285129" y="139322"/>
                  </a:lnTo>
                  <a:lnTo>
                    <a:pt x="241630" y="-8721"/>
                  </a:ln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1" name="Vrije vorm 20">
              <a:extLst>
                <a:ext uri="{FF2B5EF4-FFF2-40B4-BE49-F238E27FC236}">
                  <a16:creationId xmlns:a16="http://schemas.microsoft.com/office/drawing/2014/main" id="{BB9AB17D-A929-0B49-9428-DEFAF183F979}"/>
                </a:ext>
              </a:extLst>
            </p:cNvPr>
            <p:cNvSpPr/>
            <p:nvPr/>
          </p:nvSpPr>
          <p:spPr>
            <a:xfrm flipV="1">
              <a:off x="3204780" y="4378269"/>
              <a:ext cx="62957" cy="62546"/>
            </a:xfrm>
            <a:custGeom>
              <a:avLst/>
              <a:gdLst>
                <a:gd name="connsiteX0" fmla="*/ -4839 w 62957"/>
                <a:gd name="connsiteY0" fmla="*/ -9336 h 62546"/>
                <a:gd name="connsiteX1" fmla="*/ -35239 w 62957"/>
                <a:gd name="connsiteY1" fmla="*/ 22980 h 62546"/>
                <a:gd name="connsiteX2" fmla="*/ -2718 w 62957"/>
                <a:gd name="connsiteY2" fmla="*/ 53173 h 62546"/>
                <a:gd name="connsiteX3" fmla="*/ 27682 w 62957"/>
                <a:gd name="connsiteY3" fmla="*/ 20858 h 62546"/>
                <a:gd name="connsiteX4" fmla="*/ -4839 w 62957"/>
                <a:gd name="connsiteY4" fmla="*/ -9336 h 62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957" h="62546">
                  <a:moveTo>
                    <a:pt x="-4839" y="-9336"/>
                  </a:moveTo>
                  <a:cubicBezTo>
                    <a:pt x="-22209" y="-8751"/>
                    <a:pt x="-35824" y="5720"/>
                    <a:pt x="-35239" y="22980"/>
                  </a:cubicBezTo>
                  <a:cubicBezTo>
                    <a:pt x="-34654" y="40252"/>
                    <a:pt x="-20087" y="53771"/>
                    <a:pt x="-2718" y="53173"/>
                  </a:cubicBezTo>
                  <a:cubicBezTo>
                    <a:pt x="14652" y="52588"/>
                    <a:pt x="28267" y="38117"/>
                    <a:pt x="27682" y="20858"/>
                  </a:cubicBezTo>
                  <a:cubicBezTo>
                    <a:pt x="27098" y="3599"/>
                    <a:pt x="12544" y="-9920"/>
                    <a:pt x="-4839" y="-9336"/>
                  </a:cubicBez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" name="Vrije vorm 21">
              <a:extLst>
                <a:ext uri="{FF2B5EF4-FFF2-40B4-BE49-F238E27FC236}">
                  <a16:creationId xmlns:a16="http://schemas.microsoft.com/office/drawing/2014/main" id="{57E8E1F7-5F29-7585-76BD-B26D9529BE5A}"/>
                </a:ext>
              </a:extLst>
            </p:cNvPr>
            <p:cNvSpPr/>
            <p:nvPr/>
          </p:nvSpPr>
          <p:spPr>
            <a:xfrm flipV="1">
              <a:off x="3217053" y="4394178"/>
              <a:ext cx="35109" cy="25346"/>
            </a:xfrm>
            <a:custGeom>
              <a:avLst/>
              <a:gdLst>
                <a:gd name="connsiteX0" fmla="*/ -35233 w 35109"/>
                <a:gd name="connsiteY0" fmla="*/ 3572 h 25346"/>
                <a:gd name="connsiteX1" fmla="*/ -25005 w 35109"/>
                <a:gd name="connsiteY1" fmla="*/ 15499 h 25346"/>
                <a:gd name="connsiteX2" fmla="*/ -10791 w 35109"/>
                <a:gd name="connsiteY2" fmla="*/ 10086 h 25346"/>
                <a:gd name="connsiteX3" fmla="*/ -11933 w 35109"/>
                <a:gd name="connsiteY3" fmla="*/ -6316 h 25346"/>
                <a:gd name="connsiteX4" fmla="*/ -3976 w 35109"/>
                <a:gd name="connsiteY4" fmla="*/ -264 h 25346"/>
                <a:gd name="connsiteX5" fmla="*/ -2603 w 35109"/>
                <a:gd name="connsiteY5" fmla="*/ 13582 h 25346"/>
                <a:gd name="connsiteX6" fmla="*/ -2004 w 35109"/>
                <a:gd name="connsiteY6" fmla="*/ 14656 h 25346"/>
                <a:gd name="connsiteX7" fmla="*/ -930 w 35109"/>
                <a:gd name="connsiteY7" fmla="*/ 14071 h 25346"/>
                <a:gd name="connsiteX8" fmla="*/ -2467 w 35109"/>
                <a:gd name="connsiteY8" fmla="*/ -1134 h 25346"/>
                <a:gd name="connsiteX9" fmla="*/ -14191 w 35109"/>
                <a:gd name="connsiteY9" fmla="*/ -8724 h 25346"/>
                <a:gd name="connsiteX10" fmla="*/ -17265 w 35109"/>
                <a:gd name="connsiteY10" fmla="*/ -9376 h 25346"/>
                <a:gd name="connsiteX11" fmla="*/ -14980 w 35109"/>
                <a:gd name="connsiteY11" fmla="*/ -7241 h 25346"/>
                <a:gd name="connsiteX12" fmla="*/ -12314 w 35109"/>
                <a:gd name="connsiteY12" fmla="*/ 9216 h 25346"/>
                <a:gd name="connsiteX13" fmla="*/ -24570 w 35109"/>
                <a:gd name="connsiteY13" fmla="*/ 13813 h 25346"/>
                <a:gd name="connsiteX14" fmla="*/ -33492 w 35109"/>
                <a:gd name="connsiteY14" fmla="*/ 3517 h 25346"/>
                <a:gd name="connsiteX15" fmla="*/ -33492 w 35109"/>
                <a:gd name="connsiteY15" fmla="*/ 3340 h 25346"/>
                <a:gd name="connsiteX16" fmla="*/ -34390 w 35109"/>
                <a:gd name="connsiteY16" fmla="*/ 2497 h 25346"/>
                <a:gd name="connsiteX17" fmla="*/ -35247 w 35109"/>
                <a:gd name="connsiteY17" fmla="*/ 3395 h 25346"/>
                <a:gd name="connsiteX18" fmla="*/ -35233 w 35109"/>
                <a:gd name="connsiteY18" fmla="*/ 3572 h 2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109" h="25346">
                  <a:moveTo>
                    <a:pt x="-35233" y="3572"/>
                  </a:moveTo>
                  <a:cubicBezTo>
                    <a:pt x="-35015" y="10059"/>
                    <a:pt x="-29955" y="14234"/>
                    <a:pt x="-25005" y="15499"/>
                  </a:cubicBezTo>
                  <a:cubicBezTo>
                    <a:pt x="-19142" y="16995"/>
                    <a:pt x="-13565" y="14860"/>
                    <a:pt x="-10791" y="10086"/>
                  </a:cubicBezTo>
                  <a:cubicBezTo>
                    <a:pt x="-6710" y="3014"/>
                    <a:pt x="-9689" y="-3174"/>
                    <a:pt x="-11933" y="-6316"/>
                  </a:cubicBezTo>
                  <a:cubicBezTo>
                    <a:pt x="-8315" y="-5079"/>
                    <a:pt x="-5649" y="-3052"/>
                    <a:pt x="-3976" y="-264"/>
                  </a:cubicBezTo>
                  <a:cubicBezTo>
                    <a:pt x="-358" y="5775"/>
                    <a:pt x="-2575" y="13500"/>
                    <a:pt x="-2603" y="13582"/>
                  </a:cubicBezTo>
                  <a:cubicBezTo>
                    <a:pt x="-2739" y="14044"/>
                    <a:pt x="-2480" y="14520"/>
                    <a:pt x="-2004" y="14656"/>
                  </a:cubicBezTo>
                  <a:cubicBezTo>
                    <a:pt x="-1542" y="14792"/>
                    <a:pt x="-1066" y="14534"/>
                    <a:pt x="-930" y="14071"/>
                  </a:cubicBezTo>
                  <a:cubicBezTo>
                    <a:pt x="-821" y="13731"/>
                    <a:pt x="1546" y="5571"/>
                    <a:pt x="-2467" y="-1134"/>
                  </a:cubicBezTo>
                  <a:cubicBezTo>
                    <a:pt x="-4779" y="-5011"/>
                    <a:pt x="-8723" y="-7567"/>
                    <a:pt x="-14191" y="-8724"/>
                  </a:cubicBezTo>
                  <a:lnTo>
                    <a:pt x="-17265" y="-9376"/>
                  </a:lnTo>
                  <a:lnTo>
                    <a:pt x="-14980" y="-7241"/>
                  </a:lnTo>
                  <a:cubicBezTo>
                    <a:pt x="-14654" y="-6942"/>
                    <a:pt x="-7118" y="239"/>
                    <a:pt x="-12314" y="9216"/>
                  </a:cubicBezTo>
                  <a:cubicBezTo>
                    <a:pt x="-15184" y="14180"/>
                    <a:pt x="-20706" y="14792"/>
                    <a:pt x="-24570" y="13813"/>
                  </a:cubicBezTo>
                  <a:cubicBezTo>
                    <a:pt x="-28568" y="12793"/>
                    <a:pt x="-33288" y="9488"/>
                    <a:pt x="-33492" y="3517"/>
                  </a:cubicBezTo>
                  <a:lnTo>
                    <a:pt x="-33492" y="3340"/>
                  </a:lnTo>
                  <a:cubicBezTo>
                    <a:pt x="-33506" y="2864"/>
                    <a:pt x="-33900" y="2497"/>
                    <a:pt x="-34390" y="2497"/>
                  </a:cubicBezTo>
                  <a:cubicBezTo>
                    <a:pt x="-34866" y="2511"/>
                    <a:pt x="-35247" y="2905"/>
                    <a:pt x="-35247" y="3395"/>
                  </a:cubicBezTo>
                  <a:lnTo>
                    <a:pt x="-35233" y="3572"/>
                  </a:lnTo>
                </a:path>
              </a:pathLst>
            </a:custGeom>
            <a:solidFill>
              <a:srgbClr val="F0716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3" name="Vrije vorm 22">
              <a:extLst>
                <a:ext uri="{FF2B5EF4-FFF2-40B4-BE49-F238E27FC236}">
                  <a16:creationId xmlns:a16="http://schemas.microsoft.com/office/drawing/2014/main" id="{CD22D9C8-F5EF-9B46-ABFA-3D135897A627}"/>
                </a:ext>
              </a:extLst>
            </p:cNvPr>
            <p:cNvSpPr/>
            <p:nvPr/>
          </p:nvSpPr>
          <p:spPr>
            <a:xfrm flipV="1">
              <a:off x="3111735" y="4435887"/>
              <a:ext cx="180956" cy="136583"/>
            </a:xfrm>
            <a:custGeom>
              <a:avLst/>
              <a:gdLst>
                <a:gd name="connsiteX0" fmla="*/ 50527 w 180956"/>
                <a:gd name="connsiteY0" fmla="*/ -8097 h 136583"/>
                <a:gd name="connsiteX1" fmla="*/ -35001 w 180956"/>
                <a:gd name="connsiteY1" fmla="*/ 38934 h 136583"/>
                <a:gd name="connsiteX2" fmla="*/ 46691 w 180956"/>
                <a:gd name="connsiteY2" fmla="*/ 128019 h 136583"/>
                <a:gd name="connsiteX3" fmla="*/ 123664 w 180956"/>
                <a:gd name="connsiteY3" fmla="*/ 126210 h 136583"/>
                <a:gd name="connsiteX4" fmla="*/ 145916 w 180956"/>
                <a:gd name="connsiteY4" fmla="*/ 122905 h 136583"/>
                <a:gd name="connsiteX5" fmla="*/ 122698 w 180956"/>
                <a:gd name="connsiteY5" fmla="*/ 113887 h 136583"/>
                <a:gd name="connsiteX6" fmla="*/ 51982 w 180956"/>
                <a:gd name="connsiteY6" fmla="*/ 105986 h 136583"/>
                <a:gd name="connsiteX7" fmla="*/ 50527 w 180956"/>
                <a:gd name="connsiteY7" fmla="*/ -8097 h 136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956" h="136583">
                  <a:moveTo>
                    <a:pt x="50527" y="-8097"/>
                  </a:moveTo>
                  <a:cubicBezTo>
                    <a:pt x="50527" y="-8097"/>
                    <a:pt x="-33885" y="-16611"/>
                    <a:pt x="-35001" y="38934"/>
                  </a:cubicBezTo>
                  <a:cubicBezTo>
                    <a:pt x="-36578" y="118416"/>
                    <a:pt x="9246" y="124564"/>
                    <a:pt x="46691" y="128019"/>
                  </a:cubicBezTo>
                  <a:lnTo>
                    <a:pt x="123664" y="126210"/>
                  </a:lnTo>
                  <a:lnTo>
                    <a:pt x="145916" y="122905"/>
                  </a:lnTo>
                  <a:cubicBezTo>
                    <a:pt x="139333" y="117505"/>
                    <a:pt x="131213" y="114350"/>
                    <a:pt x="122698" y="113887"/>
                  </a:cubicBezTo>
                  <a:cubicBezTo>
                    <a:pt x="104200" y="112867"/>
                    <a:pt x="54349" y="110487"/>
                    <a:pt x="51982" y="105986"/>
                  </a:cubicBezTo>
                  <a:cubicBezTo>
                    <a:pt x="48664" y="99634"/>
                    <a:pt x="59042" y="3981"/>
                    <a:pt x="50527" y="-8097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4" name="Vrije vorm 23">
              <a:extLst>
                <a:ext uri="{FF2B5EF4-FFF2-40B4-BE49-F238E27FC236}">
                  <a16:creationId xmlns:a16="http://schemas.microsoft.com/office/drawing/2014/main" id="{A6A1573A-671F-1D0C-C717-FA43E338FCC0}"/>
                </a:ext>
              </a:extLst>
            </p:cNvPr>
            <p:cNvSpPr/>
            <p:nvPr/>
          </p:nvSpPr>
          <p:spPr>
            <a:xfrm flipV="1">
              <a:off x="3198976" y="4517985"/>
              <a:ext cx="49287" cy="20097"/>
            </a:xfrm>
            <a:custGeom>
              <a:avLst/>
              <a:gdLst>
                <a:gd name="connsiteX0" fmla="*/ -35177 w 49287"/>
                <a:gd name="connsiteY0" fmla="*/ 10892 h 20097"/>
                <a:gd name="connsiteX1" fmla="*/ -34551 w 49287"/>
                <a:gd name="connsiteY1" fmla="*/ 11694 h 20097"/>
                <a:gd name="connsiteX2" fmla="*/ -33463 w 49287"/>
                <a:gd name="connsiteY2" fmla="*/ 11110 h 20097"/>
                <a:gd name="connsiteX3" fmla="*/ -28267 w 49287"/>
                <a:gd name="connsiteY3" fmla="*/ -6490 h 20097"/>
                <a:gd name="connsiteX4" fmla="*/ 13150 w 49287"/>
                <a:gd name="connsiteY4" fmla="*/ -2382 h 20097"/>
                <a:gd name="connsiteX5" fmla="*/ 14102 w 49287"/>
                <a:gd name="connsiteY5" fmla="*/ -3158 h 20097"/>
                <a:gd name="connsiteX6" fmla="*/ 13327 w 49287"/>
                <a:gd name="connsiteY6" fmla="*/ -4110 h 20097"/>
                <a:gd name="connsiteX7" fmla="*/ -29532 w 49287"/>
                <a:gd name="connsiteY7" fmla="*/ -8367 h 20097"/>
                <a:gd name="connsiteX8" fmla="*/ -35136 w 49287"/>
                <a:gd name="connsiteY8" fmla="*/ 10620 h 20097"/>
                <a:gd name="connsiteX9" fmla="*/ -35177 w 49287"/>
                <a:gd name="connsiteY9" fmla="*/ 10892 h 2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287" h="20097">
                  <a:moveTo>
                    <a:pt x="-35177" y="10892"/>
                  </a:moveTo>
                  <a:cubicBezTo>
                    <a:pt x="-35163" y="11259"/>
                    <a:pt x="-34919" y="11599"/>
                    <a:pt x="-34551" y="11694"/>
                  </a:cubicBezTo>
                  <a:cubicBezTo>
                    <a:pt x="-34089" y="11830"/>
                    <a:pt x="-33599" y="11572"/>
                    <a:pt x="-33463" y="11110"/>
                  </a:cubicBezTo>
                  <a:lnTo>
                    <a:pt x="-28267" y="-6490"/>
                  </a:lnTo>
                  <a:lnTo>
                    <a:pt x="13150" y="-2382"/>
                  </a:lnTo>
                  <a:cubicBezTo>
                    <a:pt x="13626" y="-2341"/>
                    <a:pt x="14061" y="-2681"/>
                    <a:pt x="14102" y="-3158"/>
                  </a:cubicBezTo>
                  <a:cubicBezTo>
                    <a:pt x="14170" y="-3647"/>
                    <a:pt x="13803" y="-4069"/>
                    <a:pt x="13327" y="-4110"/>
                  </a:cubicBezTo>
                  <a:lnTo>
                    <a:pt x="-29532" y="-8367"/>
                  </a:lnTo>
                  <a:lnTo>
                    <a:pt x="-35136" y="10620"/>
                  </a:lnTo>
                  <a:lnTo>
                    <a:pt x="-35177" y="10892"/>
                  </a:lnTo>
                </a:path>
              </a:pathLst>
            </a:custGeom>
            <a:solidFill>
              <a:srgbClr val="F0716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5" name="Vrije vorm 24">
              <a:extLst>
                <a:ext uri="{FF2B5EF4-FFF2-40B4-BE49-F238E27FC236}">
                  <a16:creationId xmlns:a16="http://schemas.microsoft.com/office/drawing/2014/main" id="{F62B6585-5F79-C042-E26D-73C61F6E9F48}"/>
                </a:ext>
              </a:extLst>
            </p:cNvPr>
            <p:cNvSpPr/>
            <p:nvPr/>
          </p:nvSpPr>
          <p:spPr>
            <a:xfrm flipV="1">
              <a:off x="3130054" y="4408019"/>
              <a:ext cx="176035" cy="56672"/>
            </a:xfrm>
            <a:custGeom>
              <a:avLst/>
              <a:gdLst>
                <a:gd name="connsiteX0" fmla="*/ 126068 w 176035"/>
                <a:gd name="connsiteY0" fmla="*/ 14765 h 56672"/>
                <a:gd name="connsiteX1" fmla="*/ 140894 w 176035"/>
                <a:gd name="connsiteY1" fmla="*/ 29984 h 56672"/>
                <a:gd name="connsiteX2" fmla="*/ 102415 w 176035"/>
                <a:gd name="connsiteY2" fmla="*/ 47542 h 56672"/>
                <a:gd name="connsiteX3" fmla="*/ 77524 w 176035"/>
                <a:gd name="connsiteY3" fmla="*/ 27930 h 56672"/>
                <a:gd name="connsiteX4" fmla="*/ -23660 w 176035"/>
                <a:gd name="connsiteY4" fmla="*/ 6088 h 56672"/>
                <a:gd name="connsiteX5" fmla="*/ 50442 w 176035"/>
                <a:gd name="connsiteY5" fmla="*/ 6849 h 56672"/>
                <a:gd name="connsiteX6" fmla="*/ 126068 w 176035"/>
                <a:gd name="connsiteY6" fmla="*/ 14765 h 5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035" h="56672">
                  <a:moveTo>
                    <a:pt x="126068" y="14765"/>
                  </a:moveTo>
                  <a:lnTo>
                    <a:pt x="140894" y="29984"/>
                  </a:lnTo>
                  <a:lnTo>
                    <a:pt x="102415" y="47542"/>
                  </a:lnTo>
                  <a:cubicBezTo>
                    <a:pt x="102415" y="47542"/>
                    <a:pt x="98416" y="27577"/>
                    <a:pt x="77524" y="27930"/>
                  </a:cubicBezTo>
                  <a:cubicBezTo>
                    <a:pt x="56631" y="28297"/>
                    <a:pt x="24409" y="40661"/>
                    <a:pt x="-23660" y="6088"/>
                  </a:cubicBezTo>
                  <a:cubicBezTo>
                    <a:pt x="-71715" y="-28485"/>
                    <a:pt x="46362" y="6632"/>
                    <a:pt x="50442" y="6849"/>
                  </a:cubicBezTo>
                  <a:cubicBezTo>
                    <a:pt x="54509" y="7053"/>
                    <a:pt x="126068" y="14765"/>
                    <a:pt x="126068" y="14765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6" name="Vrije vorm 25">
              <a:extLst>
                <a:ext uri="{FF2B5EF4-FFF2-40B4-BE49-F238E27FC236}">
                  <a16:creationId xmlns:a16="http://schemas.microsoft.com/office/drawing/2014/main" id="{18B24C3C-A823-0ECA-F338-4E8146B1BA33}"/>
                </a:ext>
              </a:extLst>
            </p:cNvPr>
            <p:cNvSpPr/>
            <p:nvPr/>
          </p:nvSpPr>
          <p:spPr>
            <a:xfrm flipV="1">
              <a:off x="3217560" y="4406430"/>
              <a:ext cx="156348" cy="166584"/>
            </a:xfrm>
            <a:custGeom>
              <a:avLst/>
              <a:gdLst>
                <a:gd name="connsiteX0" fmla="*/ 106158 w 156348"/>
                <a:gd name="connsiteY0" fmla="*/ 140084 h 166584"/>
                <a:gd name="connsiteX1" fmla="*/ 103342 w 156348"/>
                <a:gd name="connsiteY1" fmla="*/ 23812 h 166584"/>
                <a:gd name="connsiteX2" fmla="*/ 103396 w 156348"/>
                <a:gd name="connsiteY2" fmla="*/ 23812 h 166584"/>
                <a:gd name="connsiteX3" fmla="*/ 30885 w 156348"/>
                <a:gd name="connsiteY3" fmla="*/ -4572 h 166584"/>
                <a:gd name="connsiteX4" fmla="*/ 31375 w 156348"/>
                <a:gd name="connsiteY4" fmla="*/ -3974 h 166584"/>
                <a:gd name="connsiteX5" fmla="*/ 28097 w 156348"/>
                <a:gd name="connsiteY5" fmla="*/ -4477 h 166584"/>
                <a:gd name="connsiteX6" fmla="*/ 35864 w 156348"/>
                <a:gd name="connsiteY6" fmla="*/ 1494 h 166584"/>
                <a:gd name="connsiteX7" fmla="*/ 50703 w 156348"/>
                <a:gd name="connsiteY7" fmla="*/ 19555 h 166584"/>
                <a:gd name="connsiteX8" fmla="*/ 64210 w 156348"/>
                <a:gd name="connsiteY8" fmla="*/ 61541 h 166584"/>
                <a:gd name="connsiteX9" fmla="*/ 62006 w 156348"/>
                <a:gd name="connsiteY9" fmla="*/ 108055 h 166584"/>
                <a:gd name="connsiteX10" fmla="*/ -11293 w 156348"/>
                <a:gd name="connsiteY10" fmla="*/ 112706 h 166584"/>
                <a:gd name="connsiteX11" fmla="*/ 32776 w 156348"/>
                <a:gd name="connsiteY11" fmla="*/ 142968 h 166584"/>
                <a:gd name="connsiteX12" fmla="*/ 14128 w 156348"/>
                <a:gd name="connsiteY12" fmla="*/ 148122 h 166584"/>
                <a:gd name="connsiteX13" fmla="*/ 106158 w 156348"/>
                <a:gd name="connsiteY13" fmla="*/ 140084 h 16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6348" h="166584">
                  <a:moveTo>
                    <a:pt x="106158" y="140084"/>
                  </a:moveTo>
                  <a:cubicBezTo>
                    <a:pt x="122208" y="122784"/>
                    <a:pt x="129729" y="64397"/>
                    <a:pt x="103342" y="23812"/>
                  </a:cubicBezTo>
                  <a:lnTo>
                    <a:pt x="103396" y="23812"/>
                  </a:lnTo>
                  <a:cubicBezTo>
                    <a:pt x="78709" y="-22593"/>
                    <a:pt x="32232" y="-6177"/>
                    <a:pt x="30885" y="-4572"/>
                  </a:cubicBezTo>
                  <a:lnTo>
                    <a:pt x="31375" y="-3974"/>
                  </a:lnTo>
                  <a:cubicBezTo>
                    <a:pt x="30287" y="-4178"/>
                    <a:pt x="29199" y="-4355"/>
                    <a:pt x="28097" y="-4477"/>
                  </a:cubicBezTo>
                  <a:cubicBezTo>
                    <a:pt x="28097" y="-4477"/>
                    <a:pt x="31334" y="-2600"/>
                    <a:pt x="35864" y="1494"/>
                  </a:cubicBezTo>
                  <a:lnTo>
                    <a:pt x="50703" y="19555"/>
                  </a:lnTo>
                  <a:cubicBezTo>
                    <a:pt x="56906" y="29756"/>
                    <a:pt x="62428" y="43533"/>
                    <a:pt x="64210" y="61541"/>
                  </a:cubicBezTo>
                  <a:cubicBezTo>
                    <a:pt x="65992" y="79412"/>
                    <a:pt x="65516" y="95080"/>
                    <a:pt x="62006" y="108055"/>
                  </a:cubicBezTo>
                  <a:cubicBezTo>
                    <a:pt x="51465" y="111809"/>
                    <a:pt x="30436" y="115290"/>
                    <a:pt x="-11293" y="112706"/>
                  </a:cubicBezTo>
                  <a:cubicBezTo>
                    <a:pt x="-74950" y="108776"/>
                    <a:pt x="2961" y="133882"/>
                    <a:pt x="32776" y="142968"/>
                  </a:cubicBezTo>
                  <a:cubicBezTo>
                    <a:pt x="27336" y="145321"/>
                    <a:pt x="21201" y="147089"/>
                    <a:pt x="14128" y="148122"/>
                  </a:cubicBezTo>
                  <a:cubicBezTo>
                    <a:pt x="14128" y="148122"/>
                    <a:pt x="74003" y="174766"/>
                    <a:pt x="106158" y="140084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7" name="Vrije vorm 26">
              <a:extLst>
                <a:ext uri="{FF2B5EF4-FFF2-40B4-BE49-F238E27FC236}">
                  <a16:creationId xmlns:a16="http://schemas.microsoft.com/office/drawing/2014/main" id="{1F807659-D603-5B18-D797-AFB56FBCFE7D}"/>
                </a:ext>
              </a:extLst>
            </p:cNvPr>
            <p:cNvSpPr/>
            <p:nvPr/>
          </p:nvSpPr>
          <p:spPr>
            <a:xfrm flipV="1">
              <a:off x="3266999" y="4471911"/>
              <a:ext cx="51779" cy="97739"/>
            </a:xfrm>
            <a:custGeom>
              <a:avLst/>
              <a:gdLst>
                <a:gd name="connsiteX0" fmla="*/ -35618 w 51779"/>
                <a:gd name="connsiteY0" fmla="*/ -7080 h 97739"/>
                <a:gd name="connsiteX1" fmla="*/ -4579 w 51779"/>
                <a:gd name="connsiteY1" fmla="*/ -8140 h 97739"/>
                <a:gd name="connsiteX2" fmla="*/ 15783 w 51779"/>
                <a:gd name="connsiteY2" fmla="*/ 80223 h 97739"/>
                <a:gd name="connsiteX3" fmla="*/ -23676 w 51779"/>
                <a:gd name="connsiteY3" fmla="*/ 51702 h 97739"/>
                <a:gd name="connsiteX4" fmla="*/ -35618 w 51779"/>
                <a:gd name="connsiteY4" fmla="*/ -7080 h 9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779" h="97739">
                  <a:moveTo>
                    <a:pt x="-35618" y="-7080"/>
                  </a:moveTo>
                  <a:cubicBezTo>
                    <a:pt x="-35618" y="-7080"/>
                    <a:pt x="-10197" y="-9174"/>
                    <a:pt x="-4579" y="-8140"/>
                  </a:cubicBezTo>
                  <a:cubicBezTo>
                    <a:pt x="1052" y="-7107"/>
                    <a:pt x="18979" y="49037"/>
                    <a:pt x="15783" y="80223"/>
                  </a:cubicBezTo>
                  <a:cubicBezTo>
                    <a:pt x="12572" y="111409"/>
                    <a:pt x="-23649" y="52396"/>
                    <a:pt x="-23676" y="51702"/>
                  </a:cubicBezTo>
                  <a:cubicBezTo>
                    <a:pt x="-23703" y="50995"/>
                    <a:pt x="-35618" y="-7080"/>
                    <a:pt x="-35618" y="-7080"/>
                  </a:cubicBez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8" name="Vrije vorm 27">
              <a:extLst>
                <a:ext uri="{FF2B5EF4-FFF2-40B4-BE49-F238E27FC236}">
                  <a16:creationId xmlns:a16="http://schemas.microsoft.com/office/drawing/2014/main" id="{48C90620-6D8B-145D-9A27-BDA5F53D50E5}"/>
                </a:ext>
              </a:extLst>
            </p:cNvPr>
            <p:cNvSpPr/>
            <p:nvPr/>
          </p:nvSpPr>
          <p:spPr>
            <a:xfrm flipV="1">
              <a:off x="3299656" y="4433058"/>
              <a:ext cx="41771" cy="29064"/>
            </a:xfrm>
            <a:custGeom>
              <a:avLst/>
              <a:gdLst>
                <a:gd name="connsiteX0" fmla="*/ -22954 w 41771"/>
                <a:gd name="connsiteY0" fmla="*/ -9037 h 29064"/>
                <a:gd name="connsiteX1" fmla="*/ 5977 w 41771"/>
                <a:gd name="connsiteY1" fmla="*/ 20028 h 29064"/>
                <a:gd name="connsiteX2" fmla="*/ -35794 w 41771"/>
                <a:gd name="connsiteY2" fmla="*/ -6847 h 2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771" h="29064">
                  <a:moveTo>
                    <a:pt x="-22954" y="-9037"/>
                  </a:moveTo>
                  <a:lnTo>
                    <a:pt x="5977" y="20028"/>
                  </a:lnTo>
                  <a:lnTo>
                    <a:pt x="-35794" y="-6847"/>
                  </a:lnTo>
                  <a:close/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0" name="Vrije vorm 29">
              <a:extLst>
                <a:ext uri="{FF2B5EF4-FFF2-40B4-BE49-F238E27FC236}">
                  <a16:creationId xmlns:a16="http://schemas.microsoft.com/office/drawing/2014/main" id="{B638D3B9-B3D5-45D9-4A79-9ECB30002B1B}"/>
                </a:ext>
              </a:extLst>
            </p:cNvPr>
            <p:cNvSpPr/>
            <p:nvPr/>
          </p:nvSpPr>
          <p:spPr>
            <a:xfrm flipV="1">
              <a:off x="3250223" y="4487506"/>
              <a:ext cx="9700" cy="27657"/>
            </a:xfrm>
            <a:custGeom>
              <a:avLst/>
              <a:gdLst>
                <a:gd name="connsiteX0" fmla="*/ -31429 w 9700"/>
                <a:gd name="connsiteY0" fmla="*/ 18148 h 27657"/>
                <a:gd name="connsiteX1" fmla="*/ -31401 w 9700"/>
                <a:gd name="connsiteY1" fmla="*/ 17142 h 27657"/>
                <a:gd name="connsiteX2" fmla="*/ -26029 w 9700"/>
                <a:gd name="connsiteY2" fmla="*/ -6170 h 27657"/>
                <a:gd name="connsiteX3" fmla="*/ -26192 w 9700"/>
                <a:gd name="connsiteY3" fmla="*/ -8237 h 27657"/>
                <a:gd name="connsiteX4" fmla="*/ -28259 w 9700"/>
                <a:gd name="connsiteY4" fmla="*/ -8074 h 27657"/>
                <a:gd name="connsiteX5" fmla="*/ -34190 w 9700"/>
                <a:gd name="connsiteY5" fmla="*/ 18066 h 27657"/>
                <a:gd name="connsiteX6" fmla="*/ -32326 w 9700"/>
                <a:gd name="connsiteY6" fmla="*/ 18991 h 27657"/>
                <a:gd name="connsiteX7" fmla="*/ -31429 w 9700"/>
                <a:gd name="connsiteY7" fmla="*/ 18148 h 2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00" h="27657">
                  <a:moveTo>
                    <a:pt x="-31429" y="18148"/>
                  </a:moveTo>
                  <a:cubicBezTo>
                    <a:pt x="-31306" y="17835"/>
                    <a:pt x="-31292" y="17482"/>
                    <a:pt x="-31401" y="17142"/>
                  </a:cubicBezTo>
                  <a:cubicBezTo>
                    <a:pt x="-35455" y="5064"/>
                    <a:pt x="-26124" y="-6061"/>
                    <a:pt x="-26029" y="-6170"/>
                  </a:cubicBezTo>
                  <a:cubicBezTo>
                    <a:pt x="-25498" y="-6782"/>
                    <a:pt x="-25580" y="-7707"/>
                    <a:pt x="-26192" y="-8237"/>
                  </a:cubicBezTo>
                  <a:cubicBezTo>
                    <a:pt x="-26804" y="-8768"/>
                    <a:pt x="-27743" y="-8686"/>
                    <a:pt x="-28259" y="-8074"/>
                  </a:cubicBezTo>
                  <a:cubicBezTo>
                    <a:pt x="-28695" y="-7571"/>
                    <a:pt x="-38760" y="4438"/>
                    <a:pt x="-34190" y="18066"/>
                  </a:cubicBezTo>
                  <a:cubicBezTo>
                    <a:pt x="-33932" y="18842"/>
                    <a:pt x="-33102" y="19250"/>
                    <a:pt x="-32326" y="18991"/>
                  </a:cubicBezTo>
                  <a:cubicBezTo>
                    <a:pt x="-31905" y="18855"/>
                    <a:pt x="-31592" y="18529"/>
                    <a:pt x="-31429" y="18148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1" name="Vrije vorm 30">
              <a:extLst>
                <a:ext uri="{FF2B5EF4-FFF2-40B4-BE49-F238E27FC236}">
                  <a16:creationId xmlns:a16="http://schemas.microsoft.com/office/drawing/2014/main" id="{A1229439-19E5-AFD1-14EC-FA51D9AB8ED4}"/>
                </a:ext>
              </a:extLst>
            </p:cNvPr>
            <p:cNvSpPr/>
            <p:nvPr/>
          </p:nvSpPr>
          <p:spPr>
            <a:xfrm flipV="1">
              <a:off x="3228414" y="4486917"/>
              <a:ext cx="9584" cy="20495"/>
            </a:xfrm>
            <a:custGeom>
              <a:avLst/>
              <a:gdLst>
                <a:gd name="connsiteX0" fmla="*/ -35161 w 9584"/>
                <a:gd name="connsiteY0" fmla="*/ 40 h 20495"/>
                <a:gd name="connsiteX1" fmla="*/ -35188 w 9584"/>
                <a:gd name="connsiteY1" fmla="*/ 285 h 20495"/>
                <a:gd name="connsiteX2" fmla="*/ -28305 w 9584"/>
                <a:gd name="connsiteY2" fmla="*/ 11832 h 20495"/>
                <a:gd name="connsiteX3" fmla="*/ -27285 w 9584"/>
                <a:gd name="connsiteY3" fmla="*/ 11342 h 20495"/>
                <a:gd name="connsiteX4" fmla="*/ -27775 w 9584"/>
                <a:gd name="connsiteY4" fmla="*/ 10322 h 20495"/>
                <a:gd name="connsiteX5" fmla="*/ -33610 w 9584"/>
                <a:gd name="connsiteY5" fmla="*/ 421 h 20495"/>
                <a:gd name="connsiteX6" fmla="*/ -33582 w 9584"/>
                <a:gd name="connsiteY6" fmla="*/ 203 h 20495"/>
                <a:gd name="connsiteX7" fmla="*/ -26455 w 9584"/>
                <a:gd name="connsiteY7" fmla="*/ -7032 h 20495"/>
                <a:gd name="connsiteX8" fmla="*/ -25653 w 9584"/>
                <a:gd name="connsiteY8" fmla="*/ -7821 h 20495"/>
                <a:gd name="connsiteX9" fmla="*/ -26442 w 9584"/>
                <a:gd name="connsiteY9" fmla="*/ -8624 h 20495"/>
                <a:gd name="connsiteX10" fmla="*/ -35161 w 9584"/>
                <a:gd name="connsiteY10" fmla="*/ 40 h 20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84" h="20495">
                  <a:moveTo>
                    <a:pt x="-35161" y="40"/>
                  </a:moveTo>
                  <a:lnTo>
                    <a:pt x="-35188" y="285"/>
                  </a:lnTo>
                  <a:cubicBezTo>
                    <a:pt x="-35922" y="9071"/>
                    <a:pt x="-28373" y="11791"/>
                    <a:pt x="-28305" y="11832"/>
                  </a:cubicBezTo>
                  <a:cubicBezTo>
                    <a:pt x="-27884" y="11968"/>
                    <a:pt x="-27435" y="11750"/>
                    <a:pt x="-27285" y="11342"/>
                  </a:cubicBezTo>
                  <a:cubicBezTo>
                    <a:pt x="-27149" y="10920"/>
                    <a:pt x="-27367" y="10472"/>
                    <a:pt x="-27775" y="10322"/>
                  </a:cubicBezTo>
                  <a:cubicBezTo>
                    <a:pt x="-28047" y="10227"/>
                    <a:pt x="-34235" y="7955"/>
                    <a:pt x="-33610" y="421"/>
                  </a:cubicBezTo>
                  <a:lnTo>
                    <a:pt x="-33582" y="203"/>
                  </a:lnTo>
                  <a:cubicBezTo>
                    <a:pt x="-32862" y="-7019"/>
                    <a:pt x="-26727" y="-7032"/>
                    <a:pt x="-26455" y="-7032"/>
                  </a:cubicBezTo>
                  <a:cubicBezTo>
                    <a:pt x="-26020" y="-7032"/>
                    <a:pt x="-25666" y="-7386"/>
                    <a:pt x="-25653" y="-7821"/>
                  </a:cubicBezTo>
                  <a:cubicBezTo>
                    <a:pt x="-25653" y="-8257"/>
                    <a:pt x="-26006" y="-8610"/>
                    <a:pt x="-26442" y="-8624"/>
                  </a:cubicBezTo>
                  <a:cubicBezTo>
                    <a:pt x="-26523" y="-8624"/>
                    <a:pt x="-34290" y="-8597"/>
                    <a:pt x="-35161" y="40"/>
                  </a:cubicBez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2" name="Vrije vorm 31">
              <a:extLst>
                <a:ext uri="{FF2B5EF4-FFF2-40B4-BE49-F238E27FC236}">
                  <a16:creationId xmlns:a16="http://schemas.microsoft.com/office/drawing/2014/main" id="{AA337207-CB02-4D8F-0149-E08A6825EF83}"/>
                </a:ext>
              </a:extLst>
            </p:cNvPr>
            <p:cNvSpPr/>
            <p:nvPr/>
          </p:nvSpPr>
          <p:spPr>
            <a:xfrm flipV="1">
              <a:off x="3233814" y="4540347"/>
              <a:ext cx="9585" cy="20488"/>
            </a:xfrm>
            <a:custGeom>
              <a:avLst/>
              <a:gdLst>
                <a:gd name="connsiteX0" fmla="*/ -35195 w 9585"/>
                <a:gd name="connsiteY0" fmla="*/ 485 h 20488"/>
                <a:gd name="connsiteX1" fmla="*/ -35222 w 9585"/>
                <a:gd name="connsiteY1" fmla="*/ 730 h 20488"/>
                <a:gd name="connsiteX2" fmla="*/ -28326 w 9585"/>
                <a:gd name="connsiteY2" fmla="*/ 12263 h 20488"/>
                <a:gd name="connsiteX3" fmla="*/ -27319 w 9585"/>
                <a:gd name="connsiteY3" fmla="*/ 11774 h 20488"/>
                <a:gd name="connsiteX4" fmla="*/ -27809 w 9585"/>
                <a:gd name="connsiteY4" fmla="*/ 10767 h 20488"/>
                <a:gd name="connsiteX5" fmla="*/ -33631 w 9585"/>
                <a:gd name="connsiteY5" fmla="*/ 866 h 20488"/>
                <a:gd name="connsiteX6" fmla="*/ -33617 w 9585"/>
                <a:gd name="connsiteY6" fmla="*/ 648 h 20488"/>
                <a:gd name="connsiteX7" fmla="*/ -26490 w 9585"/>
                <a:gd name="connsiteY7" fmla="*/ -6587 h 20488"/>
                <a:gd name="connsiteX8" fmla="*/ -25687 w 9585"/>
                <a:gd name="connsiteY8" fmla="*/ -7376 h 20488"/>
                <a:gd name="connsiteX9" fmla="*/ -26476 w 9585"/>
                <a:gd name="connsiteY9" fmla="*/ -8179 h 20488"/>
                <a:gd name="connsiteX10" fmla="*/ -35195 w 9585"/>
                <a:gd name="connsiteY10" fmla="*/ 485 h 2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85" h="20488">
                  <a:moveTo>
                    <a:pt x="-35195" y="485"/>
                  </a:moveTo>
                  <a:lnTo>
                    <a:pt x="-35222" y="730"/>
                  </a:lnTo>
                  <a:cubicBezTo>
                    <a:pt x="-35956" y="9516"/>
                    <a:pt x="-28407" y="12236"/>
                    <a:pt x="-28326" y="12263"/>
                  </a:cubicBezTo>
                  <a:cubicBezTo>
                    <a:pt x="-27918" y="12413"/>
                    <a:pt x="-27469" y="12195"/>
                    <a:pt x="-27319" y="11774"/>
                  </a:cubicBezTo>
                  <a:cubicBezTo>
                    <a:pt x="-27170" y="11366"/>
                    <a:pt x="-27387" y="10903"/>
                    <a:pt x="-27809" y="10767"/>
                  </a:cubicBezTo>
                  <a:cubicBezTo>
                    <a:pt x="-28095" y="10658"/>
                    <a:pt x="-34270" y="8373"/>
                    <a:pt x="-33631" y="866"/>
                  </a:cubicBezTo>
                  <a:lnTo>
                    <a:pt x="-33617" y="648"/>
                  </a:lnTo>
                  <a:cubicBezTo>
                    <a:pt x="-32883" y="-6574"/>
                    <a:pt x="-26748" y="-6601"/>
                    <a:pt x="-26490" y="-6587"/>
                  </a:cubicBezTo>
                  <a:cubicBezTo>
                    <a:pt x="-26055" y="-6587"/>
                    <a:pt x="-25701" y="-6941"/>
                    <a:pt x="-25687" y="-7376"/>
                  </a:cubicBezTo>
                  <a:cubicBezTo>
                    <a:pt x="-25687" y="-7811"/>
                    <a:pt x="-26027" y="-8179"/>
                    <a:pt x="-26476" y="-8179"/>
                  </a:cubicBezTo>
                  <a:cubicBezTo>
                    <a:pt x="-26544" y="-8179"/>
                    <a:pt x="-34324" y="-8165"/>
                    <a:pt x="-35195" y="485"/>
                  </a:cubicBez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3" name="Vrije vorm 32">
              <a:extLst>
                <a:ext uri="{FF2B5EF4-FFF2-40B4-BE49-F238E27FC236}">
                  <a16:creationId xmlns:a16="http://schemas.microsoft.com/office/drawing/2014/main" id="{65776548-6CD2-6202-82E2-87EF813A0997}"/>
                </a:ext>
              </a:extLst>
            </p:cNvPr>
            <p:cNvSpPr/>
            <p:nvPr/>
          </p:nvSpPr>
          <p:spPr>
            <a:xfrm flipV="1">
              <a:off x="3179235" y="4505344"/>
              <a:ext cx="7611" cy="24044"/>
            </a:xfrm>
            <a:custGeom>
              <a:avLst/>
              <a:gdLst>
                <a:gd name="connsiteX0" fmla="*/ -34913 w 7611"/>
                <a:gd name="connsiteY0" fmla="*/ 14594 h 24044"/>
                <a:gd name="connsiteX1" fmla="*/ -34668 w 7611"/>
                <a:gd name="connsiteY1" fmla="*/ 15315 h 24044"/>
                <a:gd name="connsiteX2" fmla="*/ -33403 w 7611"/>
                <a:gd name="connsiteY2" fmla="*/ 15342 h 24044"/>
                <a:gd name="connsiteX3" fmla="*/ -30153 w 7611"/>
                <a:gd name="connsiteY3" fmla="*/ -8064 h 24044"/>
                <a:gd name="connsiteX4" fmla="*/ -31390 w 7611"/>
                <a:gd name="connsiteY4" fmla="*/ -8295 h 24044"/>
                <a:gd name="connsiteX5" fmla="*/ -31635 w 7611"/>
                <a:gd name="connsiteY5" fmla="*/ -7058 h 24044"/>
                <a:gd name="connsiteX6" fmla="*/ -34641 w 7611"/>
                <a:gd name="connsiteY6" fmla="*/ 14050 h 24044"/>
                <a:gd name="connsiteX7" fmla="*/ -34913 w 7611"/>
                <a:gd name="connsiteY7" fmla="*/ 14594 h 2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11" h="24044">
                  <a:moveTo>
                    <a:pt x="-34913" y="14594"/>
                  </a:moveTo>
                  <a:cubicBezTo>
                    <a:pt x="-34940" y="14853"/>
                    <a:pt x="-34859" y="15111"/>
                    <a:pt x="-34668" y="15315"/>
                  </a:cubicBezTo>
                  <a:cubicBezTo>
                    <a:pt x="-34314" y="15669"/>
                    <a:pt x="-33757" y="15683"/>
                    <a:pt x="-33403" y="15342"/>
                  </a:cubicBezTo>
                  <a:cubicBezTo>
                    <a:pt x="-22005" y="4299"/>
                    <a:pt x="-30071" y="-7942"/>
                    <a:pt x="-30153" y="-8064"/>
                  </a:cubicBezTo>
                  <a:cubicBezTo>
                    <a:pt x="-30425" y="-8472"/>
                    <a:pt x="-30982" y="-8581"/>
                    <a:pt x="-31390" y="-8295"/>
                  </a:cubicBezTo>
                  <a:cubicBezTo>
                    <a:pt x="-31798" y="-8023"/>
                    <a:pt x="-31907" y="-7466"/>
                    <a:pt x="-31635" y="-7058"/>
                  </a:cubicBezTo>
                  <a:cubicBezTo>
                    <a:pt x="-31322" y="-6609"/>
                    <a:pt x="-24331" y="4081"/>
                    <a:pt x="-34641" y="14050"/>
                  </a:cubicBezTo>
                  <a:cubicBezTo>
                    <a:pt x="-34791" y="14200"/>
                    <a:pt x="-34886" y="14390"/>
                    <a:pt x="-34913" y="14594"/>
                  </a:cubicBezTo>
                </a:path>
              </a:pathLst>
            </a:custGeom>
            <a:solidFill>
              <a:srgbClr val="F0716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4" name="Vrije vorm 33">
              <a:extLst>
                <a:ext uri="{FF2B5EF4-FFF2-40B4-BE49-F238E27FC236}">
                  <a16:creationId xmlns:a16="http://schemas.microsoft.com/office/drawing/2014/main" id="{F365F4E7-0223-CBF8-C8F8-C3DD6E5BEF6F}"/>
                </a:ext>
              </a:extLst>
            </p:cNvPr>
            <p:cNvSpPr/>
            <p:nvPr/>
          </p:nvSpPr>
          <p:spPr>
            <a:xfrm flipV="1">
              <a:off x="3255595" y="4532822"/>
              <a:ext cx="6803" cy="28271"/>
            </a:xfrm>
            <a:custGeom>
              <a:avLst/>
              <a:gdLst>
                <a:gd name="connsiteX0" fmla="*/ -29820 w 6803"/>
                <a:gd name="connsiteY0" fmla="*/ -7040 h 28271"/>
                <a:gd name="connsiteX1" fmla="*/ -29970 w 6803"/>
                <a:gd name="connsiteY1" fmla="*/ -6034 h 28271"/>
                <a:gd name="connsiteX2" fmla="*/ -28800 w 6803"/>
                <a:gd name="connsiteY2" fmla="*/ 17849 h 28271"/>
                <a:gd name="connsiteX3" fmla="*/ -29331 w 6803"/>
                <a:gd name="connsiteY3" fmla="*/ 19862 h 28271"/>
                <a:gd name="connsiteX4" fmla="*/ -31343 w 6803"/>
                <a:gd name="connsiteY4" fmla="*/ 19331 h 28271"/>
                <a:gd name="connsiteX5" fmla="*/ -32554 w 6803"/>
                <a:gd name="connsiteY5" fmla="*/ -7448 h 28271"/>
                <a:gd name="connsiteX6" fmla="*/ -30555 w 6803"/>
                <a:gd name="connsiteY6" fmla="*/ -8033 h 28271"/>
                <a:gd name="connsiteX7" fmla="*/ -29820 w 6803"/>
                <a:gd name="connsiteY7" fmla="*/ -7040 h 2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03" h="28271">
                  <a:moveTo>
                    <a:pt x="-29820" y="-7040"/>
                  </a:moveTo>
                  <a:cubicBezTo>
                    <a:pt x="-29752" y="-6700"/>
                    <a:pt x="-29793" y="-6347"/>
                    <a:pt x="-29970" y="-6034"/>
                  </a:cubicBezTo>
                  <a:cubicBezTo>
                    <a:pt x="-36104" y="5132"/>
                    <a:pt x="-28882" y="17726"/>
                    <a:pt x="-28800" y="17849"/>
                  </a:cubicBezTo>
                  <a:cubicBezTo>
                    <a:pt x="-28392" y="18556"/>
                    <a:pt x="-28623" y="19454"/>
                    <a:pt x="-29331" y="19862"/>
                  </a:cubicBezTo>
                  <a:cubicBezTo>
                    <a:pt x="-30024" y="20270"/>
                    <a:pt x="-30922" y="20038"/>
                    <a:pt x="-31343" y="19331"/>
                  </a:cubicBezTo>
                  <a:cubicBezTo>
                    <a:pt x="-31670" y="18760"/>
                    <a:pt x="-39464" y="5159"/>
                    <a:pt x="-32554" y="-7448"/>
                  </a:cubicBezTo>
                  <a:cubicBezTo>
                    <a:pt x="-32159" y="-8156"/>
                    <a:pt x="-31262" y="-8414"/>
                    <a:pt x="-30555" y="-8033"/>
                  </a:cubicBezTo>
                  <a:cubicBezTo>
                    <a:pt x="-30160" y="-7816"/>
                    <a:pt x="-29902" y="-7448"/>
                    <a:pt x="-29820" y="-7040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5" name="Vrije vorm 34">
              <a:extLst>
                <a:ext uri="{FF2B5EF4-FFF2-40B4-BE49-F238E27FC236}">
                  <a16:creationId xmlns:a16="http://schemas.microsoft.com/office/drawing/2014/main" id="{99EEC550-02CD-FC3B-C569-8FAB27084063}"/>
                </a:ext>
              </a:extLst>
            </p:cNvPr>
            <p:cNvSpPr/>
            <p:nvPr/>
          </p:nvSpPr>
          <p:spPr>
            <a:xfrm flipV="1">
              <a:off x="2293660" y="4764533"/>
              <a:ext cx="1032995" cy="777725"/>
            </a:xfrm>
            <a:custGeom>
              <a:avLst/>
              <a:gdLst>
                <a:gd name="connsiteX0" fmla="*/ -20303 w 1032995"/>
                <a:gd name="connsiteY0" fmla="*/ 740623 h 777725"/>
                <a:gd name="connsiteX1" fmla="*/ 50847 w 1032995"/>
                <a:gd name="connsiteY1" fmla="*/ 498858 h 777725"/>
                <a:gd name="connsiteX2" fmla="*/ 612368 w 1032995"/>
                <a:gd name="connsiteY2" fmla="*/ 489093 h 777725"/>
                <a:gd name="connsiteX3" fmla="*/ 805771 w 1032995"/>
                <a:gd name="connsiteY3" fmla="*/ -3155 h 777725"/>
                <a:gd name="connsiteX4" fmla="*/ 1000453 w 1032995"/>
                <a:gd name="connsiteY4" fmla="*/ 96986 h 777725"/>
                <a:gd name="connsiteX5" fmla="*/ 742523 w 1032995"/>
                <a:gd name="connsiteY5" fmla="*/ 684316 h 777725"/>
                <a:gd name="connsiteX6" fmla="*/ 346386 w 1032995"/>
                <a:gd name="connsiteY6" fmla="*/ 774570 h 777725"/>
                <a:gd name="connsiteX7" fmla="*/ -20303 w 1032995"/>
                <a:gd name="connsiteY7" fmla="*/ 740623 h 777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2995" h="777725">
                  <a:moveTo>
                    <a:pt x="-20303" y="740623"/>
                  </a:moveTo>
                  <a:cubicBezTo>
                    <a:pt x="-20303" y="740623"/>
                    <a:pt x="-76179" y="542312"/>
                    <a:pt x="50847" y="498858"/>
                  </a:cubicBezTo>
                  <a:cubicBezTo>
                    <a:pt x="177887" y="455404"/>
                    <a:pt x="612368" y="489093"/>
                    <a:pt x="612368" y="489093"/>
                  </a:cubicBezTo>
                  <a:lnTo>
                    <a:pt x="805771" y="-3155"/>
                  </a:lnTo>
                  <a:cubicBezTo>
                    <a:pt x="805771" y="-3155"/>
                    <a:pt x="938606" y="14784"/>
                    <a:pt x="1000453" y="96986"/>
                  </a:cubicBezTo>
                  <a:cubicBezTo>
                    <a:pt x="1000453" y="96986"/>
                    <a:pt x="817741" y="649227"/>
                    <a:pt x="742523" y="684316"/>
                  </a:cubicBezTo>
                  <a:cubicBezTo>
                    <a:pt x="667306" y="719419"/>
                    <a:pt x="346386" y="774570"/>
                    <a:pt x="346386" y="774570"/>
                  </a:cubicBezTo>
                  <a:lnTo>
                    <a:pt x="-20303" y="740623"/>
                  </a:lnTo>
                </a:path>
              </a:pathLst>
            </a:custGeom>
            <a:solidFill>
              <a:srgbClr val="012169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6" name="Vrije vorm 35">
              <a:extLst>
                <a:ext uri="{FF2B5EF4-FFF2-40B4-BE49-F238E27FC236}">
                  <a16:creationId xmlns:a16="http://schemas.microsoft.com/office/drawing/2014/main" id="{904F0A0A-A9E4-C759-9053-4868639B678A}"/>
                </a:ext>
              </a:extLst>
            </p:cNvPr>
            <p:cNvSpPr/>
            <p:nvPr/>
          </p:nvSpPr>
          <p:spPr>
            <a:xfrm flipV="1">
              <a:off x="3015298" y="5248539"/>
              <a:ext cx="312663" cy="295528"/>
            </a:xfrm>
            <a:custGeom>
              <a:avLst/>
              <a:gdLst>
                <a:gd name="connsiteX0" fmla="*/ 80783 w 312663"/>
                <a:gd name="connsiteY0" fmla="*/ -1131 h 295528"/>
                <a:gd name="connsiteX1" fmla="*/ 80307 w 312663"/>
                <a:gd name="connsiteY1" fmla="*/ 79 h 295528"/>
                <a:gd name="connsiteX2" fmla="*/ -34846 w 312663"/>
                <a:gd name="connsiteY2" fmla="*/ 293200 h 295528"/>
                <a:gd name="connsiteX3" fmla="*/ -31813 w 312663"/>
                <a:gd name="connsiteY3" fmla="*/ 294397 h 295528"/>
                <a:gd name="connsiteX4" fmla="*/ 82864 w 312663"/>
                <a:gd name="connsiteY4" fmla="*/ 2500 h 295528"/>
                <a:gd name="connsiteX5" fmla="*/ 275206 w 312663"/>
                <a:gd name="connsiteY5" fmla="*/ 101785 h 295528"/>
                <a:gd name="connsiteX6" fmla="*/ 277818 w 312663"/>
                <a:gd name="connsiteY6" fmla="*/ 99853 h 295528"/>
                <a:gd name="connsiteX7" fmla="*/ 82075 w 312663"/>
                <a:gd name="connsiteY7" fmla="*/ -927 h 295528"/>
                <a:gd name="connsiteX8" fmla="*/ 80783 w 312663"/>
                <a:gd name="connsiteY8" fmla="*/ -1131 h 295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2663" h="295528">
                  <a:moveTo>
                    <a:pt x="80783" y="-1131"/>
                  </a:moveTo>
                  <a:lnTo>
                    <a:pt x="80307" y="79"/>
                  </a:lnTo>
                  <a:lnTo>
                    <a:pt x="-34846" y="293200"/>
                  </a:lnTo>
                  <a:lnTo>
                    <a:pt x="-31813" y="294397"/>
                  </a:lnTo>
                  <a:lnTo>
                    <a:pt x="82864" y="2500"/>
                  </a:lnTo>
                  <a:cubicBezTo>
                    <a:pt x="96833" y="4907"/>
                    <a:pt x="220554" y="28137"/>
                    <a:pt x="275206" y="101785"/>
                  </a:cubicBezTo>
                  <a:lnTo>
                    <a:pt x="277818" y="99853"/>
                  </a:lnTo>
                  <a:cubicBezTo>
                    <a:pt x="219344" y="21038"/>
                    <a:pt x="83435" y="-723"/>
                    <a:pt x="82075" y="-927"/>
                  </a:cubicBezTo>
                  <a:lnTo>
                    <a:pt x="80783" y="-1131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7" name="Vrije vorm 36">
              <a:extLst>
                <a:ext uri="{FF2B5EF4-FFF2-40B4-BE49-F238E27FC236}">
                  <a16:creationId xmlns:a16="http://schemas.microsoft.com/office/drawing/2014/main" id="{CE2A9862-D8C0-76DC-B6E6-D5A946F09600}"/>
                </a:ext>
              </a:extLst>
            </p:cNvPr>
            <p:cNvSpPr/>
            <p:nvPr/>
          </p:nvSpPr>
          <p:spPr>
            <a:xfrm flipV="1">
              <a:off x="2892801" y="4419417"/>
              <a:ext cx="227421" cy="782050"/>
            </a:xfrm>
            <a:custGeom>
              <a:avLst/>
              <a:gdLst>
                <a:gd name="connsiteX0" fmla="*/ -13826 w 227421"/>
                <a:gd name="connsiteY0" fmla="*/ 776037 h 782050"/>
                <a:gd name="connsiteX1" fmla="*/ -33521 w 227421"/>
                <a:gd name="connsiteY1" fmla="*/ 265782 h 782050"/>
                <a:gd name="connsiteX2" fmla="*/ -33794 w 227421"/>
                <a:gd name="connsiteY2" fmla="*/ -6013 h 782050"/>
                <a:gd name="connsiteX3" fmla="*/ 107529 w 227421"/>
                <a:gd name="connsiteY3" fmla="*/ 2936 h 782050"/>
                <a:gd name="connsiteX4" fmla="*/ 193628 w 227421"/>
                <a:gd name="connsiteY4" fmla="*/ 714630 h 782050"/>
                <a:gd name="connsiteX5" fmla="*/ -13826 w 227421"/>
                <a:gd name="connsiteY5" fmla="*/ 776037 h 78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421" h="782050">
                  <a:moveTo>
                    <a:pt x="-13826" y="776037"/>
                  </a:moveTo>
                  <a:lnTo>
                    <a:pt x="-33521" y="265782"/>
                  </a:lnTo>
                  <a:lnTo>
                    <a:pt x="-33794" y="-6013"/>
                  </a:lnTo>
                  <a:lnTo>
                    <a:pt x="107529" y="2936"/>
                  </a:lnTo>
                  <a:lnTo>
                    <a:pt x="193628" y="714630"/>
                  </a:lnTo>
                  <a:lnTo>
                    <a:pt x="-13826" y="776037"/>
                  </a:ln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8" name="Vrije vorm 37">
              <a:extLst>
                <a:ext uri="{FF2B5EF4-FFF2-40B4-BE49-F238E27FC236}">
                  <a16:creationId xmlns:a16="http://schemas.microsoft.com/office/drawing/2014/main" id="{FF62026A-AD02-F3BA-E4C6-D95FBCB86E07}"/>
                </a:ext>
              </a:extLst>
            </p:cNvPr>
            <p:cNvSpPr/>
            <p:nvPr/>
          </p:nvSpPr>
          <p:spPr>
            <a:xfrm flipV="1">
              <a:off x="2858101" y="5082915"/>
              <a:ext cx="191038" cy="292980"/>
            </a:xfrm>
            <a:custGeom>
              <a:avLst/>
              <a:gdLst>
                <a:gd name="connsiteX0" fmla="*/ 147421 w 191038"/>
                <a:gd name="connsiteY0" fmla="*/ 148078 h 292980"/>
                <a:gd name="connsiteX1" fmla="*/ 157555 w 191038"/>
                <a:gd name="connsiteY1" fmla="*/ 286683 h 292980"/>
                <a:gd name="connsiteX2" fmla="*/ 20626 w 191038"/>
                <a:gd name="connsiteY2" fmla="*/ 260406 h 292980"/>
                <a:gd name="connsiteX3" fmla="*/ 15716 w 191038"/>
                <a:gd name="connsiteY3" fmla="*/ 168493 h 292980"/>
                <a:gd name="connsiteX4" fmla="*/ -18873 w 191038"/>
                <a:gd name="connsiteY4" fmla="*/ 114947 h 292980"/>
                <a:gd name="connsiteX5" fmla="*/ -29728 w 191038"/>
                <a:gd name="connsiteY5" fmla="*/ 103645 h 292980"/>
                <a:gd name="connsiteX6" fmla="*/ -29292 w 191038"/>
                <a:gd name="connsiteY6" fmla="*/ 81367 h 292980"/>
                <a:gd name="connsiteX7" fmla="*/ -10277 w 191038"/>
                <a:gd name="connsiteY7" fmla="*/ 78457 h 292980"/>
                <a:gd name="connsiteX8" fmla="*/ -14807 w 191038"/>
                <a:gd name="connsiteY8" fmla="*/ 73737 h 292980"/>
                <a:gd name="connsiteX9" fmla="*/ -14385 w 191038"/>
                <a:gd name="connsiteY9" fmla="*/ 51459 h 292980"/>
                <a:gd name="connsiteX10" fmla="*/ 4644 w 191038"/>
                <a:gd name="connsiteY10" fmla="*/ 48549 h 292980"/>
                <a:gd name="connsiteX11" fmla="*/ 5079 w 191038"/>
                <a:gd name="connsiteY11" fmla="*/ 26271 h 292980"/>
                <a:gd name="connsiteX12" fmla="*/ 24108 w 191038"/>
                <a:gd name="connsiteY12" fmla="*/ 23361 h 292980"/>
                <a:gd name="connsiteX13" fmla="*/ 28637 w 191038"/>
                <a:gd name="connsiteY13" fmla="*/ 28094 h 292980"/>
                <a:gd name="connsiteX14" fmla="*/ 29073 w 191038"/>
                <a:gd name="connsiteY14" fmla="*/ 5816 h 292980"/>
                <a:gd name="connsiteX15" fmla="*/ 30052 w 191038"/>
                <a:gd name="connsiteY15" fmla="*/ 4673 h 292980"/>
                <a:gd name="connsiteX16" fmla="*/ 30052 w 191038"/>
                <a:gd name="connsiteY16" fmla="*/ 4660 h 292980"/>
                <a:gd name="connsiteX17" fmla="*/ 30052 w 191038"/>
                <a:gd name="connsiteY17" fmla="*/ 4660 h 292980"/>
                <a:gd name="connsiteX18" fmla="*/ 31249 w 191038"/>
                <a:gd name="connsiteY18" fmla="*/ 3463 h 292980"/>
                <a:gd name="connsiteX19" fmla="*/ 46224 w 191038"/>
                <a:gd name="connsiteY19" fmla="*/ -1923 h 292980"/>
                <a:gd name="connsiteX20" fmla="*/ 100726 w 191038"/>
                <a:gd name="connsiteY20" fmla="*/ 52711 h 292980"/>
                <a:gd name="connsiteX21" fmla="*/ 147421 w 191038"/>
                <a:gd name="connsiteY21" fmla="*/ 148078 h 292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1038" h="292980">
                  <a:moveTo>
                    <a:pt x="147421" y="148078"/>
                  </a:moveTo>
                  <a:cubicBezTo>
                    <a:pt x="147666" y="151343"/>
                    <a:pt x="158181" y="281650"/>
                    <a:pt x="157555" y="286683"/>
                  </a:cubicBezTo>
                  <a:cubicBezTo>
                    <a:pt x="110071" y="306934"/>
                    <a:pt x="72884" y="238060"/>
                    <a:pt x="20626" y="260406"/>
                  </a:cubicBezTo>
                  <a:cubicBezTo>
                    <a:pt x="31793" y="231206"/>
                    <a:pt x="12071" y="176463"/>
                    <a:pt x="15716" y="168493"/>
                  </a:cubicBezTo>
                  <a:lnTo>
                    <a:pt x="-18873" y="114947"/>
                  </a:lnTo>
                  <a:lnTo>
                    <a:pt x="-29728" y="103645"/>
                  </a:lnTo>
                  <a:cubicBezTo>
                    <a:pt x="-34869" y="98300"/>
                    <a:pt x="-34665" y="88331"/>
                    <a:pt x="-29292" y="81367"/>
                  </a:cubicBezTo>
                  <a:cubicBezTo>
                    <a:pt x="-23920" y="74417"/>
                    <a:pt x="-15405" y="73112"/>
                    <a:pt x="-10277" y="78457"/>
                  </a:cubicBezTo>
                  <a:lnTo>
                    <a:pt x="-14807" y="73737"/>
                  </a:lnTo>
                  <a:cubicBezTo>
                    <a:pt x="-19948" y="68379"/>
                    <a:pt x="-19757" y="58409"/>
                    <a:pt x="-14385" y="51459"/>
                  </a:cubicBezTo>
                  <a:cubicBezTo>
                    <a:pt x="-9012" y="44510"/>
                    <a:pt x="-484" y="43204"/>
                    <a:pt x="4644" y="48549"/>
                  </a:cubicBezTo>
                  <a:cubicBezTo>
                    <a:pt x="-484" y="43204"/>
                    <a:pt x="-294" y="33235"/>
                    <a:pt x="5079" y="26271"/>
                  </a:cubicBezTo>
                  <a:cubicBezTo>
                    <a:pt x="10452" y="19321"/>
                    <a:pt x="18967" y="18015"/>
                    <a:pt x="24108" y="23361"/>
                  </a:cubicBezTo>
                  <a:lnTo>
                    <a:pt x="28637" y="28094"/>
                  </a:lnTo>
                  <a:cubicBezTo>
                    <a:pt x="23509" y="22748"/>
                    <a:pt x="23700" y="12779"/>
                    <a:pt x="29073" y="5816"/>
                  </a:cubicBezTo>
                  <a:cubicBezTo>
                    <a:pt x="29385" y="5421"/>
                    <a:pt x="29712" y="5027"/>
                    <a:pt x="30052" y="4673"/>
                  </a:cubicBezTo>
                  <a:lnTo>
                    <a:pt x="30052" y="4660"/>
                  </a:lnTo>
                  <a:lnTo>
                    <a:pt x="30052" y="4660"/>
                  </a:lnTo>
                  <a:cubicBezTo>
                    <a:pt x="30433" y="4238"/>
                    <a:pt x="30841" y="3830"/>
                    <a:pt x="31249" y="3463"/>
                  </a:cubicBezTo>
                  <a:cubicBezTo>
                    <a:pt x="37424" y="-2440"/>
                    <a:pt x="42443" y="-3365"/>
                    <a:pt x="46224" y="-1923"/>
                  </a:cubicBezTo>
                  <a:cubicBezTo>
                    <a:pt x="54100" y="1083"/>
                    <a:pt x="85601" y="36404"/>
                    <a:pt x="100726" y="52711"/>
                  </a:cubicBezTo>
                  <a:cubicBezTo>
                    <a:pt x="124625" y="77763"/>
                    <a:pt x="144524" y="108854"/>
                    <a:pt x="147421" y="148078"/>
                  </a:cubicBez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9" name="Vrije vorm 38">
              <a:extLst>
                <a:ext uri="{FF2B5EF4-FFF2-40B4-BE49-F238E27FC236}">
                  <a16:creationId xmlns:a16="http://schemas.microsoft.com/office/drawing/2014/main" id="{5A594288-1FCA-AC8E-258A-BF9B76B6B5B3}"/>
                </a:ext>
              </a:extLst>
            </p:cNvPr>
            <p:cNvSpPr/>
            <p:nvPr/>
          </p:nvSpPr>
          <p:spPr>
            <a:xfrm flipV="1">
              <a:off x="2914967" y="5267495"/>
              <a:ext cx="63936" cy="84098"/>
            </a:xfrm>
            <a:custGeom>
              <a:avLst/>
              <a:gdLst>
                <a:gd name="connsiteX0" fmla="*/ -33016 w 63936"/>
                <a:gd name="connsiteY0" fmla="*/ -736 h 84098"/>
                <a:gd name="connsiteX1" fmla="*/ -32431 w 63936"/>
                <a:gd name="connsiteY1" fmla="*/ -1375 h 84098"/>
                <a:gd name="connsiteX2" fmla="*/ -29016 w 63936"/>
                <a:gd name="connsiteY2" fmla="*/ -872 h 84098"/>
                <a:gd name="connsiteX3" fmla="*/ 30042 w 63936"/>
                <a:gd name="connsiteY3" fmla="*/ 78352 h 84098"/>
                <a:gd name="connsiteX4" fmla="*/ 29553 w 63936"/>
                <a:gd name="connsiteY4" fmla="*/ 81765 h 84098"/>
                <a:gd name="connsiteX5" fmla="*/ 26139 w 63936"/>
                <a:gd name="connsiteY5" fmla="*/ 81262 h 84098"/>
                <a:gd name="connsiteX6" fmla="*/ -32934 w 63936"/>
                <a:gd name="connsiteY6" fmla="*/ 2039 h 84098"/>
                <a:gd name="connsiteX7" fmla="*/ -33016 w 63936"/>
                <a:gd name="connsiteY7" fmla="*/ -736 h 84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936" h="84098">
                  <a:moveTo>
                    <a:pt x="-33016" y="-736"/>
                  </a:moveTo>
                  <a:cubicBezTo>
                    <a:pt x="-32866" y="-981"/>
                    <a:pt x="-32662" y="-1185"/>
                    <a:pt x="-32431" y="-1375"/>
                  </a:cubicBezTo>
                  <a:cubicBezTo>
                    <a:pt x="-31356" y="-2178"/>
                    <a:pt x="-29819" y="-1946"/>
                    <a:pt x="-29016" y="-872"/>
                  </a:cubicBezTo>
                  <a:lnTo>
                    <a:pt x="30042" y="78352"/>
                  </a:lnTo>
                  <a:cubicBezTo>
                    <a:pt x="30845" y="79426"/>
                    <a:pt x="30614" y="80949"/>
                    <a:pt x="29553" y="81765"/>
                  </a:cubicBezTo>
                  <a:cubicBezTo>
                    <a:pt x="28464" y="82568"/>
                    <a:pt x="26941" y="82337"/>
                    <a:pt x="26139" y="81262"/>
                  </a:cubicBezTo>
                  <a:lnTo>
                    <a:pt x="-32934" y="2039"/>
                  </a:lnTo>
                  <a:cubicBezTo>
                    <a:pt x="-33560" y="1209"/>
                    <a:pt x="-33560" y="94"/>
                    <a:pt x="-33016" y="-736"/>
                  </a:cubicBezTo>
                </a:path>
              </a:pathLst>
            </a:custGeom>
            <a:solidFill>
              <a:srgbClr val="F0716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0" name="Vrije vorm 39">
              <a:extLst>
                <a:ext uri="{FF2B5EF4-FFF2-40B4-BE49-F238E27FC236}">
                  <a16:creationId xmlns:a16="http://schemas.microsoft.com/office/drawing/2014/main" id="{7E08A0A0-2E05-728D-2804-C5AE1C4ED2A8}"/>
                </a:ext>
              </a:extLst>
            </p:cNvPr>
            <p:cNvSpPr/>
            <p:nvPr/>
          </p:nvSpPr>
          <p:spPr>
            <a:xfrm flipV="1">
              <a:off x="2891642" y="5252503"/>
              <a:ext cx="58452" cy="76736"/>
            </a:xfrm>
            <a:custGeom>
              <a:avLst/>
              <a:gdLst>
                <a:gd name="connsiteX0" fmla="*/ -32851 w 58452"/>
                <a:gd name="connsiteY0" fmla="*/ -900 h 76736"/>
                <a:gd name="connsiteX1" fmla="*/ -32266 w 58452"/>
                <a:gd name="connsiteY1" fmla="*/ -1526 h 76736"/>
                <a:gd name="connsiteX2" fmla="*/ -28852 w 58452"/>
                <a:gd name="connsiteY2" fmla="*/ -1036 h 76736"/>
                <a:gd name="connsiteX3" fmla="*/ 24725 w 58452"/>
                <a:gd name="connsiteY3" fmla="*/ 70829 h 76736"/>
                <a:gd name="connsiteX4" fmla="*/ 24222 w 58452"/>
                <a:gd name="connsiteY4" fmla="*/ 74243 h 76736"/>
                <a:gd name="connsiteX5" fmla="*/ 20808 w 58452"/>
                <a:gd name="connsiteY5" fmla="*/ 73740 h 76736"/>
                <a:gd name="connsiteX6" fmla="*/ -32755 w 58452"/>
                <a:gd name="connsiteY6" fmla="*/ 1888 h 76736"/>
                <a:gd name="connsiteX7" fmla="*/ -32851 w 58452"/>
                <a:gd name="connsiteY7" fmla="*/ -900 h 76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452" h="76736">
                  <a:moveTo>
                    <a:pt x="-32851" y="-900"/>
                  </a:moveTo>
                  <a:cubicBezTo>
                    <a:pt x="-32701" y="-1132"/>
                    <a:pt x="-32497" y="-1349"/>
                    <a:pt x="-32266" y="-1526"/>
                  </a:cubicBezTo>
                  <a:cubicBezTo>
                    <a:pt x="-31178" y="-2328"/>
                    <a:pt x="-29655" y="-2111"/>
                    <a:pt x="-28852" y="-1036"/>
                  </a:cubicBezTo>
                  <a:lnTo>
                    <a:pt x="24725" y="70829"/>
                  </a:lnTo>
                  <a:cubicBezTo>
                    <a:pt x="25528" y="71904"/>
                    <a:pt x="25296" y="73427"/>
                    <a:pt x="24222" y="74243"/>
                  </a:cubicBezTo>
                  <a:cubicBezTo>
                    <a:pt x="23148" y="75046"/>
                    <a:pt x="21624" y="74828"/>
                    <a:pt x="20808" y="73740"/>
                  </a:cubicBezTo>
                  <a:lnTo>
                    <a:pt x="-32755" y="1888"/>
                  </a:lnTo>
                  <a:cubicBezTo>
                    <a:pt x="-33395" y="1045"/>
                    <a:pt x="-33395" y="-71"/>
                    <a:pt x="-32851" y="-900"/>
                  </a:cubicBezTo>
                </a:path>
              </a:pathLst>
            </a:custGeom>
            <a:solidFill>
              <a:srgbClr val="F0716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1" name="Vrije vorm 40">
              <a:extLst>
                <a:ext uri="{FF2B5EF4-FFF2-40B4-BE49-F238E27FC236}">
                  <a16:creationId xmlns:a16="http://schemas.microsoft.com/office/drawing/2014/main" id="{0D9B3B23-6447-6A10-E3EC-F7F82934D303}"/>
                </a:ext>
              </a:extLst>
            </p:cNvPr>
            <p:cNvSpPr/>
            <p:nvPr/>
          </p:nvSpPr>
          <p:spPr>
            <a:xfrm flipV="1">
              <a:off x="2890338" y="4929672"/>
              <a:ext cx="166635" cy="329305"/>
            </a:xfrm>
            <a:custGeom>
              <a:avLst/>
              <a:gdLst>
                <a:gd name="connsiteX0" fmla="*/ 133051 w 166635"/>
                <a:gd name="connsiteY0" fmla="*/ 251724 h 329305"/>
                <a:gd name="connsiteX1" fmla="*/ 110254 w 166635"/>
                <a:gd name="connsiteY1" fmla="*/ 7987 h 329305"/>
                <a:gd name="connsiteX2" fmla="*/ -33584 w 166635"/>
                <a:gd name="connsiteY2" fmla="*/ 19616 h 329305"/>
                <a:gd name="connsiteX3" fmla="*/ -30850 w 166635"/>
                <a:gd name="connsiteY3" fmla="*/ 325657 h 329305"/>
                <a:gd name="connsiteX4" fmla="*/ 133051 w 166635"/>
                <a:gd name="connsiteY4" fmla="*/ 251724 h 329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635" h="329305">
                  <a:moveTo>
                    <a:pt x="133051" y="251724"/>
                  </a:moveTo>
                  <a:cubicBezTo>
                    <a:pt x="126563" y="192616"/>
                    <a:pt x="113900" y="30660"/>
                    <a:pt x="110254" y="7987"/>
                  </a:cubicBezTo>
                  <a:cubicBezTo>
                    <a:pt x="105168" y="-23797"/>
                    <a:pt x="-33584" y="19616"/>
                    <a:pt x="-33584" y="19616"/>
                  </a:cubicBezTo>
                  <a:cubicBezTo>
                    <a:pt x="-33584" y="19616"/>
                    <a:pt x="-33325" y="239402"/>
                    <a:pt x="-30850" y="325657"/>
                  </a:cubicBezTo>
                  <a:lnTo>
                    <a:pt x="133051" y="251724"/>
                  </a:lnTo>
                </a:path>
              </a:pathLst>
            </a:custGeom>
            <a:solidFill>
              <a:srgbClr val="FE9F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2" name="Vrije vorm 41">
              <a:extLst>
                <a:ext uri="{FF2B5EF4-FFF2-40B4-BE49-F238E27FC236}">
                  <a16:creationId xmlns:a16="http://schemas.microsoft.com/office/drawing/2014/main" id="{3727C3C7-B7DA-4E2E-59F8-B524CEFE55EF}"/>
                </a:ext>
              </a:extLst>
            </p:cNvPr>
            <p:cNvSpPr/>
            <p:nvPr/>
          </p:nvSpPr>
          <p:spPr>
            <a:xfrm flipV="1">
              <a:off x="2875398" y="5238227"/>
              <a:ext cx="47938" cy="62636"/>
            </a:xfrm>
            <a:custGeom>
              <a:avLst/>
              <a:gdLst>
                <a:gd name="connsiteX0" fmla="*/ -32724 w 47938"/>
                <a:gd name="connsiteY0" fmla="*/ -1069 h 62636"/>
                <a:gd name="connsiteX1" fmla="*/ -32126 w 47938"/>
                <a:gd name="connsiteY1" fmla="*/ -1709 h 62636"/>
                <a:gd name="connsiteX2" fmla="*/ -28725 w 47938"/>
                <a:gd name="connsiteY2" fmla="*/ -1205 h 62636"/>
                <a:gd name="connsiteX3" fmla="*/ 14338 w 47938"/>
                <a:gd name="connsiteY3" fmla="*/ 56557 h 62636"/>
                <a:gd name="connsiteX4" fmla="*/ 13848 w 47938"/>
                <a:gd name="connsiteY4" fmla="*/ 59970 h 62636"/>
                <a:gd name="connsiteX5" fmla="*/ 10434 w 47938"/>
                <a:gd name="connsiteY5" fmla="*/ 59467 h 62636"/>
                <a:gd name="connsiteX6" fmla="*/ -32629 w 47938"/>
                <a:gd name="connsiteY6" fmla="*/ 1705 h 62636"/>
                <a:gd name="connsiteX7" fmla="*/ -32724 w 47938"/>
                <a:gd name="connsiteY7" fmla="*/ -1069 h 6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938" h="62636">
                  <a:moveTo>
                    <a:pt x="-32724" y="-1069"/>
                  </a:moveTo>
                  <a:cubicBezTo>
                    <a:pt x="-32575" y="-1314"/>
                    <a:pt x="-32370" y="-1518"/>
                    <a:pt x="-32126" y="-1709"/>
                  </a:cubicBezTo>
                  <a:cubicBezTo>
                    <a:pt x="-31051" y="-2511"/>
                    <a:pt x="-29528" y="-2280"/>
                    <a:pt x="-28725" y="-1205"/>
                  </a:cubicBezTo>
                  <a:lnTo>
                    <a:pt x="14338" y="56557"/>
                  </a:lnTo>
                  <a:cubicBezTo>
                    <a:pt x="15154" y="57631"/>
                    <a:pt x="14923" y="59154"/>
                    <a:pt x="13848" y="59970"/>
                  </a:cubicBezTo>
                  <a:cubicBezTo>
                    <a:pt x="12760" y="60773"/>
                    <a:pt x="11237" y="60542"/>
                    <a:pt x="10434" y="59467"/>
                  </a:cubicBezTo>
                  <a:lnTo>
                    <a:pt x="-32629" y="1705"/>
                  </a:lnTo>
                  <a:cubicBezTo>
                    <a:pt x="-33255" y="876"/>
                    <a:pt x="-33255" y="-240"/>
                    <a:pt x="-32724" y="-1069"/>
                  </a:cubicBezTo>
                </a:path>
              </a:pathLst>
            </a:custGeom>
            <a:solidFill>
              <a:srgbClr val="F0716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3" name="Vrije vorm 42">
              <a:extLst>
                <a:ext uri="{FF2B5EF4-FFF2-40B4-BE49-F238E27FC236}">
                  <a16:creationId xmlns:a16="http://schemas.microsoft.com/office/drawing/2014/main" id="{F05AA8BE-8300-6A93-CE2C-8D23D2FC0715}"/>
                </a:ext>
              </a:extLst>
            </p:cNvPr>
            <p:cNvSpPr/>
            <p:nvPr/>
          </p:nvSpPr>
          <p:spPr>
            <a:xfrm flipV="1">
              <a:off x="2292229" y="4363668"/>
              <a:ext cx="845169" cy="513356"/>
            </a:xfrm>
            <a:custGeom>
              <a:avLst/>
              <a:gdLst>
                <a:gd name="connsiteX0" fmla="*/ 273656 w 845169"/>
                <a:gd name="connsiteY0" fmla="*/ 430779 h 513356"/>
                <a:gd name="connsiteX1" fmla="*/ 781722 w 845169"/>
                <a:gd name="connsiteY1" fmla="*/ 468712 h 513356"/>
                <a:gd name="connsiteX2" fmla="*/ 795011 w 845169"/>
                <a:gd name="connsiteY2" fmla="*/ 456553 h 513356"/>
                <a:gd name="connsiteX3" fmla="*/ 810272 w 845169"/>
                <a:gd name="connsiteY3" fmla="*/ 425298 h 513356"/>
                <a:gd name="connsiteX4" fmla="*/ 770160 w 845169"/>
                <a:gd name="connsiteY4" fmla="*/ 85622 h 513356"/>
                <a:gd name="connsiteX5" fmla="*/ 552927 w 845169"/>
                <a:gd name="connsiteY5" fmla="*/ 117679 h 513356"/>
                <a:gd name="connsiteX6" fmla="*/ 569562 w 845169"/>
                <a:gd name="connsiteY6" fmla="*/ 274318 h 513356"/>
                <a:gd name="connsiteX7" fmla="*/ 488971 w 845169"/>
                <a:gd name="connsiteY7" fmla="*/ 95836 h 513356"/>
                <a:gd name="connsiteX8" fmla="*/ 410516 w 845169"/>
                <a:gd name="connsiteY8" fmla="*/ 14042 h 513356"/>
                <a:gd name="connsiteX9" fmla="*/ -31935 w 845169"/>
                <a:gd name="connsiteY9" fmla="*/ 54776 h 513356"/>
                <a:gd name="connsiteX10" fmla="*/ 273656 w 845169"/>
                <a:gd name="connsiteY10" fmla="*/ 430779 h 513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45169" h="513356">
                  <a:moveTo>
                    <a:pt x="273656" y="430779"/>
                  </a:moveTo>
                  <a:cubicBezTo>
                    <a:pt x="469847" y="538088"/>
                    <a:pt x="709837" y="510588"/>
                    <a:pt x="781722" y="468712"/>
                  </a:cubicBezTo>
                  <a:cubicBezTo>
                    <a:pt x="785517" y="466508"/>
                    <a:pt x="792059" y="460334"/>
                    <a:pt x="795011" y="456553"/>
                  </a:cubicBezTo>
                  <a:cubicBezTo>
                    <a:pt x="801458" y="448283"/>
                    <a:pt x="804885" y="438926"/>
                    <a:pt x="810272" y="425298"/>
                  </a:cubicBezTo>
                  <a:cubicBezTo>
                    <a:pt x="826594" y="383980"/>
                    <a:pt x="770160" y="85622"/>
                    <a:pt x="770160" y="85622"/>
                  </a:cubicBezTo>
                  <a:cubicBezTo>
                    <a:pt x="770160" y="85622"/>
                    <a:pt x="625098" y="90451"/>
                    <a:pt x="552927" y="117679"/>
                  </a:cubicBezTo>
                  <a:lnTo>
                    <a:pt x="569562" y="274318"/>
                  </a:lnTo>
                  <a:cubicBezTo>
                    <a:pt x="569562" y="274318"/>
                    <a:pt x="527668" y="184037"/>
                    <a:pt x="488971" y="95836"/>
                  </a:cubicBezTo>
                  <a:cubicBezTo>
                    <a:pt x="459537" y="28772"/>
                    <a:pt x="410516" y="14042"/>
                    <a:pt x="410516" y="14042"/>
                  </a:cubicBezTo>
                  <a:cubicBezTo>
                    <a:pt x="410516" y="14042"/>
                    <a:pt x="254246" y="-55512"/>
                    <a:pt x="-31935" y="54776"/>
                  </a:cubicBezTo>
                  <a:cubicBezTo>
                    <a:pt x="-31935" y="54776"/>
                    <a:pt x="77450" y="323484"/>
                    <a:pt x="273656" y="430779"/>
                  </a:cubicBezTo>
                </a:path>
              </a:pathLst>
            </a:custGeom>
            <a:solidFill>
              <a:schemeClr val="bg1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4" name="Vrije vorm 43">
              <a:extLst>
                <a:ext uri="{FF2B5EF4-FFF2-40B4-BE49-F238E27FC236}">
                  <a16:creationId xmlns:a16="http://schemas.microsoft.com/office/drawing/2014/main" id="{AD916C35-E751-3D8D-1E2D-E068621D9715}"/>
                </a:ext>
              </a:extLst>
            </p:cNvPr>
            <p:cNvSpPr/>
            <p:nvPr/>
          </p:nvSpPr>
          <p:spPr>
            <a:xfrm flipV="1">
              <a:off x="3219651" y="4609662"/>
              <a:ext cx="97606" cy="1059884"/>
            </a:xfrm>
            <a:custGeom>
              <a:avLst/>
              <a:gdLst>
                <a:gd name="connsiteX0" fmla="*/ -9809 w 97606"/>
                <a:gd name="connsiteY0" fmla="*/ -3270 h 1059884"/>
                <a:gd name="connsiteX1" fmla="*/ -35463 w 97606"/>
                <a:gd name="connsiteY1" fmla="*/ -3270 h 1059884"/>
                <a:gd name="connsiteX2" fmla="*/ 10824 w 97606"/>
                <a:gd name="connsiteY2" fmla="*/ 1056614 h 1059884"/>
                <a:gd name="connsiteX3" fmla="*/ 62144 w 97606"/>
                <a:gd name="connsiteY3" fmla="*/ 1056614 h 1059884"/>
                <a:gd name="connsiteX4" fmla="*/ -9809 w 97606"/>
                <a:gd name="connsiteY4" fmla="*/ -3270 h 1059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606" h="1059884">
                  <a:moveTo>
                    <a:pt x="-9809" y="-3270"/>
                  </a:moveTo>
                  <a:lnTo>
                    <a:pt x="-35463" y="-3270"/>
                  </a:lnTo>
                  <a:lnTo>
                    <a:pt x="10824" y="1056614"/>
                  </a:lnTo>
                  <a:lnTo>
                    <a:pt x="62144" y="1056614"/>
                  </a:lnTo>
                  <a:lnTo>
                    <a:pt x="-9809" y="-3270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5" name="Vrije vorm 44">
              <a:extLst>
                <a:ext uri="{FF2B5EF4-FFF2-40B4-BE49-F238E27FC236}">
                  <a16:creationId xmlns:a16="http://schemas.microsoft.com/office/drawing/2014/main" id="{A1E3C48A-CFBE-2C84-8E0B-BCCBDD66C11D}"/>
                </a:ext>
              </a:extLst>
            </p:cNvPr>
            <p:cNvSpPr/>
            <p:nvPr/>
          </p:nvSpPr>
          <p:spPr>
            <a:xfrm flipV="1">
              <a:off x="4072113" y="4609662"/>
              <a:ext cx="97619" cy="1060809"/>
            </a:xfrm>
            <a:custGeom>
              <a:avLst/>
              <a:gdLst>
                <a:gd name="connsiteX0" fmla="*/ 31059 w 97619"/>
                <a:gd name="connsiteY0" fmla="*/ -3266 h 1060809"/>
                <a:gd name="connsiteX1" fmla="*/ 56725 w 97619"/>
                <a:gd name="connsiteY1" fmla="*/ -3266 h 1060809"/>
                <a:gd name="connsiteX2" fmla="*/ 10439 w 97619"/>
                <a:gd name="connsiteY2" fmla="*/ 1057543 h 1060809"/>
                <a:gd name="connsiteX3" fmla="*/ -40894 w 97619"/>
                <a:gd name="connsiteY3" fmla="*/ 1057543 h 1060809"/>
                <a:gd name="connsiteX4" fmla="*/ 31059 w 97619"/>
                <a:gd name="connsiteY4" fmla="*/ -3266 h 1060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619" h="1060809">
                  <a:moveTo>
                    <a:pt x="31059" y="-3266"/>
                  </a:moveTo>
                  <a:lnTo>
                    <a:pt x="56725" y="-3266"/>
                  </a:lnTo>
                  <a:lnTo>
                    <a:pt x="10439" y="1057543"/>
                  </a:lnTo>
                  <a:lnTo>
                    <a:pt x="-40894" y="1057543"/>
                  </a:lnTo>
                  <a:lnTo>
                    <a:pt x="31059" y="-3266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6" name="Vrije vorm 45">
              <a:extLst>
                <a:ext uri="{FF2B5EF4-FFF2-40B4-BE49-F238E27FC236}">
                  <a16:creationId xmlns:a16="http://schemas.microsoft.com/office/drawing/2014/main" id="{15DD0DA6-16C6-F32D-2720-FA66A1C833E4}"/>
                </a:ext>
              </a:extLst>
            </p:cNvPr>
            <p:cNvSpPr/>
            <p:nvPr/>
          </p:nvSpPr>
          <p:spPr>
            <a:xfrm flipV="1">
              <a:off x="3279090" y="4902688"/>
              <a:ext cx="840955" cy="16715"/>
            </a:xfrm>
            <a:custGeom>
              <a:avLst/>
              <a:gdLst>
                <a:gd name="connsiteX0" fmla="*/ 802746 w 840955"/>
                <a:gd name="connsiteY0" fmla="*/ -5175 h 16715"/>
                <a:gd name="connsiteX1" fmla="*/ -38209 w 840955"/>
                <a:gd name="connsiteY1" fmla="*/ -5175 h 16715"/>
                <a:gd name="connsiteX2" fmla="*/ -38209 w 840955"/>
                <a:gd name="connsiteY2" fmla="*/ 11540 h 16715"/>
                <a:gd name="connsiteX3" fmla="*/ 802746 w 840955"/>
                <a:gd name="connsiteY3" fmla="*/ 11540 h 16715"/>
                <a:gd name="connsiteX4" fmla="*/ 802746 w 840955"/>
                <a:gd name="connsiteY4" fmla="*/ -5175 h 16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955" h="16715">
                  <a:moveTo>
                    <a:pt x="802746" y="-5175"/>
                  </a:moveTo>
                  <a:lnTo>
                    <a:pt x="-38209" y="-5175"/>
                  </a:lnTo>
                  <a:lnTo>
                    <a:pt x="-38209" y="11540"/>
                  </a:lnTo>
                  <a:lnTo>
                    <a:pt x="802746" y="11540"/>
                  </a:lnTo>
                  <a:lnTo>
                    <a:pt x="802746" y="-5175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7" name="Vrije vorm 46">
              <a:extLst>
                <a:ext uri="{FF2B5EF4-FFF2-40B4-BE49-F238E27FC236}">
                  <a16:creationId xmlns:a16="http://schemas.microsoft.com/office/drawing/2014/main" id="{8364EC89-B3FE-26CD-111F-26903CAC2457}"/>
                </a:ext>
              </a:extLst>
            </p:cNvPr>
            <p:cNvSpPr/>
            <p:nvPr/>
          </p:nvSpPr>
          <p:spPr>
            <a:xfrm flipV="1">
              <a:off x="3267842" y="5177802"/>
              <a:ext cx="863466" cy="16715"/>
            </a:xfrm>
            <a:custGeom>
              <a:avLst/>
              <a:gdLst>
                <a:gd name="connsiteX0" fmla="*/ 825257 w 863466"/>
                <a:gd name="connsiteY0" fmla="*/ -2882 h 16715"/>
                <a:gd name="connsiteX1" fmla="*/ -38210 w 863466"/>
                <a:gd name="connsiteY1" fmla="*/ -2882 h 16715"/>
                <a:gd name="connsiteX2" fmla="*/ -38210 w 863466"/>
                <a:gd name="connsiteY2" fmla="*/ 13833 h 16715"/>
                <a:gd name="connsiteX3" fmla="*/ 825257 w 863466"/>
                <a:gd name="connsiteY3" fmla="*/ 13833 h 16715"/>
                <a:gd name="connsiteX4" fmla="*/ 825257 w 863466"/>
                <a:gd name="connsiteY4" fmla="*/ -2882 h 16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3466" h="16715">
                  <a:moveTo>
                    <a:pt x="825257" y="-2882"/>
                  </a:moveTo>
                  <a:lnTo>
                    <a:pt x="-38210" y="-2882"/>
                  </a:lnTo>
                  <a:lnTo>
                    <a:pt x="-38210" y="13833"/>
                  </a:lnTo>
                  <a:lnTo>
                    <a:pt x="825257" y="13833"/>
                  </a:lnTo>
                  <a:lnTo>
                    <a:pt x="825257" y="-2882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8" name="Vrije vorm 47">
              <a:extLst>
                <a:ext uri="{FF2B5EF4-FFF2-40B4-BE49-F238E27FC236}">
                  <a16:creationId xmlns:a16="http://schemas.microsoft.com/office/drawing/2014/main" id="{73052AD7-142F-2354-0607-14C261C43302}"/>
                </a:ext>
              </a:extLst>
            </p:cNvPr>
            <p:cNvSpPr/>
            <p:nvPr/>
          </p:nvSpPr>
          <p:spPr>
            <a:xfrm flipV="1">
              <a:off x="2744270" y="4362481"/>
              <a:ext cx="395378" cy="423500"/>
            </a:xfrm>
            <a:custGeom>
              <a:avLst/>
              <a:gdLst>
                <a:gd name="connsiteX0" fmla="*/ 318468 w 395378"/>
                <a:gd name="connsiteY0" fmla="*/ -7982 h 423500"/>
                <a:gd name="connsiteX1" fmla="*/ 316673 w 395378"/>
                <a:gd name="connsiteY1" fmla="*/ -7982 h 423500"/>
                <a:gd name="connsiteX2" fmla="*/ 98677 w 395378"/>
                <a:gd name="connsiteY2" fmla="*/ 24211 h 423500"/>
                <a:gd name="connsiteX3" fmla="*/ 97072 w 395378"/>
                <a:gd name="connsiteY3" fmla="*/ 24810 h 423500"/>
                <a:gd name="connsiteX4" fmla="*/ 117325 w 395378"/>
                <a:gd name="connsiteY4" fmla="*/ 192886 h 423500"/>
                <a:gd name="connsiteX5" fmla="*/ 108511 w 395378"/>
                <a:gd name="connsiteY5" fmla="*/ 228520 h 423500"/>
                <a:gd name="connsiteX6" fmla="*/ 112714 w 395378"/>
                <a:gd name="connsiteY6" fmla="*/ 229567 h 423500"/>
                <a:gd name="connsiteX7" fmla="*/ 121732 w 395378"/>
                <a:gd name="connsiteY7" fmla="*/ 193158 h 423500"/>
                <a:gd name="connsiteX8" fmla="*/ 101792 w 395378"/>
                <a:gd name="connsiteY8" fmla="*/ 27720 h 423500"/>
                <a:gd name="connsiteX9" fmla="*/ 314877 w 395378"/>
                <a:gd name="connsiteY9" fmla="*/ -3629 h 423500"/>
                <a:gd name="connsiteX10" fmla="*/ 357586 w 395378"/>
                <a:gd name="connsiteY10" fmla="*/ 294442 h 423500"/>
                <a:gd name="connsiteX11" fmla="*/ 357586 w 395378"/>
                <a:gd name="connsiteY11" fmla="*/ 294864 h 423500"/>
                <a:gd name="connsiteX12" fmla="*/ 303955 w 395378"/>
                <a:gd name="connsiteY12" fmla="*/ 387267 h 423500"/>
                <a:gd name="connsiteX13" fmla="*/ -32376 w 395378"/>
                <a:gd name="connsiteY13" fmla="*/ 393033 h 423500"/>
                <a:gd name="connsiteX14" fmla="*/ -33382 w 395378"/>
                <a:gd name="connsiteY14" fmla="*/ 397249 h 423500"/>
                <a:gd name="connsiteX15" fmla="*/ 305410 w 395378"/>
                <a:gd name="connsiteY15" fmla="*/ 391347 h 423500"/>
                <a:gd name="connsiteX16" fmla="*/ 361926 w 395378"/>
                <a:gd name="connsiteY16" fmla="*/ 294796 h 423500"/>
                <a:gd name="connsiteX17" fmla="*/ 361926 w 395378"/>
                <a:gd name="connsiteY17" fmla="*/ 294374 h 423500"/>
                <a:gd name="connsiteX18" fmla="*/ 318808 w 395378"/>
                <a:gd name="connsiteY18" fmla="*/ -6213 h 423500"/>
                <a:gd name="connsiteX19" fmla="*/ 318468 w 395378"/>
                <a:gd name="connsiteY19" fmla="*/ -7982 h 42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95378" h="423500">
                  <a:moveTo>
                    <a:pt x="318468" y="-7982"/>
                  </a:moveTo>
                  <a:lnTo>
                    <a:pt x="316673" y="-7982"/>
                  </a:lnTo>
                  <a:cubicBezTo>
                    <a:pt x="186136" y="-7696"/>
                    <a:pt x="99534" y="23898"/>
                    <a:pt x="98677" y="24211"/>
                  </a:cubicBezTo>
                  <a:lnTo>
                    <a:pt x="97072" y="24810"/>
                  </a:lnTo>
                  <a:lnTo>
                    <a:pt x="117325" y="192886"/>
                  </a:lnTo>
                  <a:lnTo>
                    <a:pt x="108511" y="228520"/>
                  </a:lnTo>
                  <a:lnTo>
                    <a:pt x="112714" y="229567"/>
                  </a:lnTo>
                  <a:lnTo>
                    <a:pt x="121732" y="193158"/>
                  </a:lnTo>
                  <a:lnTo>
                    <a:pt x="101792" y="27720"/>
                  </a:lnTo>
                  <a:cubicBezTo>
                    <a:pt x="114102" y="23463"/>
                    <a:pt x="195875" y="-3113"/>
                    <a:pt x="314877" y="-3629"/>
                  </a:cubicBezTo>
                  <a:cubicBezTo>
                    <a:pt x="318862" y="17288"/>
                    <a:pt x="356512" y="216633"/>
                    <a:pt x="357586" y="294442"/>
                  </a:cubicBezTo>
                  <a:lnTo>
                    <a:pt x="357586" y="294864"/>
                  </a:lnTo>
                  <a:cubicBezTo>
                    <a:pt x="357967" y="322106"/>
                    <a:pt x="358579" y="367709"/>
                    <a:pt x="303955" y="387267"/>
                  </a:cubicBezTo>
                  <a:cubicBezTo>
                    <a:pt x="248147" y="407246"/>
                    <a:pt x="107491" y="426477"/>
                    <a:pt x="-32376" y="393033"/>
                  </a:cubicBezTo>
                  <a:lnTo>
                    <a:pt x="-33382" y="397249"/>
                  </a:lnTo>
                  <a:cubicBezTo>
                    <a:pt x="107396" y="430911"/>
                    <a:pt x="249140" y="411489"/>
                    <a:pt x="305410" y="391347"/>
                  </a:cubicBezTo>
                  <a:cubicBezTo>
                    <a:pt x="362973" y="370755"/>
                    <a:pt x="362320" y="323208"/>
                    <a:pt x="361926" y="294796"/>
                  </a:cubicBezTo>
                  <a:lnTo>
                    <a:pt x="361926" y="294374"/>
                  </a:lnTo>
                  <a:cubicBezTo>
                    <a:pt x="360797" y="212254"/>
                    <a:pt x="319216" y="-4037"/>
                    <a:pt x="318808" y="-6213"/>
                  </a:cubicBezTo>
                  <a:lnTo>
                    <a:pt x="318468" y="-7982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9" name="Vrije vorm 48">
              <a:extLst>
                <a:ext uri="{FF2B5EF4-FFF2-40B4-BE49-F238E27FC236}">
                  <a16:creationId xmlns:a16="http://schemas.microsoft.com/office/drawing/2014/main" id="{7F59840C-6D36-BEC6-B65C-378E94335717}"/>
                </a:ext>
              </a:extLst>
            </p:cNvPr>
            <p:cNvSpPr/>
            <p:nvPr/>
          </p:nvSpPr>
          <p:spPr>
            <a:xfrm flipV="1">
              <a:off x="2646011" y="4584202"/>
              <a:ext cx="253196" cy="292509"/>
            </a:xfrm>
            <a:custGeom>
              <a:avLst/>
              <a:gdLst>
                <a:gd name="connsiteX0" fmla="*/ -32086 w 253196"/>
                <a:gd name="connsiteY0" fmla="*/ -6680 h 292509"/>
                <a:gd name="connsiteX1" fmla="*/ -32303 w 253196"/>
                <a:gd name="connsiteY1" fmla="*/ -2341 h 292509"/>
                <a:gd name="connsiteX2" fmla="*/ 96478 w 253196"/>
                <a:gd name="connsiteY2" fmla="*/ 43126 h 292509"/>
                <a:gd name="connsiteX3" fmla="*/ 216840 w 253196"/>
                <a:gd name="connsiteY3" fmla="*/ 285829 h 292509"/>
                <a:gd name="connsiteX4" fmla="*/ 220893 w 253196"/>
                <a:gd name="connsiteY4" fmla="*/ 284279 h 292509"/>
                <a:gd name="connsiteX5" fmla="*/ 99457 w 253196"/>
                <a:gd name="connsiteY5" fmla="*/ 39970 h 292509"/>
                <a:gd name="connsiteX6" fmla="*/ -32086 w 253196"/>
                <a:gd name="connsiteY6" fmla="*/ -6680 h 292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196" h="292509">
                  <a:moveTo>
                    <a:pt x="-32086" y="-6680"/>
                  </a:moveTo>
                  <a:lnTo>
                    <a:pt x="-32303" y="-2341"/>
                  </a:lnTo>
                  <a:cubicBezTo>
                    <a:pt x="-31460" y="-2300"/>
                    <a:pt x="53252" y="2419"/>
                    <a:pt x="96478" y="43126"/>
                  </a:cubicBezTo>
                  <a:cubicBezTo>
                    <a:pt x="139935" y="84064"/>
                    <a:pt x="216078" y="283816"/>
                    <a:pt x="216840" y="285829"/>
                  </a:cubicBezTo>
                  <a:lnTo>
                    <a:pt x="220893" y="284279"/>
                  </a:lnTo>
                  <a:cubicBezTo>
                    <a:pt x="217765" y="276023"/>
                    <a:pt x="143636" y="81588"/>
                    <a:pt x="99457" y="39970"/>
                  </a:cubicBezTo>
                  <a:cubicBezTo>
                    <a:pt x="55060" y="-1852"/>
                    <a:pt x="-28549" y="-6503"/>
                    <a:pt x="-32086" y="-6680"/>
                  </a:cubicBez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0" name="Vrije vorm 49">
              <a:extLst>
                <a:ext uri="{FF2B5EF4-FFF2-40B4-BE49-F238E27FC236}">
                  <a16:creationId xmlns:a16="http://schemas.microsoft.com/office/drawing/2014/main" id="{47131564-BC25-63CF-AC60-538CE98AE44F}"/>
                </a:ext>
              </a:extLst>
            </p:cNvPr>
            <p:cNvSpPr/>
            <p:nvPr/>
          </p:nvSpPr>
          <p:spPr>
            <a:xfrm flipV="1">
              <a:off x="2337536" y="4711463"/>
              <a:ext cx="40832" cy="54035"/>
            </a:xfrm>
            <a:custGeom>
              <a:avLst/>
              <a:gdLst>
                <a:gd name="connsiteX0" fmla="*/ -27036 w 40832"/>
                <a:gd name="connsiteY0" fmla="*/ -6613 h 54035"/>
                <a:gd name="connsiteX1" fmla="*/ -29661 w 40832"/>
                <a:gd name="connsiteY1" fmla="*/ -4682 h 54035"/>
                <a:gd name="connsiteX2" fmla="*/ 8547 w 40832"/>
                <a:gd name="connsiteY2" fmla="*/ 47422 h 54035"/>
                <a:gd name="connsiteX3" fmla="*/ 11171 w 40832"/>
                <a:gd name="connsiteY3" fmla="*/ 45505 h 54035"/>
                <a:gd name="connsiteX4" fmla="*/ -27036 w 40832"/>
                <a:gd name="connsiteY4" fmla="*/ -6613 h 54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32" h="54035">
                  <a:moveTo>
                    <a:pt x="-27036" y="-6613"/>
                  </a:moveTo>
                  <a:lnTo>
                    <a:pt x="-29661" y="-4682"/>
                  </a:lnTo>
                  <a:lnTo>
                    <a:pt x="8547" y="47422"/>
                  </a:lnTo>
                  <a:lnTo>
                    <a:pt x="11171" y="45505"/>
                  </a:lnTo>
                  <a:lnTo>
                    <a:pt x="-27036" y="-6613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1" name="Vrije vorm 50">
              <a:extLst>
                <a:ext uri="{FF2B5EF4-FFF2-40B4-BE49-F238E27FC236}">
                  <a16:creationId xmlns:a16="http://schemas.microsoft.com/office/drawing/2014/main" id="{61F48BA2-46E7-2F4F-688F-141B95943D50}"/>
                </a:ext>
              </a:extLst>
            </p:cNvPr>
            <p:cNvSpPr/>
            <p:nvPr/>
          </p:nvSpPr>
          <p:spPr>
            <a:xfrm flipV="1">
              <a:off x="2337455" y="4751449"/>
              <a:ext cx="28508" cy="44814"/>
            </a:xfrm>
            <a:custGeom>
              <a:avLst/>
              <a:gdLst>
                <a:gd name="connsiteX0" fmla="*/ -26820 w 28508"/>
                <a:gd name="connsiteY0" fmla="*/ -6318 h 44814"/>
                <a:gd name="connsiteX1" fmla="*/ -29621 w 28508"/>
                <a:gd name="connsiteY1" fmla="*/ -4645 h 44814"/>
                <a:gd name="connsiteX2" fmla="*/ -3914 w 28508"/>
                <a:gd name="connsiteY2" fmla="*/ 38496 h 44814"/>
                <a:gd name="connsiteX3" fmla="*/ -1112 w 28508"/>
                <a:gd name="connsiteY3" fmla="*/ 36837 h 44814"/>
                <a:gd name="connsiteX4" fmla="*/ -26820 w 28508"/>
                <a:gd name="connsiteY4" fmla="*/ -6318 h 4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08" h="44814">
                  <a:moveTo>
                    <a:pt x="-26820" y="-6318"/>
                  </a:moveTo>
                  <a:lnTo>
                    <a:pt x="-29621" y="-4645"/>
                  </a:lnTo>
                  <a:lnTo>
                    <a:pt x="-3914" y="38496"/>
                  </a:lnTo>
                  <a:lnTo>
                    <a:pt x="-1112" y="36837"/>
                  </a:lnTo>
                  <a:lnTo>
                    <a:pt x="-26820" y="-6318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2" name="Vrije vorm 51">
              <a:extLst>
                <a:ext uri="{FF2B5EF4-FFF2-40B4-BE49-F238E27FC236}">
                  <a16:creationId xmlns:a16="http://schemas.microsoft.com/office/drawing/2014/main" id="{9B630591-8928-768C-53B0-3270518905E4}"/>
                </a:ext>
              </a:extLst>
            </p:cNvPr>
            <p:cNvSpPr/>
            <p:nvPr/>
          </p:nvSpPr>
          <p:spPr>
            <a:xfrm flipV="1">
              <a:off x="2292785" y="4817684"/>
              <a:ext cx="542724" cy="244321"/>
            </a:xfrm>
            <a:custGeom>
              <a:avLst/>
              <a:gdLst>
                <a:gd name="connsiteX0" fmla="*/ 333880 w 542724"/>
                <a:gd name="connsiteY0" fmla="*/ -4935 h 244321"/>
                <a:gd name="connsiteX1" fmla="*/ 52732 w 542724"/>
                <a:gd name="connsiteY1" fmla="*/ 14732 h 244321"/>
                <a:gd name="connsiteX2" fmla="*/ -29763 w 542724"/>
                <a:gd name="connsiteY2" fmla="*/ 139273 h 244321"/>
                <a:gd name="connsiteX3" fmla="*/ -24526 w 542724"/>
                <a:gd name="connsiteY3" fmla="*/ 239387 h 244321"/>
                <a:gd name="connsiteX4" fmla="*/ -20269 w 542724"/>
                <a:gd name="connsiteY4" fmla="*/ 238517 h 244321"/>
                <a:gd name="connsiteX5" fmla="*/ -25438 w 542724"/>
                <a:gd name="connsiteY5" fmla="*/ 139558 h 244321"/>
                <a:gd name="connsiteX6" fmla="*/ 53860 w 542724"/>
                <a:gd name="connsiteY6" fmla="*/ 18921 h 244321"/>
                <a:gd name="connsiteX7" fmla="*/ 511573 w 542724"/>
                <a:gd name="connsiteY7" fmla="*/ 2817 h 244321"/>
                <a:gd name="connsiteX8" fmla="*/ 511750 w 542724"/>
                <a:gd name="connsiteY8" fmla="*/ -1508 h 244321"/>
                <a:gd name="connsiteX9" fmla="*/ 333880 w 542724"/>
                <a:gd name="connsiteY9" fmla="*/ -4935 h 244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2724" h="244321">
                  <a:moveTo>
                    <a:pt x="333880" y="-4935"/>
                  </a:moveTo>
                  <a:cubicBezTo>
                    <a:pt x="231404" y="-4935"/>
                    <a:pt x="111587" y="-1100"/>
                    <a:pt x="52732" y="14732"/>
                  </a:cubicBezTo>
                  <a:cubicBezTo>
                    <a:pt x="4840" y="27598"/>
                    <a:pt x="-23697" y="70671"/>
                    <a:pt x="-29763" y="139273"/>
                  </a:cubicBezTo>
                  <a:cubicBezTo>
                    <a:pt x="-34306" y="190669"/>
                    <a:pt x="-24622" y="238911"/>
                    <a:pt x="-24526" y="239387"/>
                  </a:cubicBezTo>
                  <a:lnTo>
                    <a:pt x="-20269" y="238517"/>
                  </a:lnTo>
                  <a:cubicBezTo>
                    <a:pt x="-20364" y="238041"/>
                    <a:pt x="-29940" y="190343"/>
                    <a:pt x="-25438" y="139558"/>
                  </a:cubicBezTo>
                  <a:cubicBezTo>
                    <a:pt x="-19439" y="72031"/>
                    <a:pt x="7247" y="31447"/>
                    <a:pt x="53860" y="18921"/>
                  </a:cubicBezTo>
                  <a:cubicBezTo>
                    <a:pt x="167014" y="-11490"/>
                    <a:pt x="508132" y="2681"/>
                    <a:pt x="511573" y="2817"/>
                  </a:cubicBezTo>
                  <a:lnTo>
                    <a:pt x="511750" y="-1508"/>
                  </a:lnTo>
                  <a:cubicBezTo>
                    <a:pt x="510091" y="-1589"/>
                    <a:pt x="429541" y="-4935"/>
                    <a:pt x="333880" y="-4935"/>
                  </a:cubicBez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3" name="Vrije vorm 52">
              <a:extLst>
                <a:ext uri="{FF2B5EF4-FFF2-40B4-BE49-F238E27FC236}">
                  <a16:creationId xmlns:a16="http://schemas.microsoft.com/office/drawing/2014/main" id="{F63D443C-2AD8-E1F5-CDEB-A248B4159ADC}"/>
                </a:ext>
              </a:extLst>
            </p:cNvPr>
            <p:cNvSpPr/>
            <p:nvPr/>
          </p:nvSpPr>
          <p:spPr>
            <a:xfrm flipV="1">
              <a:off x="3120467" y="4445258"/>
              <a:ext cx="6118" cy="38829"/>
            </a:xfrm>
            <a:custGeom>
              <a:avLst/>
              <a:gdLst>
                <a:gd name="connsiteX0" fmla="*/ -29738 w 6118"/>
                <a:gd name="connsiteY0" fmla="*/ -8895 h 38829"/>
                <a:gd name="connsiteX1" fmla="*/ -32934 w 6118"/>
                <a:gd name="connsiteY1" fmla="*/ -8269 h 38829"/>
                <a:gd name="connsiteX2" fmla="*/ -34539 w 6118"/>
                <a:gd name="connsiteY2" fmla="*/ 29092 h 38829"/>
                <a:gd name="connsiteX3" fmla="*/ -31397 w 6118"/>
                <a:gd name="connsiteY3" fmla="*/ 29935 h 38829"/>
                <a:gd name="connsiteX4" fmla="*/ -29738 w 6118"/>
                <a:gd name="connsiteY4" fmla="*/ -8895 h 38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8" h="38829">
                  <a:moveTo>
                    <a:pt x="-29738" y="-8895"/>
                  </a:moveTo>
                  <a:lnTo>
                    <a:pt x="-32934" y="-8269"/>
                  </a:lnTo>
                  <a:cubicBezTo>
                    <a:pt x="-29425" y="9562"/>
                    <a:pt x="-34485" y="28902"/>
                    <a:pt x="-34539" y="29092"/>
                  </a:cubicBezTo>
                  <a:lnTo>
                    <a:pt x="-31397" y="29935"/>
                  </a:lnTo>
                  <a:cubicBezTo>
                    <a:pt x="-31180" y="29119"/>
                    <a:pt x="-26079" y="9684"/>
                    <a:pt x="-29738" y="-8895"/>
                  </a:cubicBez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4" name="Vrije vorm 53">
              <a:extLst>
                <a:ext uri="{FF2B5EF4-FFF2-40B4-BE49-F238E27FC236}">
                  <a16:creationId xmlns:a16="http://schemas.microsoft.com/office/drawing/2014/main" id="{6D9CF88F-A35E-BF07-2D7B-2D72F53A887F}"/>
                </a:ext>
              </a:extLst>
            </p:cNvPr>
            <p:cNvSpPr/>
            <p:nvPr/>
          </p:nvSpPr>
          <p:spPr>
            <a:xfrm flipV="1">
              <a:off x="3108715" y="4452439"/>
              <a:ext cx="6119" cy="38829"/>
            </a:xfrm>
            <a:custGeom>
              <a:avLst/>
              <a:gdLst>
                <a:gd name="connsiteX0" fmla="*/ -29663 w 6119"/>
                <a:gd name="connsiteY0" fmla="*/ -8835 h 38829"/>
                <a:gd name="connsiteX1" fmla="*/ -32859 w 6119"/>
                <a:gd name="connsiteY1" fmla="*/ -8209 h 38829"/>
                <a:gd name="connsiteX2" fmla="*/ -34464 w 6119"/>
                <a:gd name="connsiteY2" fmla="*/ 29152 h 38829"/>
                <a:gd name="connsiteX3" fmla="*/ -31322 w 6119"/>
                <a:gd name="connsiteY3" fmla="*/ 29995 h 38829"/>
                <a:gd name="connsiteX4" fmla="*/ -29663 w 6119"/>
                <a:gd name="connsiteY4" fmla="*/ -8835 h 38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9" h="38829">
                  <a:moveTo>
                    <a:pt x="-29663" y="-8835"/>
                  </a:moveTo>
                  <a:lnTo>
                    <a:pt x="-32859" y="-8209"/>
                  </a:lnTo>
                  <a:cubicBezTo>
                    <a:pt x="-29350" y="9649"/>
                    <a:pt x="-34409" y="28962"/>
                    <a:pt x="-34464" y="29152"/>
                  </a:cubicBezTo>
                  <a:lnTo>
                    <a:pt x="-31322" y="29995"/>
                  </a:lnTo>
                  <a:cubicBezTo>
                    <a:pt x="-31104" y="29179"/>
                    <a:pt x="-26004" y="9744"/>
                    <a:pt x="-29663" y="-8835"/>
                  </a:cubicBez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5" name="Vrije vorm 54">
              <a:extLst>
                <a:ext uri="{FF2B5EF4-FFF2-40B4-BE49-F238E27FC236}">
                  <a16:creationId xmlns:a16="http://schemas.microsoft.com/office/drawing/2014/main" id="{98F2337F-3B90-AAF8-3246-EA4057D61EAA}"/>
                </a:ext>
              </a:extLst>
            </p:cNvPr>
            <p:cNvSpPr/>
            <p:nvPr/>
          </p:nvSpPr>
          <p:spPr>
            <a:xfrm flipV="1">
              <a:off x="4566683" y="5015101"/>
              <a:ext cx="181832" cy="401487"/>
            </a:xfrm>
            <a:custGeom>
              <a:avLst/>
              <a:gdLst>
                <a:gd name="connsiteX0" fmla="*/ 137518 w 181832"/>
                <a:gd name="connsiteY0" fmla="*/ 276831 h 401487"/>
                <a:gd name="connsiteX1" fmla="*/ 69972 w 181832"/>
                <a:gd name="connsiteY1" fmla="*/ 395184 h 401487"/>
                <a:gd name="connsiteX2" fmla="*/ -39713 w 181832"/>
                <a:gd name="connsiteY2" fmla="*/ 173969 h 401487"/>
                <a:gd name="connsiteX3" fmla="*/ -44051 w 181832"/>
                <a:gd name="connsiteY3" fmla="*/ -2635 h 401487"/>
                <a:gd name="connsiteX4" fmla="*/ 22257 w 181832"/>
                <a:gd name="connsiteY4" fmla="*/ 30823 h 401487"/>
                <a:gd name="connsiteX5" fmla="*/ 137518 w 181832"/>
                <a:gd name="connsiteY5" fmla="*/ 276831 h 40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832" h="401487">
                  <a:moveTo>
                    <a:pt x="137518" y="276831"/>
                  </a:moveTo>
                  <a:cubicBezTo>
                    <a:pt x="137518" y="276831"/>
                    <a:pt x="126977" y="423677"/>
                    <a:pt x="69972" y="395184"/>
                  </a:cubicBezTo>
                  <a:cubicBezTo>
                    <a:pt x="12953" y="366677"/>
                    <a:pt x="-33524" y="179546"/>
                    <a:pt x="-39713" y="173969"/>
                  </a:cubicBezTo>
                  <a:cubicBezTo>
                    <a:pt x="-45915" y="168393"/>
                    <a:pt x="-44051" y="-2635"/>
                    <a:pt x="-44051" y="-2635"/>
                  </a:cubicBezTo>
                  <a:lnTo>
                    <a:pt x="22257" y="30823"/>
                  </a:lnTo>
                  <a:cubicBezTo>
                    <a:pt x="22257" y="30823"/>
                    <a:pt x="39899" y="439603"/>
                    <a:pt x="137518" y="276831"/>
                  </a:cubicBezTo>
                </a:path>
              </a:pathLst>
            </a:custGeom>
            <a:solidFill>
              <a:srgbClr val="258D8C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6" name="Vrije vorm 55">
              <a:extLst>
                <a:ext uri="{FF2B5EF4-FFF2-40B4-BE49-F238E27FC236}">
                  <a16:creationId xmlns:a16="http://schemas.microsoft.com/office/drawing/2014/main" id="{D0FC4A2F-6B32-A693-F14E-CB80C9AB4AE3}"/>
                </a:ext>
              </a:extLst>
            </p:cNvPr>
            <p:cNvSpPr/>
            <p:nvPr/>
          </p:nvSpPr>
          <p:spPr>
            <a:xfrm flipV="1">
              <a:off x="4515199" y="4833066"/>
              <a:ext cx="169414" cy="563896"/>
            </a:xfrm>
            <a:custGeom>
              <a:avLst/>
              <a:gdLst>
                <a:gd name="connsiteX0" fmla="*/ 125468 w 169414"/>
                <a:gd name="connsiteY0" fmla="*/ 560421 h 563896"/>
                <a:gd name="connsiteX1" fmla="*/ -37127 w 169414"/>
                <a:gd name="connsiteY1" fmla="*/ 250163 h 563896"/>
                <a:gd name="connsiteX2" fmla="*/ 38159 w 169414"/>
                <a:gd name="connsiteY2" fmla="*/ -3475 h 563896"/>
                <a:gd name="connsiteX3" fmla="*/ 125468 w 169414"/>
                <a:gd name="connsiteY3" fmla="*/ 560421 h 563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414" h="563896">
                  <a:moveTo>
                    <a:pt x="125468" y="560421"/>
                  </a:moveTo>
                  <a:cubicBezTo>
                    <a:pt x="125468" y="560421"/>
                    <a:pt x="-2266" y="446121"/>
                    <a:pt x="-37127" y="250163"/>
                  </a:cubicBezTo>
                  <a:cubicBezTo>
                    <a:pt x="-71988" y="54205"/>
                    <a:pt x="38159" y="-3475"/>
                    <a:pt x="38159" y="-3475"/>
                  </a:cubicBezTo>
                  <a:cubicBezTo>
                    <a:pt x="38159" y="-3475"/>
                    <a:pt x="53842" y="408570"/>
                    <a:pt x="125468" y="560421"/>
                  </a:cubicBezTo>
                </a:path>
              </a:pathLst>
            </a:custGeom>
            <a:solidFill>
              <a:srgbClr val="7FC6A6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7" name="Vrije vorm 56">
              <a:extLst>
                <a:ext uri="{FF2B5EF4-FFF2-40B4-BE49-F238E27FC236}">
                  <a16:creationId xmlns:a16="http://schemas.microsoft.com/office/drawing/2014/main" id="{3F50E538-5EA5-57B6-2E03-0F07109F0C07}"/>
                </a:ext>
              </a:extLst>
            </p:cNvPr>
            <p:cNvSpPr/>
            <p:nvPr/>
          </p:nvSpPr>
          <p:spPr>
            <a:xfrm flipV="1">
              <a:off x="4318454" y="4825382"/>
              <a:ext cx="264456" cy="659782"/>
            </a:xfrm>
            <a:custGeom>
              <a:avLst/>
              <a:gdLst>
                <a:gd name="connsiteX0" fmla="*/ 86208 w 264456"/>
                <a:gd name="connsiteY0" fmla="*/ 58623 h 659782"/>
                <a:gd name="connsiteX1" fmla="*/ -42995 w 264456"/>
                <a:gd name="connsiteY1" fmla="*/ 656643 h 659782"/>
                <a:gd name="connsiteX2" fmla="*/ 209073 w 264456"/>
                <a:gd name="connsiteY2" fmla="*/ 247318 h 659782"/>
                <a:gd name="connsiteX3" fmla="*/ 217370 w 264456"/>
                <a:gd name="connsiteY3" fmla="*/ 194221 h 659782"/>
                <a:gd name="connsiteX4" fmla="*/ 221396 w 264456"/>
                <a:gd name="connsiteY4" fmla="*/ 142743 h 659782"/>
                <a:gd name="connsiteX5" fmla="*/ 215425 w 264456"/>
                <a:gd name="connsiteY5" fmla="*/ 70455 h 659782"/>
                <a:gd name="connsiteX6" fmla="*/ 86208 w 264456"/>
                <a:gd name="connsiteY6" fmla="*/ 58623 h 659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4456" h="659782">
                  <a:moveTo>
                    <a:pt x="86208" y="58623"/>
                  </a:moveTo>
                  <a:cubicBezTo>
                    <a:pt x="86208" y="58623"/>
                    <a:pt x="64826" y="475782"/>
                    <a:pt x="-42995" y="656643"/>
                  </a:cubicBezTo>
                  <a:cubicBezTo>
                    <a:pt x="-42995" y="656643"/>
                    <a:pt x="146301" y="543717"/>
                    <a:pt x="209073" y="247318"/>
                  </a:cubicBezTo>
                  <a:cubicBezTo>
                    <a:pt x="212595" y="230630"/>
                    <a:pt x="214704" y="212079"/>
                    <a:pt x="217370" y="194221"/>
                  </a:cubicBezTo>
                  <a:cubicBezTo>
                    <a:pt x="220158" y="175629"/>
                    <a:pt x="221817" y="159172"/>
                    <a:pt x="221396" y="142743"/>
                  </a:cubicBezTo>
                  <a:cubicBezTo>
                    <a:pt x="220634" y="113733"/>
                    <a:pt x="216608" y="88789"/>
                    <a:pt x="215425" y="70455"/>
                  </a:cubicBezTo>
                  <a:cubicBezTo>
                    <a:pt x="205209" y="-87924"/>
                    <a:pt x="86208" y="58623"/>
                    <a:pt x="86208" y="58623"/>
                  </a:cubicBezTo>
                </a:path>
              </a:pathLst>
            </a:custGeom>
            <a:solidFill>
              <a:srgbClr val="258D8C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8" name="Vrije vorm 57">
              <a:extLst>
                <a:ext uri="{FF2B5EF4-FFF2-40B4-BE49-F238E27FC236}">
                  <a16:creationId xmlns:a16="http://schemas.microsoft.com/office/drawing/2014/main" id="{D8309CFF-5CBC-D1A7-284F-064CE30526EF}"/>
                </a:ext>
              </a:extLst>
            </p:cNvPr>
            <p:cNvSpPr/>
            <p:nvPr/>
          </p:nvSpPr>
          <p:spPr>
            <a:xfrm flipV="1">
              <a:off x="4241604" y="5034244"/>
              <a:ext cx="233011" cy="400923"/>
            </a:xfrm>
            <a:custGeom>
              <a:avLst/>
              <a:gdLst>
                <a:gd name="connsiteX0" fmla="*/ 167293 w 233011"/>
                <a:gd name="connsiteY0" fmla="*/ 186435 h 400923"/>
                <a:gd name="connsiteX1" fmla="*/ 101080 w 233011"/>
                <a:gd name="connsiteY1" fmla="*/ 350282 h 400923"/>
                <a:gd name="connsiteX2" fmla="*/ 20802 w 233011"/>
                <a:gd name="connsiteY2" fmla="*/ 392226 h 400923"/>
                <a:gd name="connsiteX3" fmla="*/ -42406 w 233011"/>
                <a:gd name="connsiteY3" fmla="*/ 92944 h 400923"/>
                <a:gd name="connsiteX4" fmla="*/ 43109 w 233011"/>
                <a:gd name="connsiteY4" fmla="*/ 259620 h 400923"/>
                <a:gd name="connsiteX5" fmla="*/ 93313 w 233011"/>
                <a:gd name="connsiteY5" fmla="*/ 5574 h 400923"/>
                <a:gd name="connsiteX6" fmla="*/ 190606 w 233011"/>
                <a:gd name="connsiteY6" fmla="*/ -2478 h 400923"/>
                <a:gd name="connsiteX7" fmla="*/ 167293 w 233011"/>
                <a:gd name="connsiteY7" fmla="*/ 186435 h 400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3011" h="400923">
                  <a:moveTo>
                    <a:pt x="167293" y="186435"/>
                  </a:moveTo>
                  <a:cubicBezTo>
                    <a:pt x="159961" y="245911"/>
                    <a:pt x="137383" y="302598"/>
                    <a:pt x="101080" y="350282"/>
                  </a:cubicBezTo>
                  <a:cubicBezTo>
                    <a:pt x="74855" y="384732"/>
                    <a:pt x="44510" y="410914"/>
                    <a:pt x="20802" y="392226"/>
                  </a:cubicBezTo>
                  <a:cubicBezTo>
                    <a:pt x="-31864" y="350717"/>
                    <a:pt x="-42406" y="92944"/>
                    <a:pt x="-42406" y="92944"/>
                  </a:cubicBezTo>
                  <a:cubicBezTo>
                    <a:pt x="-42406" y="92944"/>
                    <a:pt x="17089" y="271398"/>
                    <a:pt x="43109" y="259620"/>
                  </a:cubicBezTo>
                  <a:cubicBezTo>
                    <a:pt x="69143" y="247856"/>
                    <a:pt x="93313" y="5574"/>
                    <a:pt x="93313" y="5574"/>
                  </a:cubicBezTo>
                  <a:lnTo>
                    <a:pt x="190606" y="-2478"/>
                  </a:lnTo>
                  <a:lnTo>
                    <a:pt x="167293" y="186435"/>
                  </a:lnTo>
                </a:path>
              </a:pathLst>
            </a:custGeom>
            <a:solidFill>
              <a:srgbClr val="7FC6A6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59" name="Vrije vorm 58">
              <a:extLst>
                <a:ext uri="{FF2B5EF4-FFF2-40B4-BE49-F238E27FC236}">
                  <a16:creationId xmlns:a16="http://schemas.microsoft.com/office/drawing/2014/main" id="{AB4A6FEE-02C0-B17C-E0A8-63068B093616}"/>
                </a:ext>
              </a:extLst>
            </p:cNvPr>
            <p:cNvSpPr/>
            <p:nvPr/>
          </p:nvSpPr>
          <p:spPr>
            <a:xfrm flipV="1">
              <a:off x="4317584" y="4824063"/>
              <a:ext cx="267204" cy="584773"/>
            </a:xfrm>
            <a:custGeom>
              <a:avLst/>
              <a:gdLst>
                <a:gd name="connsiteX0" fmla="*/ 223433 w 267204"/>
                <a:gd name="connsiteY0" fmla="*/ -3463 h 584773"/>
                <a:gd name="connsiteX1" fmla="*/ 189469 w 267204"/>
                <a:gd name="connsiteY1" fmla="*/ 256350 h 584773"/>
                <a:gd name="connsiteX2" fmla="*/ 97698 w 267204"/>
                <a:gd name="connsiteY2" fmla="*/ 438626 h 584773"/>
                <a:gd name="connsiteX3" fmla="*/ -41271 w 267204"/>
                <a:gd name="connsiteY3" fmla="*/ 581310 h 584773"/>
                <a:gd name="connsiteX4" fmla="*/ -42999 w 267204"/>
                <a:gd name="connsiteY4" fmla="*/ 578685 h 584773"/>
                <a:gd name="connsiteX5" fmla="*/ 95209 w 267204"/>
                <a:gd name="connsiteY5" fmla="*/ 436694 h 584773"/>
                <a:gd name="connsiteX6" fmla="*/ 220277 w 267204"/>
                <a:gd name="connsiteY6" fmla="*/ -3327 h 584773"/>
                <a:gd name="connsiteX7" fmla="*/ 223433 w 267204"/>
                <a:gd name="connsiteY7" fmla="*/ -3463 h 58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7204" h="584773">
                  <a:moveTo>
                    <a:pt x="223433" y="-3463"/>
                  </a:moveTo>
                  <a:cubicBezTo>
                    <a:pt x="227418" y="87607"/>
                    <a:pt x="215993" y="175018"/>
                    <a:pt x="189469" y="256350"/>
                  </a:cubicBezTo>
                  <a:cubicBezTo>
                    <a:pt x="168250" y="321415"/>
                    <a:pt x="137374" y="382741"/>
                    <a:pt x="97698" y="438626"/>
                  </a:cubicBezTo>
                  <a:cubicBezTo>
                    <a:pt x="30125" y="533816"/>
                    <a:pt x="-40564" y="580847"/>
                    <a:pt x="-41271" y="581310"/>
                  </a:cubicBezTo>
                  <a:lnTo>
                    <a:pt x="-42999" y="578685"/>
                  </a:lnTo>
                  <a:cubicBezTo>
                    <a:pt x="-42291" y="578223"/>
                    <a:pt x="27975" y="531436"/>
                    <a:pt x="95209" y="436694"/>
                  </a:cubicBezTo>
                  <a:cubicBezTo>
                    <a:pt x="157233" y="349283"/>
                    <a:pt x="229281" y="201988"/>
                    <a:pt x="220277" y="-3327"/>
                  </a:cubicBezTo>
                  <a:lnTo>
                    <a:pt x="223433" y="-3463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0" name="Vrije vorm 59">
              <a:extLst>
                <a:ext uri="{FF2B5EF4-FFF2-40B4-BE49-F238E27FC236}">
                  <a16:creationId xmlns:a16="http://schemas.microsoft.com/office/drawing/2014/main" id="{1F9B6346-F279-7849-2275-A291FCFE2728}"/>
                </a:ext>
              </a:extLst>
            </p:cNvPr>
            <p:cNvSpPr/>
            <p:nvPr/>
          </p:nvSpPr>
          <p:spPr>
            <a:xfrm flipV="1">
              <a:off x="4595740" y="4832400"/>
              <a:ext cx="90301" cy="564616"/>
            </a:xfrm>
            <a:custGeom>
              <a:avLst/>
              <a:gdLst>
                <a:gd name="connsiteX0" fmla="*/ -41065 w 90301"/>
                <a:gd name="connsiteY0" fmla="*/ -3478 h 564616"/>
                <a:gd name="connsiteX1" fmla="*/ -24281 w 90301"/>
                <a:gd name="connsiteY1" fmla="*/ 221436 h 564616"/>
                <a:gd name="connsiteX2" fmla="*/ 46094 w 90301"/>
                <a:gd name="connsiteY2" fmla="*/ 559793 h 564616"/>
                <a:gd name="connsiteX3" fmla="*/ 43252 w 90301"/>
                <a:gd name="connsiteY3" fmla="*/ 561139 h 564616"/>
                <a:gd name="connsiteX4" fmla="*/ -27409 w 90301"/>
                <a:gd name="connsiteY4" fmla="*/ 221749 h 564616"/>
                <a:gd name="connsiteX5" fmla="*/ -44207 w 90301"/>
                <a:gd name="connsiteY5" fmla="*/ -3355 h 564616"/>
                <a:gd name="connsiteX6" fmla="*/ -41065 w 90301"/>
                <a:gd name="connsiteY6" fmla="*/ -3478 h 564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301" h="564616">
                  <a:moveTo>
                    <a:pt x="-41065" y="-3478"/>
                  </a:moveTo>
                  <a:cubicBezTo>
                    <a:pt x="-41025" y="-2444"/>
                    <a:pt x="-36998" y="100894"/>
                    <a:pt x="-24281" y="221436"/>
                  </a:cubicBezTo>
                  <a:cubicBezTo>
                    <a:pt x="-12542" y="332608"/>
                    <a:pt x="9193" y="481562"/>
                    <a:pt x="46094" y="559793"/>
                  </a:cubicBezTo>
                  <a:lnTo>
                    <a:pt x="43252" y="561139"/>
                  </a:lnTo>
                  <a:cubicBezTo>
                    <a:pt x="6146" y="482500"/>
                    <a:pt x="-15657" y="333179"/>
                    <a:pt x="-27409" y="221749"/>
                  </a:cubicBezTo>
                  <a:cubicBezTo>
                    <a:pt x="-40141" y="101098"/>
                    <a:pt x="-44180" y="-2322"/>
                    <a:pt x="-44207" y="-3355"/>
                  </a:cubicBezTo>
                  <a:lnTo>
                    <a:pt x="-41065" y="-3478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1" name="Vrije vorm 60">
              <a:extLst>
                <a:ext uri="{FF2B5EF4-FFF2-40B4-BE49-F238E27FC236}">
                  <a16:creationId xmlns:a16="http://schemas.microsoft.com/office/drawing/2014/main" id="{88A32865-DB46-01FC-0359-84C0754E168C}"/>
                </a:ext>
              </a:extLst>
            </p:cNvPr>
            <p:cNvSpPr/>
            <p:nvPr/>
          </p:nvSpPr>
          <p:spPr>
            <a:xfrm flipV="1">
              <a:off x="4631676" y="5097909"/>
              <a:ext cx="118185" cy="285289"/>
            </a:xfrm>
            <a:custGeom>
              <a:avLst/>
              <a:gdLst>
                <a:gd name="connsiteX0" fmla="*/ -41383 w 118185"/>
                <a:gd name="connsiteY0" fmla="*/ -2429 h 285289"/>
                <a:gd name="connsiteX1" fmla="*/ -28475 w 118185"/>
                <a:gd name="connsiteY1" fmla="*/ 133509 h 285289"/>
                <a:gd name="connsiteX2" fmla="*/ 25783 w 118185"/>
                <a:gd name="connsiteY2" fmla="*/ 279159 h 285289"/>
                <a:gd name="connsiteX3" fmla="*/ 70968 w 118185"/>
                <a:gd name="connsiteY3" fmla="*/ 242831 h 285289"/>
                <a:gd name="connsiteX4" fmla="*/ 73661 w 118185"/>
                <a:gd name="connsiteY4" fmla="*/ 244463 h 285289"/>
                <a:gd name="connsiteX5" fmla="*/ 24994 w 118185"/>
                <a:gd name="connsiteY5" fmla="*/ 282205 h 285289"/>
                <a:gd name="connsiteX6" fmla="*/ -31603 w 118185"/>
                <a:gd name="connsiteY6" fmla="*/ 133931 h 285289"/>
                <a:gd name="connsiteX7" fmla="*/ -44525 w 118185"/>
                <a:gd name="connsiteY7" fmla="*/ -2293 h 285289"/>
                <a:gd name="connsiteX8" fmla="*/ -41383 w 118185"/>
                <a:gd name="connsiteY8" fmla="*/ -2429 h 28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185" h="285289">
                  <a:moveTo>
                    <a:pt x="-41383" y="-2429"/>
                  </a:moveTo>
                  <a:cubicBezTo>
                    <a:pt x="-41342" y="-1763"/>
                    <a:pt x="-38350" y="65424"/>
                    <a:pt x="-28475" y="133509"/>
                  </a:cubicBezTo>
                  <a:cubicBezTo>
                    <a:pt x="-15499" y="223029"/>
                    <a:pt x="3258" y="273392"/>
                    <a:pt x="25783" y="279159"/>
                  </a:cubicBezTo>
                  <a:cubicBezTo>
                    <a:pt x="39071" y="282559"/>
                    <a:pt x="54278" y="270345"/>
                    <a:pt x="70968" y="242831"/>
                  </a:cubicBezTo>
                  <a:lnTo>
                    <a:pt x="73661" y="244463"/>
                  </a:lnTo>
                  <a:cubicBezTo>
                    <a:pt x="56155" y="273297"/>
                    <a:pt x="39792" y="286000"/>
                    <a:pt x="24994" y="282205"/>
                  </a:cubicBezTo>
                  <a:cubicBezTo>
                    <a:pt x="810" y="276003"/>
                    <a:pt x="-18233" y="226116"/>
                    <a:pt x="-31603" y="133931"/>
                  </a:cubicBezTo>
                  <a:cubicBezTo>
                    <a:pt x="-41492" y="65710"/>
                    <a:pt x="-44498" y="-1627"/>
                    <a:pt x="-44525" y="-2293"/>
                  </a:cubicBezTo>
                  <a:lnTo>
                    <a:pt x="-41383" y="-2429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2" name="Vrije vorm 61">
              <a:extLst>
                <a:ext uri="{FF2B5EF4-FFF2-40B4-BE49-F238E27FC236}">
                  <a16:creationId xmlns:a16="http://schemas.microsoft.com/office/drawing/2014/main" id="{98AB56F4-5E16-A075-AB59-A65C72A0B55C}"/>
                </a:ext>
              </a:extLst>
            </p:cNvPr>
            <p:cNvSpPr/>
            <p:nvPr/>
          </p:nvSpPr>
          <p:spPr>
            <a:xfrm flipV="1">
              <a:off x="4240040" y="5032674"/>
              <a:ext cx="236126" cy="402683"/>
            </a:xfrm>
            <a:custGeom>
              <a:avLst/>
              <a:gdLst>
                <a:gd name="connsiteX0" fmla="*/ 190606 w 236126"/>
                <a:gd name="connsiteY0" fmla="*/ -2484 h 402683"/>
                <a:gd name="connsiteX1" fmla="*/ 193721 w 236126"/>
                <a:gd name="connsiteY1" fmla="*/ -2103 h 402683"/>
                <a:gd name="connsiteX2" fmla="*/ 170422 w 236126"/>
                <a:gd name="connsiteY2" fmla="*/ 186810 h 402683"/>
                <a:gd name="connsiteX3" fmla="*/ 103895 w 236126"/>
                <a:gd name="connsiteY3" fmla="*/ 351419 h 402683"/>
                <a:gd name="connsiteX4" fmla="*/ 43585 w 236126"/>
                <a:gd name="connsiteY4" fmla="*/ 399946 h 402683"/>
                <a:gd name="connsiteX5" fmla="*/ 21401 w 236126"/>
                <a:gd name="connsiteY5" fmla="*/ 393649 h 402683"/>
                <a:gd name="connsiteX6" fmla="*/ -30544 w 236126"/>
                <a:gd name="connsiteY6" fmla="*/ 227408 h 402683"/>
                <a:gd name="connsiteX7" fmla="*/ -42405 w 236126"/>
                <a:gd name="connsiteY7" fmla="*/ 93197 h 402683"/>
                <a:gd name="connsiteX8" fmla="*/ -39263 w 236126"/>
                <a:gd name="connsiteY8" fmla="*/ 93061 h 402683"/>
                <a:gd name="connsiteX9" fmla="*/ 23346 w 236126"/>
                <a:gd name="connsiteY9" fmla="*/ 391173 h 402683"/>
                <a:gd name="connsiteX10" fmla="*/ 43177 w 236126"/>
                <a:gd name="connsiteY10" fmla="*/ 396831 h 402683"/>
                <a:gd name="connsiteX11" fmla="*/ 101393 w 236126"/>
                <a:gd name="connsiteY11" fmla="*/ 349515 h 402683"/>
                <a:gd name="connsiteX12" fmla="*/ 167293 w 236126"/>
                <a:gd name="connsiteY12" fmla="*/ 186429 h 402683"/>
                <a:gd name="connsiteX13" fmla="*/ 190606 w 236126"/>
                <a:gd name="connsiteY13" fmla="*/ -2484 h 40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6126" h="402683">
                  <a:moveTo>
                    <a:pt x="190606" y="-2484"/>
                  </a:moveTo>
                  <a:lnTo>
                    <a:pt x="193721" y="-2103"/>
                  </a:lnTo>
                  <a:lnTo>
                    <a:pt x="170422" y="186810"/>
                  </a:lnTo>
                  <a:cubicBezTo>
                    <a:pt x="162981" y="247088"/>
                    <a:pt x="139981" y="304007"/>
                    <a:pt x="103895" y="351419"/>
                  </a:cubicBezTo>
                  <a:cubicBezTo>
                    <a:pt x="81044" y="381435"/>
                    <a:pt x="60751" y="397770"/>
                    <a:pt x="43585" y="399946"/>
                  </a:cubicBezTo>
                  <a:cubicBezTo>
                    <a:pt x="35465" y="400979"/>
                    <a:pt x="28011" y="398858"/>
                    <a:pt x="21401" y="393649"/>
                  </a:cubicBezTo>
                  <a:cubicBezTo>
                    <a:pt x="-784" y="376172"/>
                    <a:pt x="-18262" y="320232"/>
                    <a:pt x="-30544" y="227408"/>
                  </a:cubicBezTo>
                  <a:cubicBezTo>
                    <a:pt x="-39671" y="158507"/>
                    <a:pt x="-42378" y="93836"/>
                    <a:pt x="-42405" y="93197"/>
                  </a:cubicBezTo>
                  <a:lnTo>
                    <a:pt x="-39263" y="93061"/>
                  </a:lnTo>
                  <a:cubicBezTo>
                    <a:pt x="-39154" y="95631"/>
                    <a:pt x="-28164" y="350575"/>
                    <a:pt x="23346" y="391173"/>
                  </a:cubicBezTo>
                  <a:cubicBezTo>
                    <a:pt x="29262" y="395838"/>
                    <a:pt x="35941" y="397742"/>
                    <a:pt x="43177" y="396831"/>
                  </a:cubicBezTo>
                  <a:cubicBezTo>
                    <a:pt x="59485" y="394750"/>
                    <a:pt x="79072" y="378838"/>
                    <a:pt x="101393" y="349515"/>
                  </a:cubicBezTo>
                  <a:cubicBezTo>
                    <a:pt x="137138" y="302552"/>
                    <a:pt x="159934" y="246150"/>
                    <a:pt x="167293" y="186429"/>
                  </a:cubicBezTo>
                  <a:lnTo>
                    <a:pt x="190606" y="-2484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3" name="Vrije vorm 62">
              <a:extLst>
                <a:ext uri="{FF2B5EF4-FFF2-40B4-BE49-F238E27FC236}">
                  <a16:creationId xmlns:a16="http://schemas.microsoft.com/office/drawing/2014/main" id="{9C1D5DCD-3B87-478D-D735-DF5CDE22B5EC}"/>
                </a:ext>
              </a:extLst>
            </p:cNvPr>
            <p:cNvSpPr/>
            <p:nvPr/>
          </p:nvSpPr>
          <p:spPr>
            <a:xfrm flipV="1">
              <a:off x="4369108" y="5202392"/>
              <a:ext cx="23245" cy="41060"/>
            </a:xfrm>
            <a:custGeom>
              <a:avLst/>
              <a:gdLst>
                <a:gd name="connsiteX0" fmla="*/ -22106 w 23245"/>
                <a:gd name="connsiteY0" fmla="*/ -2576 h 41060"/>
                <a:gd name="connsiteX1" fmla="*/ -19304 w 23245"/>
                <a:gd name="connsiteY1" fmla="*/ -1134 h 41060"/>
                <a:gd name="connsiteX2" fmla="*/ -39761 w 23245"/>
                <a:gd name="connsiteY2" fmla="*/ 38484 h 41060"/>
                <a:gd name="connsiteX3" fmla="*/ -42550 w 23245"/>
                <a:gd name="connsiteY3" fmla="*/ 37043 h 41060"/>
                <a:gd name="connsiteX4" fmla="*/ -22106 w 23245"/>
                <a:gd name="connsiteY4" fmla="*/ -2576 h 4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45" h="41060">
                  <a:moveTo>
                    <a:pt x="-22106" y="-2576"/>
                  </a:moveTo>
                  <a:lnTo>
                    <a:pt x="-19304" y="-1134"/>
                  </a:lnTo>
                  <a:lnTo>
                    <a:pt x="-39761" y="38484"/>
                  </a:lnTo>
                  <a:lnTo>
                    <a:pt x="-42550" y="37043"/>
                  </a:lnTo>
                  <a:lnTo>
                    <a:pt x="-22106" y="-2576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4" name="Vrije vorm 63">
              <a:extLst>
                <a:ext uri="{FF2B5EF4-FFF2-40B4-BE49-F238E27FC236}">
                  <a16:creationId xmlns:a16="http://schemas.microsoft.com/office/drawing/2014/main" id="{1F8A9471-53CE-3041-2748-6D94C347417E}"/>
                </a:ext>
              </a:extLst>
            </p:cNvPr>
            <p:cNvSpPr/>
            <p:nvPr/>
          </p:nvSpPr>
          <p:spPr>
            <a:xfrm flipV="1">
              <a:off x="4369121" y="5229117"/>
              <a:ext cx="23204" cy="38612"/>
            </a:xfrm>
            <a:custGeom>
              <a:avLst/>
              <a:gdLst>
                <a:gd name="connsiteX0" fmla="*/ -22092 w 23204"/>
                <a:gd name="connsiteY0" fmla="*/ -2364 h 38612"/>
                <a:gd name="connsiteX1" fmla="*/ -19345 w 23204"/>
                <a:gd name="connsiteY1" fmla="*/ -854 h 38612"/>
                <a:gd name="connsiteX2" fmla="*/ -39788 w 23204"/>
                <a:gd name="connsiteY2" fmla="*/ 36249 h 38612"/>
                <a:gd name="connsiteX3" fmla="*/ -42550 w 23204"/>
                <a:gd name="connsiteY3" fmla="*/ 34739 h 38612"/>
                <a:gd name="connsiteX4" fmla="*/ -22092 w 23204"/>
                <a:gd name="connsiteY4" fmla="*/ -2364 h 38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04" h="38612">
                  <a:moveTo>
                    <a:pt x="-22092" y="-2364"/>
                  </a:moveTo>
                  <a:lnTo>
                    <a:pt x="-19345" y="-854"/>
                  </a:lnTo>
                  <a:lnTo>
                    <a:pt x="-39788" y="36249"/>
                  </a:lnTo>
                  <a:lnTo>
                    <a:pt x="-42550" y="34739"/>
                  </a:lnTo>
                  <a:lnTo>
                    <a:pt x="-22092" y="-2364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5" name="Vrije vorm 64">
              <a:extLst>
                <a:ext uri="{FF2B5EF4-FFF2-40B4-BE49-F238E27FC236}">
                  <a16:creationId xmlns:a16="http://schemas.microsoft.com/office/drawing/2014/main" id="{E21746FD-37E6-A066-9E2C-2BBB0546AF2C}"/>
                </a:ext>
              </a:extLst>
            </p:cNvPr>
            <p:cNvSpPr/>
            <p:nvPr/>
          </p:nvSpPr>
          <p:spPr>
            <a:xfrm flipV="1">
              <a:off x="4581009" y="4966135"/>
              <a:ext cx="20334" cy="39659"/>
            </a:xfrm>
            <a:custGeom>
              <a:avLst/>
              <a:gdLst>
                <a:gd name="connsiteX0" fmla="*/ -41034 w 20334"/>
                <a:gd name="connsiteY0" fmla="*/ -4551 h 39659"/>
                <a:gd name="connsiteX1" fmla="*/ -23556 w 20334"/>
                <a:gd name="connsiteY1" fmla="*/ 33803 h 39659"/>
                <a:gd name="connsiteX2" fmla="*/ -26426 w 20334"/>
                <a:gd name="connsiteY2" fmla="*/ 35109 h 39659"/>
                <a:gd name="connsiteX3" fmla="*/ -43891 w 20334"/>
                <a:gd name="connsiteY3" fmla="*/ -3245 h 39659"/>
                <a:gd name="connsiteX4" fmla="*/ -41034 w 20334"/>
                <a:gd name="connsiteY4" fmla="*/ -4551 h 39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34" h="39659">
                  <a:moveTo>
                    <a:pt x="-41034" y="-4551"/>
                  </a:moveTo>
                  <a:lnTo>
                    <a:pt x="-23556" y="33803"/>
                  </a:lnTo>
                  <a:lnTo>
                    <a:pt x="-26426" y="35109"/>
                  </a:lnTo>
                  <a:lnTo>
                    <a:pt x="-43891" y="-3245"/>
                  </a:lnTo>
                  <a:lnTo>
                    <a:pt x="-41034" y="-4551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6" name="Vrije vorm 65">
              <a:extLst>
                <a:ext uri="{FF2B5EF4-FFF2-40B4-BE49-F238E27FC236}">
                  <a16:creationId xmlns:a16="http://schemas.microsoft.com/office/drawing/2014/main" id="{A8831A97-7185-FECE-47ED-171E9723311A}"/>
                </a:ext>
              </a:extLst>
            </p:cNvPr>
            <p:cNvSpPr/>
            <p:nvPr/>
          </p:nvSpPr>
          <p:spPr>
            <a:xfrm flipV="1">
              <a:off x="4581064" y="4996138"/>
              <a:ext cx="17627" cy="28357"/>
            </a:xfrm>
            <a:custGeom>
              <a:avLst/>
              <a:gdLst>
                <a:gd name="connsiteX0" fmla="*/ -41135 w 17627"/>
                <a:gd name="connsiteY0" fmla="*/ -4348 h 28357"/>
                <a:gd name="connsiteX1" fmla="*/ -26255 w 17627"/>
                <a:gd name="connsiteY1" fmla="*/ 22486 h 28357"/>
                <a:gd name="connsiteX2" fmla="*/ -29016 w 17627"/>
                <a:gd name="connsiteY2" fmla="*/ 24010 h 28357"/>
                <a:gd name="connsiteX3" fmla="*/ -43882 w 17627"/>
                <a:gd name="connsiteY3" fmla="*/ -2824 h 28357"/>
                <a:gd name="connsiteX4" fmla="*/ -41135 w 17627"/>
                <a:gd name="connsiteY4" fmla="*/ -4348 h 2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27" h="28357">
                  <a:moveTo>
                    <a:pt x="-41135" y="-4348"/>
                  </a:moveTo>
                  <a:lnTo>
                    <a:pt x="-26255" y="22486"/>
                  </a:lnTo>
                  <a:lnTo>
                    <a:pt x="-29016" y="24010"/>
                  </a:lnTo>
                  <a:lnTo>
                    <a:pt x="-43882" y="-2824"/>
                  </a:lnTo>
                  <a:lnTo>
                    <a:pt x="-41135" y="-4348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7" name="Vrije vorm 66">
              <a:extLst>
                <a:ext uri="{FF2B5EF4-FFF2-40B4-BE49-F238E27FC236}">
                  <a16:creationId xmlns:a16="http://schemas.microsoft.com/office/drawing/2014/main" id="{C6C09863-5700-5CC4-4A9C-35245D9ECB5A}"/>
                </a:ext>
              </a:extLst>
            </p:cNvPr>
            <p:cNvSpPr/>
            <p:nvPr/>
          </p:nvSpPr>
          <p:spPr>
            <a:xfrm flipV="1">
              <a:off x="4666306" y="5032846"/>
              <a:ext cx="31175" cy="17966"/>
            </a:xfrm>
            <a:custGeom>
              <a:avLst/>
              <a:gdLst>
                <a:gd name="connsiteX0" fmla="*/ -43040 w 31175"/>
                <a:gd name="connsiteY0" fmla="*/ -4085 h 17966"/>
                <a:gd name="connsiteX1" fmla="*/ -13293 w 31175"/>
                <a:gd name="connsiteY1" fmla="*/ 11080 h 17966"/>
                <a:gd name="connsiteX2" fmla="*/ -14722 w 31175"/>
                <a:gd name="connsiteY2" fmla="*/ 13881 h 17966"/>
                <a:gd name="connsiteX3" fmla="*/ -44469 w 31175"/>
                <a:gd name="connsiteY3" fmla="*/ -1270 h 17966"/>
                <a:gd name="connsiteX4" fmla="*/ -43040 w 31175"/>
                <a:gd name="connsiteY4" fmla="*/ -4085 h 17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75" h="17966">
                  <a:moveTo>
                    <a:pt x="-43040" y="-4085"/>
                  </a:moveTo>
                  <a:lnTo>
                    <a:pt x="-13293" y="11080"/>
                  </a:lnTo>
                  <a:lnTo>
                    <a:pt x="-14722" y="13881"/>
                  </a:lnTo>
                  <a:lnTo>
                    <a:pt x="-44469" y="-1270"/>
                  </a:lnTo>
                  <a:lnTo>
                    <a:pt x="-43040" y="-4085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8" name="Vrije vorm 67">
              <a:extLst>
                <a:ext uri="{FF2B5EF4-FFF2-40B4-BE49-F238E27FC236}">
                  <a16:creationId xmlns:a16="http://schemas.microsoft.com/office/drawing/2014/main" id="{7FE3056F-378B-DD06-E130-B3DCE0203C62}"/>
                </a:ext>
              </a:extLst>
            </p:cNvPr>
            <p:cNvSpPr/>
            <p:nvPr/>
          </p:nvSpPr>
          <p:spPr>
            <a:xfrm flipV="1">
              <a:off x="4666211" y="5050269"/>
              <a:ext cx="19232" cy="13396"/>
            </a:xfrm>
            <a:custGeom>
              <a:avLst/>
              <a:gdLst>
                <a:gd name="connsiteX0" fmla="*/ -42798 w 19232"/>
                <a:gd name="connsiteY0" fmla="*/ -3959 h 13396"/>
                <a:gd name="connsiteX1" fmla="*/ -25197 w 19232"/>
                <a:gd name="connsiteY1" fmla="*/ 6745 h 13396"/>
                <a:gd name="connsiteX2" fmla="*/ -26843 w 19232"/>
                <a:gd name="connsiteY2" fmla="*/ 9438 h 13396"/>
                <a:gd name="connsiteX3" fmla="*/ -44430 w 19232"/>
                <a:gd name="connsiteY3" fmla="*/ -1266 h 13396"/>
                <a:gd name="connsiteX4" fmla="*/ -42798 w 19232"/>
                <a:gd name="connsiteY4" fmla="*/ -3959 h 13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32" h="13396">
                  <a:moveTo>
                    <a:pt x="-42798" y="-3959"/>
                  </a:moveTo>
                  <a:lnTo>
                    <a:pt x="-25197" y="6745"/>
                  </a:lnTo>
                  <a:lnTo>
                    <a:pt x="-26843" y="9438"/>
                  </a:lnTo>
                  <a:lnTo>
                    <a:pt x="-44430" y="-1266"/>
                  </a:lnTo>
                  <a:lnTo>
                    <a:pt x="-42798" y="-3959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69" name="Vrije vorm 68">
              <a:extLst>
                <a:ext uri="{FF2B5EF4-FFF2-40B4-BE49-F238E27FC236}">
                  <a16:creationId xmlns:a16="http://schemas.microsoft.com/office/drawing/2014/main" id="{2B3AACE8-8265-C2DC-C1B6-D8AB5EFBC868}"/>
                </a:ext>
              </a:extLst>
            </p:cNvPr>
            <p:cNvSpPr/>
            <p:nvPr/>
          </p:nvSpPr>
          <p:spPr>
            <a:xfrm flipV="1">
              <a:off x="4353738" y="5363760"/>
              <a:ext cx="313289" cy="306712"/>
            </a:xfrm>
            <a:custGeom>
              <a:avLst/>
              <a:gdLst>
                <a:gd name="connsiteX0" fmla="*/ 269913 w 313289"/>
                <a:gd name="connsiteY0" fmla="*/ 297826 h 306712"/>
                <a:gd name="connsiteX1" fmla="*/ 182672 w 313289"/>
                <a:gd name="connsiteY1" fmla="*/ -1 h 306712"/>
                <a:gd name="connsiteX2" fmla="*/ 118430 w 313289"/>
                <a:gd name="connsiteY2" fmla="*/ -1 h 306712"/>
                <a:gd name="connsiteX3" fmla="*/ 108107 w 313289"/>
                <a:gd name="connsiteY3" fmla="*/ -1 h 306712"/>
                <a:gd name="connsiteX4" fmla="*/ 43879 w 313289"/>
                <a:gd name="connsiteY4" fmla="*/ -1 h 306712"/>
                <a:gd name="connsiteX5" fmla="*/ -43376 w 313289"/>
                <a:gd name="connsiteY5" fmla="*/ 297826 h 306712"/>
                <a:gd name="connsiteX6" fmla="*/ 269913 w 313289"/>
                <a:gd name="connsiteY6" fmla="*/ 297826 h 30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3289" h="306712">
                  <a:moveTo>
                    <a:pt x="269913" y="297826"/>
                  </a:moveTo>
                  <a:cubicBezTo>
                    <a:pt x="269913" y="297826"/>
                    <a:pt x="264364" y="-7141"/>
                    <a:pt x="182672" y="-1"/>
                  </a:cubicBezTo>
                  <a:lnTo>
                    <a:pt x="118430" y="-1"/>
                  </a:lnTo>
                  <a:lnTo>
                    <a:pt x="108107" y="-1"/>
                  </a:lnTo>
                  <a:lnTo>
                    <a:pt x="43879" y="-1"/>
                  </a:lnTo>
                  <a:cubicBezTo>
                    <a:pt x="-37813" y="-7141"/>
                    <a:pt x="-43376" y="297826"/>
                    <a:pt x="-43376" y="297826"/>
                  </a:cubicBezTo>
                  <a:cubicBezTo>
                    <a:pt x="33936" y="309509"/>
                    <a:pt x="192601" y="309509"/>
                    <a:pt x="269913" y="297826"/>
                  </a:cubicBezTo>
                </a:path>
              </a:pathLst>
            </a:custGeom>
            <a:solidFill>
              <a:srgbClr val="F7555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0" name="Vrije vorm 69">
              <a:extLst>
                <a:ext uri="{FF2B5EF4-FFF2-40B4-BE49-F238E27FC236}">
                  <a16:creationId xmlns:a16="http://schemas.microsoft.com/office/drawing/2014/main" id="{2EBF46BF-1D05-C2A1-BADF-409F59DF7F8C}"/>
                </a:ext>
              </a:extLst>
            </p:cNvPr>
            <p:cNvSpPr/>
            <p:nvPr/>
          </p:nvSpPr>
          <p:spPr>
            <a:xfrm flipV="1">
              <a:off x="4384192" y="5411570"/>
              <a:ext cx="91566" cy="96414"/>
            </a:xfrm>
            <a:custGeom>
              <a:avLst/>
              <a:gdLst>
                <a:gd name="connsiteX0" fmla="*/ 46405 w 91566"/>
                <a:gd name="connsiteY0" fmla="*/ -602 h 96414"/>
                <a:gd name="connsiteX1" fmla="*/ 48703 w 91566"/>
                <a:gd name="connsiteY1" fmla="*/ 1560 h 96414"/>
                <a:gd name="connsiteX2" fmla="*/ -40578 w 91566"/>
                <a:gd name="connsiteY2" fmla="*/ 95813 h 96414"/>
                <a:gd name="connsiteX3" fmla="*/ -42863 w 91566"/>
                <a:gd name="connsiteY3" fmla="*/ 93650 h 96414"/>
                <a:gd name="connsiteX4" fmla="*/ 46405 w 91566"/>
                <a:gd name="connsiteY4" fmla="*/ -602 h 96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66" h="96414">
                  <a:moveTo>
                    <a:pt x="46405" y="-602"/>
                  </a:moveTo>
                  <a:lnTo>
                    <a:pt x="48703" y="1560"/>
                  </a:lnTo>
                  <a:lnTo>
                    <a:pt x="-40578" y="95813"/>
                  </a:lnTo>
                  <a:lnTo>
                    <a:pt x="-42863" y="93650"/>
                  </a:lnTo>
                  <a:lnTo>
                    <a:pt x="46405" y="-602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1" name="Vrije vorm 70">
              <a:extLst>
                <a:ext uri="{FF2B5EF4-FFF2-40B4-BE49-F238E27FC236}">
                  <a16:creationId xmlns:a16="http://schemas.microsoft.com/office/drawing/2014/main" id="{879FA1CD-91EF-B6BC-1B48-E0F2FE99E936}"/>
                </a:ext>
              </a:extLst>
            </p:cNvPr>
            <p:cNvSpPr/>
            <p:nvPr/>
          </p:nvSpPr>
          <p:spPr>
            <a:xfrm flipV="1">
              <a:off x="4410362" y="5472283"/>
              <a:ext cx="51509" cy="58577"/>
            </a:xfrm>
            <a:custGeom>
              <a:avLst/>
              <a:gdLst>
                <a:gd name="connsiteX0" fmla="*/ 6240 w 51509"/>
                <a:gd name="connsiteY0" fmla="*/ -254 h 58577"/>
                <a:gd name="connsiteX1" fmla="*/ 8607 w 51509"/>
                <a:gd name="connsiteY1" fmla="*/ 1813 h 58577"/>
                <a:gd name="connsiteX2" fmla="*/ -40536 w 51509"/>
                <a:gd name="connsiteY2" fmla="*/ 58324 h 58577"/>
                <a:gd name="connsiteX3" fmla="*/ -42903 w 51509"/>
                <a:gd name="connsiteY3" fmla="*/ 56257 h 58577"/>
                <a:gd name="connsiteX4" fmla="*/ 6240 w 51509"/>
                <a:gd name="connsiteY4" fmla="*/ -254 h 5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509" h="58577">
                  <a:moveTo>
                    <a:pt x="6240" y="-254"/>
                  </a:moveTo>
                  <a:lnTo>
                    <a:pt x="8607" y="1813"/>
                  </a:lnTo>
                  <a:lnTo>
                    <a:pt x="-40536" y="58324"/>
                  </a:lnTo>
                  <a:lnTo>
                    <a:pt x="-42903" y="56257"/>
                  </a:lnTo>
                  <a:lnTo>
                    <a:pt x="6240" y="-254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2" name="Vrije vorm 71">
              <a:extLst>
                <a:ext uri="{FF2B5EF4-FFF2-40B4-BE49-F238E27FC236}">
                  <a16:creationId xmlns:a16="http://schemas.microsoft.com/office/drawing/2014/main" id="{A86C74FE-338D-1624-8A1D-3CD4E98F5CAC}"/>
                </a:ext>
              </a:extLst>
            </p:cNvPr>
            <p:cNvSpPr/>
            <p:nvPr/>
          </p:nvSpPr>
          <p:spPr>
            <a:xfrm flipV="1">
              <a:off x="3157232" y="4588486"/>
              <a:ext cx="1082807" cy="27582"/>
            </a:xfrm>
            <a:custGeom>
              <a:avLst/>
              <a:gdLst>
                <a:gd name="connsiteX0" fmla="*/ 1035954 w 1082807"/>
                <a:gd name="connsiteY0" fmla="*/ -7748 h 27582"/>
                <a:gd name="connsiteX1" fmla="*/ -29566 w 1082807"/>
                <a:gd name="connsiteY1" fmla="*/ -7748 h 27582"/>
                <a:gd name="connsiteX2" fmla="*/ -38204 w 1082807"/>
                <a:gd name="connsiteY2" fmla="*/ 902 h 27582"/>
                <a:gd name="connsiteX3" fmla="*/ -38204 w 1082807"/>
                <a:gd name="connsiteY3" fmla="*/ 11184 h 27582"/>
                <a:gd name="connsiteX4" fmla="*/ -29566 w 1082807"/>
                <a:gd name="connsiteY4" fmla="*/ 19834 h 27582"/>
                <a:gd name="connsiteX5" fmla="*/ 1035954 w 1082807"/>
                <a:gd name="connsiteY5" fmla="*/ 19834 h 27582"/>
                <a:gd name="connsiteX6" fmla="*/ 1044604 w 1082807"/>
                <a:gd name="connsiteY6" fmla="*/ 11184 h 27582"/>
                <a:gd name="connsiteX7" fmla="*/ 1044604 w 1082807"/>
                <a:gd name="connsiteY7" fmla="*/ 902 h 27582"/>
                <a:gd name="connsiteX8" fmla="*/ 1035954 w 1082807"/>
                <a:gd name="connsiteY8" fmla="*/ -7748 h 27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2807" h="27582">
                  <a:moveTo>
                    <a:pt x="1035954" y="-7748"/>
                  </a:moveTo>
                  <a:lnTo>
                    <a:pt x="-29566" y="-7748"/>
                  </a:lnTo>
                  <a:cubicBezTo>
                    <a:pt x="-34341" y="-7748"/>
                    <a:pt x="-38204" y="-3872"/>
                    <a:pt x="-38204" y="902"/>
                  </a:cubicBezTo>
                  <a:lnTo>
                    <a:pt x="-38204" y="11184"/>
                  </a:lnTo>
                  <a:cubicBezTo>
                    <a:pt x="-38204" y="15958"/>
                    <a:pt x="-34341" y="19834"/>
                    <a:pt x="-29566" y="19834"/>
                  </a:cubicBezTo>
                  <a:lnTo>
                    <a:pt x="1035954" y="19834"/>
                  </a:lnTo>
                  <a:cubicBezTo>
                    <a:pt x="1040728" y="19834"/>
                    <a:pt x="1044604" y="15958"/>
                    <a:pt x="1044604" y="11184"/>
                  </a:cubicBezTo>
                  <a:lnTo>
                    <a:pt x="1044604" y="902"/>
                  </a:lnTo>
                  <a:cubicBezTo>
                    <a:pt x="1044604" y="-3872"/>
                    <a:pt x="1040728" y="-7748"/>
                    <a:pt x="1035954" y="-7748"/>
                  </a:cubicBezTo>
                </a:path>
              </a:pathLst>
            </a:custGeom>
            <a:solidFill>
              <a:srgbClr val="258D8C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3" name="Vrije vorm 72">
              <a:extLst>
                <a:ext uri="{FF2B5EF4-FFF2-40B4-BE49-F238E27FC236}">
                  <a16:creationId xmlns:a16="http://schemas.microsoft.com/office/drawing/2014/main" id="{3A7259C8-AD1C-082B-FB0F-C33169652DCF}"/>
                </a:ext>
              </a:extLst>
            </p:cNvPr>
            <p:cNvSpPr/>
            <p:nvPr/>
          </p:nvSpPr>
          <p:spPr>
            <a:xfrm flipV="1">
              <a:off x="3668508" y="5460246"/>
              <a:ext cx="392315" cy="208334"/>
            </a:xfrm>
            <a:custGeom>
              <a:avLst/>
              <a:gdLst>
                <a:gd name="connsiteX0" fmla="*/ -39261 w 392315"/>
                <a:gd name="connsiteY0" fmla="*/ 270 h 208334"/>
                <a:gd name="connsiteX1" fmla="*/ 353054 w 392315"/>
                <a:gd name="connsiteY1" fmla="*/ 270 h 208334"/>
                <a:gd name="connsiteX2" fmla="*/ 353054 w 392315"/>
                <a:gd name="connsiteY2" fmla="*/ 208604 h 208334"/>
                <a:gd name="connsiteX3" fmla="*/ -39261 w 392315"/>
                <a:gd name="connsiteY3" fmla="*/ 208604 h 208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2315" h="208334">
                  <a:moveTo>
                    <a:pt x="-39261" y="270"/>
                  </a:moveTo>
                  <a:lnTo>
                    <a:pt x="353054" y="270"/>
                  </a:lnTo>
                  <a:lnTo>
                    <a:pt x="353054" y="208604"/>
                  </a:lnTo>
                  <a:lnTo>
                    <a:pt x="-39261" y="208604"/>
                  </a:lnTo>
                  <a:close/>
                </a:path>
              </a:pathLst>
            </a:custGeom>
            <a:solidFill>
              <a:srgbClr val="FEC786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4" name="Vrije vorm 73">
              <a:extLst>
                <a:ext uri="{FF2B5EF4-FFF2-40B4-BE49-F238E27FC236}">
                  <a16:creationId xmlns:a16="http://schemas.microsoft.com/office/drawing/2014/main" id="{4C93DED9-3E22-C49C-8E21-E589F8618904}"/>
                </a:ext>
              </a:extLst>
            </p:cNvPr>
            <p:cNvSpPr/>
            <p:nvPr/>
          </p:nvSpPr>
          <p:spPr>
            <a:xfrm flipV="1">
              <a:off x="3935293" y="5498287"/>
              <a:ext cx="125530" cy="170293"/>
            </a:xfrm>
            <a:custGeom>
              <a:avLst/>
              <a:gdLst>
                <a:gd name="connsiteX0" fmla="*/ -40111 w 125530"/>
                <a:gd name="connsiteY0" fmla="*/ 428 h 170293"/>
                <a:gd name="connsiteX1" fmla="*/ 85419 w 125530"/>
                <a:gd name="connsiteY1" fmla="*/ 428 h 170293"/>
                <a:gd name="connsiteX2" fmla="*/ 85419 w 125530"/>
                <a:gd name="connsiteY2" fmla="*/ 170722 h 170293"/>
                <a:gd name="connsiteX3" fmla="*/ -40111 w 125530"/>
                <a:gd name="connsiteY3" fmla="*/ 170722 h 170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5530" h="170293">
                  <a:moveTo>
                    <a:pt x="-40111" y="428"/>
                  </a:moveTo>
                  <a:lnTo>
                    <a:pt x="85419" y="428"/>
                  </a:lnTo>
                  <a:lnTo>
                    <a:pt x="85419" y="170722"/>
                  </a:lnTo>
                  <a:lnTo>
                    <a:pt x="-40111" y="170722"/>
                  </a:lnTo>
                  <a:close/>
                </a:path>
              </a:pathLst>
            </a:custGeom>
            <a:solidFill>
              <a:srgbClr val="FEBA7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5" name="Vrije vorm 74">
              <a:extLst>
                <a:ext uri="{FF2B5EF4-FFF2-40B4-BE49-F238E27FC236}">
                  <a16:creationId xmlns:a16="http://schemas.microsoft.com/office/drawing/2014/main" id="{ECAF7B87-1762-6BEE-39CE-8DA6C101B14C}"/>
                </a:ext>
              </a:extLst>
            </p:cNvPr>
            <p:cNvSpPr/>
            <p:nvPr/>
          </p:nvSpPr>
          <p:spPr>
            <a:xfrm flipV="1">
              <a:off x="3648541" y="5460246"/>
              <a:ext cx="432250" cy="36422"/>
            </a:xfrm>
            <a:custGeom>
              <a:avLst/>
              <a:gdLst>
                <a:gd name="connsiteX0" fmla="*/ -39261 w 432250"/>
                <a:gd name="connsiteY0" fmla="*/ -447 h 36422"/>
                <a:gd name="connsiteX1" fmla="*/ 392989 w 432250"/>
                <a:gd name="connsiteY1" fmla="*/ -447 h 36422"/>
                <a:gd name="connsiteX2" fmla="*/ 392989 w 432250"/>
                <a:gd name="connsiteY2" fmla="*/ 35976 h 36422"/>
                <a:gd name="connsiteX3" fmla="*/ -39261 w 432250"/>
                <a:gd name="connsiteY3" fmla="*/ 35976 h 36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250" h="36422">
                  <a:moveTo>
                    <a:pt x="-39261" y="-447"/>
                  </a:moveTo>
                  <a:lnTo>
                    <a:pt x="392989" y="-447"/>
                  </a:lnTo>
                  <a:lnTo>
                    <a:pt x="392989" y="35976"/>
                  </a:lnTo>
                  <a:lnTo>
                    <a:pt x="-39261" y="35976"/>
                  </a:lnTo>
                  <a:close/>
                </a:path>
              </a:pathLst>
            </a:custGeom>
            <a:solidFill>
              <a:srgbClr val="F9B87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6" name="Vrije vorm 75">
              <a:extLst>
                <a:ext uri="{FF2B5EF4-FFF2-40B4-BE49-F238E27FC236}">
                  <a16:creationId xmlns:a16="http://schemas.microsoft.com/office/drawing/2014/main" id="{00016354-061B-A379-A7AE-014E2023AAFD}"/>
                </a:ext>
              </a:extLst>
            </p:cNvPr>
            <p:cNvSpPr/>
            <p:nvPr/>
          </p:nvSpPr>
          <p:spPr>
            <a:xfrm flipV="1">
              <a:off x="3648541" y="5458628"/>
              <a:ext cx="433868" cy="39659"/>
            </a:xfrm>
            <a:custGeom>
              <a:avLst/>
              <a:gdLst>
                <a:gd name="connsiteX0" fmla="*/ 394602 w 433868"/>
                <a:gd name="connsiteY0" fmla="*/ -447 h 39659"/>
                <a:gd name="connsiteX1" fmla="*/ -39267 w 433868"/>
                <a:gd name="connsiteY1" fmla="*/ -447 h 39659"/>
                <a:gd name="connsiteX2" fmla="*/ -39267 w 433868"/>
                <a:gd name="connsiteY2" fmla="*/ 2804 h 39659"/>
                <a:gd name="connsiteX3" fmla="*/ 391352 w 433868"/>
                <a:gd name="connsiteY3" fmla="*/ 2804 h 39659"/>
                <a:gd name="connsiteX4" fmla="*/ 391352 w 433868"/>
                <a:gd name="connsiteY4" fmla="*/ 35962 h 39659"/>
                <a:gd name="connsiteX5" fmla="*/ 302232 w 433868"/>
                <a:gd name="connsiteY5" fmla="*/ 35962 h 39659"/>
                <a:gd name="connsiteX6" fmla="*/ 302232 w 433868"/>
                <a:gd name="connsiteY6" fmla="*/ 39213 h 39659"/>
                <a:gd name="connsiteX7" fmla="*/ 394602 w 433868"/>
                <a:gd name="connsiteY7" fmla="*/ 39213 h 39659"/>
                <a:gd name="connsiteX8" fmla="*/ 394602 w 433868"/>
                <a:gd name="connsiteY8" fmla="*/ -447 h 39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868" h="39659">
                  <a:moveTo>
                    <a:pt x="394602" y="-447"/>
                  </a:moveTo>
                  <a:lnTo>
                    <a:pt x="-39267" y="-447"/>
                  </a:lnTo>
                  <a:lnTo>
                    <a:pt x="-39267" y="2804"/>
                  </a:lnTo>
                  <a:lnTo>
                    <a:pt x="391352" y="2804"/>
                  </a:lnTo>
                  <a:lnTo>
                    <a:pt x="391352" y="35962"/>
                  </a:lnTo>
                  <a:lnTo>
                    <a:pt x="302232" y="35962"/>
                  </a:lnTo>
                  <a:lnTo>
                    <a:pt x="302232" y="39213"/>
                  </a:lnTo>
                  <a:lnTo>
                    <a:pt x="394602" y="39213"/>
                  </a:lnTo>
                  <a:lnTo>
                    <a:pt x="394602" y="-447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7" name="Vrije vorm 76">
              <a:extLst>
                <a:ext uri="{FF2B5EF4-FFF2-40B4-BE49-F238E27FC236}">
                  <a16:creationId xmlns:a16="http://schemas.microsoft.com/office/drawing/2014/main" id="{D924AE32-C3BB-0D40-5CA3-E5F5BE0D4129}"/>
                </a:ext>
              </a:extLst>
            </p:cNvPr>
            <p:cNvSpPr/>
            <p:nvPr/>
          </p:nvSpPr>
          <p:spPr>
            <a:xfrm flipV="1">
              <a:off x="3935293" y="5460246"/>
              <a:ext cx="143866" cy="34790"/>
            </a:xfrm>
            <a:custGeom>
              <a:avLst/>
              <a:gdLst>
                <a:gd name="connsiteX0" fmla="*/ 103696 w 143866"/>
                <a:gd name="connsiteY0" fmla="*/ -454 h 34790"/>
                <a:gd name="connsiteX1" fmla="*/ -40170 w 143866"/>
                <a:gd name="connsiteY1" fmla="*/ -454 h 34790"/>
                <a:gd name="connsiteX2" fmla="*/ -40170 w 143866"/>
                <a:gd name="connsiteY2" fmla="*/ 34337 h 34790"/>
                <a:gd name="connsiteX3" fmla="*/ 14577 w 143866"/>
                <a:gd name="connsiteY3" fmla="*/ 34337 h 34790"/>
                <a:gd name="connsiteX4" fmla="*/ 14577 w 143866"/>
                <a:gd name="connsiteY4" fmla="*/ 32705 h 34790"/>
                <a:gd name="connsiteX5" fmla="*/ 103696 w 143866"/>
                <a:gd name="connsiteY5" fmla="*/ 32705 h 34790"/>
                <a:gd name="connsiteX6" fmla="*/ 103696 w 143866"/>
                <a:gd name="connsiteY6" fmla="*/ -454 h 3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3866" h="34790">
                  <a:moveTo>
                    <a:pt x="103696" y="-454"/>
                  </a:moveTo>
                  <a:lnTo>
                    <a:pt x="-40170" y="-454"/>
                  </a:lnTo>
                  <a:lnTo>
                    <a:pt x="-40170" y="34337"/>
                  </a:lnTo>
                  <a:lnTo>
                    <a:pt x="14577" y="34337"/>
                  </a:lnTo>
                  <a:lnTo>
                    <a:pt x="14577" y="32705"/>
                  </a:lnTo>
                  <a:lnTo>
                    <a:pt x="103696" y="32705"/>
                  </a:lnTo>
                  <a:lnTo>
                    <a:pt x="103696" y="-454"/>
                  </a:lnTo>
                </a:path>
              </a:pathLst>
            </a:custGeom>
            <a:solidFill>
              <a:srgbClr val="F69E5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8" name="Vrije vorm 77">
              <a:extLst>
                <a:ext uri="{FF2B5EF4-FFF2-40B4-BE49-F238E27FC236}">
                  <a16:creationId xmlns:a16="http://schemas.microsoft.com/office/drawing/2014/main" id="{83AE3D6B-0A43-2DE8-9371-D5AACEFFA2D2}"/>
                </a:ext>
              </a:extLst>
            </p:cNvPr>
            <p:cNvSpPr/>
            <p:nvPr/>
          </p:nvSpPr>
          <p:spPr>
            <a:xfrm flipV="1">
              <a:off x="3935293" y="5460246"/>
              <a:ext cx="145498" cy="36422"/>
            </a:xfrm>
            <a:custGeom>
              <a:avLst/>
              <a:gdLst>
                <a:gd name="connsiteX0" fmla="*/ 105323 w 145498"/>
                <a:gd name="connsiteY0" fmla="*/ -447 h 36422"/>
                <a:gd name="connsiteX1" fmla="*/ -40175 w 145498"/>
                <a:gd name="connsiteY1" fmla="*/ -447 h 36422"/>
                <a:gd name="connsiteX2" fmla="*/ -40175 w 145498"/>
                <a:gd name="connsiteY2" fmla="*/ 1185 h 36422"/>
                <a:gd name="connsiteX3" fmla="*/ 103691 w 145498"/>
                <a:gd name="connsiteY3" fmla="*/ 1185 h 36422"/>
                <a:gd name="connsiteX4" fmla="*/ 103691 w 145498"/>
                <a:gd name="connsiteY4" fmla="*/ 34344 h 36422"/>
                <a:gd name="connsiteX5" fmla="*/ 14572 w 145498"/>
                <a:gd name="connsiteY5" fmla="*/ 34344 h 36422"/>
                <a:gd name="connsiteX6" fmla="*/ 14572 w 145498"/>
                <a:gd name="connsiteY6" fmla="*/ 35976 h 36422"/>
                <a:gd name="connsiteX7" fmla="*/ 54806 w 145498"/>
                <a:gd name="connsiteY7" fmla="*/ 35976 h 36422"/>
                <a:gd name="connsiteX8" fmla="*/ 105323 w 145498"/>
                <a:gd name="connsiteY8" fmla="*/ 35976 h 36422"/>
                <a:gd name="connsiteX9" fmla="*/ 105323 w 145498"/>
                <a:gd name="connsiteY9" fmla="*/ -447 h 36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5498" h="36422">
                  <a:moveTo>
                    <a:pt x="105323" y="-447"/>
                  </a:moveTo>
                  <a:lnTo>
                    <a:pt x="-40175" y="-447"/>
                  </a:lnTo>
                  <a:lnTo>
                    <a:pt x="-40175" y="1185"/>
                  </a:lnTo>
                  <a:lnTo>
                    <a:pt x="103691" y="1185"/>
                  </a:lnTo>
                  <a:lnTo>
                    <a:pt x="103691" y="34344"/>
                  </a:lnTo>
                  <a:lnTo>
                    <a:pt x="14572" y="34344"/>
                  </a:lnTo>
                  <a:lnTo>
                    <a:pt x="14572" y="35976"/>
                  </a:lnTo>
                  <a:lnTo>
                    <a:pt x="54806" y="35976"/>
                  </a:lnTo>
                  <a:lnTo>
                    <a:pt x="105323" y="35976"/>
                  </a:lnTo>
                  <a:lnTo>
                    <a:pt x="105323" y="-447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79" name="Vrije vorm 78">
              <a:extLst>
                <a:ext uri="{FF2B5EF4-FFF2-40B4-BE49-F238E27FC236}">
                  <a16:creationId xmlns:a16="http://schemas.microsoft.com/office/drawing/2014/main" id="{8EAD11AB-364C-7057-CABC-F189AA919569}"/>
                </a:ext>
              </a:extLst>
            </p:cNvPr>
            <p:cNvSpPr/>
            <p:nvPr/>
          </p:nvSpPr>
          <p:spPr>
            <a:xfrm flipV="1">
              <a:off x="3713000" y="5512854"/>
              <a:ext cx="170062" cy="39700"/>
            </a:xfrm>
            <a:custGeom>
              <a:avLst/>
              <a:gdLst>
                <a:gd name="connsiteX0" fmla="*/ -38837 w 170062"/>
                <a:gd name="connsiteY0" fmla="*/ 5 h 39700"/>
                <a:gd name="connsiteX1" fmla="*/ 131225 w 170062"/>
                <a:gd name="connsiteY1" fmla="*/ 5 h 39700"/>
                <a:gd name="connsiteX2" fmla="*/ 131225 w 170062"/>
                <a:gd name="connsiteY2" fmla="*/ 39706 h 39700"/>
                <a:gd name="connsiteX3" fmla="*/ -38837 w 170062"/>
                <a:gd name="connsiteY3" fmla="*/ 39706 h 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062" h="39700">
                  <a:moveTo>
                    <a:pt x="-38837" y="5"/>
                  </a:moveTo>
                  <a:lnTo>
                    <a:pt x="131225" y="5"/>
                  </a:lnTo>
                  <a:lnTo>
                    <a:pt x="131225" y="39706"/>
                  </a:lnTo>
                  <a:lnTo>
                    <a:pt x="-38837" y="39706"/>
                  </a:lnTo>
                  <a:close/>
                </a:path>
              </a:pathLst>
            </a:custGeom>
            <a:solidFill>
              <a:srgbClr val="F8E3C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0" name="Vrije vorm 79">
              <a:extLst>
                <a:ext uri="{FF2B5EF4-FFF2-40B4-BE49-F238E27FC236}">
                  <a16:creationId xmlns:a16="http://schemas.microsoft.com/office/drawing/2014/main" id="{A5438635-1521-AF9B-F88B-D5338F5D44A6}"/>
                </a:ext>
              </a:extLst>
            </p:cNvPr>
            <p:cNvSpPr/>
            <p:nvPr/>
          </p:nvSpPr>
          <p:spPr>
            <a:xfrm flipV="1">
              <a:off x="3713000" y="5615552"/>
              <a:ext cx="170062" cy="3998"/>
            </a:xfrm>
            <a:custGeom>
              <a:avLst/>
              <a:gdLst>
                <a:gd name="connsiteX0" fmla="*/ -38837 w 170062"/>
                <a:gd name="connsiteY0" fmla="*/ 712 h 3998"/>
                <a:gd name="connsiteX1" fmla="*/ 131225 w 170062"/>
                <a:gd name="connsiteY1" fmla="*/ 712 h 3998"/>
                <a:gd name="connsiteX2" fmla="*/ 131225 w 170062"/>
                <a:gd name="connsiteY2" fmla="*/ 4711 h 3998"/>
                <a:gd name="connsiteX3" fmla="*/ -38837 w 170062"/>
                <a:gd name="connsiteY3" fmla="*/ 4711 h 3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062" h="3998">
                  <a:moveTo>
                    <a:pt x="-38837" y="712"/>
                  </a:moveTo>
                  <a:lnTo>
                    <a:pt x="131225" y="712"/>
                  </a:lnTo>
                  <a:lnTo>
                    <a:pt x="131225" y="4711"/>
                  </a:lnTo>
                  <a:lnTo>
                    <a:pt x="-38837" y="4711"/>
                  </a:lnTo>
                  <a:close/>
                </a:path>
              </a:pathLst>
            </a:custGeom>
            <a:solidFill>
              <a:srgbClr val="F8E3C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1" name="Vrije vorm 80">
              <a:extLst>
                <a:ext uri="{FF2B5EF4-FFF2-40B4-BE49-F238E27FC236}">
                  <a16:creationId xmlns:a16="http://schemas.microsoft.com/office/drawing/2014/main" id="{EACD0FDA-5235-CA6A-8D44-D33C620B8127}"/>
                </a:ext>
              </a:extLst>
            </p:cNvPr>
            <p:cNvSpPr/>
            <p:nvPr/>
          </p:nvSpPr>
          <p:spPr>
            <a:xfrm flipV="1">
              <a:off x="3713000" y="5593696"/>
              <a:ext cx="170062" cy="3998"/>
            </a:xfrm>
            <a:custGeom>
              <a:avLst/>
              <a:gdLst>
                <a:gd name="connsiteX0" fmla="*/ -38837 w 170062"/>
                <a:gd name="connsiteY0" fmla="*/ 530 h 3998"/>
                <a:gd name="connsiteX1" fmla="*/ 131225 w 170062"/>
                <a:gd name="connsiteY1" fmla="*/ 530 h 3998"/>
                <a:gd name="connsiteX2" fmla="*/ 131225 w 170062"/>
                <a:gd name="connsiteY2" fmla="*/ 4529 h 3998"/>
                <a:gd name="connsiteX3" fmla="*/ -38837 w 170062"/>
                <a:gd name="connsiteY3" fmla="*/ 4529 h 3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062" h="3998">
                  <a:moveTo>
                    <a:pt x="-38837" y="530"/>
                  </a:moveTo>
                  <a:lnTo>
                    <a:pt x="131225" y="530"/>
                  </a:lnTo>
                  <a:lnTo>
                    <a:pt x="131225" y="4529"/>
                  </a:lnTo>
                  <a:lnTo>
                    <a:pt x="-38837" y="4529"/>
                  </a:lnTo>
                  <a:close/>
                </a:path>
              </a:pathLst>
            </a:custGeom>
            <a:solidFill>
              <a:srgbClr val="F8E3C2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2" name="Vrije vorm 81">
              <a:extLst>
                <a:ext uri="{FF2B5EF4-FFF2-40B4-BE49-F238E27FC236}">
                  <a16:creationId xmlns:a16="http://schemas.microsoft.com/office/drawing/2014/main" id="{4809141F-9BFB-4EC5-A842-2BC8C1E35079}"/>
                </a:ext>
              </a:extLst>
            </p:cNvPr>
            <p:cNvSpPr/>
            <p:nvPr/>
          </p:nvSpPr>
          <p:spPr>
            <a:xfrm flipV="1">
              <a:off x="3668508" y="5496669"/>
              <a:ext cx="393933" cy="173530"/>
            </a:xfrm>
            <a:custGeom>
              <a:avLst/>
              <a:gdLst>
                <a:gd name="connsiteX0" fmla="*/ 354667 w 393933"/>
                <a:gd name="connsiteY0" fmla="*/ 428 h 173530"/>
                <a:gd name="connsiteX1" fmla="*/ -39267 w 393933"/>
                <a:gd name="connsiteY1" fmla="*/ 428 h 173530"/>
                <a:gd name="connsiteX2" fmla="*/ -39267 w 393933"/>
                <a:gd name="connsiteY2" fmla="*/ 3679 h 173530"/>
                <a:gd name="connsiteX3" fmla="*/ 351417 w 393933"/>
                <a:gd name="connsiteY3" fmla="*/ 3679 h 173530"/>
                <a:gd name="connsiteX4" fmla="*/ 351417 w 393933"/>
                <a:gd name="connsiteY4" fmla="*/ 173959 h 173530"/>
                <a:gd name="connsiteX5" fmla="*/ 354667 w 393933"/>
                <a:gd name="connsiteY5" fmla="*/ 173959 h 173530"/>
                <a:gd name="connsiteX6" fmla="*/ 354667 w 393933"/>
                <a:gd name="connsiteY6" fmla="*/ 428 h 173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933" h="173530">
                  <a:moveTo>
                    <a:pt x="354667" y="428"/>
                  </a:moveTo>
                  <a:lnTo>
                    <a:pt x="-39267" y="428"/>
                  </a:lnTo>
                  <a:lnTo>
                    <a:pt x="-39267" y="3679"/>
                  </a:lnTo>
                  <a:lnTo>
                    <a:pt x="351417" y="3679"/>
                  </a:lnTo>
                  <a:lnTo>
                    <a:pt x="351417" y="173959"/>
                  </a:lnTo>
                  <a:lnTo>
                    <a:pt x="354667" y="173959"/>
                  </a:lnTo>
                  <a:lnTo>
                    <a:pt x="354667" y="428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3" name="Vrije vorm 82">
              <a:extLst>
                <a:ext uri="{FF2B5EF4-FFF2-40B4-BE49-F238E27FC236}">
                  <a16:creationId xmlns:a16="http://schemas.microsoft.com/office/drawing/2014/main" id="{39C47EEB-8E08-C5AC-7FF6-EA5C2A72E2B5}"/>
                </a:ext>
              </a:extLst>
            </p:cNvPr>
            <p:cNvSpPr/>
            <p:nvPr/>
          </p:nvSpPr>
          <p:spPr>
            <a:xfrm flipV="1">
              <a:off x="3728370" y="5299936"/>
              <a:ext cx="301904" cy="160310"/>
            </a:xfrm>
            <a:custGeom>
              <a:avLst/>
              <a:gdLst>
                <a:gd name="connsiteX0" fmla="*/ -39355 w 301904"/>
                <a:gd name="connsiteY0" fmla="*/ -1266 h 160310"/>
                <a:gd name="connsiteX1" fmla="*/ 262549 w 301904"/>
                <a:gd name="connsiteY1" fmla="*/ -1266 h 160310"/>
                <a:gd name="connsiteX2" fmla="*/ 262549 w 301904"/>
                <a:gd name="connsiteY2" fmla="*/ 159044 h 160310"/>
                <a:gd name="connsiteX3" fmla="*/ -39355 w 301904"/>
                <a:gd name="connsiteY3" fmla="*/ 159044 h 1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904" h="160310">
                  <a:moveTo>
                    <a:pt x="-39355" y="-1266"/>
                  </a:moveTo>
                  <a:lnTo>
                    <a:pt x="262549" y="-1266"/>
                  </a:lnTo>
                  <a:lnTo>
                    <a:pt x="262549" y="159044"/>
                  </a:lnTo>
                  <a:lnTo>
                    <a:pt x="-39355" y="159044"/>
                  </a:lnTo>
                  <a:close/>
                </a:path>
              </a:pathLst>
            </a:custGeom>
            <a:solidFill>
              <a:srgbClr val="4CB7D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4" name="Vrije vorm 83">
              <a:extLst>
                <a:ext uri="{FF2B5EF4-FFF2-40B4-BE49-F238E27FC236}">
                  <a16:creationId xmlns:a16="http://schemas.microsoft.com/office/drawing/2014/main" id="{E1993766-3552-FAAC-4891-E35ABB270F59}"/>
                </a:ext>
              </a:extLst>
            </p:cNvPr>
            <p:cNvSpPr/>
            <p:nvPr/>
          </p:nvSpPr>
          <p:spPr>
            <a:xfrm flipV="1">
              <a:off x="3728370" y="5329585"/>
              <a:ext cx="96599" cy="130661"/>
            </a:xfrm>
            <a:custGeom>
              <a:avLst/>
              <a:gdLst>
                <a:gd name="connsiteX0" fmla="*/ -38701 w 96599"/>
                <a:gd name="connsiteY0" fmla="*/ -1143 h 130661"/>
                <a:gd name="connsiteX1" fmla="*/ 57899 w 96599"/>
                <a:gd name="connsiteY1" fmla="*/ -1143 h 130661"/>
                <a:gd name="connsiteX2" fmla="*/ 57899 w 96599"/>
                <a:gd name="connsiteY2" fmla="*/ 129518 h 130661"/>
                <a:gd name="connsiteX3" fmla="*/ -38701 w 96599"/>
                <a:gd name="connsiteY3" fmla="*/ 129518 h 130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9" h="130661">
                  <a:moveTo>
                    <a:pt x="-38701" y="-1143"/>
                  </a:moveTo>
                  <a:lnTo>
                    <a:pt x="57899" y="-1143"/>
                  </a:lnTo>
                  <a:lnTo>
                    <a:pt x="57899" y="129518"/>
                  </a:lnTo>
                  <a:lnTo>
                    <a:pt x="-38701" y="129518"/>
                  </a:lnTo>
                  <a:close/>
                </a:path>
              </a:pathLst>
            </a:custGeom>
            <a:solidFill>
              <a:srgbClr val="319DC7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5" name="Vrije vorm 84">
              <a:extLst>
                <a:ext uri="{FF2B5EF4-FFF2-40B4-BE49-F238E27FC236}">
                  <a16:creationId xmlns:a16="http://schemas.microsoft.com/office/drawing/2014/main" id="{1558B430-5ADD-71B1-CB50-4EC7EC824FA7}"/>
                </a:ext>
              </a:extLst>
            </p:cNvPr>
            <p:cNvSpPr/>
            <p:nvPr/>
          </p:nvSpPr>
          <p:spPr>
            <a:xfrm flipV="1">
              <a:off x="3713000" y="5299936"/>
              <a:ext cx="332630" cy="28030"/>
            </a:xfrm>
            <a:custGeom>
              <a:avLst/>
              <a:gdLst>
                <a:gd name="connsiteX0" fmla="*/ -39355 w 332630"/>
                <a:gd name="connsiteY0" fmla="*/ -1818 h 28030"/>
                <a:gd name="connsiteX1" fmla="*/ 293276 w 332630"/>
                <a:gd name="connsiteY1" fmla="*/ -1818 h 28030"/>
                <a:gd name="connsiteX2" fmla="*/ 293276 w 332630"/>
                <a:gd name="connsiteY2" fmla="*/ 26213 h 28030"/>
                <a:gd name="connsiteX3" fmla="*/ -39355 w 332630"/>
                <a:gd name="connsiteY3" fmla="*/ 26213 h 2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630" h="28030">
                  <a:moveTo>
                    <a:pt x="-39355" y="-1818"/>
                  </a:moveTo>
                  <a:lnTo>
                    <a:pt x="293276" y="-1818"/>
                  </a:lnTo>
                  <a:lnTo>
                    <a:pt x="293276" y="26213"/>
                  </a:lnTo>
                  <a:lnTo>
                    <a:pt x="-39355" y="26213"/>
                  </a:lnTo>
                  <a:close/>
                </a:path>
              </a:pathLst>
            </a:custGeom>
            <a:solidFill>
              <a:srgbClr val="4CB7D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6" name="Vrije vorm 85">
              <a:extLst>
                <a:ext uri="{FF2B5EF4-FFF2-40B4-BE49-F238E27FC236}">
                  <a16:creationId xmlns:a16="http://schemas.microsoft.com/office/drawing/2014/main" id="{E0F45E01-E715-4380-D0EE-D3AE3B329B3A}"/>
                </a:ext>
              </a:extLst>
            </p:cNvPr>
            <p:cNvSpPr/>
            <p:nvPr/>
          </p:nvSpPr>
          <p:spPr>
            <a:xfrm flipV="1">
              <a:off x="3711368" y="5298304"/>
              <a:ext cx="334276" cy="31281"/>
            </a:xfrm>
            <a:custGeom>
              <a:avLst/>
              <a:gdLst>
                <a:gd name="connsiteX0" fmla="*/ 294927 w 334276"/>
                <a:gd name="connsiteY0" fmla="*/ -1818 h 31281"/>
                <a:gd name="connsiteX1" fmla="*/ -39350 w 334276"/>
                <a:gd name="connsiteY1" fmla="*/ -1818 h 31281"/>
                <a:gd name="connsiteX2" fmla="*/ -39350 w 334276"/>
                <a:gd name="connsiteY2" fmla="*/ 29464 h 31281"/>
                <a:gd name="connsiteX3" fmla="*/ 32114 w 334276"/>
                <a:gd name="connsiteY3" fmla="*/ 29464 h 31281"/>
                <a:gd name="connsiteX4" fmla="*/ 32114 w 334276"/>
                <a:gd name="connsiteY4" fmla="*/ 26200 h 31281"/>
                <a:gd name="connsiteX5" fmla="*/ -36085 w 334276"/>
                <a:gd name="connsiteY5" fmla="*/ 26200 h 31281"/>
                <a:gd name="connsiteX6" fmla="*/ -36085 w 334276"/>
                <a:gd name="connsiteY6" fmla="*/ 1433 h 31281"/>
                <a:gd name="connsiteX7" fmla="*/ 294927 w 334276"/>
                <a:gd name="connsiteY7" fmla="*/ 1433 h 31281"/>
                <a:gd name="connsiteX8" fmla="*/ 294927 w 334276"/>
                <a:gd name="connsiteY8" fmla="*/ -1818 h 3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4276" h="31281">
                  <a:moveTo>
                    <a:pt x="294927" y="-1818"/>
                  </a:moveTo>
                  <a:lnTo>
                    <a:pt x="-39350" y="-1818"/>
                  </a:lnTo>
                  <a:lnTo>
                    <a:pt x="-39350" y="29464"/>
                  </a:lnTo>
                  <a:lnTo>
                    <a:pt x="32114" y="29464"/>
                  </a:lnTo>
                  <a:lnTo>
                    <a:pt x="32114" y="26200"/>
                  </a:lnTo>
                  <a:lnTo>
                    <a:pt x="-36085" y="26200"/>
                  </a:lnTo>
                  <a:lnTo>
                    <a:pt x="-36085" y="1433"/>
                  </a:lnTo>
                  <a:lnTo>
                    <a:pt x="294927" y="1433"/>
                  </a:lnTo>
                  <a:lnTo>
                    <a:pt x="294927" y="-1818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7" name="Vrije vorm 86">
              <a:extLst>
                <a:ext uri="{FF2B5EF4-FFF2-40B4-BE49-F238E27FC236}">
                  <a16:creationId xmlns:a16="http://schemas.microsoft.com/office/drawing/2014/main" id="{9040512C-8F29-4267-55D9-EB3B411FEE08}"/>
                </a:ext>
              </a:extLst>
            </p:cNvPr>
            <p:cNvSpPr/>
            <p:nvPr/>
          </p:nvSpPr>
          <p:spPr>
            <a:xfrm flipV="1">
              <a:off x="3714632" y="5299936"/>
              <a:ext cx="110337" cy="26398"/>
            </a:xfrm>
            <a:custGeom>
              <a:avLst/>
              <a:gdLst>
                <a:gd name="connsiteX0" fmla="*/ 71680 w 110337"/>
                <a:gd name="connsiteY0" fmla="*/ -1824 h 26398"/>
                <a:gd name="connsiteX1" fmla="*/ -38657 w 110337"/>
                <a:gd name="connsiteY1" fmla="*/ -1824 h 26398"/>
                <a:gd name="connsiteX2" fmla="*/ -38657 w 110337"/>
                <a:gd name="connsiteY2" fmla="*/ 22942 h 26398"/>
                <a:gd name="connsiteX3" fmla="*/ 29542 w 110337"/>
                <a:gd name="connsiteY3" fmla="*/ 22942 h 26398"/>
                <a:gd name="connsiteX4" fmla="*/ 29542 w 110337"/>
                <a:gd name="connsiteY4" fmla="*/ 24574 h 26398"/>
                <a:gd name="connsiteX5" fmla="*/ 71680 w 110337"/>
                <a:gd name="connsiteY5" fmla="*/ 24574 h 26398"/>
                <a:gd name="connsiteX6" fmla="*/ 71680 w 110337"/>
                <a:gd name="connsiteY6" fmla="*/ -1824 h 26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337" h="26398">
                  <a:moveTo>
                    <a:pt x="71680" y="-1824"/>
                  </a:moveTo>
                  <a:lnTo>
                    <a:pt x="-38657" y="-1824"/>
                  </a:lnTo>
                  <a:lnTo>
                    <a:pt x="-38657" y="22942"/>
                  </a:lnTo>
                  <a:lnTo>
                    <a:pt x="29542" y="22942"/>
                  </a:lnTo>
                  <a:lnTo>
                    <a:pt x="29542" y="24574"/>
                  </a:lnTo>
                  <a:lnTo>
                    <a:pt x="71680" y="24574"/>
                  </a:lnTo>
                  <a:lnTo>
                    <a:pt x="71680" y="-1824"/>
                  </a:lnTo>
                </a:path>
              </a:pathLst>
            </a:custGeom>
            <a:solidFill>
              <a:srgbClr val="319DC7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8" name="Vrije vorm 87">
              <a:extLst>
                <a:ext uri="{FF2B5EF4-FFF2-40B4-BE49-F238E27FC236}">
                  <a16:creationId xmlns:a16="http://schemas.microsoft.com/office/drawing/2014/main" id="{5C563910-3B63-2E93-C22A-239BAB83CF0C}"/>
                </a:ext>
              </a:extLst>
            </p:cNvPr>
            <p:cNvSpPr/>
            <p:nvPr/>
          </p:nvSpPr>
          <p:spPr>
            <a:xfrm flipV="1">
              <a:off x="3713000" y="5299936"/>
              <a:ext cx="111969" cy="28017"/>
            </a:xfrm>
            <a:custGeom>
              <a:avLst/>
              <a:gdLst>
                <a:gd name="connsiteX0" fmla="*/ 73318 w 111969"/>
                <a:gd name="connsiteY0" fmla="*/ -1818 h 28017"/>
                <a:gd name="connsiteX1" fmla="*/ -38652 w 111969"/>
                <a:gd name="connsiteY1" fmla="*/ -1818 h 28017"/>
                <a:gd name="connsiteX2" fmla="*/ -38652 w 111969"/>
                <a:gd name="connsiteY2" fmla="*/ 26200 h 28017"/>
                <a:gd name="connsiteX3" fmla="*/ 31179 w 111969"/>
                <a:gd name="connsiteY3" fmla="*/ 26200 h 28017"/>
                <a:gd name="connsiteX4" fmla="*/ 31179 w 111969"/>
                <a:gd name="connsiteY4" fmla="*/ 24568 h 28017"/>
                <a:gd name="connsiteX5" fmla="*/ -37020 w 111969"/>
                <a:gd name="connsiteY5" fmla="*/ 24568 h 28017"/>
                <a:gd name="connsiteX6" fmla="*/ -37020 w 111969"/>
                <a:gd name="connsiteY6" fmla="*/ -199 h 28017"/>
                <a:gd name="connsiteX7" fmla="*/ 73318 w 111969"/>
                <a:gd name="connsiteY7" fmla="*/ -199 h 28017"/>
                <a:gd name="connsiteX8" fmla="*/ 73318 w 111969"/>
                <a:gd name="connsiteY8" fmla="*/ -1818 h 2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1969" h="28017">
                  <a:moveTo>
                    <a:pt x="73318" y="-1818"/>
                  </a:moveTo>
                  <a:lnTo>
                    <a:pt x="-38652" y="-1818"/>
                  </a:lnTo>
                  <a:lnTo>
                    <a:pt x="-38652" y="26200"/>
                  </a:lnTo>
                  <a:lnTo>
                    <a:pt x="31179" y="26200"/>
                  </a:lnTo>
                  <a:lnTo>
                    <a:pt x="31179" y="24568"/>
                  </a:lnTo>
                  <a:lnTo>
                    <a:pt x="-37020" y="24568"/>
                  </a:lnTo>
                  <a:lnTo>
                    <a:pt x="-37020" y="-199"/>
                  </a:lnTo>
                  <a:lnTo>
                    <a:pt x="73318" y="-199"/>
                  </a:lnTo>
                  <a:lnTo>
                    <a:pt x="73318" y="-1818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9" name="Vrije vorm 88">
              <a:extLst>
                <a:ext uri="{FF2B5EF4-FFF2-40B4-BE49-F238E27FC236}">
                  <a16:creationId xmlns:a16="http://schemas.microsoft.com/office/drawing/2014/main" id="{F5A7D8BF-632F-2046-71FD-295CEC54C26C}"/>
                </a:ext>
              </a:extLst>
            </p:cNvPr>
            <p:cNvSpPr/>
            <p:nvPr/>
          </p:nvSpPr>
          <p:spPr>
            <a:xfrm flipV="1">
              <a:off x="3865149" y="5340411"/>
              <a:ext cx="130875" cy="30560"/>
            </a:xfrm>
            <a:custGeom>
              <a:avLst/>
              <a:gdLst>
                <a:gd name="connsiteX0" fmla="*/ -39681 w 130875"/>
                <a:gd name="connsiteY0" fmla="*/ -1470 h 30560"/>
                <a:gd name="connsiteX1" fmla="*/ 91194 w 130875"/>
                <a:gd name="connsiteY1" fmla="*/ -1470 h 30560"/>
                <a:gd name="connsiteX2" fmla="*/ 91194 w 130875"/>
                <a:gd name="connsiteY2" fmla="*/ 29091 h 30560"/>
                <a:gd name="connsiteX3" fmla="*/ -39681 w 130875"/>
                <a:gd name="connsiteY3" fmla="*/ 29091 h 3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875" h="30560">
                  <a:moveTo>
                    <a:pt x="-39681" y="-1470"/>
                  </a:moveTo>
                  <a:lnTo>
                    <a:pt x="91194" y="-1470"/>
                  </a:lnTo>
                  <a:lnTo>
                    <a:pt x="91194" y="29091"/>
                  </a:lnTo>
                  <a:lnTo>
                    <a:pt x="-39681" y="29091"/>
                  </a:lnTo>
                  <a:close/>
                </a:path>
              </a:pathLst>
            </a:custGeom>
            <a:solidFill>
              <a:srgbClr val="A0DBEB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0" name="Vrije vorm 89">
              <a:extLst>
                <a:ext uri="{FF2B5EF4-FFF2-40B4-BE49-F238E27FC236}">
                  <a16:creationId xmlns:a16="http://schemas.microsoft.com/office/drawing/2014/main" id="{73C7A7D6-9CDD-F718-1F83-93670BCC56E0}"/>
                </a:ext>
              </a:extLst>
            </p:cNvPr>
            <p:cNvSpPr/>
            <p:nvPr/>
          </p:nvSpPr>
          <p:spPr>
            <a:xfrm flipV="1">
              <a:off x="3865149" y="5419444"/>
              <a:ext cx="130875" cy="3087"/>
            </a:xfrm>
            <a:custGeom>
              <a:avLst/>
              <a:gdLst>
                <a:gd name="connsiteX0" fmla="*/ -39681 w 130875"/>
                <a:gd name="connsiteY0" fmla="*/ -926 h 3087"/>
                <a:gd name="connsiteX1" fmla="*/ 91194 w 130875"/>
                <a:gd name="connsiteY1" fmla="*/ -926 h 3087"/>
                <a:gd name="connsiteX2" fmla="*/ 91194 w 130875"/>
                <a:gd name="connsiteY2" fmla="*/ 2162 h 3087"/>
                <a:gd name="connsiteX3" fmla="*/ -39681 w 130875"/>
                <a:gd name="connsiteY3" fmla="*/ 2162 h 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875" h="3087">
                  <a:moveTo>
                    <a:pt x="-39681" y="-926"/>
                  </a:moveTo>
                  <a:lnTo>
                    <a:pt x="91194" y="-926"/>
                  </a:lnTo>
                  <a:lnTo>
                    <a:pt x="91194" y="2162"/>
                  </a:lnTo>
                  <a:lnTo>
                    <a:pt x="-39681" y="2162"/>
                  </a:lnTo>
                  <a:close/>
                </a:path>
              </a:pathLst>
            </a:custGeom>
            <a:solidFill>
              <a:srgbClr val="A0DBEB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1" name="Vrije vorm 90">
              <a:extLst>
                <a:ext uri="{FF2B5EF4-FFF2-40B4-BE49-F238E27FC236}">
                  <a16:creationId xmlns:a16="http://schemas.microsoft.com/office/drawing/2014/main" id="{114CF2E2-2AA1-8848-A159-517F5DE2A666}"/>
                </a:ext>
              </a:extLst>
            </p:cNvPr>
            <p:cNvSpPr/>
            <p:nvPr/>
          </p:nvSpPr>
          <p:spPr>
            <a:xfrm flipV="1">
              <a:off x="3865149" y="5402621"/>
              <a:ext cx="130875" cy="3087"/>
            </a:xfrm>
            <a:custGeom>
              <a:avLst/>
              <a:gdLst>
                <a:gd name="connsiteX0" fmla="*/ -39681 w 130875"/>
                <a:gd name="connsiteY0" fmla="*/ -1066 h 3087"/>
                <a:gd name="connsiteX1" fmla="*/ 91194 w 130875"/>
                <a:gd name="connsiteY1" fmla="*/ -1066 h 3087"/>
                <a:gd name="connsiteX2" fmla="*/ 91194 w 130875"/>
                <a:gd name="connsiteY2" fmla="*/ 2022 h 3087"/>
                <a:gd name="connsiteX3" fmla="*/ -39681 w 130875"/>
                <a:gd name="connsiteY3" fmla="*/ 2022 h 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875" h="3087">
                  <a:moveTo>
                    <a:pt x="-39681" y="-1066"/>
                  </a:moveTo>
                  <a:lnTo>
                    <a:pt x="91194" y="-1066"/>
                  </a:lnTo>
                  <a:lnTo>
                    <a:pt x="91194" y="2022"/>
                  </a:lnTo>
                  <a:lnTo>
                    <a:pt x="-39681" y="2022"/>
                  </a:lnTo>
                  <a:close/>
                </a:path>
              </a:pathLst>
            </a:custGeom>
            <a:solidFill>
              <a:srgbClr val="A0DBEB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2" name="Vrije vorm 91">
              <a:extLst>
                <a:ext uri="{FF2B5EF4-FFF2-40B4-BE49-F238E27FC236}">
                  <a16:creationId xmlns:a16="http://schemas.microsoft.com/office/drawing/2014/main" id="{AE0DDF38-3C9C-517C-E4C0-D7AD63869628}"/>
                </a:ext>
              </a:extLst>
            </p:cNvPr>
            <p:cNvSpPr/>
            <p:nvPr/>
          </p:nvSpPr>
          <p:spPr>
            <a:xfrm flipV="1">
              <a:off x="3726738" y="5327953"/>
              <a:ext cx="303536" cy="133925"/>
            </a:xfrm>
            <a:custGeom>
              <a:avLst/>
              <a:gdLst>
                <a:gd name="connsiteX0" fmla="*/ 264187 w 303536"/>
                <a:gd name="connsiteY0" fmla="*/ -1143 h 133925"/>
                <a:gd name="connsiteX1" fmla="*/ -39350 w 303536"/>
                <a:gd name="connsiteY1" fmla="*/ -1143 h 133925"/>
                <a:gd name="connsiteX2" fmla="*/ -39350 w 303536"/>
                <a:gd name="connsiteY2" fmla="*/ 132783 h 133925"/>
                <a:gd name="connsiteX3" fmla="*/ -36085 w 303536"/>
                <a:gd name="connsiteY3" fmla="*/ 132783 h 133925"/>
                <a:gd name="connsiteX4" fmla="*/ -36085 w 303536"/>
                <a:gd name="connsiteY4" fmla="*/ 2108 h 133925"/>
                <a:gd name="connsiteX5" fmla="*/ 264187 w 303536"/>
                <a:gd name="connsiteY5" fmla="*/ 2108 h 133925"/>
                <a:gd name="connsiteX6" fmla="*/ 264187 w 303536"/>
                <a:gd name="connsiteY6" fmla="*/ -1143 h 133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3536" h="133925">
                  <a:moveTo>
                    <a:pt x="264187" y="-1143"/>
                  </a:moveTo>
                  <a:lnTo>
                    <a:pt x="-39350" y="-1143"/>
                  </a:lnTo>
                  <a:lnTo>
                    <a:pt x="-39350" y="132783"/>
                  </a:lnTo>
                  <a:lnTo>
                    <a:pt x="-36085" y="132783"/>
                  </a:lnTo>
                  <a:lnTo>
                    <a:pt x="-36085" y="2108"/>
                  </a:lnTo>
                  <a:lnTo>
                    <a:pt x="264187" y="2108"/>
                  </a:lnTo>
                  <a:lnTo>
                    <a:pt x="264187" y="-1143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3" name="Vrije vorm 92">
              <a:extLst>
                <a:ext uri="{FF2B5EF4-FFF2-40B4-BE49-F238E27FC236}">
                  <a16:creationId xmlns:a16="http://schemas.microsoft.com/office/drawing/2014/main" id="{905125E1-5CD1-D14A-0091-A21F565633DB}"/>
                </a:ext>
              </a:extLst>
            </p:cNvPr>
            <p:cNvSpPr/>
            <p:nvPr/>
          </p:nvSpPr>
          <p:spPr>
            <a:xfrm flipV="1">
              <a:off x="3243916" y="4037307"/>
              <a:ext cx="89839" cy="263349"/>
            </a:xfrm>
            <a:custGeom>
              <a:avLst/>
              <a:gdLst>
                <a:gd name="connsiteX0" fmla="*/ -2159 w 89839"/>
                <a:gd name="connsiteY0" fmla="*/ -11358 h 263349"/>
                <a:gd name="connsiteX1" fmla="*/ -35592 w 89839"/>
                <a:gd name="connsiteY1" fmla="*/ 150788 h 263349"/>
                <a:gd name="connsiteX2" fmla="*/ 13361 w 89839"/>
                <a:gd name="connsiteY2" fmla="*/ 124661 h 263349"/>
                <a:gd name="connsiteX3" fmla="*/ 13633 w 89839"/>
                <a:gd name="connsiteY3" fmla="*/ 251991 h 263349"/>
                <a:gd name="connsiteX4" fmla="*/ 54247 w 89839"/>
                <a:gd name="connsiteY4" fmla="*/ 72394 h 263349"/>
                <a:gd name="connsiteX5" fmla="*/ 5880 w 89839"/>
                <a:gd name="connsiteY5" fmla="*/ 92170 h 263349"/>
                <a:gd name="connsiteX6" fmla="*/ -2159 w 89839"/>
                <a:gd name="connsiteY6" fmla="*/ -11358 h 26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839" h="263349">
                  <a:moveTo>
                    <a:pt x="-2159" y="-11358"/>
                  </a:moveTo>
                  <a:lnTo>
                    <a:pt x="-35592" y="150788"/>
                  </a:lnTo>
                  <a:lnTo>
                    <a:pt x="13361" y="124661"/>
                  </a:lnTo>
                  <a:lnTo>
                    <a:pt x="13633" y="251991"/>
                  </a:lnTo>
                  <a:lnTo>
                    <a:pt x="54247" y="72394"/>
                  </a:lnTo>
                  <a:lnTo>
                    <a:pt x="5880" y="92170"/>
                  </a:lnTo>
                  <a:lnTo>
                    <a:pt x="-2159" y="-11358"/>
                  </a:lnTo>
                </a:path>
              </a:pathLst>
            </a:custGeom>
            <a:solidFill>
              <a:srgbClr val="F7AB4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4" name="Vrije vorm 93">
              <a:extLst>
                <a:ext uri="{FF2B5EF4-FFF2-40B4-BE49-F238E27FC236}">
                  <a16:creationId xmlns:a16="http://schemas.microsoft.com/office/drawing/2014/main" id="{1D713B3D-FC39-5BBC-BE34-DA367530212A}"/>
                </a:ext>
              </a:extLst>
            </p:cNvPr>
            <p:cNvSpPr/>
            <p:nvPr/>
          </p:nvSpPr>
          <p:spPr>
            <a:xfrm flipV="1">
              <a:off x="3365026" y="4210592"/>
              <a:ext cx="112513" cy="152476"/>
            </a:xfrm>
            <a:custGeom>
              <a:avLst/>
              <a:gdLst>
                <a:gd name="connsiteX0" fmla="*/ -36436 w 112513"/>
                <a:gd name="connsiteY0" fmla="*/ -10376 h 152476"/>
                <a:gd name="connsiteX1" fmla="*/ 6831 w 112513"/>
                <a:gd name="connsiteY1" fmla="*/ 100387 h 152476"/>
                <a:gd name="connsiteX2" fmla="*/ 26105 w 112513"/>
                <a:gd name="connsiteY2" fmla="*/ 65502 h 152476"/>
                <a:gd name="connsiteX3" fmla="*/ 76077 w 112513"/>
                <a:gd name="connsiteY3" fmla="*/ 142100 h 152476"/>
                <a:gd name="connsiteX4" fmla="*/ 30307 w 112513"/>
                <a:gd name="connsiteY4" fmla="*/ 18022 h 152476"/>
                <a:gd name="connsiteX5" fmla="*/ 8898 w 112513"/>
                <a:gd name="connsiteY5" fmla="*/ 48841 h 152476"/>
                <a:gd name="connsiteX6" fmla="*/ -36436 w 112513"/>
                <a:gd name="connsiteY6" fmla="*/ -10376 h 15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513" h="152476">
                  <a:moveTo>
                    <a:pt x="-36436" y="-10376"/>
                  </a:moveTo>
                  <a:lnTo>
                    <a:pt x="6831" y="100387"/>
                  </a:lnTo>
                  <a:lnTo>
                    <a:pt x="26105" y="65502"/>
                  </a:lnTo>
                  <a:lnTo>
                    <a:pt x="76077" y="142100"/>
                  </a:lnTo>
                  <a:lnTo>
                    <a:pt x="30307" y="18022"/>
                  </a:lnTo>
                  <a:lnTo>
                    <a:pt x="8898" y="48841"/>
                  </a:lnTo>
                  <a:lnTo>
                    <a:pt x="-36436" y="-10376"/>
                  </a:lnTo>
                </a:path>
              </a:pathLst>
            </a:custGeom>
            <a:solidFill>
              <a:srgbClr val="F7AB4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5" name="Vrije vorm 94">
              <a:extLst>
                <a:ext uri="{FF2B5EF4-FFF2-40B4-BE49-F238E27FC236}">
                  <a16:creationId xmlns:a16="http://schemas.microsoft.com/office/drawing/2014/main" id="{30806D39-423A-40D0-8A16-776C0DD35AFC}"/>
                </a:ext>
              </a:extLst>
            </p:cNvPr>
            <p:cNvSpPr/>
            <p:nvPr/>
          </p:nvSpPr>
          <p:spPr>
            <a:xfrm flipV="1">
              <a:off x="3057382" y="4190599"/>
              <a:ext cx="81093" cy="179242"/>
            </a:xfrm>
            <a:custGeom>
              <a:avLst/>
              <a:gdLst>
                <a:gd name="connsiteX0" fmla="*/ 32150 w 81093"/>
                <a:gd name="connsiteY0" fmla="*/ -10432 h 179242"/>
                <a:gd name="connsiteX1" fmla="*/ -34376 w 81093"/>
                <a:gd name="connsiteY1" fmla="*/ 88132 h 179242"/>
                <a:gd name="connsiteX2" fmla="*/ 5273 w 81093"/>
                <a:gd name="connsiteY2" fmla="*/ 84161 h 179242"/>
                <a:gd name="connsiteX3" fmla="*/ -29343 w 81093"/>
                <a:gd name="connsiteY3" fmla="*/ 168811 h 179242"/>
                <a:gd name="connsiteX4" fmla="*/ 46718 w 81093"/>
                <a:gd name="connsiteY4" fmla="*/ 60618 h 179242"/>
                <a:gd name="connsiteX5" fmla="*/ 9191 w 81093"/>
                <a:gd name="connsiteY5" fmla="*/ 60523 h 179242"/>
                <a:gd name="connsiteX6" fmla="*/ 32150 w 81093"/>
                <a:gd name="connsiteY6" fmla="*/ -10432 h 179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093" h="179242">
                  <a:moveTo>
                    <a:pt x="32150" y="-10432"/>
                  </a:moveTo>
                  <a:lnTo>
                    <a:pt x="-34376" y="88132"/>
                  </a:lnTo>
                  <a:lnTo>
                    <a:pt x="5273" y="84161"/>
                  </a:lnTo>
                  <a:lnTo>
                    <a:pt x="-29343" y="168811"/>
                  </a:lnTo>
                  <a:lnTo>
                    <a:pt x="46718" y="60618"/>
                  </a:lnTo>
                  <a:lnTo>
                    <a:pt x="9191" y="60523"/>
                  </a:lnTo>
                  <a:lnTo>
                    <a:pt x="32150" y="-10432"/>
                  </a:lnTo>
                </a:path>
              </a:pathLst>
            </a:custGeom>
            <a:solidFill>
              <a:srgbClr val="F7AB4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6" name="Vrije vorm 95">
              <a:extLst>
                <a:ext uri="{FF2B5EF4-FFF2-40B4-BE49-F238E27FC236}">
                  <a16:creationId xmlns:a16="http://schemas.microsoft.com/office/drawing/2014/main" id="{BEE5F366-0900-377C-E56A-E7EE4CD90B6D}"/>
                </a:ext>
              </a:extLst>
            </p:cNvPr>
            <p:cNvSpPr/>
            <p:nvPr/>
          </p:nvSpPr>
          <p:spPr>
            <a:xfrm flipV="1">
              <a:off x="3865693" y="4426638"/>
              <a:ext cx="301904" cy="160324"/>
            </a:xfrm>
            <a:custGeom>
              <a:avLst/>
              <a:gdLst>
                <a:gd name="connsiteX0" fmla="*/ -40230 w 301904"/>
                <a:gd name="connsiteY0" fmla="*/ -8543 h 160324"/>
                <a:gd name="connsiteX1" fmla="*/ 261675 w 301904"/>
                <a:gd name="connsiteY1" fmla="*/ -8543 h 160324"/>
                <a:gd name="connsiteX2" fmla="*/ 261675 w 301904"/>
                <a:gd name="connsiteY2" fmla="*/ 151781 h 160324"/>
                <a:gd name="connsiteX3" fmla="*/ -40230 w 301904"/>
                <a:gd name="connsiteY3" fmla="*/ 151781 h 160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904" h="160324">
                  <a:moveTo>
                    <a:pt x="-40230" y="-8543"/>
                  </a:moveTo>
                  <a:lnTo>
                    <a:pt x="261675" y="-8543"/>
                  </a:lnTo>
                  <a:lnTo>
                    <a:pt x="261675" y="151781"/>
                  </a:lnTo>
                  <a:lnTo>
                    <a:pt x="-40230" y="151781"/>
                  </a:lnTo>
                  <a:close/>
                </a:path>
              </a:pathLst>
            </a:custGeom>
            <a:solidFill>
              <a:srgbClr val="FEBAC7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7" name="Vrije vorm 96">
              <a:extLst>
                <a:ext uri="{FF2B5EF4-FFF2-40B4-BE49-F238E27FC236}">
                  <a16:creationId xmlns:a16="http://schemas.microsoft.com/office/drawing/2014/main" id="{DF233AE9-4EB8-AA51-07AE-786C0471A97C}"/>
                </a:ext>
              </a:extLst>
            </p:cNvPr>
            <p:cNvSpPr/>
            <p:nvPr/>
          </p:nvSpPr>
          <p:spPr>
            <a:xfrm flipV="1">
              <a:off x="4070998" y="4456288"/>
              <a:ext cx="96599" cy="130674"/>
            </a:xfrm>
            <a:custGeom>
              <a:avLst/>
              <a:gdLst>
                <a:gd name="connsiteX0" fmla="*/ -40884 w 96599"/>
                <a:gd name="connsiteY0" fmla="*/ -8420 h 130674"/>
                <a:gd name="connsiteX1" fmla="*/ 55716 w 96599"/>
                <a:gd name="connsiteY1" fmla="*/ -8420 h 130674"/>
                <a:gd name="connsiteX2" fmla="*/ 55716 w 96599"/>
                <a:gd name="connsiteY2" fmla="*/ 122255 h 130674"/>
                <a:gd name="connsiteX3" fmla="*/ -40884 w 96599"/>
                <a:gd name="connsiteY3" fmla="*/ 122255 h 130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9" h="130674">
                  <a:moveTo>
                    <a:pt x="-40884" y="-8420"/>
                  </a:moveTo>
                  <a:lnTo>
                    <a:pt x="55716" y="-8420"/>
                  </a:lnTo>
                  <a:lnTo>
                    <a:pt x="55716" y="122255"/>
                  </a:lnTo>
                  <a:lnTo>
                    <a:pt x="-40884" y="122255"/>
                  </a:lnTo>
                  <a:close/>
                </a:path>
              </a:pathLst>
            </a:custGeom>
            <a:solidFill>
              <a:srgbClr val="FD889B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8" name="Vrije vorm 97">
              <a:extLst>
                <a:ext uri="{FF2B5EF4-FFF2-40B4-BE49-F238E27FC236}">
                  <a16:creationId xmlns:a16="http://schemas.microsoft.com/office/drawing/2014/main" id="{FC787480-07A5-7E3F-735F-B9BCAF277574}"/>
                </a:ext>
              </a:extLst>
            </p:cNvPr>
            <p:cNvSpPr/>
            <p:nvPr/>
          </p:nvSpPr>
          <p:spPr>
            <a:xfrm flipV="1">
              <a:off x="3850323" y="4426652"/>
              <a:ext cx="332644" cy="28017"/>
            </a:xfrm>
            <a:custGeom>
              <a:avLst/>
              <a:gdLst>
                <a:gd name="connsiteX0" fmla="*/ -40230 w 332644"/>
                <a:gd name="connsiteY0" fmla="*/ -9095 h 28017"/>
                <a:gd name="connsiteX1" fmla="*/ 292415 w 332644"/>
                <a:gd name="connsiteY1" fmla="*/ -9095 h 28017"/>
                <a:gd name="connsiteX2" fmla="*/ 292415 w 332644"/>
                <a:gd name="connsiteY2" fmla="*/ 18923 h 28017"/>
                <a:gd name="connsiteX3" fmla="*/ -40230 w 332644"/>
                <a:gd name="connsiteY3" fmla="*/ 18923 h 2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644" h="28017">
                  <a:moveTo>
                    <a:pt x="-40230" y="-9095"/>
                  </a:moveTo>
                  <a:lnTo>
                    <a:pt x="292415" y="-9095"/>
                  </a:lnTo>
                  <a:lnTo>
                    <a:pt x="292415" y="18923"/>
                  </a:lnTo>
                  <a:lnTo>
                    <a:pt x="-40230" y="18923"/>
                  </a:lnTo>
                  <a:close/>
                </a:path>
              </a:pathLst>
            </a:custGeom>
            <a:solidFill>
              <a:srgbClr val="FEBAC7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99" name="Vrije vorm 98">
              <a:extLst>
                <a:ext uri="{FF2B5EF4-FFF2-40B4-BE49-F238E27FC236}">
                  <a16:creationId xmlns:a16="http://schemas.microsoft.com/office/drawing/2014/main" id="{A6709422-C789-40F8-C66C-B9BFAD50A94E}"/>
                </a:ext>
              </a:extLst>
            </p:cNvPr>
            <p:cNvSpPr/>
            <p:nvPr/>
          </p:nvSpPr>
          <p:spPr>
            <a:xfrm flipV="1">
              <a:off x="3850323" y="4426638"/>
              <a:ext cx="334263" cy="29649"/>
            </a:xfrm>
            <a:custGeom>
              <a:avLst/>
              <a:gdLst>
                <a:gd name="connsiteX0" fmla="*/ 294028 w 334263"/>
                <a:gd name="connsiteY0" fmla="*/ -9088 h 29649"/>
                <a:gd name="connsiteX1" fmla="*/ -40235 w 334263"/>
                <a:gd name="connsiteY1" fmla="*/ -9088 h 29649"/>
                <a:gd name="connsiteX2" fmla="*/ -40235 w 334263"/>
                <a:gd name="connsiteY2" fmla="*/ -5837 h 29649"/>
                <a:gd name="connsiteX3" fmla="*/ 290777 w 334263"/>
                <a:gd name="connsiteY3" fmla="*/ -5837 h 29649"/>
                <a:gd name="connsiteX4" fmla="*/ 290777 w 334263"/>
                <a:gd name="connsiteY4" fmla="*/ 20561 h 29649"/>
                <a:gd name="connsiteX5" fmla="*/ 294028 w 334263"/>
                <a:gd name="connsiteY5" fmla="*/ 20561 h 29649"/>
                <a:gd name="connsiteX6" fmla="*/ 294028 w 334263"/>
                <a:gd name="connsiteY6" fmla="*/ -9088 h 29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4263" h="29649">
                  <a:moveTo>
                    <a:pt x="294028" y="-9088"/>
                  </a:moveTo>
                  <a:lnTo>
                    <a:pt x="-40235" y="-9088"/>
                  </a:lnTo>
                  <a:lnTo>
                    <a:pt x="-40235" y="-5837"/>
                  </a:lnTo>
                  <a:lnTo>
                    <a:pt x="290777" y="-5837"/>
                  </a:lnTo>
                  <a:lnTo>
                    <a:pt x="290777" y="20561"/>
                  </a:lnTo>
                  <a:lnTo>
                    <a:pt x="294028" y="20561"/>
                  </a:lnTo>
                  <a:lnTo>
                    <a:pt x="294028" y="-9088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0" name="Vrije vorm 99">
              <a:extLst>
                <a:ext uri="{FF2B5EF4-FFF2-40B4-BE49-F238E27FC236}">
                  <a16:creationId xmlns:a16="http://schemas.microsoft.com/office/drawing/2014/main" id="{05E55765-EC59-0249-E4AD-FC889D23459A}"/>
                </a:ext>
              </a:extLst>
            </p:cNvPr>
            <p:cNvSpPr/>
            <p:nvPr/>
          </p:nvSpPr>
          <p:spPr>
            <a:xfrm flipV="1">
              <a:off x="4070998" y="4426638"/>
              <a:ext cx="110337" cy="26398"/>
            </a:xfrm>
            <a:custGeom>
              <a:avLst/>
              <a:gdLst>
                <a:gd name="connsiteX0" fmla="*/ -40928 w 110337"/>
                <a:gd name="connsiteY0" fmla="*/ -9101 h 26398"/>
                <a:gd name="connsiteX1" fmla="*/ 69410 w 110337"/>
                <a:gd name="connsiteY1" fmla="*/ -9101 h 26398"/>
                <a:gd name="connsiteX2" fmla="*/ 69410 w 110337"/>
                <a:gd name="connsiteY2" fmla="*/ 17297 h 26398"/>
                <a:gd name="connsiteX3" fmla="*/ -40928 w 110337"/>
                <a:gd name="connsiteY3" fmla="*/ 17297 h 26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337" h="26398">
                  <a:moveTo>
                    <a:pt x="-40928" y="-9101"/>
                  </a:moveTo>
                  <a:lnTo>
                    <a:pt x="69410" y="-9101"/>
                  </a:lnTo>
                  <a:lnTo>
                    <a:pt x="69410" y="17297"/>
                  </a:lnTo>
                  <a:lnTo>
                    <a:pt x="-40928" y="17297"/>
                  </a:lnTo>
                  <a:close/>
                </a:path>
              </a:pathLst>
            </a:custGeom>
            <a:solidFill>
              <a:srgbClr val="FD889B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1" name="Vrije vorm 100">
              <a:extLst>
                <a:ext uri="{FF2B5EF4-FFF2-40B4-BE49-F238E27FC236}">
                  <a16:creationId xmlns:a16="http://schemas.microsoft.com/office/drawing/2014/main" id="{ECD14CEA-0DBA-8D8D-300C-E78D0918A528}"/>
                </a:ext>
              </a:extLst>
            </p:cNvPr>
            <p:cNvSpPr/>
            <p:nvPr/>
          </p:nvSpPr>
          <p:spPr>
            <a:xfrm flipV="1">
              <a:off x="4070998" y="4426638"/>
              <a:ext cx="111969" cy="28017"/>
            </a:xfrm>
            <a:custGeom>
              <a:avLst/>
              <a:gdLst>
                <a:gd name="connsiteX0" fmla="*/ 71037 w 111969"/>
                <a:gd name="connsiteY0" fmla="*/ -9095 h 28017"/>
                <a:gd name="connsiteX1" fmla="*/ -40933 w 111969"/>
                <a:gd name="connsiteY1" fmla="*/ -9095 h 28017"/>
                <a:gd name="connsiteX2" fmla="*/ -40933 w 111969"/>
                <a:gd name="connsiteY2" fmla="*/ -7476 h 28017"/>
                <a:gd name="connsiteX3" fmla="*/ 69404 w 111969"/>
                <a:gd name="connsiteY3" fmla="*/ -7476 h 28017"/>
                <a:gd name="connsiteX4" fmla="*/ 69404 w 111969"/>
                <a:gd name="connsiteY4" fmla="*/ 18923 h 28017"/>
                <a:gd name="connsiteX5" fmla="*/ 71037 w 111969"/>
                <a:gd name="connsiteY5" fmla="*/ 18923 h 28017"/>
                <a:gd name="connsiteX6" fmla="*/ 71037 w 111969"/>
                <a:gd name="connsiteY6" fmla="*/ -9095 h 2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969" h="28017">
                  <a:moveTo>
                    <a:pt x="71037" y="-9095"/>
                  </a:moveTo>
                  <a:lnTo>
                    <a:pt x="-40933" y="-9095"/>
                  </a:lnTo>
                  <a:lnTo>
                    <a:pt x="-40933" y="-7476"/>
                  </a:lnTo>
                  <a:lnTo>
                    <a:pt x="69404" y="-7476"/>
                  </a:lnTo>
                  <a:lnTo>
                    <a:pt x="69404" y="18923"/>
                  </a:lnTo>
                  <a:lnTo>
                    <a:pt x="71037" y="18923"/>
                  </a:lnTo>
                  <a:lnTo>
                    <a:pt x="71037" y="-9095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2" name="Vrije vorm 101">
              <a:extLst>
                <a:ext uri="{FF2B5EF4-FFF2-40B4-BE49-F238E27FC236}">
                  <a16:creationId xmlns:a16="http://schemas.microsoft.com/office/drawing/2014/main" id="{FDDEFA1E-B81E-0BD1-3DC9-575B408A8C15}"/>
                </a:ext>
              </a:extLst>
            </p:cNvPr>
            <p:cNvSpPr/>
            <p:nvPr/>
          </p:nvSpPr>
          <p:spPr>
            <a:xfrm flipV="1">
              <a:off x="3899942" y="4467114"/>
              <a:ext cx="130862" cy="30560"/>
            </a:xfrm>
            <a:custGeom>
              <a:avLst/>
              <a:gdLst>
                <a:gd name="connsiteX0" fmla="*/ -39903 w 130862"/>
                <a:gd name="connsiteY0" fmla="*/ -8747 h 30560"/>
                <a:gd name="connsiteX1" fmla="*/ 90960 w 130862"/>
                <a:gd name="connsiteY1" fmla="*/ -8747 h 30560"/>
                <a:gd name="connsiteX2" fmla="*/ 90960 w 130862"/>
                <a:gd name="connsiteY2" fmla="*/ 21814 h 30560"/>
                <a:gd name="connsiteX3" fmla="*/ -39903 w 130862"/>
                <a:gd name="connsiteY3" fmla="*/ 21814 h 3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862" h="30560">
                  <a:moveTo>
                    <a:pt x="-39903" y="-8747"/>
                  </a:moveTo>
                  <a:lnTo>
                    <a:pt x="90960" y="-8747"/>
                  </a:lnTo>
                  <a:lnTo>
                    <a:pt x="90960" y="21814"/>
                  </a:lnTo>
                  <a:lnTo>
                    <a:pt x="-39903" y="21814"/>
                  </a:lnTo>
                  <a:close/>
                </a:path>
              </a:pathLst>
            </a:custGeom>
            <a:solidFill>
              <a:srgbClr val="F8DDE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3" name="Vrije vorm 102">
              <a:extLst>
                <a:ext uri="{FF2B5EF4-FFF2-40B4-BE49-F238E27FC236}">
                  <a16:creationId xmlns:a16="http://schemas.microsoft.com/office/drawing/2014/main" id="{7353DC67-9D36-9F0D-D090-EDC02EA640AF}"/>
                </a:ext>
              </a:extLst>
            </p:cNvPr>
            <p:cNvSpPr/>
            <p:nvPr/>
          </p:nvSpPr>
          <p:spPr>
            <a:xfrm flipV="1">
              <a:off x="3899942" y="4546147"/>
              <a:ext cx="130862" cy="3087"/>
            </a:xfrm>
            <a:custGeom>
              <a:avLst/>
              <a:gdLst>
                <a:gd name="connsiteX0" fmla="*/ -39903 w 130862"/>
                <a:gd name="connsiteY0" fmla="*/ -8203 h 3087"/>
                <a:gd name="connsiteX1" fmla="*/ 90960 w 130862"/>
                <a:gd name="connsiteY1" fmla="*/ -8203 h 3087"/>
                <a:gd name="connsiteX2" fmla="*/ 90960 w 130862"/>
                <a:gd name="connsiteY2" fmla="*/ -5115 h 3087"/>
                <a:gd name="connsiteX3" fmla="*/ -39903 w 130862"/>
                <a:gd name="connsiteY3" fmla="*/ -5115 h 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862" h="3087">
                  <a:moveTo>
                    <a:pt x="-39903" y="-8203"/>
                  </a:moveTo>
                  <a:lnTo>
                    <a:pt x="90960" y="-8203"/>
                  </a:lnTo>
                  <a:lnTo>
                    <a:pt x="90960" y="-5115"/>
                  </a:lnTo>
                  <a:lnTo>
                    <a:pt x="-39903" y="-5115"/>
                  </a:lnTo>
                  <a:close/>
                </a:path>
              </a:pathLst>
            </a:custGeom>
            <a:solidFill>
              <a:srgbClr val="F8DDE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4" name="Vrije vorm 103">
              <a:extLst>
                <a:ext uri="{FF2B5EF4-FFF2-40B4-BE49-F238E27FC236}">
                  <a16:creationId xmlns:a16="http://schemas.microsoft.com/office/drawing/2014/main" id="{7E6271B6-CF1C-889A-3744-B9DF08707085}"/>
                </a:ext>
              </a:extLst>
            </p:cNvPr>
            <p:cNvSpPr/>
            <p:nvPr/>
          </p:nvSpPr>
          <p:spPr>
            <a:xfrm flipV="1">
              <a:off x="3899942" y="4529337"/>
              <a:ext cx="130862" cy="3073"/>
            </a:xfrm>
            <a:custGeom>
              <a:avLst/>
              <a:gdLst>
                <a:gd name="connsiteX0" fmla="*/ -39903 w 130862"/>
                <a:gd name="connsiteY0" fmla="*/ -8343 h 3073"/>
                <a:gd name="connsiteX1" fmla="*/ 90960 w 130862"/>
                <a:gd name="connsiteY1" fmla="*/ -8343 h 3073"/>
                <a:gd name="connsiteX2" fmla="*/ 90960 w 130862"/>
                <a:gd name="connsiteY2" fmla="*/ -5269 h 3073"/>
                <a:gd name="connsiteX3" fmla="*/ -39903 w 130862"/>
                <a:gd name="connsiteY3" fmla="*/ -5269 h 3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862" h="3073">
                  <a:moveTo>
                    <a:pt x="-39903" y="-8343"/>
                  </a:moveTo>
                  <a:lnTo>
                    <a:pt x="90960" y="-8343"/>
                  </a:lnTo>
                  <a:lnTo>
                    <a:pt x="90960" y="-5269"/>
                  </a:lnTo>
                  <a:lnTo>
                    <a:pt x="-39903" y="-5269"/>
                  </a:lnTo>
                  <a:close/>
                </a:path>
              </a:pathLst>
            </a:custGeom>
            <a:solidFill>
              <a:srgbClr val="F8DDE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5" name="Vrije vorm 104">
              <a:extLst>
                <a:ext uri="{FF2B5EF4-FFF2-40B4-BE49-F238E27FC236}">
                  <a16:creationId xmlns:a16="http://schemas.microsoft.com/office/drawing/2014/main" id="{23C4B733-F66C-AFB1-D3DB-DCCF6368531E}"/>
                </a:ext>
              </a:extLst>
            </p:cNvPr>
            <p:cNvSpPr/>
            <p:nvPr/>
          </p:nvSpPr>
          <p:spPr>
            <a:xfrm flipV="1">
              <a:off x="3865693" y="4454669"/>
              <a:ext cx="303536" cy="133911"/>
            </a:xfrm>
            <a:custGeom>
              <a:avLst/>
              <a:gdLst>
                <a:gd name="connsiteX0" fmla="*/ 263302 w 303536"/>
                <a:gd name="connsiteY0" fmla="*/ -8420 h 133911"/>
                <a:gd name="connsiteX1" fmla="*/ -40235 w 303536"/>
                <a:gd name="connsiteY1" fmla="*/ -8420 h 133911"/>
                <a:gd name="connsiteX2" fmla="*/ -40235 w 303536"/>
                <a:gd name="connsiteY2" fmla="*/ -5169 h 133911"/>
                <a:gd name="connsiteX3" fmla="*/ 260037 w 303536"/>
                <a:gd name="connsiteY3" fmla="*/ -5169 h 133911"/>
                <a:gd name="connsiteX4" fmla="*/ 260037 w 303536"/>
                <a:gd name="connsiteY4" fmla="*/ 125492 h 133911"/>
                <a:gd name="connsiteX5" fmla="*/ 263302 w 303536"/>
                <a:gd name="connsiteY5" fmla="*/ 125492 h 133911"/>
                <a:gd name="connsiteX6" fmla="*/ 263302 w 303536"/>
                <a:gd name="connsiteY6" fmla="*/ -8420 h 13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3536" h="133911">
                  <a:moveTo>
                    <a:pt x="263302" y="-8420"/>
                  </a:moveTo>
                  <a:lnTo>
                    <a:pt x="-40235" y="-8420"/>
                  </a:lnTo>
                  <a:lnTo>
                    <a:pt x="-40235" y="-5169"/>
                  </a:lnTo>
                  <a:lnTo>
                    <a:pt x="260037" y="-5169"/>
                  </a:lnTo>
                  <a:lnTo>
                    <a:pt x="260037" y="125492"/>
                  </a:lnTo>
                  <a:lnTo>
                    <a:pt x="263302" y="125492"/>
                  </a:lnTo>
                  <a:lnTo>
                    <a:pt x="263302" y="-8420"/>
                  </a:ln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6" name="Vrije vorm 105">
              <a:extLst>
                <a:ext uri="{FF2B5EF4-FFF2-40B4-BE49-F238E27FC236}">
                  <a16:creationId xmlns:a16="http://schemas.microsoft.com/office/drawing/2014/main" id="{1E9F3A79-7EA4-F5AA-AA05-9F4C900E6A31}"/>
                </a:ext>
              </a:extLst>
            </p:cNvPr>
            <p:cNvSpPr/>
            <p:nvPr/>
          </p:nvSpPr>
          <p:spPr>
            <a:xfrm flipV="1">
              <a:off x="3879744" y="4368129"/>
              <a:ext cx="271341" cy="54701"/>
            </a:xfrm>
            <a:custGeom>
              <a:avLst/>
              <a:gdLst>
                <a:gd name="connsiteX0" fmla="*/ 231119 w 271341"/>
                <a:gd name="connsiteY0" fmla="*/ 44986 h 54701"/>
                <a:gd name="connsiteX1" fmla="*/ 229147 w 271341"/>
                <a:gd name="connsiteY1" fmla="*/ -7757 h 54701"/>
                <a:gd name="connsiteX2" fmla="*/ -383 w 271341"/>
                <a:gd name="connsiteY2" fmla="*/ -9471 h 54701"/>
                <a:gd name="connsiteX3" fmla="*/ -21560 w 271341"/>
                <a:gd name="connsiteY3" fmla="*/ -7526 h 54701"/>
                <a:gd name="connsiteX4" fmla="*/ -40222 w 271341"/>
                <a:gd name="connsiteY4" fmla="*/ 4062 h 54701"/>
                <a:gd name="connsiteX5" fmla="*/ -40195 w 271341"/>
                <a:gd name="connsiteY5" fmla="*/ 21756 h 54701"/>
                <a:gd name="connsiteX6" fmla="*/ -34999 w 271341"/>
                <a:gd name="connsiteY6" fmla="*/ 36390 h 54701"/>
                <a:gd name="connsiteX7" fmla="*/ -18037 w 271341"/>
                <a:gd name="connsiteY7" fmla="*/ 45231 h 54701"/>
                <a:gd name="connsiteX8" fmla="*/ 231119 w 271341"/>
                <a:gd name="connsiteY8" fmla="*/ 44986 h 54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341" h="54701">
                  <a:moveTo>
                    <a:pt x="231119" y="44986"/>
                  </a:moveTo>
                  <a:cubicBezTo>
                    <a:pt x="231119" y="44986"/>
                    <a:pt x="219163" y="14969"/>
                    <a:pt x="229147" y="-7757"/>
                  </a:cubicBezTo>
                  <a:lnTo>
                    <a:pt x="-383" y="-9471"/>
                  </a:lnTo>
                  <a:lnTo>
                    <a:pt x="-21560" y="-7526"/>
                  </a:lnTo>
                  <a:lnTo>
                    <a:pt x="-40222" y="4062"/>
                  </a:lnTo>
                  <a:lnTo>
                    <a:pt x="-40195" y="21756"/>
                  </a:lnTo>
                  <a:lnTo>
                    <a:pt x="-34999" y="36390"/>
                  </a:lnTo>
                  <a:lnTo>
                    <a:pt x="-18037" y="45231"/>
                  </a:lnTo>
                  <a:lnTo>
                    <a:pt x="231119" y="44986"/>
                  </a:lnTo>
                </a:path>
              </a:pathLst>
            </a:custGeom>
            <a:solidFill>
              <a:srgbClr val="FFFFFF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7" name="Vrije vorm 106">
              <a:extLst>
                <a:ext uri="{FF2B5EF4-FFF2-40B4-BE49-F238E27FC236}">
                  <a16:creationId xmlns:a16="http://schemas.microsoft.com/office/drawing/2014/main" id="{C9AFC9C3-2A87-321B-468D-3B648E660156}"/>
                </a:ext>
              </a:extLst>
            </p:cNvPr>
            <p:cNvSpPr/>
            <p:nvPr/>
          </p:nvSpPr>
          <p:spPr>
            <a:xfrm flipV="1">
              <a:off x="3875867" y="4363668"/>
              <a:ext cx="283922" cy="62304"/>
            </a:xfrm>
            <a:custGeom>
              <a:avLst/>
              <a:gdLst>
                <a:gd name="connsiteX0" fmla="*/ -7267 w 283922"/>
                <a:gd name="connsiteY0" fmla="*/ -9245 h 62304"/>
                <a:gd name="connsiteX1" fmla="*/ 240707 w 283922"/>
                <a:gd name="connsiteY1" fmla="*/ -9476 h 62304"/>
                <a:gd name="connsiteX2" fmla="*/ 243631 w 283922"/>
                <a:gd name="connsiteY2" fmla="*/ -6566 h 62304"/>
                <a:gd name="connsiteX3" fmla="*/ 240707 w 283922"/>
                <a:gd name="connsiteY3" fmla="*/ -3642 h 62304"/>
                <a:gd name="connsiteX4" fmla="*/ -7267 w 283922"/>
                <a:gd name="connsiteY4" fmla="*/ -3397 h 62304"/>
                <a:gd name="connsiteX5" fmla="*/ -34389 w 283922"/>
                <a:gd name="connsiteY5" fmla="*/ 21819 h 62304"/>
                <a:gd name="connsiteX6" fmla="*/ -7212 w 283922"/>
                <a:gd name="connsiteY6" fmla="*/ 46980 h 62304"/>
                <a:gd name="connsiteX7" fmla="*/ 240761 w 283922"/>
                <a:gd name="connsiteY7" fmla="*/ 46735 h 62304"/>
                <a:gd name="connsiteX8" fmla="*/ 243685 w 283922"/>
                <a:gd name="connsiteY8" fmla="*/ 49659 h 62304"/>
                <a:gd name="connsiteX9" fmla="*/ 240761 w 283922"/>
                <a:gd name="connsiteY9" fmla="*/ 52583 h 62304"/>
                <a:gd name="connsiteX10" fmla="*/ -7212 w 283922"/>
                <a:gd name="connsiteY10" fmla="*/ 52828 h 62304"/>
                <a:gd name="connsiteX11" fmla="*/ -40237 w 283922"/>
                <a:gd name="connsiteY11" fmla="*/ 21819 h 62304"/>
                <a:gd name="connsiteX12" fmla="*/ -7267 w 283922"/>
                <a:gd name="connsiteY12" fmla="*/ -9245 h 62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3922" h="62304">
                  <a:moveTo>
                    <a:pt x="-7267" y="-9245"/>
                  </a:moveTo>
                  <a:lnTo>
                    <a:pt x="240707" y="-9476"/>
                  </a:lnTo>
                  <a:cubicBezTo>
                    <a:pt x="242325" y="-9490"/>
                    <a:pt x="243631" y="-8171"/>
                    <a:pt x="243631" y="-6566"/>
                  </a:cubicBezTo>
                  <a:cubicBezTo>
                    <a:pt x="243631" y="-4947"/>
                    <a:pt x="242325" y="-3642"/>
                    <a:pt x="240707" y="-3642"/>
                  </a:cubicBezTo>
                  <a:lnTo>
                    <a:pt x="-7267" y="-3397"/>
                  </a:lnTo>
                  <a:cubicBezTo>
                    <a:pt x="-22229" y="-3383"/>
                    <a:pt x="-34402" y="7932"/>
                    <a:pt x="-34389" y="21819"/>
                  </a:cubicBezTo>
                  <a:cubicBezTo>
                    <a:pt x="-34375" y="35705"/>
                    <a:pt x="-22188" y="46993"/>
                    <a:pt x="-7212" y="46980"/>
                  </a:cubicBezTo>
                  <a:lnTo>
                    <a:pt x="240761" y="46735"/>
                  </a:lnTo>
                  <a:cubicBezTo>
                    <a:pt x="242380" y="46735"/>
                    <a:pt x="243685" y="48041"/>
                    <a:pt x="243685" y="49659"/>
                  </a:cubicBezTo>
                  <a:cubicBezTo>
                    <a:pt x="243685" y="51278"/>
                    <a:pt x="242380" y="52583"/>
                    <a:pt x="240761" y="52583"/>
                  </a:cubicBezTo>
                  <a:lnTo>
                    <a:pt x="-7212" y="52828"/>
                  </a:lnTo>
                  <a:cubicBezTo>
                    <a:pt x="-25411" y="52842"/>
                    <a:pt x="-40224" y="38928"/>
                    <a:pt x="-40237" y="21819"/>
                  </a:cubicBezTo>
                  <a:cubicBezTo>
                    <a:pt x="-40251" y="4709"/>
                    <a:pt x="-25466" y="-9232"/>
                    <a:pt x="-7267" y="-9245"/>
                  </a:cubicBezTo>
                </a:path>
              </a:pathLst>
            </a:custGeom>
            <a:solidFill>
              <a:srgbClr val="258D8C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8" name="Vrije vorm 107">
              <a:extLst>
                <a:ext uri="{FF2B5EF4-FFF2-40B4-BE49-F238E27FC236}">
                  <a16:creationId xmlns:a16="http://schemas.microsoft.com/office/drawing/2014/main" id="{09D5B030-6153-99D4-E90E-4ADB917E7985}"/>
                </a:ext>
              </a:extLst>
            </p:cNvPr>
            <p:cNvSpPr/>
            <p:nvPr/>
          </p:nvSpPr>
          <p:spPr>
            <a:xfrm flipV="1">
              <a:off x="4025350" y="4394174"/>
              <a:ext cx="123000" cy="1414"/>
            </a:xfrm>
            <a:custGeom>
              <a:avLst/>
              <a:gdLst>
                <a:gd name="connsiteX0" fmla="*/ -40024 w 123000"/>
                <a:gd name="connsiteY0" fmla="*/ -9354 h 1414"/>
                <a:gd name="connsiteX1" fmla="*/ 81671 w 123000"/>
                <a:gd name="connsiteY1" fmla="*/ -9476 h 1414"/>
                <a:gd name="connsiteX2" fmla="*/ 82324 w 123000"/>
                <a:gd name="connsiteY2" fmla="*/ -8823 h 1414"/>
                <a:gd name="connsiteX3" fmla="*/ 81671 w 123000"/>
                <a:gd name="connsiteY3" fmla="*/ -8170 h 1414"/>
                <a:gd name="connsiteX4" fmla="*/ -40024 w 123000"/>
                <a:gd name="connsiteY4" fmla="*/ -8062 h 1414"/>
                <a:gd name="connsiteX5" fmla="*/ -40677 w 123000"/>
                <a:gd name="connsiteY5" fmla="*/ -8701 h 1414"/>
                <a:gd name="connsiteX6" fmla="*/ -40024 w 123000"/>
                <a:gd name="connsiteY6" fmla="*/ -9354 h 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000" h="1414">
                  <a:moveTo>
                    <a:pt x="-40024" y="-9354"/>
                  </a:moveTo>
                  <a:lnTo>
                    <a:pt x="81671" y="-9476"/>
                  </a:lnTo>
                  <a:cubicBezTo>
                    <a:pt x="82024" y="-9476"/>
                    <a:pt x="82324" y="-9177"/>
                    <a:pt x="82324" y="-8823"/>
                  </a:cubicBezTo>
                  <a:cubicBezTo>
                    <a:pt x="82324" y="-8470"/>
                    <a:pt x="82024" y="-8170"/>
                    <a:pt x="81671" y="-8170"/>
                  </a:cubicBezTo>
                  <a:lnTo>
                    <a:pt x="-40024" y="-8062"/>
                  </a:lnTo>
                  <a:cubicBezTo>
                    <a:pt x="-40391" y="-8062"/>
                    <a:pt x="-40677" y="-8347"/>
                    <a:pt x="-40677" y="-8701"/>
                  </a:cubicBezTo>
                  <a:cubicBezTo>
                    <a:pt x="-40677" y="-9068"/>
                    <a:pt x="-40391" y="-9354"/>
                    <a:pt x="-40024" y="-9354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09" name="Vrije vorm 108">
              <a:extLst>
                <a:ext uri="{FF2B5EF4-FFF2-40B4-BE49-F238E27FC236}">
                  <a16:creationId xmlns:a16="http://schemas.microsoft.com/office/drawing/2014/main" id="{14111741-81B9-0BE0-797E-D98EC905A21D}"/>
                </a:ext>
              </a:extLst>
            </p:cNvPr>
            <p:cNvSpPr/>
            <p:nvPr/>
          </p:nvSpPr>
          <p:spPr>
            <a:xfrm flipV="1">
              <a:off x="3889986" y="4394038"/>
              <a:ext cx="119532" cy="1414"/>
            </a:xfrm>
            <a:custGeom>
              <a:avLst/>
              <a:gdLst>
                <a:gd name="connsiteX0" fmla="*/ -39151 w 119532"/>
                <a:gd name="connsiteY0" fmla="*/ -9368 h 1414"/>
                <a:gd name="connsiteX1" fmla="*/ 79076 w 119532"/>
                <a:gd name="connsiteY1" fmla="*/ -9477 h 1414"/>
                <a:gd name="connsiteX2" fmla="*/ 79729 w 119532"/>
                <a:gd name="connsiteY2" fmla="*/ -8824 h 1414"/>
                <a:gd name="connsiteX3" fmla="*/ 79076 w 119532"/>
                <a:gd name="connsiteY3" fmla="*/ -8172 h 1414"/>
                <a:gd name="connsiteX4" fmla="*/ -39151 w 119532"/>
                <a:gd name="connsiteY4" fmla="*/ -8063 h 1414"/>
                <a:gd name="connsiteX5" fmla="*/ -39804 w 119532"/>
                <a:gd name="connsiteY5" fmla="*/ -8716 h 1414"/>
                <a:gd name="connsiteX6" fmla="*/ -39151 w 119532"/>
                <a:gd name="connsiteY6" fmla="*/ -9368 h 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532" h="1414">
                  <a:moveTo>
                    <a:pt x="-39151" y="-9368"/>
                  </a:moveTo>
                  <a:lnTo>
                    <a:pt x="79076" y="-9477"/>
                  </a:lnTo>
                  <a:cubicBezTo>
                    <a:pt x="79429" y="-9477"/>
                    <a:pt x="79729" y="-9192"/>
                    <a:pt x="79729" y="-8824"/>
                  </a:cubicBezTo>
                  <a:cubicBezTo>
                    <a:pt x="79729" y="-8471"/>
                    <a:pt x="79429" y="-8172"/>
                    <a:pt x="79076" y="-8172"/>
                  </a:cubicBezTo>
                  <a:lnTo>
                    <a:pt x="-39151" y="-8063"/>
                  </a:lnTo>
                  <a:cubicBezTo>
                    <a:pt x="-39518" y="-8063"/>
                    <a:pt x="-39804" y="-8348"/>
                    <a:pt x="-39804" y="-8716"/>
                  </a:cubicBezTo>
                  <a:cubicBezTo>
                    <a:pt x="-39804" y="-9069"/>
                    <a:pt x="-39518" y="-9368"/>
                    <a:pt x="-39151" y="-9368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0" name="Vrije vorm 109">
              <a:extLst>
                <a:ext uri="{FF2B5EF4-FFF2-40B4-BE49-F238E27FC236}">
                  <a16:creationId xmlns:a16="http://schemas.microsoft.com/office/drawing/2014/main" id="{1A071F0A-47CD-A48F-903B-F1B6C7D16B18}"/>
                </a:ext>
              </a:extLst>
            </p:cNvPr>
            <p:cNvSpPr/>
            <p:nvPr/>
          </p:nvSpPr>
          <p:spPr>
            <a:xfrm flipV="1">
              <a:off x="3893155" y="4405680"/>
              <a:ext cx="61955" cy="1360"/>
            </a:xfrm>
            <a:custGeom>
              <a:avLst/>
              <a:gdLst>
                <a:gd name="connsiteX0" fmla="*/ -39001 w 61955"/>
                <a:gd name="connsiteY0" fmla="*/ -9326 h 1360"/>
                <a:gd name="connsiteX1" fmla="*/ 21663 w 61955"/>
                <a:gd name="connsiteY1" fmla="*/ -9380 h 1360"/>
                <a:gd name="connsiteX2" fmla="*/ 22316 w 61955"/>
                <a:gd name="connsiteY2" fmla="*/ -8728 h 1360"/>
                <a:gd name="connsiteX3" fmla="*/ 21663 w 61955"/>
                <a:gd name="connsiteY3" fmla="*/ -8088 h 1360"/>
                <a:gd name="connsiteX4" fmla="*/ -39001 w 61955"/>
                <a:gd name="connsiteY4" fmla="*/ -8020 h 1360"/>
                <a:gd name="connsiteX5" fmla="*/ -39640 w 61955"/>
                <a:gd name="connsiteY5" fmla="*/ -8673 h 1360"/>
                <a:gd name="connsiteX6" fmla="*/ -39001 w 61955"/>
                <a:gd name="connsiteY6" fmla="*/ -9326 h 1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55" h="1360">
                  <a:moveTo>
                    <a:pt x="-39001" y="-9326"/>
                  </a:moveTo>
                  <a:lnTo>
                    <a:pt x="21663" y="-9380"/>
                  </a:lnTo>
                  <a:cubicBezTo>
                    <a:pt x="22030" y="-9380"/>
                    <a:pt x="22316" y="-9095"/>
                    <a:pt x="22316" y="-8728"/>
                  </a:cubicBezTo>
                  <a:cubicBezTo>
                    <a:pt x="22316" y="-8374"/>
                    <a:pt x="22030" y="-8088"/>
                    <a:pt x="21663" y="-8088"/>
                  </a:cubicBezTo>
                  <a:lnTo>
                    <a:pt x="-39001" y="-8020"/>
                  </a:lnTo>
                  <a:cubicBezTo>
                    <a:pt x="-39355" y="-8020"/>
                    <a:pt x="-39640" y="-8320"/>
                    <a:pt x="-39640" y="-8673"/>
                  </a:cubicBezTo>
                  <a:cubicBezTo>
                    <a:pt x="-39640" y="-9040"/>
                    <a:pt x="-39355" y="-9326"/>
                    <a:pt x="-39001" y="-9326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1" name="Vrije vorm 110">
              <a:extLst>
                <a:ext uri="{FF2B5EF4-FFF2-40B4-BE49-F238E27FC236}">
                  <a16:creationId xmlns:a16="http://schemas.microsoft.com/office/drawing/2014/main" id="{4CBFE69D-CB17-A1B3-F379-D7F71D120A9C}"/>
                </a:ext>
              </a:extLst>
            </p:cNvPr>
            <p:cNvSpPr/>
            <p:nvPr/>
          </p:nvSpPr>
          <p:spPr>
            <a:xfrm flipV="1">
              <a:off x="3962714" y="4405748"/>
              <a:ext cx="185622" cy="1482"/>
            </a:xfrm>
            <a:custGeom>
              <a:avLst/>
              <a:gdLst>
                <a:gd name="connsiteX0" fmla="*/ -39838 w 185622"/>
                <a:gd name="connsiteY0" fmla="*/ -9203 h 1482"/>
                <a:gd name="connsiteX1" fmla="*/ 144492 w 185622"/>
                <a:gd name="connsiteY1" fmla="*/ -9379 h 1482"/>
                <a:gd name="connsiteX2" fmla="*/ 145145 w 185622"/>
                <a:gd name="connsiteY2" fmla="*/ -8727 h 1482"/>
                <a:gd name="connsiteX3" fmla="*/ 144492 w 185622"/>
                <a:gd name="connsiteY3" fmla="*/ -8074 h 1482"/>
                <a:gd name="connsiteX4" fmla="*/ -39825 w 185622"/>
                <a:gd name="connsiteY4" fmla="*/ -7897 h 1482"/>
                <a:gd name="connsiteX5" fmla="*/ -40478 w 185622"/>
                <a:gd name="connsiteY5" fmla="*/ -8550 h 1482"/>
                <a:gd name="connsiteX6" fmla="*/ -39838 w 185622"/>
                <a:gd name="connsiteY6" fmla="*/ -9203 h 1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5622" h="1482">
                  <a:moveTo>
                    <a:pt x="-39838" y="-9203"/>
                  </a:moveTo>
                  <a:lnTo>
                    <a:pt x="144492" y="-9379"/>
                  </a:lnTo>
                  <a:cubicBezTo>
                    <a:pt x="144846" y="-9379"/>
                    <a:pt x="145145" y="-9080"/>
                    <a:pt x="145145" y="-8727"/>
                  </a:cubicBezTo>
                  <a:cubicBezTo>
                    <a:pt x="145145" y="-8373"/>
                    <a:pt x="144846" y="-8074"/>
                    <a:pt x="144492" y="-8074"/>
                  </a:cubicBezTo>
                  <a:lnTo>
                    <a:pt x="-39825" y="-7897"/>
                  </a:lnTo>
                  <a:cubicBezTo>
                    <a:pt x="-40192" y="-7897"/>
                    <a:pt x="-40478" y="-8196"/>
                    <a:pt x="-40478" y="-8550"/>
                  </a:cubicBezTo>
                  <a:cubicBezTo>
                    <a:pt x="-40478" y="-8903"/>
                    <a:pt x="-40192" y="-9203"/>
                    <a:pt x="-39838" y="-9203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2" name="Vrije vorm 111">
              <a:extLst>
                <a:ext uri="{FF2B5EF4-FFF2-40B4-BE49-F238E27FC236}">
                  <a16:creationId xmlns:a16="http://schemas.microsoft.com/office/drawing/2014/main" id="{41962063-25A0-F0DF-5188-0DA2BEA54295}"/>
                </a:ext>
              </a:extLst>
            </p:cNvPr>
            <p:cNvSpPr/>
            <p:nvPr/>
          </p:nvSpPr>
          <p:spPr>
            <a:xfrm flipV="1">
              <a:off x="3882246" y="4306613"/>
              <a:ext cx="271286" cy="54892"/>
            </a:xfrm>
            <a:custGeom>
              <a:avLst/>
              <a:gdLst>
                <a:gd name="connsiteX0" fmla="*/ -40238 w 271286"/>
                <a:gd name="connsiteY0" fmla="*/ 44909 h 54892"/>
                <a:gd name="connsiteX1" fmla="*/ -38361 w 271286"/>
                <a:gd name="connsiteY1" fmla="*/ -7848 h 54892"/>
                <a:gd name="connsiteX2" fmla="*/ 191169 w 271286"/>
                <a:gd name="connsiteY2" fmla="*/ -9983 h 54892"/>
                <a:gd name="connsiteX3" fmla="*/ 212347 w 271286"/>
                <a:gd name="connsiteY3" fmla="*/ -8079 h 54892"/>
                <a:gd name="connsiteX4" fmla="*/ 231022 w 271286"/>
                <a:gd name="connsiteY4" fmla="*/ 3468 h 54892"/>
                <a:gd name="connsiteX5" fmla="*/ 231049 w 271286"/>
                <a:gd name="connsiteY5" fmla="*/ 21163 h 54892"/>
                <a:gd name="connsiteX6" fmla="*/ 225867 w 271286"/>
                <a:gd name="connsiteY6" fmla="*/ 35810 h 54892"/>
                <a:gd name="connsiteX7" fmla="*/ 208933 w 271286"/>
                <a:gd name="connsiteY7" fmla="*/ 44678 h 54892"/>
                <a:gd name="connsiteX8" fmla="*/ -40238 w 271286"/>
                <a:gd name="connsiteY8" fmla="*/ 44909 h 54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286" h="54892">
                  <a:moveTo>
                    <a:pt x="-40238" y="44909"/>
                  </a:moveTo>
                  <a:cubicBezTo>
                    <a:pt x="-40238" y="44909"/>
                    <a:pt x="-28322" y="14865"/>
                    <a:pt x="-38361" y="-7848"/>
                  </a:cubicBezTo>
                  <a:lnTo>
                    <a:pt x="191169" y="-9983"/>
                  </a:lnTo>
                  <a:lnTo>
                    <a:pt x="212347" y="-8079"/>
                  </a:lnTo>
                  <a:lnTo>
                    <a:pt x="231022" y="3468"/>
                  </a:lnTo>
                  <a:lnTo>
                    <a:pt x="231049" y="21163"/>
                  </a:lnTo>
                  <a:lnTo>
                    <a:pt x="225867" y="35810"/>
                  </a:lnTo>
                  <a:lnTo>
                    <a:pt x="208933" y="44678"/>
                  </a:lnTo>
                  <a:lnTo>
                    <a:pt x="-40238" y="44909"/>
                  </a:lnTo>
                </a:path>
              </a:pathLst>
            </a:custGeom>
            <a:solidFill>
              <a:srgbClr val="FFFFFF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3" name="Vrije vorm 112">
              <a:extLst>
                <a:ext uri="{FF2B5EF4-FFF2-40B4-BE49-F238E27FC236}">
                  <a16:creationId xmlns:a16="http://schemas.microsoft.com/office/drawing/2014/main" id="{B2E9588A-2B48-8A77-7A2C-60958094B006}"/>
                </a:ext>
              </a:extLst>
            </p:cNvPr>
            <p:cNvSpPr/>
            <p:nvPr/>
          </p:nvSpPr>
          <p:spPr>
            <a:xfrm flipV="1">
              <a:off x="3873501" y="4302138"/>
              <a:ext cx="283922" cy="62304"/>
            </a:xfrm>
            <a:custGeom>
              <a:avLst/>
              <a:gdLst>
                <a:gd name="connsiteX0" fmla="*/ 210675 w 283922"/>
                <a:gd name="connsiteY0" fmla="*/ -9989 h 62304"/>
                <a:gd name="connsiteX1" fmla="*/ -37298 w 283922"/>
                <a:gd name="connsiteY1" fmla="*/ -9758 h 62304"/>
                <a:gd name="connsiteX2" fmla="*/ -40222 w 283922"/>
                <a:gd name="connsiteY2" fmla="*/ -6820 h 62304"/>
                <a:gd name="connsiteX3" fmla="*/ -37298 w 283922"/>
                <a:gd name="connsiteY3" fmla="*/ -3910 h 62304"/>
                <a:gd name="connsiteX4" fmla="*/ 210675 w 283922"/>
                <a:gd name="connsiteY4" fmla="*/ -4141 h 62304"/>
                <a:gd name="connsiteX5" fmla="*/ 237852 w 283922"/>
                <a:gd name="connsiteY5" fmla="*/ 21020 h 62304"/>
                <a:gd name="connsiteX6" fmla="*/ 210730 w 283922"/>
                <a:gd name="connsiteY6" fmla="*/ 46236 h 62304"/>
                <a:gd name="connsiteX7" fmla="*/ -37258 w 283922"/>
                <a:gd name="connsiteY7" fmla="*/ 46467 h 62304"/>
                <a:gd name="connsiteX8" fmla="*/ -40168 w 283922"/>
                <a:gd name="connsiteY8" fmla="*/ 49391 h 62304"/>
                <a:gd name="connsiteX9" fmla="*/ -37244 w 283922"/>
                <a:gd name="connsiteY9" fmla="*/ 52315 h 62304"/>
                <a:gd name="connsiteX10" fmla="*/ 210730 w 283922"/>
                <a:gd name="connsiteY10" fmla="*/ 52084 h 62304"/>
                <a:gd name="connsiteX11" fmla="*/ 243700 w 283922"/>
                <a:gd name="connsiteY11" fmla="*/ 21007 h 62304"/>
                <a:gd name="connsiteX12" fmla="*/ 210675 w 283922"/>
                <a:gd name="connsiteY12" fmla="*/ -9989 h 62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3922" h="62304">
                  <a:moveTo>
                    <a:pt x="210675" y="-9989"/>
                  </a:moveTo>
                  <a:lnTo>
                    <a:pt x="-37298" y="-9758"/>
                  </a:lnTo>
                  <a:cubicBezTo>
                    <a:pt x="-38917" y="-9758"/>
                    <a:pt x="-40222" y="-8439"/>
                    <a:pt x="-40222" y="-6820"/>
                  </a:cubicBezTo>
                  <a:cubicBezTo>
                    <a:pt x="-40222" y="-5216"/>
                    <a:pt x="-38917" y="-3910"/>
                    <a:pt x="-37298" y="-3910"/>
                  </a:cubicBezTo>
                  <a:lnTo>
                    <a:pt x="210675" y="-4141"/>
                  </a:lnTo>
                  <a:cubicBezTo>
                    <a:pt x="225651" y="-4155"/>
                    <a:pt x="237838" y="7134"/>
                    <a:pt x="237852" y="21020"/>
                  </a:cubicBezTo>
                  <a:cubicBezTo>
                    <a:pt x="237866" y="34906"/>
                    <a:pt x="225692" y="46222"/>
                    <a:pt x="210730" y="46236"/>
                  </a:cubicBezTo>
                  <a:lnTo>
                    <a:pt x="-37258" y="46467"/>
                  </a:lnTo>
                  <a:cubicBezTo>
                    <a:pt x="-38862" y="46467"/>
                    <a:pt x="-40168" y="47786"/>
                    <a:pt x="-40168" y="49391"/>
                  </a:cubicBezTo>
                  <a:cubicBezTo>
                    <a:pt x="-40168" y="51010"/>
                    <a:pt x="-38862" y="52315"/>
                    <a:pt x="-37244" y="52315"/>
                  </a:cubicBezTo>
                  <a:lnTo>
                    <a:pt x="210730" y="52084"/>
                  </a:lnTo>
                  <a:cubicBezTo>
                    <a:pt x="228929" y="52057"/>
                    <a:pt x="243714" y="38130"/>
                    <a:pt x="243700" y="21007"/>
                  </a:cubicBezTo>
                  <a:cubicBezTo>
                    <a:pt x="243687" y="3897"/>
                    <a:pt x="228875" y="-10003"/>
                    <a:pt x="210675" y="-9989"/>
                  </a:cubicBezTo>
                </a:path>
              </a:pathLst>
            </a:custGeom>
            <a:solidFill>
              <a:srgbClr val="FC496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4" name="Vrije vorm 113">
              <a:extLst>
                <a:ext uri="{FF2B5EF4-FFF2-40B4-BE49-F238E27FC236}">
                  <a16:creationId xmlns:a16="http://schemas.microsoft.com/office/drawing/2014/main" id="{B87EFCA3-1DA8-0A2B-170B-2EEFB0EA736C}"/>
                </a:ext>
              </a:extLst>
            </p:cNvPr>
            <p:cNvSpPr/>
            <p:nvPr/>
          </p:nvSpPr>
          <p:spPr>
            <a:xfrm flipV="1">
              <a:off x="3884939" y="4332536"/>
              <a:ext cx="123000" cy="1414"/>
            </a:xfrm>
            <a:custGeom>
              <a:avLst/>
              <a:gdLst>
                <a:gd name="connsiteX0" fmla="*/ -39129 w 123000"/>
                <a:gd name="connsiteY0" fmla="*/ -9867 h 1414"/>
                <a:gd name="connsiteX1" fmla="*/ 82565 w 123000"/>
                <a:gd name="connsiteY1" fmla="*/ -9990 h 1414"/>
                <a:gd name="connsiteX2" fmla="*/ 83218 w 123000"/>
                <a:gd name="connsiteY2" fmla="*/ -9337 h 1414"/>
                <a:gd name="connsiteX3" fmla="*/ 82565 w 123000"/>
                <a:gd name="connsiteY3" fmla="*/ -8684 h 1414"/>
                <a:gd name="connsiteX4" fmla="*/ -39129 w 123000"/>
                <a:gd name="connsiteY4" fmla="*/ -8575 h 1414"/>
                <a:gd name="connsiteX5" fmla="*/ -39782 w 123000"/>
                <a:gd name="connsiteY5" fmla="*/ -9214 h 1414"/>
                <a:gd name="connsiteX6" fmla="*/ -39129 w 123000"/>
                <a:gd name="connsiteY6" fmla="*/ -9867 h 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000" h="1414">
                  <a:moveTo>
                    <a:pt x="-39129" y="-9867"/>
                  </a:moveTo>
                  <a:lnTo>
                    <a:pt x="82565" y="-9990"/>
                  </a:lnTo>
                  <a:cubicBezTo>
                    <a:pt x="82932" y="-9990"/>
                    <a:pt x="83218" y="-9690"/>
                    <a:pt x="83218" y="-9337"/>
                  </a:cubicBezTo>
                  <a:cubicBezTo>
                    <a:pt x="83218" y="-8983"/>
                    <a:pt x="82932" y="-8684"/>
                    <a:pt x="82565" y="-8684"/>
                  </a:cubicBezTo>
                  <a:lnTo>
                    <a:pt x="-39129" y="-8575"/>
                  </a:lnTo>
                  <a:cubicBezTo>
                    <a:pt x="-39483" y="-8575"/>
                    <a:pt x="-39782" y="-8861"/>
                    <a:pt x="-39782" y="-9214"/>
                  </a:cubicBezTo>
                  <a:cubicBezTo>
                    <a:pt x="-39782" y="-9582"/>
                    <a:pt x="-39483" y="-9867"/>
                    <a:pt x="-39129" y="-9867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5" name="Vrije vorm 114">
              <a:extLst>
                <a:ext uri="{FF2B5EF4-FFF2-40B4-BE49-F238E27FC236}">
                  <a16:creationId xmlns:a16="http://schemas.microsoft.com/office/drawing/2014/main" id="{88A216F8-ACD9-2615-1D2F-E521686AD965}"/>
                </a:ext>
              </a:extLst>
            </p:cNvPr>
            <p:cNvSpPr/>
            <p:nvPr/>
          </p:nvSpPr>
          <p:spPr>
            <a:xfrm flipV="1">
              <a:off x="4023772" y="4332658"/>
              <a:ext cx="119532" cy="1414"/>
            </a:xfrm>
            <a:custGeom>
              <a:avLst/>
              <a:gdLst>
                <a:gd name="connsiteX0" fmla="*/ -40003 w 119532"/>
                <a:gd name="connsiteY0" fmla="*/ -9880 h 1414"/>
                <a:gd name="connsiteX1" fmla="*/ 78223 w 119532"/>
                <a:gd name="connsiteY1" fmla="*/ -9989 h 1414"/>
                <a:gd name="connsiteX2" fmla="*/ 78876 w 119532"/>
                <a:gd name="connsiteY2" fmla="*/ -9349 h 1414"/>
                <a:gd name="connsiteX3" fmla="*/ 78223 w 119532"/>
                <a:gd name="connsiteY3" fmla="*/ -8697 h 1414"/>
                <a:gd name="connsiteX4" fmla="*/ -40003 w 119532"/>
                <a:gd name="connsiteY4" fmla="*/ -8574 h 1414"/>
                <a:gd name="connsiteX5" fmla="*/ -40656 w 119532"/>
                <a:gd name="connsiteY5" fmla="*/ -9227 h 1414"/>
                <a:gd name="connsiteX6" fmla="*/ -40003 w 119532"/>
                <a:gd name="connsiteY6" fmla="*/ -9880 h 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532" h="1414">
                  <a:moveTo>
                    <a:pt x="-40003" y="-9880"/>
                  </a:moveTo>
                  <a:lnTo>
                    <a:pt x="78223" y="-9989"/>
                  </a:lnTo>
                  <a:cubicBezTo>
                    <a:pt x="78591" y="-9989"/>
                    <a:pt x="78876" y="-9703"/>
                    <a:pt x="78876" y="-9349"/>
                  </a:cubicBezTo>
                  <a:cubicBezTo>
                    <a:pt x="78876" y="-8982"/>
                    <a:pt x="78591" y="-8697"/>
                    <a:pt x="78223" y="-8697"/>
                  </a:cubicBezTo>
                  <a:lnTo>
                    <a:pt x="-40003" y="-8574"/>
                  </a:lnTo>
                  <a:cubicBezTo>
                    <a:pt x="-40356" y="-8574"/>
                    <a:pt x="-40656" y="-8873"/>
                    <a:pt x="-40656" y="-9227"/>
                  </a:cubicBezTo>
                  <a:cubicBezTo>
                    <a:pt x="-40656" y="-9594"/>
                    <a:pt x="-40356" y="-9880"/>
                    <a:pt x="-40003" y="-9880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6" name="Vrije vorm 115">
              <a:extLst>
                <a:ext uri="{FF2B5EF4-FFF2-40B4-BE49-F238E27FC236}">
                  <a16:creationId xmlns:a16="http://schemas.microsoft.com/office/drawing/2014/main" id="{F1EBA885-9AE4-DDCD-221C-087D27BE141B}"/>
                </a:ext>
              </a:extLst>
            </p:cNvPr>
            <p:cNvSpPr/>
            <p:nvPr/>
          </p:nvSpPr>
          <p:spPr>
            <a:xfrm flipV="1">
              <a:off x="4078152" y="4344355"/>
              <a:ext cx="61969" cy="1360"/>
            </a:xfrm>
            <a:custGeom>
              <a:avLst/>
              <a:gdLst>
                <a:gd name="connsiteX0" fmla="*/ -40166 w 61969"/>
                <a:gd name="connsiteY0" fmla="*/ -9837 h 1360"/>
                <a:gd name="connsiteX1" fmla="*/ 20498 w 61969"/>
                <a:gd name="connsiteY1" fmla="*/ -9891 h 1360"/>
                <a:gd name="connsiteX2" fmla="*/ 21151 w 61969"/>
                <a:gd name="connsiteY2" fmla="*/ -9239 h 1360"/>
                <a:gd name="connsiteX3" fmla="*/ 20498 w 61969"/>
                <a:gd name="connsiteY3" fmla="*/ -8599 h 1360"/>
                <a:gd name="connsiteX4" fmla="*/ -40166 w 61969"/>
                <a:gd name="connsiteY4" fmla="*/ -8531 h 1360"/>
                <a:gd name="connsiteX5" fmla="*/ -40819 w 61969"/>
                <a:gd name="connsiteY5" fmla="*/ -9184 h 1360"/>
                <a:gd name="connsiteX6" fmla="*/ -40166 w 61969"/>
                <a:gd name="connsiteY6" fmla="*/ -9837 h 1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" h="1360">
                  <a:moveTo>
                    <a:pt x="-40166" y="-9837"/>
                  </a:moveTo>
                  <a:lnTo>
                    <a:pt x="20498" y="-9891"/>
                  </a:lnTo>
                  <a:cubicBezTo>
                    <a:pt x="20852" y="-9891"/>
                    <a:pt x="21151" y="-9606"/>
                    <a:pt x="21151" y="-9239"/>
                  </a:cubicBezTo>
                  <a:cubicBezTo>
                    <a:pt x="21151" y="-8885"/>
                    <a:pt x="20852" y="-8599"/>
                    <a:pt x="20498" y="-8599"/>
                  </a:cubicBezTo>
                  <a:lnTo>
                    <a:pt x="-40166" y="-8531"/>
                  </a:lnTo>
                  <a:cubicBezTo>
                    <a:pt x="-40520" y="-8531"/>
                    <a:pt x="-40819" y="-8831"/>
                    <a:pt x="-40819" y="-9184"/>
                  </a:cubicBezTo>
                  <a:cubicBezTo>
                    <a:pt x="-40819" y="-9538"/>
                    <a:pt x="-40520" y="-9837"/>
                    <a:pt x="-40166" y="-9837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7" name="Vrije vorm 116">
              <a:extLst>
                <a:ext uri="{FF2B5EF4-FFF2-40B4-BE49-F238E27FC236}">
                  <a16:creationId xmlns:a16="http://schemas.microsoft.com/office/drawing/2014/main" id="{22EE2272-3D40-74A6-D61F-F452A9CDE74A}"/>
                </a:ext>
              </a:extLst>
            </p:cNvPr>
            <p:cNvSpPr/>
            <p:nvPr/>
          </p:nvSpPr>
          <p:spPr>
            <a:xfrm flipV="1">
              <a:off x="3884939" y="4344178"/>
              <a:ext cx="185622" cy="1468"/>
            </a:xfrm>
            <a:custGeom>
              <a:avLst/>
              <a:gdLst>
                <a:gd name="connsiteX0" fmla="*/ -39343 w 185622"/>
                <a:gd name="connsiteY0" fmla="*/ -9716 h 1468"/>
                <a:gd name="connsiteX1" fmla="*/ 144989 w 185622"/>
                <a:gd name="connsiteY1" fmla="*/ -9892 h 1468"/>
                <a:gd name="connsiteX2" fmla="*/ 145641 w 185622"/>
                <a:gd name="connsiteY2" fmla="*/ -9253 h 1468"/>
                <a:gd name="connsiteX3" fmla="*/ 144989 w 185622"/>
                <a:gd name="connsiteY3" fmla="*/ -8600 h 1468"/>
                <a:gd name="connsiteX4" fmla="*/ -39343 w 185622"/>
                <a:gd name="connsiteY4" fmla="*/ -8424 h 1468"/>
                <a:gd name="connsiteX5" fmla="*/ -39982 w 185622"/>
                <a:gd name="connsiteY5" fmla="*/ -9063 h 1468"/>
                <a:gd name="connsiteX6" fmla="*/ -39343 w 185622"/>
                <a:gd name="connsiteY6" fmla="*/ -9716 h 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5622" h="1468">
                  <a:moveTo>
                    <a:pt x="-39343" y="-9716"/>
                  </a:moveTo>
                  <a:lnTo>
                    <a:pt x="144989" y="-9892"/>
                  </a:lnTo>
                  <a:cubicBezTo>
                    <a:pt x="145342" y="-9892"/>
                    <a:pt x="145641" y="-9607"/>
                    <a:pt x="145641" y="-9253"/>
                  </a:cubicBezTo>
                  <a:cubicBezTo>
                    <a:pt x="145641" y="-8886"/>
                    <a:pt x="145342" y="-8600"/>
                    <a:pt x="144989" y="-8600"/>
                  </a:cubicBezTo>
                  <a:lnTo>
                    <a:pt x="-39343" y="-8424"/>
                  </a:lnTo>
                  <a:cubicBezTo>
                    <a:pt x="-39696" y="-8424"/>
                    <a:pt x="-39982" y="-8709"/>
                    <a:pt x="-39982" y="-9063"/>
                  </a:cubicBezTo>
                  <a:cubicBezTo>
                    <a:pt x="-39982" y="-9430"/>
                    <a:pt x="-39696" y="-9716"/>
                    <a:pt x="-39343" y="-9716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8" name="Vrije vorm 117">
              <a:extLst>
                <a:ext uri="{FF2B5EF4-FFF2-40B4-BE49-F238E27FC236}">
                  <a16:creationId xmlns:a16="http://schemas.microsoft.com/office/drawing/2014/main" id="{96FF6E0A-DD67-16CD-A6BD-CE2E48E46271}"/>
                </a:ext>
              </a:extLst>
            </p:cNvPr>
            <p:cNvSpPr/>
            <p:nvPr/>
          </p:nvSpPr>
          <p:spPr>
            <a:xfrm flipV="1">
              <a:off x="3872848" y="4301485"/>
              <a:ext cx="285228" cy="63610"/>
            </a:xfrm>
            <a:custGeom>
              <a:avLst/>
              <a:gdLst>
                <a:gd name="connsiteX0" fmla="*/ -36659 w 285228"/>
                <a:gd name="connsiteY0" fmla="*/ -9758 h 63610"/>
                <a:gd name="connsiteX1" fmla="*/ 211328 w 285228"/>
                <a:gd name="connsiteY1" fmla="*/ -9989 h 63610"/>
                <a:gd name="connsiteX2" fmla="*/ 245006 w 285228"/>
                <a:gd name="connsiteY2" fmla="*/ 21659 h 63610"/>
                <a:gd name="connsiteX3" fmla="*/ 211383 w 285228"/>
                <a:gd name="connsiteY3" fmla="*/ 53376 h 63610"/>
                <a:gd name="connsiteX4" fmla="*/ -36591 w 285228"/>
                <a:gd name="connsiteY4" fmla="*/ 53621 h 63610"/>
                <a:gd name="connsiteX5" fmla="*/ -40168 w 285228"/>
                <a:gd name="connsiteY5" fmla="*/ 50044 h 63610"/>
                <a:gd name="connsiteX6" fmla="*/ -36605 w 285228"/>
                <a:gd name="connsiteY6" fmla="*/ 46467 h 63610"/>
                <a:gd name="connsiteX7" fmla="*/ -35952 w 285228"/>
                <a:gd name="connsiteY7" fmla="*/ 47120 h 63610"/>
                <a:gd name="connsiteX8" fmla="*/ -36591 w 285228"/>
                <a:gd name="connsiteY8" fmla="*/ 47773 h 63610"/>
                <a:gd name="connsiteX9" fmla="*/ -38876 w 285228"/>
                <a:gd name="connsiteY9" fmla="*/ 50044 h 63610"/>
                <a:gd name="connsiteX10" fmla="*/ -36591 w 285228"/>
                <a:gd name="connsiteY10" fmla="*/ 52315 h 63610"/>
                <a:gd name="connsiteX11" fmla="*/ 211383 w 285228"/>
                <a:gd name="connsiteY11" fmla="*/ 52084 h 63610"/>
                <a:gd name="connsiteX12" fmla="*/ 243700 w 285228"/>
                <a:gd name="connsiteY12" fmla="*/ 21659 h 63610"/>
                <a:gd name="connsiteX13" fmla="*/ 211328 w 285228"/>
                <a:gd name="connsiteY13" fmla="*/ -8684 h 63610"/>
                <a:gd name="connsiteX14" fmla="*/ -36645 w 285228"/>
                <a:gd name="connsiteY14" fmla="*/ -8452 h 63610"/>
                <a:gd name="connsiteX15" fmla="*/ -38930 w 285228"/>
                <a:gd name="connsiteY15" fmla="*/ -6168 h 63610"/>
                <a:gd name="connsiteX16" fmla="*/ -36645 w 285228"/>
                <a:gd name="connsiteY16" fmla="*/ -3910 h 63610"/>
                <a:gd name="connsiteX17" fmla="*/ -35992 w 285228"/>
                <a:gd name="connsiteY17" fmla="*/ -3257 h 63610"/>
                <a:gd name="connsiteX18" fmla="*/ -36645 w 285228"/>
                <a:gd name="connsiteY18" fmla="*/ -2604 h 63610"/>
                <a:gd name="connsiteX19" fmla="*/ -40222 w 285228"/>
                <a:gd name="connsiteY19" fmla="*/ -6168 h 63610"/>
                <a:gd name="connsiteX20" fmla="*/ -36659 w 285228"/>
                <a:gd name="connsiteY20" fmla="*/ -9758 h 63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228" h="63610">
                  <a:moveTo>
                    <a:pt x="-36659" y="-9758"/>
                  </a:moveTo>
                  <a:lnTo>
                    <a:pt x="211328" y="-9989"/>
                  </a:lnTo>
                  <a:cubicBezTo>
                    <a:pt x="229881" y="-10003"/>
                    <a:pt x="244993" y="4196"/>
                    <a:pt x="245006" y="21659"/>
                  </a:cubicBezTo>
                  <a:cubicBezTo>
                    <a:pt x="245020" y="39136"/>
                    <a:pt x="229936" y="53362"/>
                    <a:pt x="211383" y="53376"/>
                  </a:cubicBezTo>
                  <a:lnTo>
                    <a:pt x="-36591" y="53621"/>
                  </a:lnTo>
                  <a:cubicBezTo>
                    <a:pt x="-38563" y="53621"/>
                    <a:pt x="-40168" y="52016"/>
                    <a:pt x="-40168" y="50044"/>
                  </a:cubicBezTo>
                  <a:cubicBezTo>
                    <a:pt x="-40168" y="48072"/>
                    <a:pt x="-38563" y="46467"/>
                    <a:pt x="-36605" y="46467"/>
                  </a:cubicBezTo>
                  <a:cubicBezTo>
                    <a:pt x="-36237" y="46467"/>
                    <a:pt x="-35952" y="46766"/>
                    <a:pt x="-35952" y="47120"/>
                  </a:cubicBezTo>
                  <a:cubicBezTo>
                    <a:pt x="-35952" y="47473"/>
                    <a:pt x="-36237" y="47773"/>
                    <a:pt x="-36591" y="47773"/>
                  </a:cubicBezTo>
                  <a:cubicBezTo>
                    <a:pt x="-37856" y="47773"/>
                    <a:pt x="-38876" y="48793"/>
                    <a:pt x="-38876" y="50044"/>
                  </a:cubicBezTo>
                  <a:cubicBezTo>
                    <a:pt x="-38862" y="51295"/>
                    <a:pt x="-37842" y="52315"/>
                    <a:pt x="-36591" y="52315"/>
                  </a:cubicBezTo>
                  <a:lnTo>
                    <a:pt x="211383" y="52084"/>
                  </a:lnTo>
                  <a:cubicBezTo>
                    <a:pt x="229228" y="52057"/>
                    <a:pt x="243714" y="38415"/>
                    <a:pt x="243700" y="21659"/>
                  </a:cubicBezTo>
                  <a:cubicBezTo>
                    <a:pt x="243687" y="4917"/>
                    <a:pt x="229160" y="-8711"/>
                    <a:pt x="211328" y="-8684"/>
                  </a:cubicBezTo>
                  <a:lnTo>
                    <a:pt x="-36645" y="-8452"/>
                  </a:lnTo>
                  <a:cubicBezTo>
                    <a:pt x="-37910" y="-8452"/>
                    <a:pt x="-38930" y="-7432"/>
                    <a:pt x="-38930" y="-6168"/>
                  </a:cubicBezTo>
                  <a:cubicBezTo>
                    <a:pt x="-38917" y="-4916"/>
                    <a:pt x="-37897" y="-3896"/>
                    <a:pt x="-36645" y="-3910"/>
                  </a:cubicBezTo>
                  <a:cubicBezTo>
                    <a:pt x="-36292" y="-3910"/>
                    <a:pt x="-35992" y="-3611"/>
                    <a:pt x="-35992" y="-3257"/>
                  </a:cubicBezTo>
                  <a:cubicBezTo>
                    <a:pt x="-35992" y="-2890"/>
                    <a:pt x="-36292" y="-2604"/>
                    <a:pt x="-36645" y="-2604"/>
                  </a:cubicBezTo>
                  <a:cubicBezTo>
                    <a:pt x="-38617" y="-2604"/>
                    <a:pt x="-40222" y="-4195"/>
                    <a:pt x="-40222" y="-6168"/>
                  </a:cubicBezTo>
                  <a:cubicBezTo>
                    <a:pt x="-40222" y="-8140"/>
                    <a:pt x="-38617" y="-9745"/>
                    <a:pt x="-36659" y="-9758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9" name="Vrije vorm 118">
              <a:extLst>
                <a:ext uri="{FF2B5EF4-FFF2-40B4-BE49-F238E27FC236}">
                  <a16:creationId xmlns:a16="http://schemas.microsoft.com/office/drawing/2014/main" id="{12F8A4C1-C17E-E7A9-D2AB-BA5939120FFE}"/>
                </a:ext>
              </a:extLst>
            </p:cNvPr>
            <p:cNvSpPr/>
            <p:nvPr/>
          </p:nvSpPr>
          <p:spPr>
            <a:xfrm flipV="1">
              <a:off x="3875214" y="4363028"/>
              <a:ext cx="285228" cy="63596"/>
            </a:xfrm>
            <a:custGeom>
              <a:avLst/>
              <a:gdLst>
                <a:gd name="connsiteX0" fmla="*/ -6614 w 285228"/>
                <a:gd name="connsiteY0" fmla="*/ -9245 h 63596"/>
                <a:gd name="connsiteX1" fmla="*/ 241360 w 285228"/>
                <a:gd name="connsiteY1" fmla="*/ -9477 h 63596"/>
                <a:gd name="connsiteX2" fmla="*/ 244937 w 285228"/>
                <a:gd name="connsiteY2" fmla="*/ -5913 h 63596"/>
                <a:gd name="connsiteX3" fmla="*/ 241374 w 285228"/>
                <a:gd name="connsiteY3" fmla="*/ -2336 h 63596"/>
                <a:gd name="connsiteX4" fmla="*/ 240721 w 285228"/>
                <a:gd name="connsiteY4" fmla="*/ -2975 h 63596"/>
                <a:gd name="connsiteX5" fmla="*/ 241360 w 285228"/>
                <a:gd name="connsiteY5" fmla="*/ -3628 h 63596"/>
                <a:gd name="connsiteX6" fmla="*/ 243631 w 285228"/>
                <a:gd name="connsiteY6" fmla="*/ -5913 h 63596"/>
                <a:gd name="connsiteX7" fmla="*/ 241360 w 285228"/>
                <a:gd name="connsiteY7" fmla="*/ -8184 h 63596"/>
                <a:gd name="connsiteX8" fmla="*/ -6614 w 285228"/>
                <a:gd name="connsiteY8" fmla="*/ -7940 h 63596"/>
                <a:gd name="connsiteX9" fmla="*/ -38931 w 285228"/>
                <a:gd name="connsiteY9" fmla="*/ 22471 h 63596"/>
                <a:gd name="connsiteX10" fmla="*/ -6559 w 285228"/>
                <a:gd name="connsiteY10" fmla="*/ 52828 h 63596"/>
                <a:gd name="connsiteX11" fmla="*/ 241414 w 285228"/>
                <a:gd name="connsiteY11" fmla="*/ 52583 h 63596"/>
                <a:gd name="connsiteX12" fmla="*/ 243686 w 285228"/>
                <a:gd name="connsiteY12" fmla="*/ 50312 h 63596"/>
                <a:gd name="connsiteX13" fmla="*/ 241414 w 285228"/>
                <a:gd name="connsiteY13" fmla="*/ 48041 h 63596"/>
                <a:gd name="connsiteX14" fmla="*/ 240762 w 285228"/>
                <a:gd name="connsiteY14" fmla="*/ 47388 h 63596"/>
                <a:gd name="connsiteX15" fmla="*/ 241414 w 285228"/>
                <a:gd name="connsiteY15" fmla="*/ 46735 h 63596"/>
                <a:gd name="connsiteX16" fmla="*/ 244991 w 285228"/>
                <a:gd name="connsiteY16" fmla="*/ 50312 h 63596"/>
                <a:gd name="connsiteX17" fmla="*/ 241414 w 285228"/>
                <a:gd name="connsiteY17" fmla="*/ 53889 h 63596"/>
                <a:gd name="connsiteX18" fmla="*/ -6559 w 285228"/>
                <a:gd name="connsiteY18" fmla="*/ 54120 h 63596"/>
                <a:gd name="connsiteX19" fmla="*/ -40237 w 285228"/>
                <a:gd name="connsiteY19" fmla="*/ 22471 h 63596"/>
                <a:gd name="connsiteX20" fmla="*/ -6614 w 285228"/>
                <a:gd name="connsiteY20" fmla="*/ -9245 h 63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228" h="63596">
                  <a:moveTo>
                    <a:pt x="-6614" y="-9245"/>
                  </a:moveTo>
                  <a:lnTo>
                    <a:pt x="241360" y="-9477"/>
                  </a:lnTo>
                  <a:cubicBezTo>
                    <a:pt x="243332" y="-9477"/>
                    <a:pt x="244937" y="-7885"/>
                    <a:pt x="244937" y="-5913"/>
                  </a:cubicBezTo>
                  <a:cubicBezTo>
                    <a:pt x="244937" y="-3941"/>
                    <a:pt x="243332" y="-2336"/>
                    <a:pt x="241374" y="-2336"/>
                  </a:cubicBezTo>
                  <a:cubicBezTo>
                    <a:pt x="241006" y="-2336"/>
                    <a:pt x="240721" y="-2622"/>
                    <a:pt x="240721" y="-2975"/>
                  </a:cubicBezTo>
                  <a:cubicBezTo>
                    <a:pt x="240721" y="-3343"/>
                    <a:pt x="241006" y="-3628"/>
                    <a:pt x="241360" y="-3628"/>
                  </a:cubicBezTo>
                  <a:cubicBezTo>
                    <a:pt x="242625" y="-3628"/>
                    <a:pt x="243645" y="-4648"/>
                    <a:pt x="243631" y="-5913"/>
                  </a:cubicBezTo>
                  <a:cubicBezTo>
                    <a:pt x="243631" y="-7164"/>
                    <a:pt x="242611" y="-8184"/>
                    <a:pt x="241360" y="-8184"/>
                  </a:cubicBezTo>
                  <a:lnTo>
                    <a:pt x="-6614" y="-7940"/>
                  </a:lnTo>
                  <a:cubicBezTo>
                    <a:pt x="-24459" y="-7926"/>
                    <a:pt x="-38945" y="5715"/>
                    <a:pt x="-38931" y="22471"/>
                  </a:cubicBezTo>
                  <a:cubicBezTo>
                    <a:pt x="-38918" y="39227"/>
                    <a:pt x="-24391" y="52842"/>
                    <a:pt x="-6559" y="52828"/>
                  </a:cubicBezTo>
                  <a:lnTo>
                    <a:pt x="241414" y="52583"/>
                  </a:lnTo>
                  <a:cubicBezTo>
                    <a:pt x="242679" y="52583"/>
                    <a:pt x="243699" y="51563"/>
                    <a:pt x="243686" y="50312"/>
                  </a:cubicBezTo>
                  <a:cubicBezTo>
                    <a:pt x="243686" y="49061"/>
                    <a:pt x="242666" y="48041"/>
                    <a:pt x="241414" y="48041"/>
                  </a:cubicBezTo>
                  <a:cubicBezTo>
                    <a:pt x="241061" y="48041"/>
                    <a:pt x="240762" y="47755"/>
                    <a:pt x="240762" y="47388"/>
                  </a:cubicBezTo>
                  <a:cubicBezTo>
                    <a:pt x="240762" y="47034"/>
                    <a:pt x="241061" y="46735"/>
                    <a:pt x="241414" y="46735"/>
                  </a:cubicBezTo>
                  <a:cubicBezTo>
                    <a:pt x="243386" y="46735"/>
                    <a:pt x="244991" y="48340"/>
                    <a:pt x="244991" y="50312"/>
                  </a:cubicBezTo>
                  <a:cubicBezTo>
                    <a:pt x="244991" y="52284"/>
                    <a:pt x="243386" y="53889"/>
                    <a:pt x="241414" y="53889"/>
                  </a:cubicBezTo>
                  <a:lnTo>
                    <a:pt x="-6559" y="54120"/>
                  </a:lnTo>
                  <a:cubicBezTo>
                    <a:pt x="-25112" y="54147"/>
                    <a:pt x="-40224" y="39948"/>
                    <a:pt x="-40237" y="22471"/>
                  </a:cubicBezTo>
                  <a:cubicBezTo>
                    <a:pt x="-40251" y="5008"/>
                    <a:pt x="-25167" y="-9218"/>
                    <a:pt x="-6614" y="-9245"/>
                  </a:cubicBez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0" name="Vrije vorm 119">
              <a:extLst>
                <a:ext uri="{FF2B5EF4-FFF2-40B4-BE49-F238E27FC236}">
                  <a16:creationId xmlns:a16="http://schemas.microsoft.com/office/drawing/2014/main" id="{3218C82E-8A5B-05B2-9027-A1910C1095C1}"/>
                </a:ext>
              </a:extLst>
            </p:cNvPr>
            <p:cNvSpPr/>
            <p:nvPr/>
          </p:nvSpPr>
          <p:spPr>
            <a:xfrm flipV="1">
              <a:off x="4057886" y="4383198"/>
              <a:ext cx="28951" cy="33811"/>
            </a:xfrm>
            <a:custGeom>
              <a:avLst/>
              <a:gdLst>
                <a:gd name="connsiteX0" fmla="*/ -16319 w 28951"/>
                <a:gd name="connsiteY0" fmla="*/ 24351 h 33811"/>
                <a:gd name="connsiteX1" fmla="*/ -13041 w 28951"/>
                <a:gd name="connsiteY1" fmla="*/ -9433 h 33811"/>
                <a:gd name="connsiteX2" fmla="*/ -19379 w 28951"/>
                <a:gd name="connsiteY2" fmla="*/ 387 h 33811"/>
                <a:gd name="connsiteX3" fmla="*/ -26371 w 28951"/>
                <a:gd name="connsiteY3" fmla="*/ -9419 h 33811"/>
                <a:gd name="connsiteX4" fmla="*/ -40585 w 28951"/>
                <a:gd name="connsiteY4" fmla="*/ 24379 h 33811"/>
                <a:gd name="connsiteX5" fmla="*/ -16319 w 28951"/>
                <a:gd name="connsiteY5" fmla="*/ 24351 h 33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51" h="33811">
                  <a:moveTo>
                    <a:pt x="-16319" y="24351"/>
                  </a:moveTo>
                  <a:cubicBezTo>
                    <a:pt x="-16319" y="24351"/>
                    <a:pt x="-8526" y="4889"/>
                    <a:pt x="-13041" y="-9433"/>
                  </a:cubicBezTo>
                  <a:lnTo>
                    <a:pt x="-19379" y="387"/>
                  </a:lnTo>
                  <a:cubicBezTo>
                    <a:pt x="-19379" y="387"/>
                    <a:pt x="-23719" y="-4808"/>
                    <a:pt x="-26371" y="-9419"/>
                  </a:cubicBezTo>
                  <a:cubicBezTo>
                    <a:pt x="-26371" y="-9419"/>
                    <a:pt x="-31186" y="22583"/>
                    <a:pt x="-40585" y="24379"/>
                  </a:cubicBezTo>
                  <a:lnTo>
                    <a:pt x="-16319" y="24351"/>
                  </a:lnTo>
                </a:path>
              </a:pathLst>
            </a:custGeom>
            <a:solidFill>
              <a:srgbClr val="F7555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1" name="Vrije vorm 120">
              <a:extLst>
                <a:ext uri="{FF2B5EF4-FFF2-40B4-BE49-F238E27FC236}">
                  <a16:creationId xmlns:a16="http://schemas.microsoft.com/office/drawing/2014/main" id="{A17CFC57-B9C3-B79D-8733-EA1D586F8D41}"/>
                </a:ext>
              </a:extLst>
            </p:cNvPr>
            <p:cNvSpPr/>
            <p:nvPr/>
          </p:nvSpPr>
          <p:spPr>
            <a:xfrm flipV="1">
              <a:off x="3911034" y="4321560"/>
              <a:ext cx="28992" cy="33783"/>
            </a:xfrm>
            <a:custGeom>
              <a:avLst/>
              <a:gdLst>
                <a:gd name="connsiteX0" fmla="*/ -34922 w 28992"/>
                <a:gd name="connsiteY0" fmla="*/ 23838 h 33783"/>
                <a:gd name="connsiteX1" fmla="*/ -38254 w 28992"/>
                <a:gd name="connsiteY1" fmla="*/ -9933 h 33783"/>
                <a:gd name="connsiteX2" fmla="*/ -31902 w 28992"/>
                <a:gd name="connsiteY2" fmla="*/ -140 h 33783"/>
                <a:gd name="connsiteX3" fmla="*/ -24924 w 28992"/>
                <a:gd name="connsiteY3" fmla="*/ -9946 h 33783"/>
                <a:gd name="connsiteX4" fmla="*/ -10656 w 28992"/>
                <a:gd name="connsiteY4" fmla="*/ 23810 h 33783"/>
                <a:gd name="connsiteX5" fmla="*/ -34922 w 28992"/>
                <a:gd name="connsiteY5" fmla="*/ 23838 h 33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92" h="33783">
                  <a:moveTo>
                    <a:pt x="-34922" y="23838"/>
                  </a:moveTo>
                  <a:cubicBezTo>
                    <a:pt x="-34922" y="23838"/>
                    <a:pt x="-42756" y="4389"/>
                    <a:pt x="-38254" y="-9933"/>
                  </a:cubicBezTo>
                  <a:lnTo>
                    <a:pt x="-31902" y="-140"/>
                  </a:lnTo>
                  <a:cubicBezTo>
                    <a:pt x="-31902" y="-140"/>
                    <a:pt x="-27577" y="-5336"/>
                    <a:pt x="-24924" y="-9946"/>
                  </a:cubicBezTo>
                  <a:cubicBezTo>
                    <a:pt x="-24924" y="-9946"/>
                    <a:pt x="-20055" y="22029"/>
                    <a:pt x="-10656" y="23810"/>
                  </a:cubicBezTo>
                  <a:lnTo>
                    <a:pt x="-34922" y="23838"/>
                  </a:lnTo>
                </a:path>
              </a:pathLst>
            </a:custGeom>
            <a:solidFill>
              <a:srgbClr val="7FC6A6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2" name="Vrije vorm 121">
              <a:extLst>
                <a:ext uri="{FF2B5EF4-FFF2-40B4-BE49-F238E27FC236}">
                  <a16:creationId xmlns:a16="http://schemas.microsoft.com/office/drawing/2014/main" id="{91099A3A-6F15-AF2D-52B9-8B3A3C2DAD2F}"/>
                </a:ext>
              </a:extLst>
            </p:cNvPr>
            <p:cNvSpPr/>
            <p:nvPr/>
          </p:nvSpPr>
          <p:spPr>
            <a:xfrm flipV="1">
              <a:off x="3893168" y="4382396"/>
              <a:ext cx="255182" cy="1536"/>
            </a:xfrm>
            <a:custGeom>
              <a:avLst/>
              <a:gdLst>
                <a:gd name="connsiteX0" fmla="*/ -39603 w 255182"/>
                <a:gd name="connsiteY0" fmla="*/ -9329 h 1536"/>
                <a:gd name="connsiteX1" fmla="*/ 214274 w 255182"/>
                <a:gd name="connsiteY1" fmla="*/ -9574 h 1536"/>
                <a:gd name="connsiteX2" fmla="*/ 214927 w 255182"/>
                <a:gd name="connsiteY2" fmla="*/ -8934 h 1536"/>
                <a:gd name="connsiteX3" fmla="*/ 214287 w 255182"/>
                <a:gd name="connsiteY3" fmla="*/ -8282 h 1536"/>
                <a:gd name="connsiteX4" fmla="*/ -39603 w 255182"/>
                <a:gd name="connsiteY4" fmla="*/ -8037 h 1536"/>
                <a:gd name="connsiteX5" fmla="*/ -40256 w 255182"/>
                <a:gd name="connsiteY5" fmla="*/ -8690 h 1536"/>
                <a:gd name="connsiteX6" fmla="*/ -39603 w 255182"/>
                <a:gd name="connsiteY6" fmla="*/ -9329 h 1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5182" h="1536">
                  <a:moveTo>
                    <a:pt x="-39603" y="-9329"/>
                  </a:moveTo>
                  <a:lnTo>
                    <a:pt x="214274" y="-9574"/>
                  </a:lnTo>
                  <a:cubicBezTo>
                    <a:pt x="214641" y="-9574"/>
                    <a:pt x="214927" y="-9288"/>
                    <a:pt x="214927" y="-8934"/>
                  </a:cubicBezTo>
                  <a:cubicBezTo>
                    <a:pt x="214927" y="-8567"/>
                    <a:pt x="214641" y="-8282"/>
                    <a:pt x="214287" y="-8282"/>
                  </a:cubicBezTo>
                  <a:lnTo>
                    <a:pt x="-39603" y="-8037"/>
                  </a:lnTo>
                  <a:cubicBezTo>
                    <a:pt x="-39957" y="-8037"/>
                    <a:pt x="-40256" y="-8322"/>
                    <a:pt x="-40256" y="-8690"/>
                  </a:cubicBezTo>
                  <a:cubicBezTo>
                    <a:pt x="-40256" y="-9043"/>
                    <a:pt x="-39957" y="-9329"/>
                    <a:pt x="-39603" y="-9329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3" name="Vrije vorm 122">
              <a:extLst>
                <a:ext uri="{FF2B5EF4-FFF2-40B4-BE49-F238E27FC236}">
                  <a16:creationId xmlns:a16="http://schemas.microsoft.com/office/drawing/2014/main" id="{71CD9BAF-0617-C054-03ED-9EECBBE11005}"/>
                </a:ext>
              </a:extLst>
            </p:cNvPr>
            <p:cNvSpPr/>
            <p:nvPr/>
          </p:nvSpPr>
          <p:spPr>
            <a:xfrm flipV="1">
              <a:off x="3884953" y="4320880"/>
              <a:ext cx="255182" cy="1550"/>
            </a:xfrm>
            <a:custGeom>
              <a:avLst/>
              <a:gdLst>
                <a:gd name="connsiteX0" fmla="*/ -39551 w 255182"/>
                <a:gd name="connsiteY0" fmla="*/ -9841 h 1550"/>
                <a:gd name="connsiteX1" fmla="*/ 214326 w 255182"/>
                <a:gd name="connsiteY1" fmla="*/ -10086 h 1550"/>
                <a:gd name="connsiteX2" fmla="*/ 214978 w 255182"/>
                <a:gd name="connsiteY2" fmla="*/ -9433 h 1550"/>
                <a:gd name="connsiteX3" fmla="*/ 214339 w 255182"/>
                <a:gd name="connsiteY3" fmla="*/ -8781 h 1550"/>
                <a:gd name="connsiteX4" fmla="*/ -39551 w 255182"/>
                <a:gd name="connsiteY4" fmla="*/ -8536 h 1550"/>
                <a:gd name="connsiteX5" fmla="*/ -40204 w 255182"/>
                <a:gd name="connsiteY5" fmla="*/ -9189 h 1550"/>
                <a:gd name="connsiteX6" fmla="*/ -39551 w 255182"/>
                <a:gd name="connsiteY6" fmla="*/ -9841 h 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5182" h="1550">
                  <a:moveTo>
                    <a:pt x="-39551" y="-9841"/>
                  </a:moveTo>
                  <a:lnTo>
                    <a:pt x="214326" y="-10086"/>
                  </a:lnTo>
                  <a:cubicBezTo>
                    <a:pt x="214693" y="-10086"/>
                    <a:pt x="214978" y="-9787"/>
                    <a:pt x="214978" y="-9433"/>
                  </a:cubicBezTo>
                  <a:cubicBezTo>
                    <a:pt x="214978" y="-9066"/>
                    <a:pt x="214693" y="-8781"/>
                    <a:pt x="214339" y="-8781"/>
                  </a:cubicBezTo>
                  <a:lnTo>
                    <a:pt x="-39551" y="-8536"/>
                  </a:lnTo>
                  <a:cubicBezTo>
                    <a:pt x="-39905" y="-8536"/>
                    <a:pt x="-40204" y="-8821"/>
                    <a:pt x="-40204" y="-9189"/>
                  </a:cubicBezTo>
                  <a:cubicBezTo>
                    <a:pt x="-40204" y="-9542"/>
                    <a:pt x="-39918" y="-9841"/>
                    <a:pt x="-39551" y="-9841"/>
                  </a:cubicBezTo>
                </a:path>
              </a:pathLst>
            </a:custGeom>
            <a:solidFill>
              <a:srgbClr val="AAC9F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4" name="Vrije vorm 123">
              <a:extLst>
                <a:ext uri="{FF2B5EF4-FFF2-40B4-BE49-F238E27FC236}">
                  <a16:creationId xmlns:a16="http://schemas.microsoft.com/office/drawing/2014/main" id="{0402FEBD-1BC6-AFA8-20ED-210BA03B9027}"/>
                </a:ext>
              </a:extLst>
            </p:cNvPr>
            <p:cNvSpPr/>
            <p:nvPr/>
          </p:nvSpPr>
          <p:spPr>
            <a:xfrm flipV="1">
              <a:off x="3662415" y="4430555"/>
              <a:ext cx="165955" cy="157944"/>
            </a:xfrm>
            <a:custGeom>
              <a:avLst/>
              <a:gdLst>
                <a:gd name="connsiteX0" fmla="*/ -23635 w 165955"/>
                <a:gd name="connsiteY0" fmla="*/ 70173 h 157944"/>
                <a:gd name="connsiteX1" fmla="*/ 21768 w 165955"/>
                <a:gd name="connsiteY1" fmla="*/ 115585 h 157944"/>
                <a:gd name="connsiteX2" fmla="*/ 21768 w 165955"/>
                <a:gd name="connsiteY2" fmla="*/ 24774 h 157944"/>
                <a:gd name="connsiteX3" fmla="*/ -23635 w 165955"/>
                <a:gd name="connsiteY3" fmla="*/ 70173 h 157944"/>
                <a:gd name="connsiteX4" fmla="*/ 21768 w 165955"/>
                <a:gd name="connsiteY4" fmla="*/ 149424 h 157944"/>
                <a:gd name="connsiteX5" fmla="*/ 21768 w 165955"/>
                <a:gd name="connsiteY5" fmla="*/ 130437 h 157944"/>
                <a:gd name="connsiteX6" fmla="*/ -38501 w 165955"/>
                <a:gd name="connsiteY6" fmla="*/ 70173 h 157944"/>
                <a:gd name="connsiteX7" fmla="*/ 21768 w 165955"/>
                <a:gd name="connsiteY7" fmla="*/ 9922 h 157944"/>
                <a:gd name="connsiteX8" fmla="*/ 21768 w 165955"/>
                <a:gd name="connsiteY8" fmla="*/ 2373 h 157944"/>
                <a:gd name="connsiteX9" fmla="*/ 32663 w 165955"/>
                <a:gd name="connsiteY9" fmla="*/ -8521 h 157944"/>
                <a:gd name="connsiteX10" fmla="*/ 116572 w 165955"/>
                <a:gd name="connsiteY10" fmla="*/ -8521 h 157944"/>
                <a:gd name="connsiteX11" fmla="*/ 127454 w 165955"/>
                <a:gd name="connsiteY11" fmla="*/ 2373 h 157944"/>
                <a:gd name="connsiteX12" fmla="*/ 127454 w 165955"/>
                <a:gd name="connsiteY12" fmla="*/ 149424 h 157944"/>
                <a:gd name="connsiteX13" fmla="*/ 21768 w 165955"/>
                <a:gd name="connsiteY13" fmla="*/ 149424 h 157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5955" h="157944">
                  <a:moveTo>
                    <a:pt x="-23635" y="70173"/>
                  </a:moveTo>
                  <a:cubicBezTo>
                    <a:pt x="-23635" y="95211"/>
                    <a:pt x="-3273" y="115585"/>
                    <a:pt x="21768" y="115585"/>
                  </a:cubicBezTo>
                  <a:lnTo>
                    <a:pt x="21768" y="24774"/>
                  </a:lnTo>
                  <a:cubicBezTo>
                    <a:pt x="-3273" y="24774"/>
                    <a:pt x="-23635" y="45147"/>
                    <a:pt x="-23635" y="70173"/>
                  </a:cubicBezTo>
                  <a:close/>
                  <a:moveTo>
                    <a:pt x="21768" y="149424"/>
                  </a:moveTo>
                  <a:lnTo>
                    <a:pt x="21768" y="130437"/>
                  </a:lnTo>
                  <a:cubicBezTo>
                    <a:pt x="-11461" y="130437"/>
                    <a:pt x="-38501" y="103413"/>
                    <a:pt x="-38501" y="70173"/>
                  </a:cubicBezTo>
                  <a:cubicBezTo>
                    <a:pt x="-38501" y="36946"/>
                    <a:pt x="-11461" y="9922"/>
                    <a:pt x="21768" y="9922"/>
                  </a:cubicBezTo>
                  <a:lnTo>
                    <a:pt x="21768" y="2373"/>
                  </a:lnTo>
                  <a:cubicBezTo>
                    <a:pt x="21768" y="-3638"/>
                    <a:pt x="26651" y="-8521"/>
                    <a:pt x="32663" y="-8521"/>
                  </a:cubicBezTo>
                  <a:lnTo>
                    <a:pt x="116572" y="-8521"/>
                  </a:lnTo>
                  <a:cubicBezTo>
                    <a:pt x="122584" y="-8521"/>
                    <a:pt x="127454" y="-3638"/>
                    <a:pt x="127454" y="2373"/>
                  </a:cubicBezTo>
                  <a:lnTo>
                    <a:pt x="127454" y="149424"/>
                  </a:lnTo>
                  <a:lnTo>
                    <a:pt x="21768" y="149424"/>
                  </a:lnTo>
                </a:path>
              </a:pathLst>
            </a:custGeom>
            <a:solidFill>
              <a:srgbClr val="4CB7D8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5" name="Vrije vorm 124">
              <a:extLst>
                <a:ext uri="{FF2B5EF4-FFF2-40B4-BE49-F238E27FC236}">
                  <a16:creationId xmlns:a16="http://schemas.microsoft.com/office/drawing/2014/main" id="{D7ADF564-B5AD-3E36-0A90-FA05C13D89DE}"/>
                </a:ext>
              </a:extLst>
            </p:cNvPr>
            <p:cNvSpPr/>
            <p:nvPr/>
          </p:nvSpPr>
          <p:spPr>
            <a:xfrm flipV="1">
              <a:off x="3766291" y="4508759"/>
              <a:ext cx="18104" cy="27486"/>
            </a:xfrm>
            <a:custGeom>
              <a:avLst/>
              <a:gdLst>
                <a:gd name="connsiteX0" fmla="*/ -23104 w 18104"/>
                <a:gd name="connsiteY0" fmla="*/ -8413 h 27486"/>
                <a:gd name="connsiteX1" fmla="*/ -38692 w 18104"/>
                <a:gd name="connsiteY1" fmla="*/ 17578 h 27486"/>
                <a:gd name="connsiteX2" fmla="*/ -36189 w 18104"/>
                <a:gd name="connsiteY2" fmla="*/ 19074 h 27486"/>
                <a:gd name="connsiteX3" fmla="*/ -20588 w 18104"/>
                <a:gd name="connsiteY3" fmla="*/ -6903 h 27486"/>
                <a:gd name="connsiteX4" fmla="*/ -23104 w 18104"/>
                <a:gd name="connsiteY4" fmla="*/ -8413 h 27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04" h="27486">
                  <a:moveTo>
                    <a:pt x="-23104" y="-8413"/>
                  </a:moveTo>
                  <a:lnTo>
                    <a:pt x="-38692" y="17578"/>
                  </a:lnTo>
                  <a:lnTo>
                    <a:pt x="-36189" y="19074"/>
                  </a:lnTo>
                  <a:lnTo>
                    <a:pt x="-20588" y="-6903"/>
                  </a:lnTo>
                  <a:lnTo>
                    <a:pt x="-23104" y="-8413"/>
                  </a:lnTo>
                </a:path>
              </a:pathLst>
            </a:custGeom>
            <a:solidFill>
              <a:srgbClr val="49263E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6" name="Vrije vorm 125">
              <a:extLst>
                <a:ext uri="{FF2B5EF4-FFF2-40B4-BE49-F238E27FC236}">
                  <a16:creationId xmlns:a16="http://schemas.microsoft.com/office/drawing/2014/main" id="{62F6B7B5-F5D1-2627-8D2E-FED840BF62BF}"/>
                </a:ext>
              </a:extLst>
            </p:cNvPr>
            <p:cNvSpPr/>
            <p:nvPr/>
          </p:nvSpPr>
          <p:spPr>
            <a:xfrm flipV="1">
              <a:off x="3784028" y="4513642"/>
              <a:ext cx="17260" cy="26997"/>
            </a:xfrm>
            <a:custGeom>
              <a:avLst/>
              <a:gdLst>
                <a:gd name="connsiteX0" fmla="*/ -24072 w 17260"/>
                <a:gd name="connsiteY0" fmla="*/ -8374 h 26997"/>
                <a:gd name="connsiteX1" fmla="*/ -38803 w 17260"/>
                <a:gd name="connsiteY1" fmla="*/ 17168 h 26997"/>
                <a:gd name="connsiteX2" fmla="*/ -36259 w 17260"/>
                <a:gd name="connsiteY2" fmla="*/ 18623 h 26997"/>
                <a:gd name="connsiteX3" fmla="*/ -21542 w 17260"/>
                <a:gd name="connsiteY3" fmla="*/ -6919 h 26997"/>
                <a:gd name="connsiteX4" fmla="*/ -24072 w 17260"/>
                <a:gd name="connsiteY4" fmla="*/ -8374 h 26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60" h="26997">
                  <a:moveTo>
                    <a:pt x="-24072" y="-8374"/>
                  </a:moveTo>
                  <a:lnTo>
                    <a:pt x="-38803" y="17168"/>
                  </a:lnTo>
                  <a:lnTo>
                    <a:pt x="-36259" y="18623"/>
                  </a:lnTo>
                  <a:lnTo>
                    <a:pt x="-21542" y="-6919"/>
                  </a:lnTo>
                  <a:lnTo>
                    <a:pt x="-24072" y="-8374"/>
                  </a:lnTo>
                </a:path>
              </a:pathLst>
            </a:custGeom>
            <a:solidFill>
              <a:srgbClr val="49263E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7" name="Vrije vorm 126">
              <a:extLst>
                <a:ext uri="{FF2B5EF4-FFF2-40B4-BE49-F238E27FC236}">
                  <a16:creationId xmlns:a16="http://schemas.microsoft.com/office/drawing/2014/main" id="{7B00B95D-2C2A-6C57-0372-FE1E9784B301}"/>
                </a:ext>
              </a:extLst>
            </p:cNvPr>
            <p:cNvSpPr/>
            <p:nvPr/>
          </p:nvSpPr>
          <p:spPr>
            <a:xfrm flipV="1">
              <a:off x="3746289" y="4250592"/>
              <a:ext cx="75493" cy="163887"/>
            </a:xfrm>
            <a:custGeom>
              <a:avLst/>
              <a:gdLst>
                <a:gd name="connsiteX0" fmla="*/ -1076 w 75493"/>
                <a:gd name="connsiteY0" fmla="*/ -9996 h 163887"/>
                <a:gd name="connsiteX1" fmla="*/ -36100 w 75493"/>
                <a:gd name="connsiteY1" fmla="*/ 45196 h 163887"/>
                <a:gd name="connsiteX2" fmla="*/ -1076 w 75493"/>
                <a:gd name="connsiteY2" fmla="*/ 153892 h 163887"/>
                <a:gd name="connsiteX3" fmla="*/ 33921 w 75493"/>
                <a:gd name="connsiteY3" fmla="*/ 85440 h 163887"/>
                <a:gd name="connsiteX4" fmla="*/ -1076 w 75493"/>
                <a:gd name="connsiteY4" fmla="*/ -9996 h 163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493" h="163887">
                  <a:moveTo>
                    <a:pt x="-1076" y="-9996"/>
                  </a:moveTo>
                  <a:cubicBezTo>
                    <a:pt x="-1076" y="-9996"/>
                    <a:pt x="-50559" y="5917"/>
                    <a:pt x="-36100" y="45196"/>
                  </a:cubicBezTo>
                  <a:cubicBezTo>
                    <a:pt x="-21642" y="84475"/>
                    <a:pt x="18511" y="114369"/>
                    <a:pt x="-1076" y="153892"/>
                  </a:cubicBezTo>
                  <a:cubicBezTo>
                    <a:pt x="-1076" y="153892"/>
                    <a:pt x="48978" y="125929"/>
                    <a:pt x="33921" y="85440"/>
                  </a:cubicBezTo>
                  <a:cubicBezTo>
                    <a:pt x="18864" y="44937"/>
                    <a:pt x="-20050" y="42095"/>
                    <a:pt x="-1076" y="-9996"/>
                  </a:cubicBezTo>
                </a:path>
              </a:pathLst>
            </a:custGeom>
            <a:solidFill>
              <a:srgbClr val="FEF5E7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8" name="Vrije vorm 127">
              <a:extLst>
                <a:ext uri="{FF2B5EF4-FFF2-40B4-BE49-F238E27FC236}">
                  <a16:creationId xmlns:a16="http://schemas.microsoft.com/office/drawing/2014/main" id="{1388458F-A617-D9D3-157F-587A0B05C0AC}"/>
                </a:ext>
              </a:extLst>
            </p:cNvPr>
            <p:cNvSpPr/>
            <p:nvPr/>
          </p:nvSpPr>
          <p:spPr>
            <a:xfrm flipV="1">
              <a:off x="1873132" y="5666854"/>
              <a:ext cx="3014052" cy="11560"/>
            </a:xfrm>
            <a:custGeom>
              <a:avLst/>
              <a:gdLst>
                <a:gd name="connsiteX0" fmla="*/ 2977878 w 3014052"/>
                <a:gd name="connsiteY0" fmla="*/ 1171 h 11560"/>
                <a:gd name="connsiteX1" fmla="*/ -36174 w 3014052"/>
                <a:gd name="connsiteY1" fmla="*/ 1171 h 11560"/>
                <a:gd name="connsiteX2" fmla="*/ -36174 w 3014052"/>
                <a:gd name="connsiteY2" fmla="*/ 12732 h 11560"/>
                <a:gd name="connsiteX3" fmla="*/ 2977878 w 3014052"/>
                <a:gd name="connsiteY3" fmla="*/ 12732 h 11560"/>
                <a:gd name="connsiteX4" fmla="*/ 2977878 w 3014052"/>
                <a:gd name="connsiteY4" fmla="*/ 1171 h 11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14052" h="11560">
                  <a:moveTo>
                    <a:pt x="2977878" y="1171"/>
                  </a:moveTo>
                  <a:lnTo>
                    <a:pt x="-36174" y="1171"/>
                  </a:lnTo>
                  <a:lnTo>
                    <a:pt x="-36174" y="12732"/>
                  </a:lnTo>
                  <a:lnTo>
                    <a:pt x="2977878" y="12732"/>
                  </a:lnTo>
                  <a:lnTo>
                    <a:pt x="2977878" y="1171"/>
                  </a:lnTo>
                </a:path>
              </a:pathLst>
            </a:custGeom>
            <a:solidFill>
              <a:srgbClr val="21111D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29" name="Vrije vorm 128">
              <a:extLst>
                <a:ext uri="{FF2B5EF4-FFF2-40B4-BE49-F238E27FC236}">
                  <a16:creationId xmlns:a16="http://schemas.microsoft.com/office/drawing/2014/main" id="{778686A3-886F-EDEB-EED8-CEDD7D41F30A}"/>
                </a:ext>
              </a:extLst>
            </p:cNvPr>
            <p:cNvSpPr/>
            <p:nvPr/>
          </p:nvSpPr>
          <p:spPr>
            <a:xfrm flipV="1">
              <a:off x="3183048" y="4351475"/>
              <a:ext cx="429818" cy="235650"/>
            </a:xfrm>
            <a:custGeom>
              <a:avLst/>
              <a:gdLst>
                <a:gd name="connsiteX0" fmla="*/ 254137 w 429818"/>
                <a:gd name="connsiteY0" fmla="*/ -8856 h 235650"/>
                <a:gd name="connsiteX1" fmla="*/ -24359 w 429818"/>
                <a:gd name="connsiteY1" fmla="*/ -8856 h 235650"/>
                <a:gd name="connsiteX2" fmla="*/ -36288 w 429818"/>
                <a:gd name="connsiteY2" fmla="*/ 3072 h 235650"/>
                <a:gd name="connsiteX3" fmla="*/ -24359 w 429818"/>
                <a:gd name="connsiteY3" fmla="*/ 14999 h 235650"/>
                <a:gd name="connsiteX4" fmla="*/ 240998 w 429818"/>
                <a:gd name="connsiteY4" fmla="*/ 14999 h 235650"/>
                <a:gd name="connsiteX5" fmla="*/ 371520 w 429818"/>
                <a:gd name="connsiteY5" fmla="*/ 221240 h 235650"/>
                <a:gd name="connsiteX6" fmla="*/ 387979 w 429818"/>
                <a:gd name="connsiteY6" fmla="*/ 224939 h 235650"/>
                <a:gd name="connsiteX7" fmla="*/ 391678 w 429818"/>
                <a:gd name="connsiteY7" fmla="*/ 208482 h 235650"/>
                <a:gd name="connsiteX8" fmla="*/ 254137 w 429818"/>
                <a:gd name="connsiteY8" fmla="*/ -8856 h 235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9818" h="235650">
                  <a:moveTo>
                    <a:pt x="254137" y="-8856"/>
                  </a:moveTo>
                  <a:lnTo>
                    <a:pt x="-24359" y="-8856"/>
                  </a:lnTo>
                  <a:cubicBezTo>
                    <a:pt x="-30942" y="-8856"/>
                    <a:pt x="-36288" y="-3524"/>
                    <a:pt x="-36288" y="3072"/>
                  </a:cubicBezTo>
                  <a:cubicBezTo>
                    <a:pt x="-36288" y="9654"/>
                    <a:pt x="-30942" y="14999"/>
                    <a:pt x="-24359" y="14999"/>
                  </a:cubicBezTo>
                  <a:lnTo>
                    <a:pt x="240998" y="14999"/>
                  </a:lnTo>
                  <a:lnTo>
                    <a:pt x="371520" y="221240"/>
                  </a:lnTo>
                  <a:cubicBezTo>
                    <a:pt x="375029" y="226802"/>
                    <a:pt x="382402" y="228475"/>
                    <a:pt x="387979" y="224939"/>
                  </a:cubicBezTo>
                  <a:cubicBezTo>
                    <a:pt x="393555" y="221416"/>
                    <a:pt x="395201" y="214045"/>
                    <a:pt x="391678" y="208482"/>
                  </a:cubicBezTo>
                  <a:lnTo>
                    <a:pt x="254137" y="-8856"/>
                  </a:lnTo>
                </a:path>
              </a:pathLst>
            </a:custGeom>
            <a:solidFill>
              <a:srgbClr val="F75553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0" name="Vrije vorm 129">
              <a:extLst>
                <a:ext uri="{FF2B5EF4-FFF2-40B4-BE49-F238E27FC236}">
                  <a16:creationId xmlns:a16="http://schemas.microsoft.com/office/drawing/2014/main" id="{189020A3-17FC-2699-C2B9-EC8333848338}"/>
                </a:ext>
              </a:extLst>
            </p:cNvPr>
            <p:cNvSpPr/>
            <p:nvPr/>
          </p:nvSpPr>
          <p:spPr>
            <a:xfrm flipV="1">
              <a:off x="3217624" y="4573988"/>
              <a:ext cx="128930" cy="4025"/>
            </a:xfrm>
            <a:custGeom>
              <a:avLst/>
              <a:gdLst>
                <a:gd name="connsiteX0" fmla="*/ -35549 w 128930"/>
                <a:gd name="connsiteY0" fmla="*/ -7967 h 4025"/>
                <a:gd name="connsiteX1" fmla="*/ 93381 w 128930"/>
                <a:gd name="connsiteY1" fmla="*/ -7967 h 4025"/>
                <a:gd name="connsiteX2" fmla="*/ 93381 w 128930"/>
                <a:gd name="connsiteY2" fmla="*/ -3941 h 4025"/>
                <a:gd name="connsiteX3" fmla="*/ -35549 w 128930"/>
                <a:gd name="connsiteY3" fmla="*/ -3941 h 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930" h="4025">
                  <a:moveTo>
                    <a:pt x="-35549" y="-7967"/>
                  </a:moveTo>
                  <a:lnTo>
                    <a:pt x="93381" y="-7967"/>
                  </a:lnTo>
                  <a:lnTo>
                    <a:pt x="93381" y="-3941"/>
                  </a:lnTo>
                  <a:lnTo>
                    <a:pt x="-35549" y="-3941"/>
                  </a:lnTo>
                  <a:close/>
                </a:path>
              </a:pathLst>
            </a:custGeom>
            <a:solidFill>
              <a:srgbClr val="F5AAA9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1" name="Vrije vorm 130">
              <a:extLst>
                <a:ext uri="{FF2B5EF4-FFF2-40B4-BE49-F238E27FC236}">
                  <a16:creationId xmlns:a16="http://schemas.microsoft.com/office/drawing/2014/main" id="{9EA0877B-C106-DA4D-862A-723FFC21F832}"/>
                </a:ext>
              </a:extLst>
            </p:cNvPr>
            <p:cNvSpPr/>
            <p:nvPr/>
          </p:nvSpPr>
          <p:spPr>
            <a:xfrm flipV="1">
              <a:off x="3368808" y="4573988"/>
              <a:ext cx="5902" cy="4025"/>
            </a:xfrm>
            <a:custGeom>
              <a:avLst/>
              <a:gdLst>
                <a:gd name="connsiteX0" fmla="*/ -36121 w 5902"/>
                <a:gd name="connsiteY0" fmla="*/ -7967 h 4025"/>
                <a:gd name="connsiteX1" fmla="*/ -30218 w 5902"/>
                <a:gd name="connsiteY1" fmla="*/ -7967 h 4025"/>
                <a:gd name="connsiteX2" fmla="*/ -30218 w 5902"/>
                <a:gd name="connsiteY2" fmla="*/ -3941 h 4025"/>
                <a:gd name="connsiteX3" fmla="*/ -36121 w 5902"/>
                <a:gd name="connsiteY3" fmla="*/ -3941 h 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02" h="4025">
                  <a:moveTo>
                    <a:pt x="-36121" y="-7967"/>
                  </a:moveTo>
                  <a:lnTo>
                    <a:pt x="-30218" y="-7967"/>
                  </a:lnTo>
                  <a:lnTo>
                    <a:pt x="-30218" y="-3941"/>
                  </a:lnTo>
                  <a:lnTo>
                    <a:pt x="-36121" y="-3941"/>
                  </a:lnTo>
                  <a:close/>
                </a:path>
              </a:pathLst>
            </a:custGeom>
            <a:solidFill>
              <a:srgbClr val="F5AAA9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2" name="Vrije vorm 131">
              <a:extLst>
                <a:ext uri="{FF2B5EF4-FFF2-40B4-BE49-F238E27FC236}">
                  <a16:creationId xmlns:a16="http://schemas.microsoft.com/office/drawing/2014/main" id="{EAEFFEF0-C804-763B-76DF-A7A1A2BC726D}"/>
                </a:ext>
              </a:extLst>
            </p:cNvPr>
            <p:cNvSpPr/>
            <p:nvPr/>
          </p:nvSpPr>
          <p:spPr>
            <a:xfrm flipV="1">
              <a:off x="3384722" y="4573988"/>
              <a:ext cx="5902" cy="4025"/>
            </a:xfrm>
            <a:custGeom>
              <a:avLst/>
              <a:gdLst>
                <a:gd name="connsiteX0" fmla="*/ -36222 w 5902"/>
                <a:gd name="connsiteY0" fmla="*/ -7967 h 4025"/>
                <a:gd name="connsiteX1" fmla="*/ -30319 w 5902"/>
                <a:gd name="connsiteY1" fmla="*/ -7967 h 4025"/>
                <a:gd name="connsiteX2" fmla="*/ -30319 w 5902"/>
                <a:gd name="connsiteY2" fmla="*/ -3941 h 4025"/>
                <a:gd name="connsiteX3" fmla="*/ -36222 w 5902"/>
                <a:gd name="connsiteY3" fmla="*/ -3941 h 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02" h="4025">
                  <a:moveTo>
                    <a:pt x="-36222" y="-7967"/>
                  </a:moveTo>
                  <a:lnTo>
                    <a:pt x="-30319" y="-7967"/>
                  </a:lnTo>
                  <a:lnTo>
                    <a:pt x="-30319" y="-3941"/>
                  </a:lnTo>
                  <a:lnTo>
                    <a:pt x="-36222" y="-3941"/>
                  </a:lnTo>
                  <a:close/>
                </a:path>
              </a:pathLst>
            </a:custGeom>
            <a:solidFill>
              <a:srgbClr val="F5AAA9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3" name="Vrije vorm 132">
              <a:extLst>
                <a:ext uri="{FF2B5EF4-FFF2-40B4-BE49-F238E27FC236}">
                  <a16:creationId xmlns:a16="http://schemas.microsoft.com/office/drawing/2014/main" id="{AE08F9A0-6087-E330-C35E-44AE820E2401}"/>
                </a:ext>
              </a:extLst>
            </p:cNvPr>
            <p:cNvSpPr/>
            <p:nvPr/>
          </p:nvSpPr>
          <p:spPr>
            <a:xfrm flipV="1">
              <a:off x="3400636" y="4573988"/>
              <a:ext cx="5902" cy="4025"/>
            </a:xfrm>
            <a:custGeom>
              <a:avLst/>
              <a:gdLst>
                <a:gd name="connsiteX0" fmla="*/ -36324 w 5902"/>
                <a:gd name="connsiteY0" fmla="*/ -7967 h 4025"/>
                <a:gd name="connsiteX1" fmla="*/ -30421 w 5902"/>
                <a:gd name="connsiteY1" fmla="*/ -7967 h 4025"/>
                <a:gd name="connsiteX2" fmla="*/ -30421 w 5902"/>
                <a:gd name="connsiteY2" fmla="*/ -3941 h 4025"/>
                <a:gd name="connsiteX3" fmla="*/ -36324 w 5902"/>
                <a:gd name="connsiteY3" fmla="*/ -3941 h 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02" h="4025">
                  <a:moveTo>
                    <a:pt x="-36324" y="-7967"/>
                  </a:moveTo>
                  <a:lnTo>
                    <a:pt x="-30421" y="-7967"/>
                  </a:lnTo>
                  <a:lnTo>
                    <a:pt x="-30421" y="-3941"/>
                  </a:lnTo>
                  <a:lnTo>
                    <a:pt x="-36324" y="-3941"/>
                  </a:lnTo>
                  <a:close/>
                </a:path>
              </a:pathLst>
            </a:custGeom>
            <a:solidFill>
              <a:srgbClr val="F5AAA9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4" name="Vrije vorm 133">
              <a:extLst>
                <a:ext uri="{FF2B5EF4-FFF2-40B4-BE49-F238E27FC236}">
                  <a16:creationId xmlns:a16="http://schemas.microsoft.com/office/drawing/2014/main" id="{C163C691-8CCC-A021-AD8E-7CD4D0E49A66}"/>
                </a:ext>
              </a:extLst>
            </p:cNvPr>
            <p:cNvSpPr/>
            <p:nvPr/>
          </p:nvSpPr>
          <p:spPr>
            <a:xfrm flipV="1">
              <a:off x="3416550" y="4573988"/>
              <a:ext cx="5889" cy="4025"/>
            </a:xfrm>
            <a:custGeom>
              <a:avLst/>
              <a:gdLst>
                <a:gd name="connsiteX0" fmla="*/ -36425 w 5889"/>
                <a:gd name="connsiteY0" fmla="*/ -7967 h 4025"/>
                <a:gd name="connsiteX1" fmla="*/ -30536 w 5889"/>
                <a:gd name="connsiteY1" fmla="*/ -7967 h 4025"/>
                <a:gd name="connsiteX2" fmla="*/ -30536 w 5889"/>
                <a:gd name="connsiteY2" fmla="*/ -3941 h 4025"/>
                <a:gd name="connsiteX3" fmla="*/ -36425 w 5889"/>
                <a:gd name="connsiteY3" fmla="*/ -3941 h 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9" h="4025">
                  <a:moveTo>
                    <a:pt x="-36425" y="-7967"/>
                  </a:moveTo>
                  <a:lnTo>
                    <a:pt x="-30536" y="-7967"/>
                  </a:lnTo>
                  <a:lnTo>
                    <a:pt x="-30536" y="-3941"/>
                  </a:lnTo>
                  <a:lnTo>
                    <a:pt x="-36425" y="-3941"/>
                  </a:lnTo>
                  <a:close/>
                </a:path>
              </a:pathLst>
            </a:custGeom>
            <a:solidFill>
              <a:srgbClr val="F5AAA9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35" name="Vrije vorm 134">
              <a:extLst>
                <a:ext uri="{FF2B5EF4-FFF2-40B4-BE49-F238E27FC236}">
                  <a16:creationId xmlns:a16="http://schemas.microsoft.com/office/drawing/2014/main" id="{DAAB05F7-43C0-6A8A-7AB4-F563400C6A74}"/>
                </a:ext>
              </a:extLst>
            </p:cNvPr>
            <p:cNvSpPr/>
            <p:nvPr/>
          </p:nvSpPr>
          <p:spPr>
            <a:xfrm flipV="1">
              <a:off x="3194977" y="4386911"/>
              <a:ext cx="405957" cy="202255"/>
            </a:xfrm>
            <a:custGeom>
              <a:avLst/>
              <a:gdLst>
                <a:gd name="connsiteX0" fmla="*/ 242208 w 405957"/>
                <a:gd name="connsiteY0" fmla="*/ -8700 h 202255"/>
                <a:gd name="connsiteX1" fmla="*/ -34247 w 405957"/>
                <a:gd name="connsiteY1" fmla="*/ -8700 h 202255"/>
                <a:gd name="connsiteX2" fmla="*/ -36288 w 405957"/>
                <a:gd name="connsiteY2" fmla="*/ -6660 h 202255"/>
                <a:gd name="connsiteX3" fmla="*/ -34247 w 405957"/>
                <a:gd name="connsiteY3" fmla="*/ -4620 h 202255"/>
                <a:gd name="connsiteX4" fmla="*/ 239964 w 405957"/>
                <a:gd name="connsiteY4" fmla="*/ -4620 h 202255"/>
                <a:gd name="connsiteX5" fmla="*/ 241677 w 405957"/>
                <a:gd name="connsiteY5" fmla="*/ -3681 h 202255"/>
                <a:gd name="connsiteX6" fmla="*/ 365902 w 405957"/>
                <a:gd name="connsiteY6" fmla="*/ 192603 h 202255"/>
                <a:gd name="connsiteX7" fmla="*/ 368718 w 405957"/>
                <a:gd name="connsiteY7" fmla="*/ 193242 h 202255"/>
                <a:gd name="connsiteX8" fmla="*/ 368718 w 405957"/>
                <a:gd name="connsiteY8" fmla="*/ 193242 h 202255"/>
                <a:gd name="connsiteX9" fmla="*/ 369357 w 405957"/>
                <a:gd name="connsiteY9" fmla="*/ 190427 h 202255"/>
                <a:gd name="connsiteX10" fmla="*/ 243935 w 405957"/>
                <a:gd name="connsiteY10" fmla="*/ -7761 h 202255"/>
                <a:gd name="connsiteX11" fmla="*/ 242208 w 405957"/>
                <a:gd name="connsiteY11" fmla="*/ -8700 h 202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957" h="202255">
                  <a:moveTo>
                    <a:pt x="242208" y="-8700"/>
                  </a:moveTo>
                  <a:lnTo>
                    <a:pt x="-34247" y="-8700"/>
                  </a:lnTo>
                  <a:cubicBezTo>
                    <a:pt x="-35376" y="-8700"/>
                    <a:pt x="-36288" y="-7789"/>
                    <a:pt x="-36288" y="-6660"/>
                  </a:cubicBezTo>
                  <a:cubicBezTo>
                    <a:pt x="-36288" y="-5544"/>
                    <a:pt x="-35376" y="-4620"/>
                    <a:pt x="-34247" y="-4620"/>
                  </a:cubicBezTo>
                  <a:lnTo>
                    <a:pt x="239964" y="-4620"/>
                  </a:lnTo>
                  <a:cubicBezTo>
                    <a:pt x="240657" y="-4620"/>
                    <a:pt x="241310" y="-4266"/>
                    <a:pt x="241677" y="-3681"/>
                  </a:cubicBezTo>
                  <a:lnTo>
                    <a:pt x="365902" y="192603"/>
                  </a:lnTo>
                  <a:cubicBezTo>
                    <a:pt x="366501" y="193555"/>
                    <a:pt x="367766" y="193841"/>
                    <a:pt x="368718" y="193242"/>
                  </a:cubicBezTo>
                  <a:lnTo>
                    <a:pt x="368718" y="193242"/>
                  </a:lnTo>
                  <a:cubicBezTo>
                    <a:pt x="369670" y="192644"/>
                    <a:pt x="369956" y="191379"/>
                    <a:pt x="369357" y="190427"/>
                  </a:cubicBezTo>
                  <a:lnTo>
                    <a:pt x="243935" y="-7761"/>
                  </a:lnTo>
                  <a:cubicBezTo>
                    <a:pt x="243555" y="-8346"/>
                    <a:pt x="242902" y="-8700"/>
                    <a:pt x="242208" y="-8700"/>
                  </a:cubicBezTo>
                </a:path>
              </a:pathLst>
            </a:custGeom>
            <a:solidFill>
              <a:srgbClr val="000000"/>
            </a:solidFill>
            <a:ln w="1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grpSp>
        <p:nvGrpSpPr>
          <p:cNvPr id="29" name="Groep 28">
            <a:extLst>
              <a:ext uri="{FF2B5EF4-FFF2-40B4-BE49-F238E27FC236}">
                <a16:creationId xmlns:a16="http://schemas.microsoft.com/office/drawing/2014/main" id="{6FF28CEF-59E3-E2B3-A58F-B96C8C7022BC}"/>
              </a:ext>
            </a:extLst>
          </p:cNvPr>
          <p:cNvGrpSpPr/>
          <p:nvPr/>
        </p:nvGrpSpPr>
        <p:grpSpPr>
          <a:xfrm>
            <a:off x="6774990" y="1382464"/>
            <a:ext cx="4424850" cy="4271278"/>
            <a:chOff x="6774990" y="1382464"/>
            <a:chExt cx="4424850" cy="4271278"/>
          </a:xfrm>
        </p:grpSpPr>
        <p:sp>
          <p:nvSpPr>
            <p:cNvPr id="141" name="Vrije vorm 140">
              <a:extLst>
                <a:ext uri="{FF2B5EF4-FFF2-40B4-BE49-F238E27FC236}">
                  <a16:creationId xmlns:a16="http://schemas.microsoft.com/office/drawing/2014/main" id="{00FB6FE6-6CCC-D8EC-EEF5-99D12CF05DA9}"/>
                </a:ext>
              </a:extLst>
            </p:cNvPr>
            <p:cNvSpPr/>
            <p:nvPr/>
          </p:nvSpPr>
          <p:spPr>
            <a:xfrm flipV="1">
              <a:off x="8346531" y="1935296"/>
              <a:ext cx="64457" cy="3718446"/>
            </a:xfrm>
            <a:custGeom>
              <a:avLst/>
              <a:gdLst>
                <a:gd name="connsiteX0" fmla="*/ 24672 w 28799"/>
                <a:gd name="connsiteY0" fmla="*/ -1201 h 1362460"/>
                <a:gd name="connsiteX1" fmla="*/ -4127 w 28799"/>
                <a:gd name="connsiteY1" fmla="*/ -1201 h 1362460"/>
                <a:gd name="connsiteX2" fmla="*/ -4127 w 28799"/>
                <a:gd name="connsiteY2" fmla="*/ 1361259 h 1362460"/>
                <a:gd name="connsiteX3" fmla="*/ 24672 w 28799"/>
                <a:gd name="connsiteY3" fmla="*/ 1361259 h 1362460"/>
                <a:gd name="connsiteX4" fmla="*/ 24672 w 28799"/>
                <a:gd name="connsiteY4" fmla="*/ -1201 h 136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799" h="1362460">
                  <a:moveTo>
                    <a:pt x="24672" y="-1201"/>
                  </a:moveTo>
                  <a:lnTo>
                    <a:pt x="-4127" y="-1201"/>
                  </a:lnTo>
                  <a:lnTo>
                    <a:pt x="-4127" y="1361259"/>
                  </a:lnTo>
                  <a:lnTo>
                    <a:pt x="24672" y="1361259"/>
                  </a:lnTo>
                  <a:lnTo>
                    <a:pt x="24672" y="-1201"/>
                  </a:lnTo>
                </a:path>
              </a:pathLst>
            </a:custGeom>
            <a:solidFill>
              <a:srgbClr val="404952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2" name="Vrije vorm 141">
              <a:extLst>
                <a:ext uri="{FF2B5EF4-FFF2-40B4-BE49-F238E27FC236}">
                  <a16:creationId xmlns:a16="http://schemas.microsoft.com/office/drawing/2014/main" id="{1143DF70-DB79-CD54-09BF-A1EBE5994B8E}"/>
                </a:ext>
              </a:extLst>
            </p:cNvPr>
            <p:cNvSpPr/>
            <p:nvPr/>
          </p:nvSpPr>
          <p:spPr>
            <a:xfrm flipV="1">
              <a:off x="8346531" y="1935296"/>
              <a:ext cx="64457" cy="2197250"/>
            </a:xfrm>
            <a:custGeom>
              <a:avLst/>
              <a:gdLst>
                <a:gd name="connsiteX0" fmla="*/ 24672 w 28799"/>
                <a:gd name="connsiteY0" fmla="*/ -1506 h 805085"/>
                <a:gd name="connsiteX1" fmla="*/ -4127 w 28799"/>
                <a:gd name="connsiteY1" fmla="*/ -1506 h 805085"/>
                <a:gd name="connsiteX2" fmla="*/ -4127 w 28799"/>
                <a:gd name="connsiteY2" fmla="*/ 803579 h 805085"/>
                <a:gd name="connsiteX3" fmla="*/ 24672 w 28799"/>
                <a:gd name="connsiteY3" fmla="*/ 803579 h 805085"/>
                <a:gd name="connsiteX4" fmla="*/ 24672 w 28799"/>
                <a:gd name="connsiteY4" fmla="*/ -1506 h 80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799" h="805085">
                  <a:moveTo>
                    <a:pt x="24672" y="-1506"/>
                  </a:moveTo>
                  <a:lnTo>
                    <a:pt x="-4127" y="-1506"/>
                  </a:lnTo>
                  <a:lnTo>
                    <a:pt x="-4127" y="803579"/>
                  </a:lnTo>
                  <a:lnTo>
                    <a:pt x="24672" y="803579"/>
                  </a:lnTo>
                  <a:lnTo>
                    <a:pt x="24672" y="-1506"/>
                  </a:lnTo>
                </a:path>
              </a:pathLst>
            </a:custGeom>
            <a:solidFill>
              <a:srgbClr val="14161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3" name="Vrije vorm 142">
              <a:extLst>
                <a:ext uri="{FF2B5EF4-FFF2-40B4-BE49-F238E27FC236}">
                  <a16:creationId xmlns:a16="http://schemas.microsoft.com/office/drawing/2014/main" id="{D157E6E7-A8D0-8E21-8F33-A3808AAA49BC}"/>
                </a:ext>
              </a:extLst>
            </p:cNvPr>
            <p:cNvSpPr/>
            <p:nvPr/>
          </p:nvSpPr>
          <p:spPr>
            <a:xfrm flipV="1">
              <a:off x="8356784" y="4731600"/>
              <a:ext cx="620034" cy="903083"/>
            </a:xfrm>
            <a:custGeom>
              <a:avLst/>
              <a:gdLst>
                <a:gd name="connsiteX0" fmla="*/ 272794 w 277028"/>
                <a:gd name="connsiteY0" fmla="*/ 14891 h 330895"/>
                <a:gd name="connsiteX1" fmla="*/ 257622 w 277028"/>
                <a:gd name="connsiteY1" fmla="*/ -645 h 330895"/>
                <a:gd name="connsiteX2" fmla="*/ -4235 w 277028"/>
                <a:gd name="connsiteY2" fmla="*/ 314714 h 330895"/>
                <a:gd name="connsiteX3" fmla="*/ 10937 w 277028"/>
                <a:gd name="connsiteY3" fmla="*/ 330251 h 330895"/>
                <a:gd name="connsiteX4" fmla="*/ 272794 w 277028"/>
                <a:gd name="connsiteY4" fmla="*/ 14891 h 330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028" h="330895">
                  <a:moveTo>
                    <a:pt x="272794" y="14891"/>
                  </a:moveTo>
                  <a:lnTo>
                    <a:pt x="257622" y="-645"/>
                  </a:lnTo>
                  <a:lnTo>
                    <a:pt x="-4235" y="314714"/>
                  </a:lnTo>
                  <a:lnTo>
                    <a:pt x="10937" y="330251"/>
                  </a:lnTo>
                  <a:lnTo>
                    <a:pt x="272794" y="14891"/>
                  </a:lnTo>
                </a:path>
              </a:pathLst>
            </a:custGeom>
            <a:solidFill>
              <a:srgbClr val="404952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4" name="Vrije vorm 143">
              <a:extLst>
                <a:ext uri="{FF2B5EF4-FFF2-40B4-BE49-F238E27FC236}">
                  <a16:creationId xmlns:a16="http://schemas.microsoft.com/office/drawing/2014/main" id="{473AE18C-1C0C-10CB-077E-CC6966348ECA}"/>
                </a:ext>
              </a:extLst>
            </p:cNvPr>
            <p:cNvSpPr/>
            <p:nvPr/>
          </p:nvSpPr>
          <p:spPr>
            <a:xfrm flipV="1">
              <a:off x="7780679" y="4731600"/>
              <a:ext cx="620056" cy="903083"/>
            </a:xfrm>
            <a:custGeom>
              <a:avLst/>
              <a:gdLst>
                <a:gd name="connsiteX0" fmla="*/ -4019 w 277038"/>
                <a:gd name="connsiteY0" fmla="*/ 14891 h 330895"/>
                <a:gd name="connsiteX1" fmla="*/ 11163 w 277038"/>
                <a:gd name="connsiteY1" fmla="*/ -645 h 330895"/>
                <a:gd name="connsiteX2" fmla="*/ 273019 w 277038"/>
                <a:gd name="connsiteY2" fmla="*/ 314714 h 330895"/>
                <a:gd name="connsiteX3" fmla="*/ 257848 w 277038"/>
                <a:gd name="connsiteY3" fmla="*/ 330251 h 330895"/>
                <a:gd name="connsiteX4" fmla="*/ -4019 w 277038"/>
                <a:gd name="connsiteY4" fmla="*/ 14891 h 330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038" h="330895">
                  <a:moveTo>
                    <a:pt x="-4019" y="14891"/>
                  </a:moveTo>
                  <a:lnTo>
                    <a:pt x="11163" y="-645"/>
                  </a:lnTo>
                  <a:lnTo>
                    <a:pt x="273019" y="314714"/>
                  </a:lnTo>
                  <a:lnTo>
                    <a:pt x="257848" y="330251"/>
                  </a:lnTo>
                  <a:lnTo>
                    <a:pt x="-4019" y="14891"/>
                  </a:lnTo>
                </a:path>
              </a:pathLst>
            </a:custGeom>
            <a:solidFill>
              <a:srgbClr val="404952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5" name="Vrije vorm 144">
              <a:extLst>
                <a:ext uri="{FF2B5EF4-FFF2-40B4-BE49-F238E27FC236}">
                  <a16:creationId xmlns:a16="http://schemas.microsoft.com/office/drawing/2014/main" id="{65AD83C4-BF23-BA4F-A5BA-F7B3BEDEB54D}"/>
                </a:ext>
              </a:extLst>
            </p:cNvPr>
            <p:cNvSpPr/>
            <p:nvPr/>
          </p:nvSpPr>
          <p:spPr>
            <a:xfrm flipV="1">
              <a:off x="8263518" y="4652617"/>
              <a:ext cx="230459" cy="129982"/>
            </a:xfrm>
            <a:custGeom>
              <a:avLst/>
              <a:gdLst>
                <a:gd name="connsiteX0" fmla="*/ 98841 w 102968"/>
                <a:gd name="connsiteY0" fmla="*/ -831 h 47626"/>
                <a:gd name="connsiteX1" fmla="*/ -4127 w 102968"/>
                <a:gd name="connsiteY1" fmla="*/ -831 h 47626"/>
                <a:gd name="connsiteX2" fmla="*/ -4127 w 102968"/>
                <a:gd name="connsiteY2" fmla="*/ 46795 h 47626"/>
                <a:gd name="connsiteX3" fmla="*/ 98841 w 102968"/>
                <a:gd name="connsiteY3" fmla="*/ 46795 h 47626"/>
                <a:gd name="connsiteX4" fmla="*/ 98841 w 102968"/>
                <a:gd name="connsiteY4" fmla="*/ -831 h 4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968" h="47626">
                  <a:moveTo>
                    <a:pt x="98841" y="-831"/>
                  </a:moveTo>
                  <a:lnTo>
                    <a:pt x="-4127" y="-831"/>
                  </a:lnTo>
                  <a:lnTo>
                    <a:pt x="-4127" y="46795"/>
                  </a:lnTo>
                  <a:lnTo>
                    <a:pt x="98841" y="46795"/>
                  </a:lnTo>
                  <a:lnTo>
                    <a:pt x="98841" y="-831"/>
                  </a:lnTo>
                </a:path>
              </a:pathLst>
            </a:custGeom>
            <a:solidFill>
              <a:srgbClr val="404952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6" name="Vrije vorm 145">
              <a:extLst>
                <a:ext uri="{FF2B5EF4-FFF2-40B4-BE49-F238E27FC236}">
                  <a16:creationId xmlns:a16="http://schemas.microsoft.com/office/drawing/2014/main" id="{5F594F2E-6959-63F5-0916-0C25589ACE33}"/>
                </a:ext>
              </a:extLst>
            </p:cNvPr>
            <p:cNvSpPr/>
            <p:nvPr/>
          </p:nvSpPr>
          <p:spPr>
            <a:xfrm flipV="1">
              <a:off x="6775153" y="1382464"/>
              <a:ext cx="3207375" cy="2584905"/>
            </a:xfrm>
            <a:custGeom>
              <a:avLst/>
              <a:gdLst>
                <a:gd name="connsiteX0" fmla="*/ 22185 w 1433040"/>
                <a:gd name="connsiteY0" fmla="*/ 27559 h 947124"/>
                <a:gd name="connsiteX1" fmla="*/ 1402591 w 1433040"/>
                <a:gd name="connsiteY1" fmla="*/ 27559 h 947124"/>
                <a:gd name="connsiteX2" fmla="*/ 1402591 w 1433040"/>
                <a:gd name="connsiteY2" fmla="*/ 916275 h 947124"/>
                <a:gd name="connsiteX3" fmla="*/ 22185 w 1433040"/>
                <a:gd name="connsiteY3" fmla="*/ 916275 h 947124"/>
                <a:gd name="connsiteX4" fmla="*/ 1428914 w 1433040"/>
                <a:gd name="connsiteY4" fmla="*/ -1650 h 947124"/>
                <a:gd name="connsiteX5" fmla="*/ 18278 w 1433040"/>
                <a:gd name="connsiteY5" fmla="*/ -1650 h 947124"/>
                <a:gd name="connsiteX6" fmla="*/ -4127 w 1433040"/>
                <a:gd name="connsiteY6" fmla="*/ 23572 h 947124"/>
                <a:gd name="connsiteX7" fmla="*/ -4127 w 1433040"/>
                <a:gd name="connsiteY7" fmla="*/ 945475 h 947124"/>
                <a:gd name="connsiteX8" fmla="*/ 1428914 w 1433040"/>
                <a:gd name="connsiteY8" fmla="*/ 945475 h 947124"/>
                <a:gd name="connsiteX9" fmla="*/ 1428914 w 1433040"/>
                <a:gd name="connsiteY9" fmla="*/ -1650 h 947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3040" h="947124">
                  <a:moveTo>
                    <a:pt x="22185" y="27559"/>
                  </a:moveTo>
                  <a:lnTo>
                    <a:pt x="1402591" y="27559"/>
                  </a:lnTo>
                  <a:lnTo>
                    <a:pt x="1402591" y="916275"/>
                  </a:lnTo>
                  <a:lnTo>
                    <a:pt x="22185" y="916275"/>
                  </a:lnTo>
                  <a:close/>
                  <a:moveTo>
                    <a:pt x="1428914" y="-1650"/>
                  </a:moveTo>
                  <a:lnTo>
                    <a:pt x="18278" y="-1650"/>
                  </a:lnTo>
                  <a:lnTo>
                    <a:pt x="-4127" y="23572"/>
                  </a:lnTo>
                  <a:lnTo>
                    <a:pt x="-4127" y="945475"/>
                  </a:lnTo>
                  <a:lnTo>
                    <a:pt x="1428914" y="945475"/>
                  </a:lnTo>
                  <a:lnTo>
                    <a:pt x="1428914" y="-1650"/>
                  </a:lnTo>
                </a:path>
              </a:pathLst>
            </a:custGeom>
            <a:solidFill>
              <a:srgbClr val="74777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7" name="Vrije vorm 146">
              <a:extLst>
                <a:ext uri="{FF2B5EF4-FFF2-40B4-BE49-F238E27FC236}">
                  <a16:creationId xmlns:a16="http://schemas.microsoft.com/office/drawing/2014/main" id="{5DFFAF41-A050-0B23-B12F-16FBBF9A774B}"/>
                </a:ext>
              </a:extLst>
            </p:cNvPr>
            <p:cNvSpPr/>
            <p:nvPr/>
          </p:nvSpPr>
          <p:spPr>
            <a:xfrm flipV="1">
              <a:off x="6803797" y="1421729"/>
              <a:ext cx="3096483" cy="2437765"/>
            </a:xfrm>
            <a:custGeom>
              <a:avLst/>
              <a:gdLst>
                <a:gd name="connsiteX0" fmla="*/ 1379377 w 1383494"/>
                <a:gd name="connsiteY0" fmla="*/ -1664 h 893211"/>
                <a:gd name="connsiteX1" fmla="*/ -4117 w 1383494"/>
                <a:gd name="connsiteY1" fmla="*/ -1664 h 893211"/>
                <a:gd name="connsiteX2" fmla="*/ -4117 w 1383494"/>
                <a:gd name="connsiteY2" fmla="*/ 891548 h 893211"/>
                <a:gd name="connsiteX3" fmla="*/ 1379377 w 1383494"/>
                <a:gd name="connsiteY3" fmla="*/ 891548 h 893211"/>
                <a:gd name="connsiteX4" fmla="*/ 1379377 w 1383494"/>
                <a:gd name="connsiteY4" fmla="*/ -1664 h 89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494" h="893211">
                  <a:moveTo>
                    <a:pt x="1379377" y="-1664"/>
                  </a:moveTo>
                  <a:lnTo>
                    <a:pt x="-4117" y="-1664"/>
                  </a:lnTo>
                  <a:lnTo>
                    <a:pt x="-4117" y="891548"/>
                  </a:lnTo>
                  <a:lnTo>
                    <a:pt x="1379377" y="891548"/>
                  </a:lnTo>
                  <a:lnTo>
                    <a:pt x="1379377" y="-1664"/>
                  </a:lnTo>
                </a:path>
              </a:pathLst>
            </a:custGeom>
            <a:solidFill>
              <a:srgbClr val="FEFEED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8" name="Vrije vorm 147">
              <a:extLst>
                <a:ext uri="{FF2B5EF4-FFF2-40B4-BE49-F238E27FC236}">
                  <a16:creationId xmlns:a16="http://schemas.microsoft.com/office/drawing/2014/main" id="{3A228EC6-CFF8-2DCE-9F25-6089C96C4043}"/>
                </a:ext>
              </a:extLst>
            </p:cNvPr>
            <p:cNvSpPr/>
            <p:nvPr/>
          </p:nvSpPr>
          <p:spPr>
            <a:xfrm flipV="1">
              <a:off x="6774990" y="1382720"/>
              <a:ext cx="3154076" cy="2515787"/>
            </a:xfrm>
            <a:custGeom>
              <a:avLst/>
              <a:gdLst>
                <a:gd name="connsiteX0" fmla="*/ 21615 w 1409226"/>
                <a:gd name="connsiteY0" fmla="*/ 26914 h 921799"/>
                <a:gd name="connsiteX1" fmla="*/ 1379378 w 1409226"/>
                <a:gd name="connsiteY1" fmla="*/ 26914 h 921799"/>
                <a:gd name="connsiteX2" fmla="*/ 1379378 w 1409226"/>
                <a:gd name="connsiteY2" fmla="*/ 891558 h 921799"/>
                <a:gd name="connsiteX3" fmla="*/ 21615 w 1409226"/>
                <a:gd name="connsiteY3" fmla="*/ 891558 h 921799"/>
                <a:gd name="connsiteX4" fmla="*/ 1405109 w 1409226"/>
                <a:gd name="connsiteY4" fmla="*/ -1664 h 921799"/>
                <a:gd name="connsiteX5" fmla="*/ -4117 w 1409226"/>
                <a:gd name="connsiteY5" fmla="*/ -1664 h 921799"/>
                <a:gd name="connsiteX6" fmla="*/ -4117 w 1409226"/>
                <a:gd name="connsiteY6" fmla="*/ 920135 h 921799"/>
                <a:gd name="connsiteX7" fmla="*/ 1405109 w 1409226"/>
                <a:gd name="connsiteY7" fmla="*/ 920135 h 921799"/>
                <a:gd name="connsiteX8" fmla="*/ 1405109 w 1409226"/>
                <a:gd name="connsiteY8" fmla="*/ -1664 h 92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9226" h="921799">
                  <a:moveTo>
                    <a:pt x="21615" y="26914"/>
                  </a:moveTo>
                  <a:lnTo>
                    <a:pt x="1379378" y="26914"/>
                  </a:lnTo>
                  <a:lnTo>
                    <a:pt x="1379378" y="891558"/>
                  </a:lnTo>
                  <a:lnTo>
                    <a:pt x="21615" y="891558"/>
                  </a:lnTo>
                  <a:close/>
                  <a:moveTo>
                    <a:pt x="1405109" y="-1664"/>
                  </a:moveTo>
                  <a:lnTo>
                    <a:pt x="-4117" y="-1664"/>
                  </a:lnTo>
                  <a:lnTo>
                    <a:pt x="-4117" y="920135"/>
                  </a:lnTo>
                  <a:lnTo>
                    <a:pt x="1405109" y="920135"/>
                  </a:lnTo>
                  <a:lnTo>
                    <a:pt x="1405109" y="-1664"/>
                  </a:lnTo>
                </a:path>
              </a:pathLst>
            </a:custGeom>
            <a:solidFill>
              <a:srgbClr val="929590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9" name="Vrije vorm 148">
              <a:extLst>
                <a:ext uri="{FF2B5EF4-FFF2-40B4-BE49-F238E27FC236}">
                  <a16:creationId xmlns:a16="http://schemas.microsoft.com/office/drawing/2014/main" id="{50A47B62-F871-3799-551C-B3CD2EBDEFED}"/>
                </a:ext>
              </a:extLst>
            </p:cNvPr>
            <p:cNvSpPr/>
            <p:nvPr/>
          </p:nvSpPr>
          <p:spPr>
            <a:xfrm flipV="1">
              <a:off x="6827782" y="1441207"/>
              <a:ext cx="3048493" cy="2379048"/>
            </a:xfrm>
            <a:custGeom>
              <a:avLst/>
              <a:gdLst>
                <a:gd name="connsiteX0" fmla="*/ 7894 w 1362052"/>
                <a:gd name="connsiteY0" fmla="*/ 20312 h 871697"/>
                <a:gd name="connsiteX1" fmla="*/ 7894 w 1362052"/>
                <a:gd name="connsiteY1" fmla="*/ 857134 h 871697"/>
                <a:gd name="connsiteX2" fmla="*/ 1357936 w 1362052"/>
                <a:gd name="connsiteY2" fmla="*/ 857134 h 871697"/>
                <a:gd name="connsiteX3" fmla="*/ 1357936 w 1362052"/>
                <a:gd name="connsiteY3" fmla="*/ 870030 h 871697"/>
                <a:gd name="connsiteX4" fmla="*/ -4117 w 1362052"/>
                <a:gd name="connsiteY4" fmla="*/ 870030 h 871697"/>
                <a:gd name="connsiteX5" fmla="*/ -4117 w 1362052"/>
                <a:gd name="connsiteY5" fmla="*/ -1668 h 871697"/>
                <a:gd name="connsiteX6" fmla="*/ 7894 w 1362052"/>
                <a:gd name="connsiteY6" fmla="*/ -1668 h 871697"/>
                <a:gd name="connsiteX7" fmla="*/ 7894 w 1362052"/>
                <a:gd name="connsiteY7" fmla="*/ 20312 h 871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62052" h="871697">
                  <a:moveTo>
                    <a:pt x="7894" y="20312"/>
                  </a:moveTo>
                  <a:lnTo>
                    <a:pt x="7894" y="857134"/>
                  </a:lnTo>
                  <a:lnTo>
                    <a:pt x="1357936" y="857134"/>
                  </a:lnTo>
                  <a:lnTo>
                    <a:pt x="1357936" y="870030"/>
                  </a:lnTo>
                  <a:lnTo>
                    <a:pt x="-4117" y="870030"/>
                  </a:lnTo>
                  <a:lnTo>
                    <a:pt x="-4117" y="-1668"/>
                  </a:lnTo>
                  <a:lnTo>
                    <a:pt x="7894" y="-1668"/>
                  </a:lnTo>
                  <a:lnTo>
                    <a:pt x="7894" y="20312"/>
                  </a:lnTo>
                </a:path>
              </a:pathLst>
            </a:custGeom>
            <a:solidFill>
              <a:srgbClr val="747779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50" name="Vrije vorm 149">
              <a:extLst>
                <a:ext uri="{FF2B5EF4-FFF2-40B4-BE49-F238E27FC236}">
                  <a16:creationId xmlns:a16="http://schemas.microsoft.com/office/drawing/2014/main" id="{08F80D61-D7C1-98FF-D309-942063E69B54}"/>
                </a:ext>
              </a:extLst>
            </p:cNvPr>
            <p:cNvSpPr/>
            <p:nvPr/>
          </p:nvSpPr>
          <p:spPr>
            <a:xfrm flipV="1">
              <a:off x="6827782" y="1441207"/>
              <a:ext cx="3048493" cy="35193"/>
            </a:xfrm>
            <a:custGeom>
              <a:avLst/>
              <a:gdLst>
                <a:gd name="connsiteX0" fmla="*/ 7894 w 1362052"/>
                <a:gd name="connsiteY0" fmla="*/ -2138 h 12895"/>
                <a:gd name="connsiteX1" fmla="*/ 1357936 w 1362052"/>
                <a:gd name="connsiteY1" fmla="*/ -2138 h 12895"/>
                <a:gd name="connsiteX2" fmla="*/ 1357936 w 1362052"/>
                <a:gd name="connsiteY2" fmla="*/ 10758 h 12895"/>
                <a:gd name="connsiteX3" fmla="*/ -4117 w 1362052"/>
                <a:gd name="connsiteY3" fmla="*/ 10758 h 12895"/>
                <a:gd name="connsiteX4" fmla="*/ 7894 w 1362052"/>
                <a:gd name="connsiteY4" fmla="*/ -2138 h 12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052" h="12895">
                  <a:moveTo>
                    <a:pt x="7894" y="-2138"/>
                  </a:moveTo>
                  <a:lnTo>
                    <a:pt x="1357936" y="-2138"/>
                  </a:lnTo>
                  <a:lnTo>
                    <a:pt x="1357936" y="10758"/>
                  </a:lnTo>
                  <a:lnTo>
                    <a:pt x="-4117" y="10758"/>
                  </a:lnTo>
                  <a:lnTo>
                    <a:pt x="7894" y="-2138"/>
                  </a:lnTo>
                </a:path>
              </a:pathLst>
            </a:custGeom>
            <a:solidFill>
              <a:srgbClr val="585C5E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51" name="Vrije vorm 150">
              <a:extLst>
                <a:ext uri="{FF2B5EF4-FFF2-40B4-BE49-F238E27FC236}">
                  <a16:creationId xmlns:a16="http://schemas.microsoft.com/office/drawing/2014/main" id="{4DE10CD4-5C98-AC2D-E8B7-4DCA061BD0FD}"/>
                </a:ext>
              </a:extLst>
            </p:cNvPr>
            <p:cNvSpPr/>
            <p:nvPr/>
          </p:nvSpPr>
          <p:spPr>
            <a:xfrm flipV="1">
              <a:off x="6775153" y="3888753"/>
              <a:ext cx="3207375" cy="78615"/>
            </a:xfrm>
            <a:custGeom>
              <a:avLst/>
              <a:gdLst>
                <a:gd name="connsiteX0" fmla="*/ -4127 w 1433040"/>
                <a:gd name="connsiteY0" fmla="*/ 27658 h 28805"/>
                <a:gd name="connsiteX1" fmla="*/ -4127 w 1433040"/>
                <a:gd name="connsiteY1" fmla="*/ 24074 h 28805"/>
                <a:gd name="connsiteX2" fmla="*/ 18278 w 1433040"/>
                <a:gd name="connsiteY2" fmla="*/ -1148 h 28805"/>
                <a:gd name="connsiteX3" fmla="*/ 1428914 w 1433040"/>
                <a:gd name="connsiteY3" fmla="*/ -1148 h 28805"/>
                <a:gd name="connsiteX4" fmla="*/ 1404912 w 1433040"/>
                <a:gd name="connsiteY4" fmla="*/ 27658 h 28805"/>
                <a:gd name="connsiteX5" fmla="*/ -4127 w 1433040"/>
                <a:gd name="connsiteY5" fmla="*/ 27658 h 28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3040" h="28805">
                  <a:moveTo>
                    <a:pt x="-4127" y="27658"/>
                  </a:moveTo>
                  <a:lnTo>
                    <a:pt x="-4127" y="24074"/>
                  </a:lnTo>
                  <a:lnTo>
                    <a:pt x="18278" y="-1148"/>
                  </a:lnTo>
                  <a:lnTo>
                    <a:pt x="1428914" y="-1148"/>
                  </a:lnTo>
                  <a:lnTo>
                    <a:pt x="1404912" y="27658"/>
                  </a:lnTo>
                  <a:lnTo>
                    <a:pt x="-4127" y="27658"/>
                  </a:lnTo>
                </a:path>
              </a:pathLst>
            </a:custGeom>
            <a:solidFill>
              <a:srgbClr val="585C5E"/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grpSp>
          <p:nvGrpSpPr>
            <p:cNvPr id="212" name="Groep 211">
              <a:extLst>
                <a:ext uri="{FF2B5EF4-FFF2-40B4-BE49-F238E27FC236}">
                  <a16:creationId xmlns:a16="http://schemas.microsoft.com/office/drawing/2014/main" id="{0CAE209A-D64E-C5BC-FDC4-9D59DF3EDE82}"/>
                </a:ext>
              </a:extLst>
            </p:cNvPr>
            <p:cNvGrpSpPr/>
            <p:nvPr/>
          </p:nvGrpSpPr>
          <p:grpSpPr>
            <a:xfrm>
              <a:off x="8692545" y="1496510"/>
              <a:ext cx="2507295" cy="4092940"/>
              <a:chOff x="8692546" y="1496510"/>
              <a:chExt cx="2144466" cy="4092940"/>
            </a:xfrm>
          </p:grpSpPr>
          <p:sp>
            <p:nvSpPr>
              <p:cNvPr id="159" name="Vrije vorm 158">
                <a:extLst>
                  <a:ext uri="{FF2B5EF4-FFF2-40B4-BE49-F238E27FC236}">
                    <a16:creationId xmlns:a16="http://schemas.microsoft.com/office/drawing/2014/main" id="{DA2356B6-849F-76D1-87F2-BF9FB349E7AE}"/>
                  </a:ext>
                </a:extLst>
              </p:cNvPr>
              <p:cNvSpPr/>
              <p:nvPr/>
            </p:nvSpPr>
            <p:spPr>
              <a:xfrm flipV="1">
                <a:off x="10488123" y="5239824"/>
                <a:ext cx="103562" cy="247581"/>
              </a:xfrm>
              <a:custGeom>
                <a:avLst/>
                <a:gdLst>
                  <a:gd name="connsiteX0" fmla="*/ -4934 w 46271"/>
                  <a:gd name="connsiteY0" fmla="*/ 82830 h 90715"/>
                  <a:gd name="connsiteX1" fmla="*/ 8942 w 46271"/>
                  <a:gd name="connsiteY1" fmla="*/ -572 h 90715"/>
                  <a:gd name="connsiteX2" fmla="*/ 41337 w 46271"/>
                  <a:gd name="connsiteY2" fmla="*/ -572 h 90715"/>
                  <a:gd name="connsiteX3" fmla="*/ 30518 w 46271"/>
                  <a:gd name="connsiteY3" fmla="*/ 90143 h 90715"/>
                  <a:gd name="connsiteX4" fmla="*/ -4934 w 46271"/>
                  <a:gd name="connsiteY4" fmla="*/ 82830 h 9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71" h="90715">
                    <a:moveTo>
                      <a:pt x="-4934" y="82830"/>
                    </a:moveTo>
                    <a:lnTo>
                      <a:pt x="8942" y="-572"/>
                    </a:lnTo>
                    <a:lnTo>
                      <a:pt x="41337" y="-572"/>
                    </a:lnTo>
                    <a:lnTo>
                      <a:pt x="30518" y="90143"/>
                    </a:lnTo>
                    <a:lnTo>
                      <a:pt x="-4934" y="8283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0" name="Vrije vorm 159">
                <a:extLst>
                  <a:ext uri="{FF2B5EF4-FFF2-40B4-BE49-F238E27FC236}">
                    <a16:creationId xmlns:a16="http://schemas.microsoft.com/office/drawing/2014/main" id="{CE47CA44-AD50-D7B4-1814-072794044F63}"/>
                  </a:ext>
                </a:extLst>
              </p:cNvPr>
              <p:cNvSpPr/>
              <p:nvPr/>
            </p:nvSpPr>
            <p:spPr>
              <a:xfrm flipV="1">
                <a:off x="10488123" y="5379529"/>
                <a:ext cx="344836" cy="209918"/>
              </a:xfrm>
              <a:custGeom>
                <a:avLst/>
                <a:gdLst>
                  <a:gd name="connsiteX0" fmla="*/ 51127 w 154071"/>
                  <a:gd name="connsiteY0" fmla="*/ 76392 h 76915"/>
                  <a:gd name="connsiteX1" fmla="*/ 97647 w 154071"/>
                  <a:gd name="connsiteY1" fmla="*/ 43951 h 76915"/>
                  <a:gd name="connsiteX2" fmla="*/ 148976 w 154071"/>
                  <a:gd name="connsiteY2" fmla="*/ 7905 h 76915"/>
                  <a:gd name="connsiteX3" fmla="*/ 39489 w 154071"/>
                  <a:gd name="connsiteY3" fmla="*/ 10204 h 76915"/>
                  <a:gd name="connsiteX4" fmla="*/ 39489 w 154071"/>
                  <a:gd name="connsiteY4" fmla="*/ 3057 h 76915"/>
                  <a:gd name="connsiteX5" fmla="*/ -4980 w 154071"/>
                  <a:gd name="connsiteY5" fmla="*/ 5005 h 76915"/>
                  <a:gd name="connsiteX6" fmla="*/ -4980 w 154071"/>
                  <a:gd name="connsiteY6" fmla="*/ 64056 h 76915"/>
                  <a:gd name="connsiteX7" fmla="*/ 31965 w 154071"/>
                  <a:gd name="connsiteY7" fmla="*/ 61466 h 76915"/>
                  <a:gd name="connsiteX8" fmla="*/ 29219 w 154071"/>
                  <a:gd name="connsiteY8" fmla="*/ 67308 h 76915"/>
                  <a:gd name="connsiteX9" fmla="*/ 51127 w 154071"/>
                  <a:gd name="connsiteY9" fmla="*/ 76392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4071" h="76915">
                    <a:moveTo>
                      <a:pt x="51127" y="76392"/>
                    </a:moveTo>
                    <a:cubicBezTo>
                      <a:pt x="51127" y="76392"/>
                      <a:pt x="69594" y="52382"/>
                      <a:pt x="97647" y="43951"/>
                    </a:cubicBezTo>
                    <a:cubicBezTo>
                      <a:pt x="125690" y="35509"/>
                      <a:pt x="151028" y="24778"/>
                      <a:pt x="148976" y="7905"/>
                    </a:cubicBezTo>
                    <a:cubicBezTo>
                      <a:pt x="148976" y="7905"/>
                      <a:pt x="107223" y="-12511"/>
                      <a:pt x="39489" y="10204"/>
                    </a:cubicBezTo>
                    <a:lnTo>
                      <a:pt x="39489" y="3057"/>
                    </a:lnTo>
                    <a:lnTo>
                      <a:pt x="-4980" y="5005"/>
                    </a:lnTo>
                    <a:lnTo>
                      <a:pt x="-4980" y="64056"/>
                    </a:lnTo>
                    <a:lnTo>
                      <a:pt x="31965" y="61466"/>
                    </a:lnTo>
                    <a:lnTo>
                      <a:pt x="29219" y="67308"/>
                    </a:lnTo>
                    <a:lnTo>
                      <a:pt x="51127" y="76392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1" name="Vrije vorm 160">
                <a:extLst>
                  <a:ext uri="{FF2B5EF4-FFF2-40B4-BE49-F238E27FC236}">
                    <a16:creationId xmlns:a16="http://schemas.microsoft.com/office/drawing/2014/main" id="{88CF3CB1-0B5E-2C8D-BAED-DC7A9474AEA0}"/>
                  </a:ext>
                </a:extLst>
              </p:cNvPr>
              <p:cNvSpPr/>
              <p:nvPr/>
            </p:nvSpPr>
            <p:spPr>
              <a:xfrm flipV="1">
                <a:off x="10488123" y="5541372"/>
                <a:ext cx="344746" cy="48078"/>
              </a:xfrm>
              <a:custGeom>
                <a:avLst/>
                <a:gdLst>
                  <a:gd name="connsiteX0" fmla="*/ 68962 w 154031"/>
                  <a:gd name="connsiteY0" fmla="*/ 9408 h 17616"/>
                  <a:gd name="connsiteX1" fmla="*/ 148624 w 154031"/>
                  <a:gd name="connsiteY1" fmla="*/ 12329 h 17616"/>
                  <a:gd name="connsiteX2" fmla="*/ 148976 w 154031"/>
                  <a:gd name="connsiteY2" fmla="*/ 7937 h 17616"/>
                  <a:gd name="connsiteX3" fmla="*/ 39489 w 154031"/>
                  <a:gd name="connsiteY3" fmla="*/ 10237 h 17616"/>
                  <a:gd name="connsiteX4" fmla="*/ 39489 w 154031"/>
                  <a:gd name="connsiteY4" fmla="*/ 3090 h 17616"/>
                  <a:gd name="connsiteX5" fmla="*/ -4979 w 154031"/>
                  <a:gd name="connsiteY5" fmla="*/ 5037 h 17616"/>
                  <a:gd name="connsiteX6" fmla="*/ -4979 w 154031"/>
                  <a:gd name="connsiteY6" fmla="*/ 16825 h 17616"/>
                  <a:gd name="connsiteX7" fmla="*/ 68962 w 154031"/>
                  <a:gd name="connsiteY7" fmla="*/ 9408 h 17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031" h="17616">
                    <a:moveTo>
                      <a:pt x="68962" y="9408"/>
                    </a:moveTo>
                    <a:cubicBezTo>
                      <a:pt x="129669" y="-6191"/>
                      <a:pt x="145079" y="11138"/>
                      <a:pt x="148624" y="12329"/>
                    </a:cubicBezTo>
                    <a:cubicBezTo>
                      <a:pt x="149017" y="10869"/>
                      <a:pt x="149152" y="9408"/>
                      <a:pt x="148976" y="7937"/>
                    </a:cubicBezTo>
                    <a:cubicBezTo>
                      <a:pt x="148976" y="7937"/>
                      <a:pt x="107223" y="-12478"/>
                      <a:pt x="39489" y="10237"/>
                    </a:cubicBezTo>
                    <a:lnTo>
                      <a:pt x="39489" y="3090"/>
                    </a:lnTo>
                    <a:lnTo>
                      <a:pt x="-4979" y="5037"/>
                    </a:lnTo>
                    <a:lnTo>
                      <a:pt x="-4979" y="16825"/>
                    </a:lnTo>
                    <a:cubicBezTo>
                      <a:pt x="10897" y="15861"/>
                      <a:pt x="24203" y="20916"/>
                      <a:pt x="68962" y="94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2" name="Vrije vorm 161">
                <a:extLst>
                  <a:ext uri="{FF2B5EF4-FFF2-40B4-BE49-F238E27FC236}">
                    <a16:creationId xmlns:a16="http://schemas.microsoft.com/office/drawing/2014/main" id="{6EFEA36A-FEEE-52EF-2596-CD429E24FA4C}"/>
                  </a:ext>
                </a:extLst>
              </p:cNvPr>
              <p:cNvSpPr/>
              <p:nvPr/>
            </p:nvSpPr>
            <p:spPr>
              <a:xfrm flipV="1">
                <a:off x="10596278" y="5413208"/>
                <a:ext cx="53579" cy="60204"/>
              </a:xfrm>
              <a:custGeom>
                <a:avLst/>
                <a:gdLst>
                  <a:gd name="connsiteX0" fmla="*/ -3349 w 23939"/>
                  <a:gd name="connsiteY0" fmla="*/ -540 h 22059"/>
                  <a:gd name="connsiteX1" fmla="*/ -1732 w 23939"/>
                  <a:gd name="connsiteY1" fmla="*/ 319 h 22059"/>
                  <a:gd name="connsiteX2" fmla="*/ 17668 w 23939"/>
                  <a:gd name="connsiteY2" fmla="*/ 17731 h 22059"/>
                  <a:gd name="connsiteX3" fmla="*/ 18860 w 23939"/>
                  <a:gd name="connsiteY3" fmla="*/ 20228 h 22059"/>
                  <a:gd name="connsiteX4" fmla="*/ 16352 w 23939"/>
                  <a:gd name="connsiteY4" fmla="*/ 21398 h 22059"/>
                  <a:gd name="connsiteX5" fmla="*/ -4966 w 23939"/>
                  <a:gd name="connsiteY5" fmla="*/ 2495 h 22059"/>
                  <a:gd name="connsiteX6" fmla="*/ -4437 w 23939"/>
                  <a:gd name="connsiteY6" fmla="*/ -209 h 22059"/>
                  <a:gd name="connsiteX7" fmla="*/ -3349 w 23939"/>
                  <a:gd name="connsiteY7" fmla="*/ -540 h 2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9">
                    <a:moveTo>
                      <a:pt x="-3349" y="-540"/>
                    </a:moveTo>
                    <a:lnTo>
                      <a:pt x="-1732" y="319"/>
                    </a:lnTo>
                    <a:cubicBezTo>
                      <a:pt x="7387" y="13909"/>
                      <a:pt x="17574" y="17700"/>
                      <a:pt x="17668" y="17731"/>
                    </a:cubicBezTo>
                    <a:cubicBezTo>
                      <a:pt x="18694" y="18104"/>
                      <a:pt x="19222" y="19223"/>
                      <a:pt x="18860" y="20228"/>
                    </a:cubicBezTo>
                    <a:cubicBezTo>
                      <a:pt x="18476" y="21253"/>
                      <a:pt x="17367" y="21771"/>
                      <a:pt x="16352" y="21398"/>
                    </a:cubicBezTo>
                    <a:cubicBezTo>
                      <a:pt x="15885" y="21243"/>
                      <a:pt x="4859" y="17130"/>
                      <a:pt x="-4966" y="2495"/>
                    </a:cubicBezTo>
                    <a:lnTo>
                      <a:pt x="-4437" y="-209"/>
                    </a:lnTo>
                    <a:lnTo>
                      <a:pt x="-3349" y="-540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3" name="Vrije vorm 162">
                <a:extLst>
                  <a:ext uri="{FF2B5EF4-FFF2-40B4-BE49-F238E27FC236}">
                    <a16:creationId xmlns:a16="http://schemas.microsoft.com/office/drawing/2014/main" id="{078A2679-69EE-8561-9F21-55D5830CD090}"/>
                  </a:ext>
                </a:extLst>
              </p:cNvPr>
              <p:cNvSpPr/>
              <p:nvPr/>
            </p:nvSpPr>
            <p:spPr>
              <a:xfrm flipV="1">
                <a:off x="10619055" y="5425675"/>
                <a:ext cx="53579" cy="60201"/>
              </a:xfrm>
              <a:custGeom>
                <a:avLst/>
                <a:gdLst>
                  <a:gd name="connsiteX0" fmla="*/ -3358 w 23939"/>
                  <a:gd name="connsiteY0" fmla="*/ -535 h 22058"/>
                  <a:gd name="connsiteX1" fmla="*/ -1730 w 23939"/>
                  <a:gd name="connsiteY1" fmla="*/ 324 h 22058"/>
                  <a:gd name="connsiteX2" fmla="*/ 17669 w 23939"/>
                  <a:gd name="connsiteY2" fmla="*/ 17746 h 22058"/>
                  <a:gd name="connsiteX3" fmla="*/ 18851 w 23939"/>
                  <a:gd name="connsiteY3" fmla="*/ 20243 h 22058"/>
                  <a:gd name="connsiteX4" fmla="*/ 16353 w 23939"/>
                  <a:gd name="connsiteY4" fmla="*/ 21413 h 22058"/>
                  <a:gd name="connsiteX5" fmla="*/ -4974 w 23939"/>
                  <a:gd name="connsiteY5" fmla="*/ 2500 h 22058"/>
                  <a:gd name="connsiteX6" fmla="*/ -4435 w 23939"/>
                  <a:gd name="connsiteY6" fmla="*/ -204 h 22058"/>
                  <a:gd name="connsiteX7" fmla="*/ -3358 w 23939"/>
                  <a:gd name="connsiteY7" fmla="*/ -535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8">
                    <a:moveTo>
                      <a:pt x="-3358" y="-535"/>
                    </a:moveTo>
                    <a:lnTo>
                      <a:pt x="-1730" y="324"/>
                    </a:lnTo>
                    <a:cubicBezTo>
                      <a:pt x="7389" y="13904"/>
                      <a:pt x="17566" y="17705"/>
                      <a:pt x="17669" y="17746"/>
                    </a:cubicBezTo>
                    <a:cubicBezTo>
                      <a:pt x="18685" y="18109"/>
                      <a:pt x="19213" y="19217"/>
                      <a:pt x="18851" y="20243"/>
                    </a:cubicBezTo>
                    <a:cubicBezTo>
                      <a:pt x="18478" y="21247"/>
                      <a:pt x="17348" y="21765"/>
                      <a:pt x="16353" y="21413"/>
                    </a:cubicBezTo>
                    <a:cubicBezTo>
                      <a:pt x="15887" y="21237"/>
                      <a:pt x="4850" y="17135"/>
                      <a:pt x="-4974" y="2500"/>
                    </a:cubicBezTo>
                    <a:lnTo>
                      <a:pt x="-4435" y="-204"/>
                    </a:lnTo>
                    <a:lnTo>
                      <a:pt x="-3358" y="-535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4" name="Vrije vorm 163">
                <a:extLst>
                  <a:ext uri="{FF2B5EF4-FFF2-40B4-BE49-F238E27FC236}">
                    <a16:creationId xmlns:a16="http://schemas.microsoft.com/office/drawing/2014/main" id="{A2649043-0D60-2BA4-2B1E-B01A22BB868B}"/>
                  </a:ext>
                </a:extLst>
              </p:cNvPr>
              <p:cNvSpPr/>
              <p:nvPr/>
            </p:nvSpPr>
            <p:spPr>
              <a:xfrm flipV="1">
                <a:off x="10641856" y="5437976"/>
                <a:ext cx="53548" cy="60228"/>
              </a:xfrm>
              <a:custGeom>
                <a:avLst/>
                <a:gdLst>
                  <a:gd name="connsiteX0" fmla="*/ -3366 w 23925"/>
                  <a:gd name="connsiteY0" fmla="*/ -530 h 22068"/>
                  <a:gd name="connsiteX1" fmla="*/ -1749 w 23925"/>
                  <a:gd name="connsiteY1" fmla="*/ 340 h 22068"/>
                  <a:gd name="connsiteX2" fmla="*/ 17661 w 23925"/>
                  <a:gd name="connsiteY2" fmla="*/ 17751 h 22068"/>
                  <a:gd name="connsiteX3" fmla="*/ 18822 w 23925"/>
                  <a:gd name="connsiteY3" fmla="*/ 20248 h 22068"/>
                  <a:gd name="connsiteX4" fmla="*/ 16324 w 23925"/>
                  <a:gd name="connsiteY4" fmla="*/ 21418 h 22068"/>
                  <a:gd name="connsiteX5" fmla="*/ -4983 w 23925"/>
                  <a:gd name="connsiteY5" fmla="*/ 2504 h 22068"/>
                  <a:gd name="connsiteX6" fmla="*/ -4454 w 23925"/>
                  <a:gd name="connsiteY6" fmla="*/ -189 h 22068"/>
                  <a:gd name="connsiteX7" fmla="*/ -3366 w 23925"/>
                  <a:gd name="connsiteY7" fmla="*/ -530 h 22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5" h="22068">
                    <a:moveTo>
                      <a:pt x="-3366" y="-530"/>
                    </a:moveTo>
                    <a:lnTo>
                      <a:pt x="-1749" y="340"/>
                    </a:lnTo>
                    <a:cubicBezTo>
                      <a:pt x="7309" y="13836"/>
                      <a:pt x="17557" y="17710"/>
                      <a:pt x="17661" y="17751"/>
                    </a:cubicBezTo>
                    <a:cubicBezTo>
                      <a:pt x="18677" y="18124"/>
                      <a:pt x="19195" y="19243"/>
                      <a:pt x="18822" y="20248"/>
                    </a:cubicBezTo>
                    <a:cubicBezTo>
                      <a:pt x="18449" y="21263"/>
                      <a:pt x="17340" y="21791"/>
                      <a:pt x="16324" y="21418"/>
                    </a:cubicBezTo>
                    <a:cubicBezTo>
                      <a:pt x="15858" y="21252"/>
                      <a:pt x="4832" y="17140"/>
                      <a:pt x="-4983" y="2504"/>
                    </a:cubicBezTo>
                    <a:lnTo>
                      <a:pt x="-4454" y="-189"/>
                    </a:lnTo>
                    <a:lnTo>
                      <a:pt x="-3366" y="-530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5" name="Vrije vorm 164">
                <a:extLst>
                  <a:ext uri="{FF2B5EF4-FFF2-40B4-BE49-F238E27FC236}">
                    <a16:creationId xmlns:a16="http://schemas.microsoft.com/office/drawing/2014/main" id="{BF218DB5-CBFF-545A-D556-ABEFCA4739D8}"/>
                  </a:ext>
                </a:extLst>
              </p:cNvPr>
              <p:cNvSpPr/>
              <p:nvPr/>
            </p:nvSpPr>
            <p:spPr>
              <a:xfrm flipV="1">
                <a:off x="10045873" y="5239824"/>
                <a:ext cx="103609" cy="247581"/>
              </a:xfrm>
              <a:custGeom>
                <a:avLst/>
                <a:gdLst>
                  <a:gd name="connsiteX0" fmla="*/ 41523 w 46292"/>
                  <a:gd name="connsiteY0" fmla="*/ 82830 h 90715"/>
                  <a:gd name="connsiteX1" fmla="*/ 27636 w 46292"/>
                  <a:gd name="connsiteY1" fmla="*/ -572 h 90715"/>
                  <a:gd name="connsiteX2" fmla="*/ -4769 w 46292"/>
                  <a:gd name="connsiteY2" fmla="*/ -572 h 90715"/>
                  <a:gd name="connsiteX3" fmla="*/ 6071 w 46292"/>
                  <a:gd name="connsiteY3" fmla="*/ 90143 h 90715"/>
                  <a:gd name="connsiteX4" fmla="*/ 41523 w 46292"/>
                  <a:gd name="connsiteY4" fmla="*/ 82830 h 9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292" h="90715">
                    <a:moveTo>
                      <a:pt x="41523" y="82830"/>
                    </a:moveTo>
                    <a:lnTo>
                      <a:pt x="27636" y="-572"/>
                    </a:lnTo>
                    <a:lnTo>
                      <a:pt x="-4769" y="-572"/>
                    </a:lnTo>
                    <a:lnTo>
                      <a:pt x="6071" y="90143"/>
                    </a:lnTo>
                    <a:lnTo>
                      <a:pt x="41523" y="8283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6" name="Vrije vorm 165">
                <a:extLst>
                  <a:ext uri="{FF2B5EF4-FFF2-40B4-BE49-F238E27FC236}">
                    <a16:creationId xmlns:a16="http://schemas.microsoft.com/office/drawing/2014/main" id="{31191F22-E1C0-FD35-A055-C121E4079FBA}"/>
                  </a:ext>
                </a:extLst>
              </p:cNvPr>
              <p:cNvSpPr/>
              <p:nvPr/>
            </p:nvSpPr>
            <p:spPr>
              <a:xfrm flipV="1">
                <a:off x="9797782" y="5379529"/>
                <a:ext cx="351698" cy="209918"/>
              </a:xfrm>
              <a:custGeom>
                <a:avLst/>
                <a:gdLst>
                  <a:gd name="connsiteX0" fmla="*/ 96309 w 157137"/>
                  <a:gd name="connsiteY0" fmla="*/ 76392 h 76915"/>
                  <a:gd name="connsiteX1" fmla="*/ 49789 w 157137"/>
                  <a:gd name="connsiteY1" fmla="*/ 43951 h 76915"/>
                  <a:gd name="connsiteX2" fmla="*/ -4618 w 157137"/>
                  <a:gd name="connsiteY2" fmla="*/ 7905 h 76915"/>
                  <a:gd name="connsiteX3" fmla="*/ 107936 w 157137"/>
                  <a:gd name="connsiteY3" fmla="*/ 10204 h 76915"/>
                  <a:gd name="connsiteX4" fmla="*/ 107936 w 157137"/>
                  <a:gd name="connsiteY4" fmla="*/ 3057 h 76915"/>
                  <a:gd name="connsiteX5" fmla="*/ 152415 w 157137"/>
                  <a:gd name="connsiteY5" fmla="*/ 5005 h 76915"/>
                  <a:gd name="connsiteX6" fmla="*/ 152415 w 157137"/>
                  <a:gd name="connsiteY6" fmla="*/ 64056 h 76915"/>
                  <a:gd name="connsiteX7" fmla="*/ 115470 w 157137"/>
                  <a:gd name="connsiteY7" fmla="*/ 61466 h 76915"/>
                  <a:gd name="connsiteX8" fmla="*/ 118196 w 157137"/>
                  <a:gd name="connsiteY8" fmla="*/ 67308 h 76915"/>
                  <a:gd name="connsiteX9" fmla="*/ 96309 w 157137"/>
                  <a:gd name="connsiteY9" fmla="*/ 76392 h 7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7137" h="76915">
                    <a:moveTo>
                      <a:pt x="96309" y="76392"/>
                    </a:moveTo>
                    <a:cubicBezTo>
                      <a:pt x="96309" y="76392"/>
                      <a:pt x="77842" y="52382"/>
                      <a:pt x="49789" y="43951"/>
                    </a:cubicBezTo>
                    <a:cubicBezTo>
                      <a:pt x="21746" y="35509"/>
                      <a:pt x="-6670" y="24778"/>
                      <a:pt x="-4618" y="7905"/>
                    </a:cubicBezTo>
                    <a:cubicBezTo>
                      <a:pt x="-4618" y="7905"/>
                      <a:pt x="40213" y="-12511"/>
                      <a:pt x="107936" y="10204"/>
                    </a:cubicBezTo>
                    <a:lnTo>
                      <a:pt x="107936" y="3057"/>
                    </a:lnTo>
                    <a:lnTo>
                      <a:pt x="152415" y="5005"/>
                    </a:lnTo>
                    <a:lnTo>
                      <a:pt x="152415" y="64056"/>
                    </a:lnTo>
                    <a:lnTo>
                      <a:pt x="115470" y="61466"/>
                    </a:lnTo>
                    <a:lnTo>
                      <a:pt x="118196" y="67308"/>
                    </a:lnTo>
                    <a:lnTo>
                      <a:pt x="96309" y="76392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7" name="Vrije vorm 166">
                <a:extLst>
                  <a:ext uri="{FF2B5EF4-FFF2-40B4-BE49-F238E27FC236}">
                    <a16:creationId xmlns:a16="http://schemas.microsoft.com/office/drawing/2014/main" id="{D8A00E53-4C18-8A3F-E59A-3CA727DCA300}"/>
                  </a:ext>
                </a:extLst>
              </p:cNvPr>
              <p:cNvSpPr/>
              <p:nvPr/>
            </p:nvSpPr>
            <p:spPr>
              <a:xfrm flipV="1">
                <a:off x="9797851" y="5533796"/>
                <a:ext cx="351631" cy="55654"/>
              </a:xfrm>
              <a:custGeom>
                <a:avLst/>
                <a:gdLst>
                  <a:gd name="connsiteX0" fmla="*/ 69220 w 157107"/>
                  <a:gd name="connsiteY0" fmla="*/ 6341 h 20392"/>
                  <a:gd name="connsiteX1" fmla="*/ -4296 w 157107"/>
                  <a:gd name="connsiteY1" fmla="*/ 12328 h 20392"/>
                  <a:gd name="connsiteX2" fmla="*/ -4648 w 157107"/>
                  <a:gd name="connsiteY2" fmla="*/ 7936 h 20392"/>
                  <a:gd name="connsiteX3" fmla="*/ 107906 w 157107"/>
                  <a:gd name="connsiteY3" fmla="*/ 10235 h 20392"/>
                  <a:gd name="connsiteX4" fmla="*/ 107906 w 157107"/>
                  <a:gd name="connsiteY4" fmla="*/ 3088 h 20392"/>
                  <a:gd name="connsiteX5" fmla="*/ 152385 w 157107"/>
                  <a:gd name="connsiteY5" fmla="*/ 5036 h 20392"/>
                  <a:gd name="connsiteX6" fmla="*/ 152385 w 157107"/>
                  <a:gd name="connsiteY6" fmla="*/ 19899 h 20392"/>
                  <a:gd name="connsiteX7" fmla="*/ 69220 w 157107"/>
                  <a:gd name="connsiteY7" fmla="*/ 6341 h 20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07" h="20392">
                    <a:moveTo>
                      <a:pt x="69220" y="6341"/>
                    </a:moveTo>
                    <a:cubicBezTo>
                      <a:pt x="26597" y="-361"/>
                      <a:pt x="-741" y="11137"/>
                      <a:pt x="-4296" y="12328"/>
                    </a:cubicBezTo>
                    <a:cubicBezTo>
                      <a:pt x="-4680" y="10867"/>
                      <a:pt x="-4825" y="9407"/>
                      <a:pt x="-4648" y="7936"/>
                    </a:cubicBezTo>
                    <a:cubicBezTo>
                      <a:pt x="-4648" y="7936"/>
                      <a:pt x="40182" y="-12480"/>
                      <a:pt x="107906" y="10235"/>
                    </a:cubicBezTo>
                    <a:lnTo>
                      <a:pt x="107906" y="3088"/>
                    </a:lnTo>
                    <a:lnTo>
                      <a:pt x="152385" y="5036"/>
                    </a:lnTo>
                    <a:lnTo>
                      <a:pt x="152385" y="19899"/>
                    </a:lnTo>
                    <a:cubicBezTo>
                      <a:pt x="136508" y="18936"/>
                      <a:pt x="110124" y="12773"/>
                      <a:pt x="69220" y="6341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8" name="Vrije vorm 167">
                <a:extLst>
                  <a:ext uri="{FF2B5EF4-FFF2-40B4-BE49-F238E27FC236}">
                    <a16:creationId xmlns:a16="http://schemas.microsoft.com/office/drawing/2014/main" id="{6C3DBE43-0876-21EE-EEC4-2B369C7CBE6B}"/>
                  </a:ext>
                </a:extLst>
              </p:cNvPr>
              <p:cNvSpPr/>
              <p:nvPr/>
            </p:nvSpPr>
            <p:spPr>
              <a:xfrm flipV="1">
                <a:off x="9987746" y="5413208"/>
                <a:ext cx="53579" cy="60204"/>
              </a:xfrm>
              <a:custGeom>
                <a:avLst/>
                <a:gdLst>
                  <a:gd name="connsiteX0" fmla="*/ 17585 w 23939"/>
                  <a:gd name="connsiteY0" fmla="*/ -540 h 22059"/>
                  <a:gd name="connsiteX1" fmla="*/ 15947 w 23939"/>
                  <a:gd name="connsiteY1" fmla="*/ 319 h 22059"/>
                  <a:gd name="connsiteX2" fmla="*/ -3453 w 23939"/>
                  <a:gd name="connsiteY2" fmla="*/ 17731 h 22059"/>
                  <a:gd name="connsiteX3" fmla="*/ -4624 w 23939"/>
                  <a:gd name="connsiteY3" fmla="*/ 20228 h 22059"/>
                  <a:gd name="connsiteX4" fmla="*/ -2126 w 23939"/>
                  <a:gd name="connsiteY4" fmla="*/ 21398 h 22059"/>
                  <a:gd name="connsiteX5" fmla="*/ 19202 w 23939"/>
                  <a:gd name="connsiteY5" fmla="*/ 2495 h 22059"/>
                  <a:gd name="connsiteX6" fmla="*/ 18663 w 23939"/>
                  <a:gd name="connsiteY6" fmla="*/ -209 h 22059"/>
                  <a:gd name="connsiteX7" fmla="*/ 17585 w 23939"/>
                  <a:gd name="connsiteY7" fmla="*/ -540 h 2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" h="22059">
                    <a:moveTo>
                      <a:pt x="17585" y="-540"/>
                    </a:moveTo>
                    <a:lnTo>
                      <a:pt x="15947" y="319"/>
                    </a:lnTo>
                    <a:cubicBezTo>
                      <a:pt x="6849" y="13909"/>
                      <a:pt x="-3338" y="17700"/>
                      <a:pt x="-3453" y="17731"/>
                    </a:cubicBezTo>
                    <a:cubicBezTo>
                      <a:pt x="-4458" y="18104"/>
                      <a:pt x="-4986" y="19223"/>
                      <a:pt x="-4624" y="20228"/>
                    </a:cubicBezTo>
                    <a:cubicBezTo>
                      <a:pt x="-4250" y="21253"/>
                      <a:pt x="-3131" y="21771"/>
                      <a:pt x="-2126" y="21398"/>
                    </a:cubicBezTo>
                    <a:cubicBezTo>
                      <a:pt x="-1659" y="21243"/>
                      <a:pt x="9377" y="17130"/>
                      <a:pt x="19202" y="2495"/>
                    </a:cubicBezTo>
                    <a:lnTo>
                      <a:pt x="18663" y="-209"/>
                    </a:lnTo>
                    <a:lnTo>
                      <a:pt x="17585" y="-540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9" name="Vrije vorm 168">
                <a:extLst>
                  <a:ext uri="{FF2B5EF4-FFF2-40B4-BE49-F238E27FC236}">
                    <a16:creationId xmlns:a16="http://schemas.microsoft.com/office/drawing/2014/main" id="{5B6952CB-7B17-31A0-801A-096F748AA4C9}"/>
                  </a:ext>
                </a:extLst>
              </p:cNvPr>
              <p:cNvSpPr/>
              <p:nvPr/>
            </p:nvSpPr>
            <p:spPr>
              <a:xfrm flipV="1">
                <a:off x="9964968" y="5425675"/>
                <a:ext cx="53582" cy="60201"/>
              </a:xfrm>
              <a:custGeom>
                <a:avLst/>
                <a:gdLst>
                  <a:gd name="connsiteX0" fmla="*/ 17584 w 23940"/>
                  <a:gd name="connsiteY0" fmla="*/ -535 h 22058"/>
                  <a:gd name="connsiteX1" fmla="*/ 15967 w 23940"/>
                  <a:gd name="connsiteY1" fmla="*/ 324 h 22058"/>
                  <a:gd name="connsiteX2" fmla="*/ -3433 w 23940"/>
                  <a:gd name="connsiteY2" fmla="*/ 17746 h 22058"/>
                  <a:gd name="connsiteX3" fmla="*/ -4614 w 23940"/>
                  <a:gd name="connsiteY3" fmla="*/ 20243 h 22058"/>
                  <a:gd name="connsiteX4" fmla="*/ -2116 w 23940"/>
                  <a:gd name="connsiteY4" fmla="*/ 21413 h 22058"/>
                  <a:gd name="connsiteX5" fmla="*/ 19211 w 23940"/>
                  <a:gd name="connsiteY5" fmla="*/ 2500 h 22058"/>
                  <a:gd name="connsiteX6" fmla="*/ 18672 w 23940"/>
                  <a:gd name="connsiteY6" fmla="*/ -204 h 22058"/>
                  <a:gd name="connsiteX7" fmla="*/ 17584 w 23940"/>
                  <a:gd name="connsiteY7" fmla="*/ -535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40" h="22058">
                    <a:moveTo>
                      <a:pt x="17584" y="-535"/>
                    </a:moveTo>
                    <a:lnTo>
                      <a:pt x="15967" y="324"/>
                    </a:lnTo>
                    <a:cubicBezTo>
                      <a:pt x="6848" y="13904"/>
                      <a:pt x="-3329" y="17705"/>
                      <a:pt x="-3433" y="17746"/>
                    </a:cubicBezTo>
                    <a:cubicBezTo>
                      <a:pt x="-4459" y="18109"/>
                      <a:pt x="-4977" y="19217"/>
                      <a:pt x="-4614" y="20243"/>
                    </a:cubicBezTo>
                    <a:cubicBezTo>
                      <a:pt x="-4241" y="21247"/>
                      <a:pt x="-3122" y="21765"/>
                      <a:pt x="-2116" y="21413"/>
                    </a:cubicBezTo>
                    <a:cubicBezTo>
                      <a:pt x="-1650" y="21237"/>
                      <a:pt x="9376" y="17135"/>
                      <a:pt x="19211" y="2500"/>
                    </a:cubicBezTo>
                    <a:lnTo>
                      <a:pt x="18672" y="-204"/>
                    </a:lnTo>
                    <a:lnTo>
                      <a:pt x="17584" y="-535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0" name="Vrije vorm 169">
                <a:extLst>
                  <a:ext uri="{FF2B5EF4-FFF2-40B4-BE49-F238E27FC236}">
                    <a16:creationId xmlns:a16="http://schemas.microsoft.com/office/drawing/2014/main" id="{6B327536-4824-D53E-7A08-47C6C8AD02EA}"/>
                  </a:ext>
                </a:extLst>
              </p:cNvPr>
              <p:cNvSpPr/>
              <p:nvPr/>
            </p:nvSpPr>
            <p:spPr>
              <a:xfrm flipV="1">
                <a:off x="9942190" y="5437976"/>
                <a:ext cx="53559" cy="60228"/>
              </a:xfrm>
              <a:custGeom>
                <a:avLst/>
                <a:gdLst>
                  <a:gd name="connsiteX0" fmla="*/ 17592 w 23930"/>
                  <a:gd name="connsiteY0" fmla="*/ -530 h 22068"/>
                  <a:gd name="connsiteX1" fmla="*/ 15976 w 23930"/>
                  <a:gd name="connsiteY1" fmla="*/ 340 h 22068"/>
                  <a:gd name="connsiteX2" fmla="*/ -3435 w 23930"/>
                  <a:gd name="connsiteY2" fmla="*/ 17751 h 22068"/>
                  <a:gd name="connsiteX3" fmla="*/ -4605 w 23930"/>
                  <a:gd name="connsiteY3" fmla="*/ 20248 h 22068"/>
                  <a:gd name="connsiteX4" fmla="*/ -2108 w 23930"/>
                  <a:gd name="connsiteY4" fmla="*/ 21418 h 22068"/>
                  <a:gd name="connsiteX5" fmla="*/ 19209 w 23930"/>
                  <a:gd name="connsiteY5" fmla="*/ 2504 h 22068"/>
                  <a:gd name="connsiteX6" fmla="*/ 18670 w 23930"/>
                  <a:gd name="connsiteY6" fmla="*/ -189 h 22068"/>
                  <a:gd name="connsiteX7" fmla="*/ 17592 w 23930"/>
                  <a:gd name="connsiteY7" fmla="*/ -530 h 22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0" h="22068">
                    <a:moveTo>
                      <a:pt x="17592" y="-530"/>
                    </a:moveTo>
                    <a:lnTo>
                      <a:pt x="15976" y="340"/>
                    </a:lnTo>
                    <a:cubicBezTo>
                      <a:pt x="6918" y="13836"/>
                      <a:pt x="-3341" y="17710"/>
                      <a:pt x="-3435" y="17751"/>
                    </a:cubicBezTo>
                    <a:cubicBezTo>
                      <a:pt x="-4450" y="18124"/>
                      <a:pt x="-4968" y="19243"/>
                      <a:pt x="-4605" y="20248"/>
                    </a:cubicBezTo>
                    <a:cubicBezTo>
                      <a:pt x="-4233" y="21263"/>
                      <a:pt x="-3113" y="21791"/>
                      <a:pt x="-2108" y="21418"/>
                    </a:cubicBezTo>
                    <a:cubicBezTo>
                      <a:pt x="-1642" y="21252"/>
                      <a:pt x="9395" y="17140"/>
                      <a:pt x="19209" y="2504"/>
                    </a:cubicBezTo>
                    <a:lnTo>
                      <a:pt x="18670" y="-189"/>
                    </a:lnTo>
                    <a:lnTo>
                      <a:pt x="17592" y="-530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1" name="Vrije vorm 170">
                <a:extLst>
                  <a:ext uri="{FF2B5EF4-FFF2-40B4-BE49-F238E27FC236}">
                    <a16:creationId xmlns:a16="http://schemas.microsoft.com/office/drawing/2014/main" id="{7CAE4D70-6B94-8018-944E-B4D83E41EA1D}"/>
                  </a:ext>
                </a:extLst>
              </p:cNvPr>
              <p:cNvSpPr/>
              <p:nvPr/>
            </p:nvSpPr>
            <p:spPr>
              <a:xfrm flipV="1">
                <a:off x="10007023" y="3405379"/>
                <a:ext cx="614606" cy="1999898"/>
              </a:xfrm>
              <a:custGeom>
                <a:avLst/>
                <a:gdLst>
                  <a:gd name="connsiteX0" fmla="*/ 202206 w 274603"/>
                  <a:gd name="connsiteY0" fmla="*/ 718736 h 732774"/>
                  <a:gd name="connsiteX1" fmla="*/ 235938 w 274603"/>
                  <a:gd name="connsiteY1" fmla="*/ 316017 h 732774"/>
                  <a:gd name="connsiteX2" fmla="*/ 269753 w 274603"/>
                  <a:gd name="connsiteY2" fmla="*/ 21063 h 732774"/>
                  <a:gd name="connsiteX3" fmla="*/ 191884 w 274603"/>
                  <a:gd name="connsiteY3" fmla="*/ 8789 h 732774"/>
                  <a:gd name="connsiteX4" fmla="*/ 145779 w 274603"/>
                  <a:gd name="connsiteY4" fmla="*/ 297591 h 732774"/>
                  <a:gd name="connsiteX5" fmla="*/ 108886 w 274603"/>
                  <a:gd name="connsiteY5" fmla="*/ 572057 h 732774"/>
                  <a:gd name="connsiteX6" fmla="*/ 88387 w 274603"/>
                  <a:gd name="connsiteY6" fmla="*/ 572057 h 732774"/>
                  <a:gd name="connsiteX7" fmla="*/ 70977 w 274603"/>
                  <a:gd name="connsiteY7" fmla="*/ 8789 h 732774"/>
                  <a:gd name="connsiteX8" fmla="*/ -4850 w 274603"/>
                  <a:gd name="connsiteY8" fmla="*/ 6738 h 732774"/>
                  <a:gd name="connsiteX9" fmla="*/ 1295 w 274603"/>
                  <a:gd name="connsiteY9" fmla="*/ 731818 h 732774"/>
                  <a:gd name="connsiteX10" fmla="*/ 202206 w 274603"/>
                  <a:gd name="connsiteY10" fmla="*/ 718736 h 732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4603" h="732774">
                    <a:moveTo>
                      <a:pt x="202206" y="718736"/>
                    </a:moveTo>
                    <a:lnTo>
                      <a:pt x="235938" y="316017"/>
                    </a:lnTo>
                    <a:lnTo>
                      <a:pt x="269753" y="21063"/>
                    </a:lnTo>
                    <a:cubicBezTo>
                      <a:pt x="269753" y="21063"/>
                      <a:pt x="253359" y="-1455"/>
                      <a:pt x="191884" y="8789"/>
                    </a:cubicBezTo>
                    <a:lnTo>
                      <a:pt x="145779" y="297591"/>
                    </a:lnTo>
                    <a:lnTo>
                      <a:pt x="108886" y="572057"/>
                    </a:lnTo>
                    <a:lnTo>
                      <a:pt x="88387" y="572057"/>
                    </a:lnTo>
                    <a:lnTo>
                      <a:pt x="70977" y="8789"/>
                    </a:lnTo>
                    <a:cubicBezTo>
                      <a:pt x="70977" y="8789"/>
                      <a:pt x="44333" y="-11699"/>
                      <a:pt x="-4850" y="6738"/>
                    </a:cubicBezTo>
                    <a:lnTo>
                      <a:pt x="1295" y="731818"/>
                    </a:lnTo>
                    <a:lnTo>
                      <a:pt x="202206" y="718736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2" name="Vrije vorm 171">
                <a:extLst>
                  <a:ext uri="{FF2B5EF4-FFF2-40B4-BE49-F238E27FC236}">
                    <a16:creationId xmlns:a16="http://schemas.microsoft.com/office/drawing/2014/main" id="{78E23162-88DE-359C-5C19-9AF2022C34C8}"/>
                  </a:ext>
                </a:extLst>
              </p:cNvPr>
              <p:cNvSpPr/>
              <p:nvPr/>
            </p:nvSpPr>
            <p:spPr>
              <a:xfrm flipV="1">
                <a:off x="10215703" y="2260815"/>
                <a:ext cx="160597" cy="405605"/>
              </a:xfrm>
              <a:custGeom>
                <a:avLst/>
                <a:gdLst>
                  <a:gd name="connsiteX0" fmla="*/ -4843 w 71754"/>
                  <a:gd name="connsiteY0" fmla="*/ 112648 h 148616"/>
                  <a:gd name="connsiteX1" fmla="*/ -2076 w 71754"/>
                  <a:gd name="connsiteY1" fmla="*/ -1735 h 148616"/>
                  <a:gd name="connsiteX2" fmla="*/ 66912 w 71754"/>
                  <a:gd name="connsiteY2" fmla="*/ 29091 h 148616"/>
                  <a:gd name="connsiteX3" fmla="*/ 64735 w 71754"/>
                  <a:gd name="connsiteY3" fmla="*/ 146882 h 148616"/>
                  <a:gd name="connsiteX4" fmla="*/ -4843 w 71754"/>
                  <a:gd name="connsiteY4" fmla="*/ 112648 h 14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54" h="148616">
                    <a:moveTo>
                      <a:pt x="-4843" y="112648"/>
                    </a:moveTo>
                    <a:lnTo>
                      <a:pt x="-2076" y="-1735"/>
                    </a:lnTo>
                    <a:lnTo>
                      <a:pt x="66912" y="29091"/>
                    </a:lnTo>
                    <a:lnTo>
                      <a:pt x="64735" y="146882"/>
                    </a:lnTo>
                    <a:lnTo>
                      <a:pt x="-4843" y="112648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3" name="Vrije vorm 172">
                <a:extLst>
                  <a:ext uri="{FF2B5EF4-FFF2-40B4-BE49-F238E27FC236}">
                    <a16:creationId xmlns:a16="http://schemas.microsoft.com/office/drawing/2014/main" id="{1D576745-03B2-FF0F-DEDE-7464A50F7B0E}"/>
                  </a:ext>
                </a:extLst>
              </p:cNvPr>
              <p:cNvSpPr/>
              <p:nvPr/>
            </p:nvSpPr>
            <p:spPr>
              <a:xfrm flipV="1">
                <a:off x="9964668" y="2468366"/>
                <a:ext cx="714365" cy="1013218"/>
              </a:xfrm>
              <a:custGeom>
                <a:avLst/>
                <a:gdLst>
                  <a:gd name="connsiteX0" fmla="*/ -3775 w 319175"/>
                  <a:gd name="connsiteY0" fmla="*/ 326754 h 371249"/>
                  <a:gd name="connsiteX1" fmla="*/ 16122 w 319175"/>
                  <a:gd name="connsiteY1" fmla="*/ 18199 h 371249"/>
                  <a:gd name="connsiteX2" fmla="*/ 147621 w 319175"/>
                  <a:gd name="connsiteY2" fmla="*/ -1201 h 371249"/>
                  <a:gd name="connsiteX3" fmla="*/ 221126 w 319175"/>
                  <a:gd name="connsiteY3" fmla="*/ 13310 h 371249"/>
                  <a:gd name="connsiteX4" fmla="*/ 314323 w 319175"/>
                  <a:gd name="connsiteY4" fmla="*/ 358936 h 371249"/>
                  <a:gd name="connsiteX5" fmla="*/ 174834 w 319175"/>
                  <a:gd name="connsiteY5" fmla="*/ 369719 h 371249"/>
                  <a:gd name="connsiteX6" fmla="*/ 134511 w 319175"/>
                  <a:gd name="connsiteY6" fmla="*/ 332378 h 371249"/>
                  <a:gd name="connsiteX7" fmla="*/ 101929 w 319175"/>
                  <a:gd name="connsiteY7" fmla="*/ 367139 h 371249"/>
                  <a:gd name="connsiteX8" fmla="*/ -4853 w 319175"/>
                  <a:gd name="connsiteY8" fmla="*/ 354658 h 371249"/>
                  <a:gd name="connsiteX9" fmla="*/ -3775 w 319175"/>
                  <a:gd name="connsiteY9" fmla="*/ 326754 h 371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9175" h="371249">
                    <a:moveTo>
                      <a:pt x="-3775" y="326754"/>
                    </a:moveTo>
                    <a:cubicBezTo>
                      <a:pt x="-3775" y="326754"/>
                      <a:pt x="2868" y="122080"/>
                      <a:pt x="16122" y="18199"/>
                    </a:cubicBezTo>
                    <a:cubicBezTo>
                      <a:pt x="16122" y="18199"/>
                      <a:pt x="66830" y="-4505"/>
                      <a:pt x="147621" y="-1201"/>
                    </a:cubicBezTo>
                    <a:cubicBezTo>
                      <a:pt x="204680" y="1119"/>
                      <a:pt x="221126" y="13310"/>
                      <a:pt x="221126" y="13310"/>
                    </a:cubicBezTo>
                    <a:lnTo>
                      <a:pt x="314323" y="358936"/>
                    </a:lnTo>
                    <a:cubicBezTo>
                      <a:pt x="314323" y="358936"/>
                      <a:pt x="261802" y="369822"/>
                      <a:pt x="174834" y="369719"/>
                    </a:cubicBezTo>
                    <a:lnTo>
                      <a:pt x="134511" y="332378"/>
                    </a:lnTo>
                    <a:cubicBezTo>
                      <a:pt x="134511" y="332378"/>
                      <a:pt x="123557" y="361370"/>
                      <a:pt x="101929" y="367139"/>
                    </a:cubicBezTo>
                    <a:cubicBezTo>
                      <a:pt x="69151" y="364881"/>
                      <a:pt x="33367" y="360956"/>
                      <a:pt x="-4853" y="354658"/>
                    </a:cubicBezTo>
                    <a:lnTo>
                      <a:pt x="-3775" y="326754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4" name="Vrije vorm 173">
                <a:extLst>
                  <a:ext uri="{FF2B5EF4-FFF2-40B4-BE49-F238E27FC236}">
                    <a16:creationId xmlns:a16="http://schemas.microsoft.com/office/drawing/2014/main" id="{C88E6F42-F785-257D-E481-8B69D89E614F}"/>
                  </a:ext>
                </a:extLst>
              </p:cNvPr>
              <p:cNvSpPr/>
              <p:nvPr/>
            </p:nvSpPr>
            <p:spPr>
              <a:xfrm flipV="1">
                <a:off x="10523215" y="2496496"/>
                <a:ext cx="310225" cy="697342"/>
              </a:xfrm>
              <a:custGeom>
                <a:avLst/>
                <a:gdLst>
                  <a:gd name="connsiteX0" fmla="*/ 133621 w 138607"/>
                  <a:gd name="connsiteY0" fmla="*/ 38794 h 255510"/>
                  <a:gd name="connsiteX1" fmla="*/ 65380 w 138607"/>
                  <a:gd name="connsiteY1" fmla="*/ 253929 h 255510"/>
                  <a:gd name="connsiteX2" fmla="*/ -4986 w 138607"/>
                  <a:gd name="connsiteY2" fmla="*/ 229650 h 255510"/>
                  <a:gd name="connsiteX3" fmla="*/ 69898 w 138607"/>
                  <a:gd name="connsiteY3" fmla="*/ -1582 h 255510"/>
                  <a:gd name="connsiteX4" fmla="*/ 133621 w 138607"/>
                  <a:gd name="connsiteY4" fmla="*/ 38794 h 255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607" h="255510">
                    <a:moveTo>
                      <a:pt x="133621" y="38794"/>
                    </a:moveTo>
                    <a:lnTo>
                      <a:pt x="65380" y="253929"/>
                    </a:lnTo>
                    <a:lnTo>
                      <a:pt x="-4986" y="229650"/>
                    </a:lnTo>
                    <a:lnTo>
                      <a:pt x="69898" y="-1582"/>
                    </a:lnTo>
                    <a:lnTo>
                      <a:pt x="133621" y="38794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5" name="Vrije vorm 174">
                <a:extLst>
                  <a:ext uri="{FF2B5EF4-FFF2-40B4-BE49-F238E27FC236}">
                    <a16:creationId xmlns:a16="http://schemas.microsoft.com/office/drawing/2014/main" id="{A9B64A5F-D92E-89CB-C787-022AD92AC2F5}"/>
                  </a:ext>
                </a:extLst>
              </p:cNvPr>
              <p:cNvSpPr/>
              <p:nvPr/>
            </p:nvSpPr>
            <p:spPr>
              <a:xfrm flipV="1">
                <a:off x="10009145" y="3456896"/>
                <a:ext cx="69757" cy="80102"/>
              </a:xfrm>
              <a:custGeom>
                <a:avLst/>
                <a:gdLst>
                  <a:gd name="connsiteX0" fmla="*/ 26418 w 31167"/>
                  <a:gd name="connsiteY0" fmla="*/ 18981 h 29350"/>
                  <a:gd name="connsiteX1" fmla="*/ 448 w 31167"/>
                  <a:gd name="connsiteY1" fmla="*/ 27692 h 29350"/>
                  <a:gd name="connsiteX2" fmla="*/ -4536 w 31167"/>
                  <a:gd name="connsiteY2" fmla="*/ 19250 h 29350"/>
                  <a:gd name="connsiteX3" fmla="*/ 448 w 31167"/>
                  <a:gd name="connsiteY3" fmla="*/ 7277 h 29350"/>
                  <a:gd name="connsiteX4" fmla="*/ 22573 w 31167"/>
                  <a:gd name="connsiteY4" fmla="*/ -1321 h 29350"/>
                  <a:gd name="connsiteX5" fmla="*/ 26418 w 31167"/>
                  <a:gd name="connsiteY5" fmla="*/ 18981 h 2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67" h="29350">
                    <a:moveTo>
                      <a:pt x="26418" y="18981"/>
                    </a:moveTo>
                    <a:cubicBezTo>
                      <a:pt x="9060" y="22710"/>
                      <a:pt x="645" y="27630"/>
                      <a:pt x="448" y="27692"/>
                    </a:cubicBezTo>
                    <a:cubicBezTo>
                      <a:pt x="-4630" y="29380"/>
                      <a:pt x="-3977" y="24460"/>
                      <a:pt x="-4536" y="19250"/>
                    </a:cubicBezTo>
                    <a:cubicBezTo>
                      <a:pt x="-5293" y="12373"/>
                      <a:pt x="-4122" y="8696"/>
                      <a:pt x="448" y="7277"/>
                    </a:cubicBezTo>
                    <a:cubicBezTo>
                      <a:pt x="1277" y="7028"/>
                      <a:pt x="5298" y="2833"/>
                      <a:pt x="22573" y="-1321"/>
                    </a:cubicBezTo>
                    <a:cubicBezTo>
                      <a:pt x="23869" y="5443"/>
                      <a:pt x="25154" y="12207"/>
                      <a:pt x="26418" y="18981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6" name="Vrije vorm 175">
                <a:extLst>
                  <a:ext uri="{FF2B5EF4-FFF2-40B4-BE49-F238E27FC236}">
                    <a16:creationId xmlns:a16="http://schemas.microsoft.com/office/drawing/2014/main" id="{B009DBC5-564E-F242-2DD8-11B559AFC605}"/>
                  </a:ext>
                </a:extLst>
              </p:cNvPr>
              <p:cNvSpPr/>
              <p:nvPr/>
            </p:nvSpPr>
            <p:spPr>
              <a:xfrm flipV="1">
                <a:off x="10107152" y="3489000"/>
                <a:ext cx="255880" cy="70970"/>
              </a:xfrm>
              <a:custGeom>
                <a:avLst/>
                <a:gdLst>
                  <a:gd name="connsiteX0" fmla="*/ 106957 w 114326"/>
                  <a:gd name="connsiteY0" fmla="*/ 21867 h 26004"/>
                  <a:gd name="connsiteX1" fmla="*/ 43648 w 114326"/>
                  <a:gd name="connsiteY1" fmla="*/ 20199 h 26004"/>
                  <a:gd name="connsiteX2" fmla="*/ -3121 w 114326"/>
                  <a:gd name="connsiteY2" fmla="*/ 24695 h 26004"/>
                  <a:gd name="connsiteX3" fmla="*/ -4821 w 114326"/>
                  <a:gd name="connsiteY3" fmla="*/ 3668 h 26004"/>
                  <a:gd name="connsiteX4" fmla="*/ 43213 w 114326"/>
                  <a:gd name="connsiteY4" fmla="*/ -1169 h 26004"/>
                  <a:gd name="connsiteX5" fmla="*/ 65069 w 114326"/>
                  <a:gd name="connsiteY5" fmla="*/ -1221 h 26004"/>
                  <a:gd name="connsiteX6" fmla="*/ 109506 w 114326"/>
                  <a:gd name="connsiteY6" fmla="*/ 1534 h 26004"/>
                  <a:gd name="connsiteX7" fmla="*/ 106957 w 114326"/>
                  <a:gd name="connsiteY7" fmla="*/ 21867 h 26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26" h="26004">
                    <a:moveTo>
                      <a:pt x="106957" y="21867"/>
                    </a:moveTo>
                    <a:cubicBezTo>
                      <a:pt x="87661" y="20033"/>
                      <a:pt x="66530" y="19660"/>
                      <a:pt x="43648" y="20199"/>
                    </a:cubicBezTo>
                    <a:cubicBezTo>
                      <a:pt x="25989" y="20624"/>
                      <a:pt x="10165" y="22457"/>
                      <a:pt x="-3121" y="24695"/>
                    </a:cubicBezTo>
                    <a:cubicBezTo>
                      <a:pt x="-2696" y="17641"/>
                      <a:pt x="-3629" y="10649"/>
                      <a:pt x="-4821" y="3668"/>
                    </a:cubicBezTo>
                    <a:cubicBezTo>
                      <a:pt x="8714" y="1234"/>
                      <a:pt x="24891" y="-734"/>
                      <a:pt x="43213" y="-1169"/>
                    </a:cubicBezTo>
                    <a:cubicBezTo>
                      <a:pt x="50664" y="-1335"/>
                      <a:pt x="57949" y="-1356"/>
                      <a:pt x="65069" y="-1221"/>
                    </a:cubicBezTo>
                    <a:cubicBezTo>
                      <a:pt x="81018" y="-931"/>
                      <a:pt x="95712" y="-61"/>
                      <a:pt x="109506" y="1534"/>
                    </a:cubicBezTo>
                    <a:cubicBezTo>
                      <a:pt x="107993" y="8205"/>
                      <a:pt x="107092" y="14979"/>
                      <a:pt x="106957" y="21867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7" name="Vrije vorm 176">
                <a:extLst>
                  <a:ext uri="{FF2B5EF4-FFF2-40B4-BE49-F238E27FC236}">
                    <a16:creationId xmlns:a16="http://schemas.microsoft.com/office/drawing/2014/main" id="{14863894-AF75-C7BD-E76D-ACEECC1DA205}"/>
                  </a:ext>
                </a:extLst>
              </p:cNvPr>
              <p:cNvSpPr/>
              <p:nvPr/>
            </p:nvSpPr>
            <p:spPr>
              <a:xfrm flipV="1">
                <a:off x="10385673" y="3469027"/>
                <a:ext cx="99719" cy="78601"/>
              </a:xfrm>
              <a:custGeom>
                <a:avLst/>
                <a:gdLst>
                  <a:gd name="connsiteX0" fmla="*/ 39044 w 44554"/>
                  <a:gd name="connsiteY0" fmla="*/ 19089 h 28800"/>
                  <a:gd name="connsiteX1" fmla="*/ 32360 w 44554"/>
                  <a:gd name="connsiteY1" fmla="*/ 27117 h 28800"/>
                  <a:gd name="connsiteX2" fmla="*/ -4895 w 44554"/>
                  <a:gd name="connsiteY2" fmla="*/ 18758 h 28800"/>
                  <a:gd name="connsiteX3" fmla="*/ -2460 w 44554"/>
                  <a:gd name="connsiteY3" fmla="*/ -1316 h 28800"/>
                  <a:gd name="connsiteX4" fmla="*/ 36650 w 44554"/>
                  <a:gd name="connsiteY4" fmla="*/ 8503 h 28800"/>
                  <a:gd name="connsiteX5" fmla="*/ 39044 w 44554"/>
                  <a:gd name="connsiteY5" fmla="*/ 19089 h 2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554" h="28800">
                    <a:moveTo>
                      <a:pt x="39044" y="19089"/>
                    </a:moveTo>
                    <a:cubicBezTo>
                      <a:pt x="38060" y="24247"/>
                      <a:pt x="37448" y="28836"/>
                      <a:pt x="32360" y="27117"/>
                    </a:cubicBezTo>
                    <a:cubicBezTo>
                      <a:pt x="21002" y="23294"/>
                      <a:pt x="8545" y="20601"/>
                      <a:pt x="-4895" y="18758"/>
                    </a:cubicBezTo>
                    <a:cubicBezTo>
                      <a:pt x="-4450" y="12015"/>
                      <a:pt x="-3465" y="5354"/>
                      <a:pt x="-2460" y="-1316"/>
                    </a:cubicBezTo>
                    <a:cubicBezTo>
                      <a:pt x="11520" y="900"/>
                      <a:pt x="24515" y="4029"/>
                      <a:pt x="36650" y="8503"/>
                    </a:cubicBezTo>
                    <a:cubicBezTo>
                      <a:pt x="40194" y="9798"/>
                      <a:pt x="40039" y="13869"/>
                      <a:pt x="39044" y="19089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8" name="Vrije vorm 177">
                <a:extLst>
                  <a:ext uri="{FF2B5EF4-FFF2-40B4-BE49-F238E27FC236}">
                    <a16:creationId xmlns:a16="http://schemas.microsoft.com/office/drawing/2014/main" id="{4F19EB8C-136F-7377-2244-1BAC8DF7B719}"/>
                  </a:ext>
                </a:extLst>
              </p:cNvPr>
              <p:cNvSpPr/>
              <p:nvPr/>
            </p:nvSpPr>
            <p:spPr>
              <a:xfrm flipV="1">
                <a:off x="10185944" y="3492138"/>
                <a:ext cx="101543" cy="75534"/>
              </a:xfrm>
              <a:custGeom>
                <a:avLst/>
                <a:gdLst>
                  <a:gd name="connsiteX0" fmla="*/ 32859 w 45369"/>
                  <a:gd name="connsiteY0" fmla="*/ 3385 h 27676"/>
                  <a:gd name="connsiteX1" fmla="*/ 3179 w 45369"/>
                  <a:gd name="connsiteY1" fmla="*/ 4887 h 27676"/>
                  <a:gd name="connsiteX2" fmla="*/ 2868 w 45369"/>
                  <a:gd name="connsiteY2" fmla="*/ 21677 h 27676"/>
                  <a:gd name="connsiteX3" fmla="*/ 32527 w 45369"/>
                  <a:gd name="connsiteY3" fmla="*/ 21480 h 27676"/>
                  <a:gd name="connsiteX4" fmla="*/ -4821 w 45369"/>
                  <a:gd name="connsiteY4" fmla="*/ 26369 h 27676"/>
                  <a:gd name="connsiteX5" fmla="*/ -4355 w 45369"/>
                  <a:gd name="connsiteY5" fmla="*/ 961 h 27676"/>
                  <a:gd name="connsiteX6" fmla="*/ 40549 w 45369"/>
                  <a:gd name="connsiteY6" fmla="*/ -1307 h 27676"/>
                  <a:gd name="connsiteX7" fmla="*/ 40041 w 45369"/>
                  <a:gd name="connsiteY7" fmla="*/ 26069 h 27676"/>
                  <a:gd name="connsiteX8" fmla="*/ -4821 w 45369"/>
                  <a:gd name="connsiteY8" fmla="*/ 26369 h 2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69" h="27676">
                    <a:moveTo>
                      <a:pt x="32859" y="3385"/>
                    </a:moveTo>
                    <a:lnTo>
                      <a:pt x="3179" y="4887"/>
                    </a:lnTo>
                    <a:lnTo>
                      <a:pt x="2868" y="21677"/>
                    </a:lnTo>
                    <a:lnTo>
                      <a:pt x="32527" y="21480"/>
                    </a:lnTo>
                    <a:close/>
                    <a:moveTo>
                      <a:pt x="-4821" y="26369"/>
                    </a:moveTo>
                    <a:lnTo>
                      <a:pt x="-4355" y="961"/>
                    </a:lnTo>
                    <a:lnTo>
                      <a:pt x="40549" y="-1307"/>
                    </a:lnTo>
                    <a:lnTo>
                      <a:pt x="40041" y="26069"/>
                    </a:lnTo>
                    <a:lnTo>
                      <a:pt x="-4821" y="26369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9" name="Vrije vorm 178">
                <a:extLst>
                  <a:ext uri="{FF2B5EF4-FFF2-40B4-BE49-F238E27FC236}">
                    <a16:creationId xmlns:a16="http://schemas.microsoft.com/office/drawing/2014/main" id="{24F05293-658E-E4E6-5250-E75C68CE42B6}"/>
                  </a:ext>
                </a:extLst>
              </p:cNvPr>
              <p:cNvSpPr/>
              <p:nvPr/>
            </p:nvSpPr>
            <p:spPr>
              <a:xfrm flipV="1">
                <a:off x="10276588" y="2471082"/>
                <a:ext cx="75359" cy="99196"/>
              </a:xfrm>
              <a:custGeom>
                <a:avLst/>
                <a:gdLst>
                  <a:gd name="connsiteX0" fmla="*/ -4850 w 33670"/>
                  <a:gd name="connsiteY0" fmla="*/ -1712 h 36346"/>
                  <a:gd name="connsiteX1" fmla="*/ 5607 w 33670"/>
                  <a:gd name="connsiteY1" fmla="*/ 34634 h 36346"/>
                  <a:gd name="connsiteX2" fmla="*/ 28820 w 33670"/>
                  <a:gd name="connsiteY2" fmla="*/ 24007 h 3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70" h="36346">
                    <a:moveTo>
                      <a:pt x="-4850" y="-1712"/>
                    </a:moveTo>
                    <a:lnTo>
                      <a:pt x="5607" y="34634"/>
                    </a:lnTo>
                    <a:lnTo>
                      <a:pt x="28820" y="24007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0" name="Vrije vorm 179">
                <a:extLst>
                  <a:ext uri="{FF2B5EF4-FFF2-40B4-BE49-F238E27FC236}">
                    <a16:creationId xmlns:a16="http://schemas.microsoft.com/office/drawing/2014/main" id="{5EBECD0F-1AC1-A060-9BA9-1710023462C6}"/>
                  </a:ext>
                </a:extLst>
              </p:cNvPr>
              <p:cNvSpPr/>
              <p:nvPr/>
            </p:nvSpPr>
            <p:spPr>
              <a:xfrm flipV="1">
                <a:off x="10234074" y="2479704"/>
                <a:ext cx="42514" cy="90574"/>
              </a:xfrm>
              <a:custGeom>
                <a:avLst/>
                <a:gdLst>
                  <a:gd name="connsiteX0" fmla="*/ 11173 w 18995"/>
                  <a:gd name="connsiteY0" fmla="*/ 31477 h 33187"/>
                  <a:gd name="connsiteX1" fmla="*/ 14167 w 18995"/>
                  <a:gd name="connsiteY1" fmla="*/ -1710 h 33187"/>
                  <a:gd name="connsiteX2" fmla="*/ -4828 w 18995"/>
                  <a:gd name="connsiteY2" fmla="*/ 21782 h 33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95" h="33187">
                    <a:moveTo>
                      <a:pt x="11173" y="31477"/>
                    </a:moveTo>
                    <a:lnTo>
                      <a:pt x="14167" y="-1710"/>
                    </a:lnTo>
                    <a:lnTo>
                      <a:pt x="-4828" y="21782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2" name="Vrije vorm 181">
                <a:extLst>
                  <a:ext uri="{FF2B5EF4-FFF2-40B4-BE49-F238E27FC236}">
                    <a16:creationId xmlns:a16="http://schemas.microsoft.com/office/drawing/2014/main" id="{F424CE2C-380A-6631-9640-9E1BE81F2339}"/>
                  </a:ext>
                </a:extLst>
              </p:cNvPr>
              <p:cNvSpPr/>
              <p:nvPr/>
            </p:nvSpPr>
            <p:spPr>
              <a:xfrm flipV="1">
                <a:off x="10152730" y="2411320"/>
                <a:ext cx="117154" cy="166984"/>
              </a:xfrm>
              <a:custGeom>
                <a:avLst/>
                <a:gdLst>
                  <a:gd name="connsiteX0" fmla="*/ -4812 w 52344"/>
                  <a:gd name="connsiteY0" fmla="*/ 36602 h 61184"/>
                  <a:gd name="connsiteX1" fmla="*/ 23604 w 52344"/>
                  <a:gd name="connsiteY1" fmla="*/ -1722 h 61184"/>
                  <a:gd name="connsiteX2" fmla="*/ 47533 w 52344"/>
                  <a:gd name="connsiteY2" fmla="*/ 34406 h 61184"/>
                  <a:gd name="connsiteX3" fmla="*/ 9894 w 52344"/>
                  <a:gd name="connsiteY3" fmla="*/ 59462 h 61184"/>
                  <a:gd name="connsiteX4" fmla="*/ -4812 w 52344"/>
                  <a:gd name="connsiteY4" fmla="*/ 36602 h 6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44" h="61184">
                    <a:moveTo>
                      <a:pt x="-4812" y="36602"/>
                    </a:moveTo>
                    <a:lnTo>
                      <a:pt x="23604" y="-1722"/>
                    </a:lnTo>
                    <a:lnTo>
                      <a:pt x="47533" y="34406"/>
                    </a:lnTo>
                    <a:lnTo>
                      <a:pt x="9894" y="59462"/>
                    </a:lnTo>
                    <a:lnTo>
                      <a:pt x="-4812" y="36602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3" name="Vrije vorm 182">
                <a:extLst>
                  <a:ext uri="{FF2B5EF4-FFF2-40B4-BE49-F238E27FC236}">
                    <a16:creationId xmlns:a16="http://schemas.microsoft.com/office/drawing/2014/main" id="{ADC3EA3B-53E2-B3A1-985A-0C6DCBE23814}"/>
                  </a:ext>
                </a:extLst>
              </p:cNvPr>
              <p:cNvSpPr/>
              <p:nvPr/>
            </p:nvSpPr>
            <p:spPr>
              <a:xfrm flipV="1">
                <a:off x="10299992" y="2397527"/>
                <a:ext cx="125527" cy="175014"/>
              </a:xfrm>
              <a:custGeom>
                <a:avLst/>
                <a:gdLst>
                  <a:gd name="connsiteX0" fmla="*/ 51217 w 56085"/>
                  <a:gd name="connsiteY0" fmla="*/ 39571 h 64126"/>
                  <a:gd name="connsiteX1" fmla="*/ 15132 w 56085"/>
                  <a:gd name="connsiteY1" fmla="*/ -1726 h 64126"/>
                  <a:gd name="connsiteX2" fmla="*/ -4868 w 56085"/>
                  <a:gd name="connsiteY2" fmla="*/ 35448 h 64126"/>
                  <a:gd name="connsiteX3" fmla="*/ 36740 w 56085"/>
                  <a:gd name="connsiteY3" fmla="*/ 62400 h 64126"/>
                  <a:gd name="connsiteX4" fmla="*/ 51217 w 56085"/>
                  <a:gd name="connsiteY4" fmla="*/ 39571 h 64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085" h="64126">
                    <a:moveTo>
                      <a:pt x="51217" y="39571"/>
                    </a:moveTo>
                    <a:lnTo>
                      <a:pt x="15132" y="-1726"/>
                    </a:lnTo>
                    <a:lnTo>
                      <a:pt x="-4868" y="35448"/>
                    </a:lnTo>
                    <a:lnTo>
                      <a:pt x="36740" y="62400"/>
                    </a:lnTo>
                    <a:lnTo>
                      <a:pt x="51217" y="39571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4" name="Vrije vorm 183">
                <a:extLst>
                  <a:ext uri="{FF2B5EF4-FFF2-40B4-BE49-F238E27FC236}">
                    <a16:creationId xmlns:a16="http://schemas.microsoft.com/office/drawing/2014/main" id="{0BDFC16F-6055-A326-61C8-198C9D9C4A24}"/>
                  </a:ext>
                </a:extLst>
              </p:cNvPr>
              <p:cNvSpPr/>
              <p:nvPr/>
            </p:nvSpPr>
            <p:spPr>
              <a:xfrm flipV="1">
                <a:off x="10075840" y="1562595"/>
                <a:ext cx="486717" cy="828513"/>
              </a:xfrm>
              <a:custGeom>
                <a:avLst/>
                <a:gdLst>
                  <a:gd name="connsiteX0" fmla="*/ 115102 w 217463"/>
                  <a:gd name="connsiteY0" fmla="*/ 296484 h 303572"/>
                  <a:gd name="connsiteX1" fmla="*/ 178898 w 217463"/>
                  <a:gd name="connsiteY1" fmla="*/ 236542 h 303572"/>
                  <a:gd name="connsiteX2" fmla="*/ 175550 w 217463"/>
                  <a:gd name="connsiteY2" fmla="*/ 160411 h 303572"/>
                  <a:gd name="connsiteX3" fmla="*/ 202401 w 217463"/>
                  <a:gd name="connsiteY3" fmla="*/ 167734 h 303572"/>
                  <a:gd name="connsiteX4" fmla="*/ 174317 w 217463"/>
                  <a:gd name="connsiteY4" fmla="*/ 94027 h 303572"/>
                  <a:gd name="connsiteX5" fmla="*/ 168421 w 217463"/>
                  <a:gd name="connsiteY5" fmla="*/ 53838 h 303572"/>
                  <a:gd name="connsiteX6" fmla="*/ 79877 w 217463"/>
                  <a:gd name="connsiteY6" fmla="*/ -1350 h 303572"/>
                  <a:gd name="connsiteX7" fmla="*/ -3899 w 217463"/>
                  <a:gd name="connsiteY7" fmla="*/ 62404 h 303572"/>
                  <a:gd name="connsiteX8" fmla="*/ -4852 w 217463"/>
                  <a:gd name="connsiteY8" fmla="*/ 248910 h 303572"/>
                  <a:gd name="connsiteX9" fmla="*/ 115102 w 217463"/>
                  <a:gd name="connsiteY9" fmla="*/ 296484 h 303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463" h="303572">
                    <a:moveTo>
                      <a:pt x="115102" y="296484"/>
                    </a:moveTo>
                    <a:cubicBezTo>
                      <a:pt x="180649" y="281548"/>
                      <a:pt x="178898" y="236542"/>
                      <a:pt x="178898" y="236542"/>
                    </a:cubicBezTo>
                    <a:cubicBezTo>
                      <a:pt x="178898" y="236542"/>
                      <a:pt x="176846" y="201802"/>
                      <a:pt x="175550" y="160411"/>
                    </a:cubicBezTo>
                    <a:cubicBezTo>
                      <a:pt x="181613" y="168760"/>
                      <a:pt x="191882" y="172240"/>
                      <a:pt x="202401" y="167734"/>
                    </a:cubicBezTo>
                    <a:cubicBezTo>
                      <a:pt x="224723" y="158194"/>
                      <a:pt x="208236" y="87947"/>
                      <a:pt x="174317" y="94027"/>
                    </a:cubicBezTo>
                    <a:cubicBezTo>
                      <a:pt x="172856" y="74419"/>
                      <a:pt x="170938" y="59131"/>
                      <a:pt x="168421" y="53838"/>
                    </a:cubicBezTo>
                    <a:cubicBezTo>
                      <a:pt x="158896" y="33867"/>
                      <a:pt x="117008" y="3415"/>
                      <a:pt x="79877" y="-1350"/>
                    </a:cubicBezTo>
                    <a:cubicBezTo>
                      <a:pt x="42746" y="-6104"/>
                      <a:pt x="-3899" y="18641"/>
                      <a:pt x="-3899" y="62404"/>
                    </a:cubicBezTo>
                    <a:cubicBezTo>
                      <a:pt x="-3899" y="106177"/>
                      <a:pt x="-4852" y="248910"/>
                      <a:pt x="-4852" y="248910"/>
                    </a:cubicBezTo>
                    <a:cubicBezTo>
                      <a:pt x="-4852" y="248910"/>
                      <a:pt x="6578" y="321229"/>
                      <a:pt x="115102" y="296484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03" name="Vrije vorm 202">
                <a:extLst>
                  <a:ext uri="{FF2B5EF4-FFF2-40B4-BE49-F238E27FC236}">
                    <a16:creationId xmlns:a16="http://schemas.microsoft.com/office/drawing/2014/main" id="{D321D6F6-5AF6-6C4D-2AAF-6F9824B8D679}"/>
                  </a:ext>
                </a:extLst>
              </p:cNvPr>
              <p:cNvSpPr/>
              <p:nvPr/>
            </p:nvSpPr>
            <p:spPr>
              <a:xfrm flipH="1" flipV="1">
                <a:off x="10008617" y="1496510"/>
                <a:ext cx="541218" cy="483386"/>
              </a:xfrm>
              <a:custGeom>
                <a:avLst/>
                <a:gdLst>
                  <a:gd name="connsiteX0" fmla="*/ 7576 w 467845"/>
                  <a:gd name="connsiteY0" fmla="*/ 18404 h 298152"/>
                  <a:gd name="connsiteX1" fmla="*/ 88440 w 467845"/>
                  <a:gd name="connsiteY1" fmla="*/ -4021 h 298152"/>
                  <a:gd name="connsiteX2" fmla="*/ 117187 w 467845"/>
                  <a:gd name="connsiteY2" fmla="*/ -4021 h 298152"/>
                  <a:gd name="connsiteX3" fmla="*/ 129509 w 467845"/>
                  <a:gd name="connsiteY3" fmla="*/ 87036 h 298152"/>
                  <a:gd name="connsiteX4" fmla="*/ 206736 w 467845"/>
                  <a:gd name="connsiteY4" fmla="*/ 156010 h 298152"/>
                  <a:gd name="connsiteX5" fmla="*/ 418963 w 467845"/>
                  <a:gd name="connsiteY5" fmla="*/ 132508 h 298152"/>
                  <a:gd name="connsiteX6" fmla="*/ 91165 w 467845"/>
                  <a:gd name="connsiteY6" fmla="*/ 270352 h 298152"/>
                  <a:gd name="connsiteX7" fmla="*/ 7576 w 467845"/>
                  <a:gd name="connsiteY7" fmla="*/ 18404 h 29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7845" h="298152">
                    <a:moveTo>
                      <a:pt x="7576" y="18404"/>
                    </a:moveTo>
                    <a:cubicBezTo>
                      <a:pt x="7576" y="18404"/>
                      <a:pt x="51464" y="46971"/>
                      <a:pt x="88440" y="-4021"/>
                    </a:cubicBezTo>
                    <a:lnTo>
                      <a:pt x="117187" y="-4021"/>
                    </a:lnTo>
                    <a:cubicBezTo>
                      <a:pt x="117187" y="-4021"/>
                      <a:pt x="115550" y="55020"/>
                      <a:pt x="129509" y="87036"/>
                    </a:cubicBezTo>
                    <a:cubicBezTo>
                      <a:pt x="143468" y="119063"/>
                      <a:pt x="198517" y="118235"/>
                      <a:pt x="206736" y="156010"/>
                    </a:cubicBezTo>
                    <a:cubicBezTo>
                      <a:pt x="206736" y="156010"/>
                      <a:pt x="341467" y="91180"/>
                      <a:pt x="418963" y="132508"/>
                    </a:cubicBezTo>
                    <a:cubicBezTo>
                      <a:pt x="594173" y="225927"/>
                      <a:pt x="225969" y="345758"/>
                      <a:pt x="91165" y="270352"/>
                    </a:cubicBezTo>
                    <a:cubicBezTo>
                      <a:pt x="-8984" y="214346"/>
                      <a:pt x="-13316" y="118918"/>
                      <a:pt x="7576" y="18404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 dirty="0"/>
              </a:p>
            </p:txBody>
          </p:sp>
          <p:sp>
            <p:nvSpPr>
              <p:cNvPr id="185" name="Vrije vorm 184">
                <a:extLst>
                  <a:ext uri="{FF2B5EF4-FFF2-40B4-BE49-F238E27FC236}">
                    <a16:creationId xmlns:a16="http://schemas.microsoft.com/office/drawing/2014/main" id="{3DFAE2C4-FB43-7BE6-A6D9-DFC677068A67}"/>
                  </a:ext>
                </a:extLst>
              </p:cNvPr>
              <p:cNvSpPr/>
              <p:nvPr/>
            </p:nvSpPr>
            <p:spPr>
              <a:xfrm flipV="1">
                <a:off x="10133269" y="1922068"/>
                <a:ext cx="75730" cy="225927"/>
              </a:xfrm>
              <a:custGeom>
                <a:avLst/>
                <a:gdLst>
                  <a:gd name="connsiteX0" fmla="*/ 29040 w 33836"/>
                  <a:gd name="connsiteY0" fmla="*/ 80875 h 82781"/>
                  <a:gd name="connsiteX1" fmla="*/ 19381 w 33836"/>
                  <a:gd name="connsiteY1" fmla="*/ 43378 h 82781"/>
                  <a:gd name="connsiteX2" fmla="*/ 11069 w 33836"/>
                  <a:gd name="connsiteY2" fmla="*/ 25697 h 82781"/>
                  <a:gd name="connsiteX3" fmla="*/ -1252 w 33836"/>
                  <a:gd name="connsiteY3" fmla="*/ 10181 h 82781"/>
                  <a:gd name="connsiteX4" fmla="*/ -1273 w 33836"/>
                  <a:gd name="connsiteY4" fmla="*/ 12657 h 82781"/>
                  <a:gd name="connsiteX5" fmla="*/ 12862 w 33836"/>
                  <a:gd name="connsiteY5" fmla="*/ -1907 h 82781"/>
                  <a:gd name="connsiteX6" fmla="*/ -3460 w 33836"/>
                  <a:gd name="connsiteY6" fmla="*/ 10161 h 82781"/>
                  <a:gd name="connsiteX7" fmla="*/ -4797 w 33836"/>
                  <a:gd name="connsiteY7" fmla="*/ 11227 h 82781"/>
                  <a:gd name="connsiteX8" fmla="*/ -3480 w 33836"/>
                  <a:gd name="connsiteY8" fmla="*/ 12646 h 82781"/>
                  <a:gd name="connsiteX9" fmla="*/ 15184 w 33836"/>
                  <a:gd name="connsiteY9" fmla="*/ 45067 h 82781"/>
                  <a:gd name="connsiteX10" fmla="*/ 29040 w 33836"/>
                  <a:gd name="connsiteY10" fmla="*/ 80875 h 8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836" h="82781">
                    <a:moveTo>
                      <a:pt x="29040" y="80875"/>
                    </a:moveTo>
                    <a:cubicBezTo>
                      <a:pt x="27298" y="68072"/>
                      <a:pt x="24127" y="55456"/>
                      <a:pt x="19381" y="43378"/>
                    </a:cubicBezTo>
                    <a:cubicBezTo>
                      <a:pt x="17132" y="37288"/>
                      <a:pt x="14469" y="31311"/>
                      <a:pt x="11069" y="25697"/>
                    </a:cubicBezTo>
                    <a:cubicBezTo>
                      <a:pt x="7743" y="20073"/>
                      <a:pt x="4054" y="14438"/>
                      <a:pt x="-1252" y="10181"/>
                    </a:cubicBezTo>
                    <a:lnTo>
                      <a:pt x="-1273" y="12657"/>
                    </a:lnTo>
                    <a:cubicBezTo>
                      <a:pt x="3588" y="7975"/>
                      <a:pt x="8313" y="3138"/>
                      <a:pt x="12862" y="-1907"/>
                    </a:cubicBezTo>
                    <a:cubicBezTo>
                      <a:pt x="7245" y="1916"/>
                      <a:pt x="1826" y="5965"/>
                      <a:pt x="-3460" y="10161"/>
                    </a:cubicBezTo>
                    <a:lnTo>
                      <a:pt x="-4797" y="11227"/>
                    </a:lnTo>
                    <a:lnTo>
                      <a:pt x="-3480" y="12646"/>
                    </a:lnTo>
                    <a:cubicBezTo>
                      <a:pt x="4904" y="21699"/>
                      <a:pt x="10023" y="33538"/>
                      <a:pt x="15184" y="45067"/>
                    </a:cubicBezTo>
                    <a:cubicBezTo>
                      <a:pt x="20023" y="56813"/>
                      <a:pt x="24521" y="68776"/>
                      <a:pt x="29040" y="80875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6" name="Vrije vorm 185">
                <a:extLst>
                  <a:ext uri="{FF2B5EF4-FFF2-40B4-BE49-F238E27FC236}">
                    <a16:creationId xmlns:a16="http://schemas.microsoft.com/office/drawing/2014/main" id="{381025B5-F2B9-59FE-06CF-F04F43D32ACD}"/>
                  </a:ext>
                </a:extLst>
              </p:cNvPr>
              <p:cNvSpPr/>
              <p:nvPr/>
            </p:nvSpPr>
            <p:spPr>
              <a:xfrm flipV="1">
                <a:off x="10265633" y="1912242"/>
                <a:ext cx="42492" cy="72000"/>
              </a:xfrm>
              <a:custGeom>
                <a:avLst/>
                <a:gdLst>
                  <a:gd name="connsiteX0" fmla="*/ -4852 w 18985"/>
                  <a:gd name="connsiteY0" fmla="*/ 15322 h 34544"/>
                  <a:gd name="connsiteX1" fmla="*/ 4641 w 18985"/>
                  <a:gd name="connsiteY1" fmla="*/ -1945 h 34544"/>
                  <a:gd name="connsiteX2" fmla="*/ 14133 w 18985"/>
                  <a:gd name="connsiteY2" fmla="*/ 15322 h 34544"/>
                  <a:gd name="connsiteX3" fmla="*/ 4641 w 18985"/>
                  <a:gd name="connsiteY3" fmla="*/ 32599 h 34544"/>
                  <a:gd name="connsiteX4" fmla="*/ -4852 w 18985"/>
                  <a:gd name="connsiteY4" fmla="*/ 15322 h 34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44">
                    <a:moveTo>
                      <a:pt x="-4852" y="15322"/>
                    </a:moveTo>
                    <a:cubicBezTo>
                      <a:pt x="-4852" y="5782"/>
                      <a:pt x="-593" y="-1945"/>
                      <a:pt x="4641" y="-1945"/>
                    </a:cubicBezTo>
                    <a:cubicBezTo>
                      <a:pt x="9885" y="-1945"/>
                      <a:pt x="14133" y="5782"/>
                      <a:pt x="14133" y="15322"/>
                    </a:cubicBezTo>
                    <a:cubicBezTo>
                      <a:pt x="14133" y="24861"/>
                      <a:pt x="9885" y="32599"/>
                      <a:pt x="4641" y="32599"/>
                    </a:cubicBezTo>
                    <a:cubicBezTo>
                      <a:pt x="-593" y="32599"/>
                      <a:pt x="-4852" y="24861"/>
                      <a:pt x="-4852" y="15322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7" name="Vrije vorm 186">
                <a:extLst>
                  <a:ext uri="{FF2B5EF4-FFF2-40B4-BE49-F238E27FC236}">
                    <a16:creationId xmlns:a16="http://schemas.microsoft.com/office/drawing/2014/main" id="{C49A0FC9-B411-0178-AE7D-3F515F33126B}"/>
                  </a:ext>
                </a:extLst>
              </p:cNvPr>
              <p:cNvSpPr/>
              <p:nvPr/>
            </p:nvSpPr>
            <p:spPr>
              <a:xfrm flipV="1">
                <a:off x="10108373" y="1918142"/>
                <a:ext cx="42492" cy="72000"/>
              </a:xfrm>
              <a:custGeom>
                <a:avLst/>
                <a:gdLst>
                  <a:gd name="connsiteX0" fmla="*/ -4785 w 18985"/>
                  <a:gd name="connsiteY0" fmla="*/ 15336 h 34554"/>
                  <a:gd name="connsiteX1" fmla="*/ 4708 w 18985"/>
                  <a:gd name="connsiteY1" fmla="*/ -1941 h 34554"/>
                  <a:gd name="connsiteX2" fmla="*/ 14201 w 18985"/>
                  <a:gd name="connsiteY2" fmla="*/ 15336 h 34554"/>
                  <a:gd name="connsiteX3" fmla="*/ 4708 w 18985"/>
                  <a:gd name="connsiteY3" fmla="*/ 32613 h 34554"/>
                  <a:gd name="connsiteX4" fmla="*/ -4785 w 18985"/>
                  <a:gd name="connsiteY4" fmla="*/ 15336 h 3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5" h="34554">
                    <a:moveTo>
                      <a:pt x="-4785" y="15336"/>
                    </a:moveTo>
                    <a:cubicBezTo>
                      <a:pt x="-4785" y="5807"/>
                      <a:pt x="-536" y="-1941"/>
                      <a:pt x="4708" y="-1941"/>
                    </a:cubicBezTo>
                    <a:cubicBezTo>
                      <a:pt x="9941" y="-1941"/>
                      <a:pt x="14201" y="5807"/>
                      <a:pt x="14201" y="15336"/>
                    </a:cubicBezTo>
                    <a:cubicBezTo>
                      <a:pt x="14201" y="24876"/>
                      <a:pt x="9941" y="32613"/>
                      <a:pt x="4708" y="32613"/>
                    </a:cubicBezTo>
                    <a:cubicBezTo>
                      <a:pt x="-536" y="32613"/>
                      <a:pt x="-4785" y="24876"/>
                      <a:pt x="-4785" y="15336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8" name="Vrije vorm 187">
                <a:extLst>
                  <a:ext uri="{FF2B5EF4-FFF2-40B4-BE49-F238E27FC236}">
                    <a16:creationId xmlns:a16="http://schemas.microsoft.com/office/drawing/2014/main" id="{2C4278BD-CB08-207C-B0A1-05B9810DE0E5}"/>
                  </a:ext>
                </a:extLst>
              </p:cNvPr>
              <p:cNvSpPr/>
              <p:nvPr/>
            </p:nvSpPr>
            <p:spPr>
              <a:xfrm flipV="1">
                <a:off x="10263344" y="1797744"/>
                <a:ext cx="115068" cy="54186"/>
              </a:xfrm>
              <a:custGeom>
                <a:avLst/>
                <a:gdLst>
                  <a:gd name="connsiteX0" fmla="*/ -4853 w 51412"/>
                  <a:gd name="connsiteY0" fmla="*/ 5612 h 19854"/>
                  <a:gd name="connsiteX1" fmla="*/ 7583 w 51412"/>
                  <a:gd name="connsiteY1" fmla="*/ 14810 h 19854"/>
                  <a:gd name="connsiteX2" fmla="*/ 23294 w 51412"/>
                  <a:gd name="connsiteY2" fmla="*/ 17845 h 19854"/>
                  <a:gd name="connsiteX3" fmla="*/ 38839 w 51412"/>
                  <a:gd name="connsiteY3" fmla="*/ 11837 h 19854"/>
                  <a:gd name="connsiteX4" fmla="*/ 46559 w 51412"/>
                  <a:gd name="connsiteY4" fmla="*/ -1991 h 19854"/>
                  <a:gd name="connsiteX5" fmla="*/ 34704 w 51412"/>
                  <a:gd name="connsiteY5" fmla="*/ 5415 h 19854"/>
                  <a:gd name="connsiteX6" fmla="*/ 22755 w 51412"/>
                  <a:gd name="connsiteY6" fmla="*/ 8067 h 19854"/>
                  <a:gd name="connsiteX7" fmla="*/ -4853 w 51412"/>
                  <a:gd name="connsiteY7" fmla="*/ 5612 h 19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412" h="19854">
                    <a:moveTo>
                      <a:pt x="-4853" y="5612"/>
                    </a:moveTo>
                    <a:cubicBezTo>
                      <a:pt x="-1568" y="9776"/>
                      <a:pt x="2817" y="12707"/>
                      <a:pt x="7583" y="14810"/>
                    </a:cubicBezTo>
                    <a:cubicBezTo>
                      <a:pt x="12371" y="16933"/>
                      <a:pt x="17729" y="18021"/>
                      <a:pt x="23294" y="17845"/>
                    </a:cubicBezTo>
                    <a:cubicBezTo>
                      <a:pt x="28828" y="17461"/>
                      <a:pt x="34548" y="15514"/>
                      <a:pt x="38839" y="11837"/>
                    </a:cubicBezTo>
                    <a:cubicBezTo>
                      <a:pt x="43357" y="8367"/>
                      <a:pt x="45679" y="3033"/>
                      <a:pt x="46559" y="-1991"/>
                    </a:cubicBezTo>
                    <a:cubicBezTo>
                      <a:pt x="42124" y="1013"/>
                      <a:pt x="38735" y="3944"/>
                      <a:pt x="34704" y="5415"/>
                    </a:cubicBezTo>
                    <a:cubicBezTo>
                      <a:pt x="30797" y="6938"/>
                      <a:pt x="26942" y="7880"/>
                      <a:pt x="22755" y="8067"/>
                    </a:cubicBezTo>
                    <a:cubicBezTo>
                      <a:pt x="14340" y="8512"/>
                      <a:pt x="5438" y="6803"/>
                      <a:pt x="-4853" y="5612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9" name="Vrije vorm 188">
                <a:extLst>
                  <a:ext uri="{FF2B5EF4-FFF2-40B4-BE49-F238E27FC236}">
                    <a16:creationId xmlns:a16="http://schemas.microsoft.com/office/drawing/2014/main" id="{CF7961AB-1E61-2498-3037-B2D606DD7098}"/>
                  </a:ext>
                </a:extLst>
              </p:cNvPr>
              <p:cNvSpPr/>
              <p:nvPr/>
            </p:nvSpPr>
            <p:spPr>
              <a:xfrm flipV="1">
                <a:off x="10084352" y="1799329"/>
                <a:ext cx="91642" cy="52600"/>
              </a:xfrm>
              <a:custGeom>
                <a:avLst/>
                <a:gdLst>
                  <a:gd name="connsiteX0" fmla="*/ 36164 w 40945"/>
                  <a:gd name="connsiteY0" fmla="*/ 5612 h 19273"/>
                  <a:gd name="connsiteX1" fmla="*/ 13686 w 40945"/>
                  <a:gd name="connsiteY1" fmla="*/ 8512 h 19273"/>
                  <a:gd name="connsiteX2" fmla="*/ 4525 w 40945"/>
                  <a:gd name="connsiteY2" fmla="*/ 5384 h 19273"/>
                  <a:gd name="connsiteX3" fmla="*/ -4781 w 40945"/>
                  <a:gd name="connsiteY3" fmla="*/ -1991 h 19273"/>
                  <a:gd name="connsiteX4" fmla="*/ -14 w 40945"/>
                  <a:gd name="connsiteY4" fmla="*/ 10491 h 19273"/>
                  <a:gd name="connsiteX5" fmla="*/ 12784 w 40945"/>
                  <a:gd name="connsiteY5" fmla="*/ 17203 h 19273"/>
                  <a:gd name="connsiteX6" fmla="*/ 26391 w 40945"/>
                  <a:gd name="connsiteY6" fmla="*/ 14406 h 19273"/>
                  <a:gd name="connsiteX7" fmla="*/ 36164 w 40945"/>
                  <a:gd name="connsiteY7" fmla="*/ 5612 h 19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45" h="19273">
                    <a:moveTo>
                      <a:pt x="36164" y="5612"/>
                    </a:moveTo>
                    <a:cubicBezTo>
                      <a:pt x="27573" y="7311"/>
                      <a:pt x="20225" y="9217"/>
                      <a:pt x="13686" y="8512"/>
                    </a:cubicBezTo>
                    <a:cubicBezTo>
                      <a:pt x="10421" y="8336"/>
                      <a:pt x="7509" y="7176"/>
                      <a:pt x="4525" y="5384"/>
                    </a:cubicBezTo>
                    <a:cubicBezTo>
                      <a:pt x="1416" y="3665"/>
                      <a:pt x="-1268" y="858"/>
                      <a:pt x="-4781" y="-1991"/>
                    </a:cubicBezTo>
                    <a:cubicBezTo>
                      <a:pt x="-4564" y="2381"/>
                      <a:pt x="-3237" y="6917"/>
                      <a:pt x="-14" y="10491"/>
                    </a:cubicBezTo>
                    <a:cubicBezTo>
                      <a:pt x="2960" y="14209"/>
                      <a:pt x="7862" y="16778"/>
                      <a:pt x="12784" y="17203"/>
                    </a:cubicBezTo>
                    <a:cubicBezTo>
                      <a:pt x="17707" y="17596"/>
                      <a:pt x="22422" y="16509"/>
                      <a:pt x="26391" y="14406"/>
                    </a:cubicBezTo>
                    <a:cubicBezTo>
                      <a:pt x="30360" y="12335"/>
                      <a:pt x="33842" y="9465"/>
                      <a:pt x="36164" y="5612"/>
                    </a:cubicBezTo>
                  </a:path>
                </a:pathLst>
              </a:custGeom>
              <a:solidFill>
                <a:srgbClr val="56312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1" name="Vrije vorm 190">
                <a:extLst>
                  <a:ext uri="{FF2B5EF4-FFF2-40B4-BE49-F238E27FC236}">
                    <a16:creationId xmlns:a16="http://schemas.microsoft.com/office/drawing/2014/main" id="{BB8A2C97-16A7-DE4F-F934-1B7B657CE24F}"/>
                  </a:ext>
                </a:extLst>
              </p:cNvPr>
              <p:cNvSpPr/>
              <p:nvPr/>
            </p:nvSpPr>
            <p:spPr>
              <a:xfrm flipV="1">
                <a:off x="10482810" y="1958041"/>
                <a:ext cx="62310" cy="140928"/>
              </a:xfrm>
              <a:custGeom>
                <a:avLst/>
                <a:gdLst>
                  <a:gd name="connsiteX0" fmla="*/ 17481 w 27840"/>
                  <a:gd name="connsiteY0" fmla="*/ 48626 h 51637"/>
                  <a:gd name="connsiteX1" fmla="*/ -4925 w 27840"/>
                  <a:gd name="connsiteY1" fmla="*/ 15802 h 51637"/>
                  <a:gd name="connsiteX2" fmla="*/ 910 w 27840"/>
                  <a:gd name="connsiteY2" fmla="*/ -1672 h 51637"/>
                  <a:gd name="connsiteX3" fmla="*/ 17481 w 27840"/>
                  <a:gd name="connsiteY3" fmla="*/ 48626 h 51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40" h="51637">
                    <a:moveTo>
                      <a:pt x="17481" y="48626"/>
                    </a:moveTo>
                    <a:cubicBezTo>
                      <a:pt x="5843" y="54520"/>
                      <a:pt x="-4448" y="35793"/>
                      <a:pt x="-4925" y="15802"/>
                    </a:cubicBezTo>
                    <a:cubicBezTo>
                      <a:pt x="4599" y="17241"/>
                      <a:pt x="6206" y="6158"/>
                      <a:pt x="910" y="-1672"/>
                    </a:cubicBezTo>
                    <a:cubicBezTo>
                      <a:pt x="19802" y="-5681"/>
                      <a:pt x="29823" y="42380"/>
                      <a:pt x="17481" y="48626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2" name="Vrije vorm 191">
                <a:extLst>
                  <a:ext uri="{FF2B5EF4-FFF2-40B4-BE49-F238E27FC236}">
                    <a16:creationId xmlns:a16="http://schemas.microsoft.com/office/drawing/2014/main" id="{C9E10AE2-54FE-F2BD-3285-E7CCA1EDD3F8}"/>
                  </a:ext>
                </a:extLst>
              </p:cNvPr>
              <p:cNvSpPr/>
              <p:nvPr/>
            </p:nvSpPr>
            <p:spPr>
              <a:xfrm flipV="1">
                <a:off x="9681512" y="2509471"/>
                <a:ext cx="429259" cy="629411"/>
              </a:xfrm>
              <a:custGeom>
                <a:avLst/>
                <a:gdLst>
                  <a:gd name="connsiteX0" fmla="*/ 68221 w 191791"/>
                  <a:gd name="connsiteY0" fmla="*/ -1590 h 230620"/>
                  <a:gd name="connsiteX1" fmla="*/ 187097 w 191791"/>
                  <a:gd name="connsiteY1" fmla="*/ 173885 h 230620"/>
                  <a:gd name="connsiteX2" fmla="*/ 121819 w 191791"/>
                  <a:gd name="connsiteY2" fmla="*/ 229030 h 230620"/>
                  <a:gd name="connsiteX3" fmla="*/ -4694 w 191791"/>
                  <a:gd name="connsiteY3" fmla="*/ 17800 h 230620"/>
                  <a:gd name="connsiteX4" fmla="*/ 68221 w 191791"/>
                  <a:gd name="connsiteY4" fmla="*/ -1590 h 230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791" h="230620">
                    <a:moveTo>
                      <a:pt x="68221" y="-1590"/>
                    </a:moveTo>
                    <a:lnTo>
                      <a:pt x="187097" y="173885"/>
                    </a:lnTo>
                    <a:lnTo>
                      <a:pt x="121819" y="229030"/>
                    </a:lnTo>
                    <a:lnTo>
                      <a:pt x="-4694" y="17800"/>
                    </a:lnTo>
                    <a:lnTo>
                      <a:pt x="68221" y="-1590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3" name="Vrije vorm 192">
                <a:extLst>
                  <a:ext uri="{FF2B5EF4-FFF2-40B4-BE49-F238E27FC236}">
                    <a16:creationId xmlns:a16="http://schemas.microsoft.com/office/drawing/2014/main" id="{F5C8F7CA-1310-3A10-E7AD-5B82F855DF2C}"/>
                  </a:ext>
                </a:extLst>
              </p:cNvPr>
              <p:cNvSpPr/>
              <p:nvPr/>
            </p:nvSpPr>
            <p:spPr>
              <a:xfrm flipV="1">
                <a:off x="10209165" y="2150577"/>
                <a:ext cx="71012" cy="125522"/>
              </a:xfrm>
              <a:custGeom>
                <a:avLst/>
                <a:gdLst>
                  <a:gd name="connsiteX0" fmla="*/ -4805 w 31728"/>
                  <a:gd name="connsiteY0" fmla="*/ 20627 h 45992"/>
                  <a:gd name="connsiteX1" fmla="*/ 11828 w 31728"/>
                  <a:gd name="connsiteY1" fmla="*/ -1829 h 45992"/>
                  <a:gd name="connsiteX2" fmla="*/ 26886 w 31728"/>
                  <a:gd name="connsiteY2" fmla="*/ 21694 h 45992"/>
                  <a:gd name="connsiteX3" fmla="*/ 10252 w 31728"/>
                  <a:gd name="connsiteY3" fmla="*/ 44150 h 45992"/>
                  <a:gd name="connsiteX4" fmla="*/ -4805 w 31728"/>
                  <a:gd name="connsiteY4" fmla="*/ 20627 h 45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28" h="45992">
                    <a:moveTo>
                      <a:pt x="-4805" y="20627"/>
                    </a:moveTo>
                    <a:cubicBezTo>
                      <a:pt x="-4370" y="7918"/>
                      <a:pt x="3081" y="-2129"/>
                      <a:pt x="11828" y="-1829"/>
                    </a:cubicBezTo>
                    <a:cubicBezTo>
                      <a:pt x="20564" y="-1539"/>
                      <a:pt x="27311" y="9006"/>
                      <a:pt x="26886" y="21694"/>
                    </a:cubicBezTo>
                    <a:cubicBezTo>
                      <a:pt x="26450" y="34404"/>
                      <a:pt x="18999" y="44461"/>
                      <a:pt x="10252" y="44150"/>
                    </a:cubicBezTo>
                    <a:cubicBezTo>
                      <a:pt x="1517" y="43860"/>
                      <a:pt x="-5230" y="33316"/>
                      <a:pt x="-4805" y="20627"/>
                    </a:cubicBezTo>
                  </a:path>
                </a:pathLst>
              </a:custGeom>
              <a:solidFill>
                <a:srgbClr val="B8596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4" name="Vrije vorm 193">
                <a:extLst>
                  <a:ext uri="{FF2B5EF4-FFF2-40B4-BE49-F238E27FC236}">
                    <a16:creationId xmlns:a16="http://schemas.microsoft.com/office/drawing/2014/main" id="{ECD3DDF7-C3B4-BFCB-8C1F-D8B9831AD551}"/>
                  </a:ext>
                </a:extLst>
              </p:cNvPr>
              <p:cNvSpPr/>
              <p:nvPr/>
            </p:nvSpPr>
            <p:spPr>
              <a:xfrm flipV="1">
                <a:off x="10209165" y="2150577"/>
                <a:ext cx="70923" cy="112812"/>
              </a:xfrm>
              <a:custGeom>
                <a:avLst/>
                <a:gdLst>
                  <a:gd name="connsiteX0" fmla="*/ 19662 w 31688"/>
                  <a:gd name="connsiteY0" fmla="*/ 19893 h 41335"/>
                  <a:gd name="connsiteX1" fmla="*/ 26865 w 31688"/>
                  <a:gd name="connsiteY1" fmla="*/ 17138 h 41335"/>
                  <a:gd name="connsiteX2" fmla="*/ 10252 w 31688"/>
                  <a:gd name="connsiteY2" fmla="*/ 39491 h 41335"/>
                  <a:gd name="connsiteX3" fmla="*/ -4805 w 31688"/>
                  <a:gd name="connsiteY3" fmla="*/ 15968 h 41335"/>
                  <a:gd name="connsiteX4" fmla="*/ 1921 w 31688"/>
                  <a:gd name="connsiteY4" fmla="*/ -1838 h 41335"/>
                  <a:gd name="connsiteX5" fmla="*/ 19662 w 31688"/>
                  <a:gd name="connsiteY5" fmla="*/ 19893 h 41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688" h="41335">
                    <a:moveTo>
                      <a:pt x="19662" y="19893"/>
                    </a:moveTo>
                    <a:cubicBezTo>
                      <a:pt x="22429" y="19417"/>
                      <a:pt x="24834" y="18443"/>
                      <a:pt x="26865" y="17138"/>
                    </a:cubicBezTo>
                    <a:cubicBezTo>
                      <a:pt x="26398" y="29795"/>
                      <a:pt x="18979" y="39801"/>
                      <a:pt x="10252" y="39491"/>
                    </a:cubicBezTo>
                    <a:cubicBezTo>
                      <a:pt x="1517" y="39200"/>
                      <a:pt x="-5230" y="28656"/>
                      <a:pt x="-4805" y="15968"/>
                    </a:cubicBezTo>
                    <a:cubicBezTo>
                      <a:pt x="-4546" y="8624"/>
                      <a:pt x="-1914" y="2243"/>
                      <a:pt x="1921" y="-1838"/>
                    </a:cubicBezTo>
                    <a:cubicBezTo>
                      <a:pt x="-867" y="9318"/>
                      <a:pt x="5361" y="22358"/>
                      <a:pt x="19662" y="19893"/>
                    </a:cubicBezTo>
                  </a:path>
                </a:pathLst>
              </a:custGeom>
              <a:solidFill>
                <a:srgbClr val="642A32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5" name="Vrije vorm 194">
                <a:extLst>
                  <a:ext uri="{FF2B5EF4-FFF2-40B4-BE49-F238E27FC236}">
                    <a16:creationId xmlns:a16="http://schemas.microsoft.com/office/drawing/2014/main" id="{C29525CD-66F1-C79E-68C0-784A66AB0DC1}"/>
                  </a:ext>
                </a:extLst>
              </p:cNvPr>
              <p:cNvSpPr/>
              <p:nvPr/>
            </p:nvSpPr>
            <p:spPr>
              <a:xfrm flipV="1">
                <a:off x="10360832" y="3070412"/>
                <a:ext cx="444799" cy="243269"/>
              </a:xfrm>
              <a:custGeom>
                <a:avLst/>
                <a:gdLst>
                  <a:gd name="connsiteX0" fmla="*/ 193784 w 198734"/>
                  <a:gd name="connsiteY0" fmla="*/ 54990 h 89135"/>
                  <a:gd name="connsiteX1" fmla="*/ -4951 w 198734"/>
                  <a:gd name="connsiteY1" fmla="*/ 279 h 89135"/>
                  <a:gd name="connsiteX2" fmla="*/ 9796 w 198734"/>
                  <a:gd name="connsiteY2" fmla="*/ 34067 h 89135"/>
                  <a:gd name="connsiteX3" fmla="*/ 118858 w 198734"/>
                  <a:gd name="connsiteY3" fmla="*/ 80564 h 89135"/>
                  <a:gd name="connsiteX4" fmla="*/ 193784 w 198734"/>
                  <a:gd name="connsiteY4" fmla="*/ 54990 h 89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8734" h="89135">
                    <a:moveTo>
                      <a:pt x="193784" y="54990"/>
                    </a:moveTo>
                    <a:cubicBezTo>
                      <a:pt x="193784" y="54990"/>
                      <a:pt x="75240" y="-13010"/>
                      <a:pt x="-4951" y="279"/>
                    </a:cubicBezTo>
                    <a:lnTo>
                      <a:pt x="9796" y="34067"/>
                    </a:lnTo>
                    <a:cubicBezTo>
                      <a:pt x="9796" y="34067"/>
                      <a:pt x="54689" y="47812"/>
                      <a:pt x="118858" y="80564"/>
                    </a:cubicBezTo>
                    <a:cubicBezTo>
                      <a:pt x="168788" y="106055"/>
                      <a:pt x="193784" y="54990"/>
                      <a:pt x="193784" y="54990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6" name="Vrije vorm 195">
                <a:extLst>
                  <a:ext uri="{FF2B5EF4-FFF2-40B4-BE49-F238E27FC236}">
                    <a16:creationId xmlns:a16="http://schemas.microsoft.com/office/drawing/2014/main" id="{A09A624C-FBBB-46C4-1BFC-9943CBC78EF7}"/>
                  </a:ext>
                </a:extLst>
              </p:cNvPr>
              <p:cNvSpPr/>
              <p:nvPr/>
            </p:nvSpPr>
            <p:spPr>
              <a:xfrm flipV="1">
                <a:off x="10623995" y="3042036"/>
                <a:ext cx="213017" cy="125457"/>
              </a:xfrm>
              <a:custGeom>
                <a:avLst/>
                <a:gdLst>
                  <a:gd name="connsiteX0" fmla="*/ 2642 w 95175"/>
                  <a:gd name="connsiteY0" fmla="*/ 44491 h 45968"/>
                  <a:gd name="connsiteX1" fmla="*/ 90170 w 95175"/>
                  <a:gd name="connsiteY1" fmla="*/ 36650 h 45968"/>
                  <a:gd name="connsiteX2" fmla="*/ 88004 w 95175"/>
                  <a:gd name="connsiteY2" fmla="*/ -1478 h 45968"/>
                  <a:gd name="connsiteX3" fmla="*/ -5006 w 95175"/>
                  <a:gd name="connsiteY3" fmla="*/ 23578 h 45968"/>
                  <a:gd name="connsiteX4" fmla="*/ 2642 w 95175"/>
                  <a:gd name="connsiteY4" fmla="*/ 44491 h 45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175" h="45968">
                    <a:moveTo>
                      <a:pt x="2642" y="44491"/>
                    </a:moveTo>
                    <a:lnTo>
                      <a:pt x="90170" y="36650"/>
                    </a:lnTo>
                    <a:lnTo>
                      <a:pt x="88004" y="-1478"/>
                    </a:lnTo>
                    <a:lnTo>
                      <a:pt x="-5006" y="23578"/>
                    </a:lnTo>
                    <a:lnTo>
                      <a:pt x="2642" y="44491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7" name="Vrije vorm 196">
                <a:extLst>
                  <a:ext uri="{FF2B5EF4-FFF2-40B4-BE49-F238E27FC236}">
                    <a16:creationId xmlns:a16="http://schemas.microsoft.com/office/drawing/2014/main" id="{0988A4AF-40C5-FEAB-E135-59D43D34E000}"/>
                  </a:ext>
                </a:extLst>
              </p:cNvPr>
              <p:cNvSpPr/>
              <p:nvPr/>
            </p:nvSpPr>
            <p:spPr>
              <a:xfrm flipV="1">
                <a:off x="10201853" y="3216343"/>
                <a:ext cx="234029" cy="165066"/>
              </a:xfrm>
              <a:custGeom>
                <a:avLst/>
                <a:gdLst>
                  <a:gd name="connsiteX0" fmla="*/ 92014 w 104563"/>
                  <a:gd name="connsiteY0" fmla="*/ 57673 h 60481"/>
                  <a:gd name="connsiteX1" fmla="*/ 48396 w 104563"/>
                  <a:gd name="connsiteY1" fmla="*/ 26952 h 60481"/>
                  <a:gd name="connsiteX2" fmla="*/ 31151 w 104563"/>
                  <a:gd name="connsiteY2" fmla="*/ 22177 h 60481"/>
                  <a:gd name="connsiteX3" fmla="*/ 19742 w 104563"/>
                  <a:gd name="connsiteY3" fmla="*/ 27169 h 60481"/>
                  <a:gd name="connsiteX4" fmla="*/ 20736 w 104563"/>
                  <a:gd name="connsiteY4" fmla="*/ 49252 h 60481"/>
                  <a:gd name="connsiteX5" fmla="*/ 82200 w 104563"/>
                  <a:gd name="connsiteY5" fmla="*/ 58606 h 60481"/>
                  <a:gd name="connsiteX6" fmla="*/ 92014 w 104563"/>
                  <a:gd name="connsiteY6" fmla="*/ 57673 h 60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563" h="60481">
                    <a:moveTo>
                      <a:pt x="92014" y="57673"/>
                    </a:moveTo>
                    <a:cubicBezTo>
                      <a:pt x="92014" y="57673"/>
                      <a:pt x="126824" y="9954"/>
                      <a:pt x="48396" y="26952"/>
                    </a:cubicBezTo>
                    <a:cubicBezTo>
                      <a:pt x="48396" y="26952"/>
                      <a:pt x="31555" y="-31001"/>
                      <a:pt x="31151" y="22177"/>
                    </a:cubicBezTo>
                    <a:cubicBezTo>
                      <a:pt x="31151" y="22177"/>
                      <a:pt x="3699" y="-34057"/>
                      <a:pt x="19742" y="27169"/>
                    </a:cubicBezTo>
                    <a:cubicBezTo>
                      <a:pt x="19742" y="27169"/>
                      <a:pt x="-36251" y="-14915"/>
                      <a:pt x="20736" y="49252"/>
                    </a:cubicBezTo>
                    <a:cubicBezTo>
                      <a:pt x="20736" y="49252"/>
                      <a:pt x="29379" y="61630"/>
                      <a:pt x="82200" y="58606"/>
                    </a:cubicBezTo>
                    <a:lnTo>
                      <a:pt x="92014" y="57673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8" name="Vrije vorm 197">
                <a:extLst>
                  <a:ext uri="{FF2B5EF4-FFF2-40B4-BE49-F238E27FC236}">
                    <a16:creationId xmlns:a16="http://schemas.microsoft.com/office/drawing/2014/main" id="{C9E6E4C2-6A5A-DF37-8E0E-F03B8AAC41A1}"/>
                  </a:ext>
                </a:extLst>
              </p:cNvPr>
              <p:cNvSpPr/>
              <p:nvPr/>
            </p:nvSpPr>
            <p:spPr>
              <a:xfrm flipV="1">
                <a:off x="10198409" y="3234097"/>
                <a:ext cx="69898" cy="49453"/>
              </a:xfrm>
              <a:custGeom>
                <a:avLst/>
                <a:gdLst>
                  <a:gd name="connsiteX0" fmla="*/ 26410 w 31230"/>
                  <a:gd name="connsiteY0" fmla="*/ 16704 h 18120"/>
                  <a:gd name="connsiteX1" fmla="*/ 24410 w 31230"/>
                  <a:gd name="connsiteY1" fmla="*/ 3622 h 18120"/>
                  <a:gd name="connsiteX2" fmla="*/ 26410 w 31230"/>
                  <a:gd name="connsiteY2" fmla="*/ 16704 h 18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1230" h="18120">
                    <a:moveTo>
                      <a:pt x="26410" y="16704"/>
                    </a:moveTo>
                    <a:cubicBezTo>
                      <a:pt x="26410" y="16704"/>
                      <a:pt x="-42505" y="-12961"/>
                      <a:pt x="24410" y="3622"/>
                    </a:cubicBezTo>
                    <a:lnTo>
                      <a:pt x="26410" y="16704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9" name="Vrije vorm 198">
                <a:extLst>
                  <a:ext uri="{FF2B5EF4-FFF2-40B4-BE49-F238E27FC236}">
                    <a16:creationId xmlns:a16="http://schemas.microsoft.com/office/drawing/2014/main" id="{713E1A1C-443D-218A-2D8C-3855CCA05DB1}"/>
                  </a:ext>
                </a:extLst>
              </p:cNvPr>
              <p:cNvSpPr/>
              <p:nvPr/>
            </p:nvSpPr>
            <p:spPr>
              <a:xfrm flipV="1">
                <a:off x="8692546" y="2396056"/>
                <a:ext cx="659929" cy="675999"/>
              </a:xfrm>
              <a:custGeom>
                <a:avLst/>
                <a:gdLst>
                  <a:gd name="connsiteX0" fmla="*/ 290486 w 294853"/>
                  <a:gd name="connsiteY0" fmla="*/ 3811 h 247690"/>
                  <a:gd name="connsiteX1" fmla="*/ 285926 w 294853"/>
                  <a:gd name="connsiteY1" fmla="*/ -1626 h 247690"/>
                  <a:gd name="connsiteX2" fmla="*/ -4367 w 294853"/>
                  <a:gd name="connsiteY2" fmla="*/ 240605 h 247690"/>
                  <a:gd name="connsiteX3" fmla="*/ 172 w 294853"/>
                  <a:gd name="connsiteY3" fmla="*/ 246064 h 247690"/>
                  <a:gd name="connsiteX4" fmla="*/ 290486 w 294853"/>
                  <a:gd name="connsiteY4" fmla="*/ 3811 h 247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4853" h="247690">
                    <a:moveTo>
                      <a:pt x="290486" y="3811"/>
                    </a:moveTo>
                    <a:lnTo>
                      <a:pt x="285926" y="-1626"/>
                    </a:lnTo>
                    <a:lnTo>
                      <a:pt x="-4367" y="240605"/>
                    </a:lnTo>
                    <a:lnTo>
                      <a:pt x="172" y="246064"/>
                    </a:lnTo>
                    <a:lnTo>
                      <a:pt x="290486" y="3811"/>
                    </a:ln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00" name="Vrije vorm 199">
                <a:extLst>
                  <a:ext uri="{FF2B5EF4-FFF2-40B4-BE49-F238E27FC236}">
                    <a16:creationId xmlns:a16="http://schemas.microsoft.com/office/drawing/2014/main" id="{3BCDAE82-286D-E4BC-FEAF-8A4A5FF0B9C0}"/>
                  </a:ext>
                </a:extLst>
              </p:cNvPr>
              <p:cNvSpPr/>
              <p:nvPr/>
            </p:nvSpPr>
            <p:spPr>
              <a:xfrm flipV="1">
                <a:off x="9205338" y="2925452"/>
                <a:ext cx="625427" cy="352544"/>
              </a:xfrm>
              <a:custGeom>
                <a:avLst/>
                <a:gdLst>
                  <a:gd name="connsiteX0" fmla="*/ 246284 w 279438"/>
                  <a:gd name="connsiteY0" fmla="*/ -1479 h 129174"/>
                  <a:gd name="connsiteX1" fmla="*/ 75323 w 279438"/>
                  <a:gd name="connsiteY1" fmla="*/ 65983 h 129174"/>
                  <a:gd name="connsiteX2" fmla="*/ 56524 w 279438"/>
                  <a:gd name="connsiteY2" fmla="*/ 41206 h 129174"/>
                  <a:gd name="connsiteX3" fmla="*/ 39674 w 279438"/>
                  <a:gd name="connsiteY3" fmla="*/ 46934 h 129174"/>
                  <a:gd name="connsiteX4" fmla="*/ 22740 w 279438"/>
                  <a:gd name="connsiteY4" fmla="*/ 51865 h 129174"/>
                  <a:gd name="connsiteX5" fmla="*/ 5309 w 279438"/>
                  <a:gd name="connsiteY5" fmla="*/ 62596 h 129174"/>
                  <a:gd name="connsiteX6" fmla="*/ -2681 w 279438"/>
                  <a:gd name="connsiteY6" fmla="*/ 79469 h 129174"/>
                  <a:gd name="connsiteX7" fmla="*/ 17393 w 279438"/>
                  <a:gd name="connsiteY7" fmla="*/ 113153 h 129174"/>
                  <a:gd name="connsiteX8" fmla="*/ 30222 w 279438"/>
                  <a:gd name="connsiteY8" fmla="*/ 127696 h 129174"/>
                  <a:gd name="connsiteX9" fmla="*/ 274886 w 279438"/>
                  <a:gd name="connsiteY9" fmla="*/ 51036 h 129174"/>
                  <a:gd name="connsiteX10" fmla="*/ 246284 w 279438"/>
                  <a:gd name="connsiteY10" fmla="*/ -1479 h 129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9438" h="129174">
                    <a:moveTo>
                      <a:pt x="246284" y="-1479"/>
                    </a:moveTo>
                    <a:lnTo>
                      <a:pt x="75323" y="65983"/>
                    </a:lnTo>
                    <a:cubicBezTo>
                      <a:pt x="75323" y="65983"/>
                      <a:pt x="70618" y="49441"/>
                      <a:pt x="56524" y="41206"/>
                    </a:cubicBezTo>
                    <a:cubicBezTo>
                      <a:pt x="56524" y="41206"/>
                      <a:pt x="37881" y="36566"/>
                      <a:pt x="39674" y="46934"/>
                    </a:cubicBezTo>
                    <a:cubicBezTo>
                      <a:pt x="39674" y="46934"/>
                      <a:pt x="28025" y="39559"/>
                      <a:pt x="22740" y="51865"/>
                    </a:cubicBezTo>
                    <a:cubicBezTo>
                      <a:pt x="22740" y="51865"/>
                      <a:pt x="5195" y="49368"/>
                      <a:pt x="5309" y="62596"/>
                    </a:cubicBezTo>
                    <a:cubicBezTo>
                      <a:pt x="5309" y="62596"/>
                      <a:pt x="-9707" y="61342"/>
                      <a:pt x="-2681" y="79469"/>
                    </a:cubicBezTo>
                    <a:cubicBezTo>
                      <a:pt x="4335" y="97585"/>
                      <a:pt x="17393" y="113153"/>
                      <a:pt x="17393" y="113153"/>
                    </a:cubicBezTo>
                    <a:lnTo>
                      <a:pt x="30222" y="127696"/>
                    </a:lnTo>
                    <a:lnTo>
                      <a:pt x="274886" y="51036"/>
                    </a:lnTo>
                    <a:lnTo>
                      <a:pt x="246284" y="-1479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01" name="Vrije vorm 200">
                <a:extLst>
                  <a:ext uri="{FF2B5EF4-FFF2-40B4-BE49-F238E27FC236}">
                    <a16:creationId xmlns:a16="http://schemas.microsoft.com/office/drawing/2014/main" id="{AE9E7264-3F15-6588-7B5E-7E2FA1EDB218}"/>
                  </a:ext>
                </a:extLst>
              </p:cNvPr>
              <p:cNvSpPr/>
              <p:nvPr/>
            </p:nvSpPr>
            <p:spPr>
              <a:xfrm flipV="1">
                <a:off x="9212908" y="2891930"/>
                <a:ext cx="165893" cy="177552"/>
              </a:xfrm>
              <a:custGeom>
                <a:avLst/>
                <a:gdLst>
                  <a:gd name="connsiteX0" fmla="*/ 69651 w 74120"/>
                  <a:gd name="connsiteY0" fmla="*/ 10383 h 65056"/>
                  <a:gd name="connsiteX1" fmla="*/ 44883 w 74120"/>
                  <a:gd name="connsiteY1" fmla="*/ -1249 h 65056"/>
                  <a:gd name="connsiteX2" fmla="*/ 17224 w 74120"/>
                  <a:gd name="connsiteY2" fmla="*/ 36154 h 65056"/>
                  <a:gd name="connsiteX3" fmla="*/ -2228 w 74120"/>
                  <a:gd name="connsiteY3" fmla="*/ 62691 h 65056"/>
                  <a:gd name="connsiteX4" fmla="*/ 69651 w 74120"/>
                  <a:gd name="connsiteY4" fmla="*/ 10383 h 6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120" h="65056">
                    <a:moveTo>
                      <a:pt x="69651" y="10383"/>
                    </a:moveTo>
                    <a:cubicBezTo>
                      <a:pt x="69651" y="10383"/>
                      <a:pt x="66490" y="-3662"/>
                      <a:pt x="44883" y="-1249"/>
                    </a:cubicBezTo>
                    <a:cubicBezTo>
                      <a:pt x="23266" y="1165"/>
                      <a:pt x="17224" y="36154"/>
                      <a:pt x="17224" y="36154"/>
                    </a:cubicBezTo>
                    <a:cubicBezTo>
                      <a:pt x="17224" y="36154"/>
                      <a:pt x="-12757" y="56031"/>
                      <a:pt x="-2228" y="62691"/>
                    </a:cubicBezTo>
                    <a:cubicBezTo>
                      <a:pt x="8301" y="69331"/>
                      <a:pt x="62096" y="35056"/>
                      <a:pt x="69651" y="10383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02" name="Vrije vorm 201">
                <a:extLst>
                  <a:ext uri="{FF2B5EF4-FFF2-40B4-BE49-F238E27FC236}">
                    <a16:creationId xmlns:a16="http://schemas.microsoft.com/office/drawing/2014/main" id="{FBB9098D-2568-E5B0-D882-A34DECB1C56B}"/>
                  </a:ext>
                </a:extLst>
              </p:cNvPr>
              <p:cNvSpPr/>
              <p:nvPr/>
            </p:nvSpPr>
            <p:spPr>
              <a:xfrm flipV="1">
                <a:off x="9667989" y="2991546"/>
                <a:ext cx="192119" cy="268642"/>
              </a:xfrm>
              <a:custGeom>
                <a:avLst/>
                <a:gdLst>
                  <a:gd name="connsiteX0" fmla="*/ 81194 w 85838"/>
                  <a:gd name="connsiteY0" fmla="*/ 41755 h 98432"/>
                  <a:gd name="connsiteX1" fmla="*/ 12247 w 85838"/>
                  <a:gd name="connsiteY1" fmla="*/ 96963 h 98432"/>
                  <a:gd name="connsiteX2" fmla="*/ -4645 w 85838"/>
                  <a:gd name="connsiteY2" fmla="*/ 71420 h 98432"/>
                  <a:gd name="connsiteX3" fmla="*/ 46228 w 85838"/>
                  <a:gd name="connsiteY3" fmla="*/ -1469 h 98432"/>
                  <a:gd name="connsiteX4" fmla="*/ 81194 w 85838"/>
                  <a:gd name="connsiteY4" fmla="*/ 41755 h 98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838" h="98432">
                    <a:moveTo>
                      <a:pt x="81194" y="41755"/>
                    </a:moveTo>
                    <a:lnTo>
                      <a:pt x="12247" y="96963"/>
                    </a:lnTo>
                    <a:lnTo>
                      <a:pt x="-4645" y="71420"/>
                    </a:lnTo>
                    <a:lnTo>
                      <a:pt x="46228" y="-1469"/>
                    </a:lnTo>
                    <a:lnTo>
                      <a:pt x="81194" y="41755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08" name="Vrije vorm 207">
                <a:extLst>
                  <a:ext uri="{FF2B5EF4-FFF2-40B4-BE49-F238E27FC236}">
                    <a16:creationId xmlns:a16="http://schemas.microsoft.com/office/drawing/2014/main" id="{E93E98AC-43FA-B817-7B29-7B556D73AA5E}"/>
                  </a:ext>
                </a:extLst>
              </p:cNvPr>
              <p:cNvSpPr/>
              <p:nvPr/>
            </p:nvSpPr>
            <p:spPr>
              <a:xfrm flipV="1">
                <a:off x="10068803" y="1872368"/>
                <a:ext cx="110399" cy="155448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09" name="Vrije vorm 208">
                <a:extLst>
                  <a:ext uri="{FF2B5EF4-FFF2-40B4-BE49-F238E27FC236}">
                    <a16:creationId xmlns:a16="http://schemas.microsoft.com/office/drawing/2014/main" id="{2B9DA24D-51C1-A50B-D9AD-36B4A18DECB9}"/>
                  </a:ext>
                </a:extLst>
              </p:cNvPr>
              <p:cNvSpPr/>
              <p:nvPr/>
            </p:nvSpPr>
            <p:spPr>
              <a:xfrm flipV="1">
                <a:off x="10215703" y="1868786"/>
                <a:ext cx="135652" cy="154591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0" name="Vrije vorm 209">
                <a:extLst>
                  <a:ext uri="{FF2B5EF4-FFF2-40B4-BE49-F238E27FC236}">
                    <a16:creationId xmlns:a16="http://schemas.microsoft.com/office/drawing/2014/main" id="{F1C9A730-2252-AC8F-B73B-95BAA1A333AC}"/>
                  </a:ext>
                </a:extLst>
              </p:cNvPr>
              <p:cNvSpPr/>
              <p:nvPr/>
            </p:nvSpPr>
            <p:spPr>
              <a:xfrm flipV="1">
                <a:off x="10350380" y="1925268"/>
                <a:ext cx="180000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1" name="Vrije vorm 210">
                <a:extLst>
                  <a:ext uri="{FF2B5EF4-FFF2-40B4-BE49-F238E27FC236}">
                    <a16:creationId xmlns:a16="http://schemas.microsoft.com/office/drawing/2014/main" id="{110E9C21-EB83-B698-4A7E-B6F24ECF024F}"/>
                  </a:ext>
                </a:extLst>
              </p:cNvPr>
              <p:cNvSpPr/>
              <p:nvPr/>
            </p:nvSpPr>
            <p:spPr>
              <a:xfrm flipV="1">
                <a:off x="10170481" y="1949355"/>
                <a:ext cx="49121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4611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7" name="Vrije vorm 2046">
            <a:extLst>
              <a:ext uri="{FF2B5EF4-FFF2-40B4-BE49-F238E27FC236}">
                <a16:creationId xmlns:a16="http://schemas.microsoft.com/office/drawing/2014/main" id="{ACA54E2E-0DA6-5F2E-D3D0-5DC23C5F6798}"/>
              </a:ext>
            </a:extLst>
          </p:cNvPr>
          <p:cNvSpPr/>
          <p:nvPr/>
        </p:nvSpPr>
        <p:spPr>
          <a:xfrm flipV="1">
            <a:off x="0" y="0"/>
            <a:ext cx="12190888" cy="6918192"/>
          </a:xfrm>
          <a:custGeom>
            <a:avLst/>
            <a:gdLst>
              <a:gd name="connsiteX0" fmla="*/ -2267 w 4440338"/>
              <a:gd name="connsiteY0" fmla="*/ -307 h 2598297"/>
              <a:gd name="connsiteX1" fmla="*/ 4438071 w 4440338"/>
              <a:gd name="connsiteY1" fmla="*/ -307 h 2598297"/>
              <a:gd name="connsiteX2" fmla="*/ 4438071 w 4440338"/>
              <a:gd name="connsiteY2" fmla="*/ 2597990 h 2598297"/>
              <a:gd name="connsiteX3" fmla="*/ -2267 w 4440338"/>
              <a:gd name="connsiteY3" fmla="*/ 2597990 h 2598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0338" h="2598297">
                <a:moveTo>
                  <a:pt x="-2267" y="-307"/>
                </a:moveTo>
                <a:lnTo>
                  <a:pt x="4438071" y="-307"/>
                </a:lnTo>
                <a:lnTo>
                  <a:pt x="4438071" y="2597990"/>
                </a:lnTo>
                <a:lnTo>
                  <a:pt x="-2267" y="2597990"/>
                </a:lnTo>
                <a:close/>
              </a:path>
            </a:pathLst>
          </a:custGeom>
          <a:solidFill>
            <a:srgbClr val="CCEEF3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048" name="Vrije vorm 2047">
            <a:extLst>
              <a:ext uri="{FF2B5EF4-FFF2-40B4-BE49-F238E27FC236}">
                <a16:creationId xmlns:a16="http://schemas.microsoft.com/office/drawing/2014/main" id="{DD6F11F5-1F8B-2B81-3AFC-C2C72D4E0C0E}"/>
              </a:ext>
            </a:extLst>
          </p:cNvPr>
          <p:cNvSpPr/>
          <p:nvPr/>
        </p:nvSpPr>
        <p:spPr>
          <a:xfrm flipV="1">
            <a:off x="194438" y="547758"/>
            <a:ext cx="10926358" cy="4335147"/>
          </a:xfrm>
          <a:custGeom>
            <a:avLst/>
            <a:gdLst>
              <a:gd name="connsiteX0" fmla="*/ 3977544 w 3979753"/>
              <a:gd name="connsiteY0" fmla="*/ -440 h 1628171"/>
              <a:gd name="connsiteX1" fmla="*/ 3969416 w 3979753"/>
              <a:gd name="connsiteY1" fmla="*/ -440 h 1628171"/>
              <a:gd name="connsiteX2" fmla="*/ 3969630 w 3979753"/>
              <a:gd name="connsiteY2" fmla="*/ -347 h 1628171"/>
              <a:gd name="connsiteX3" fmla="*/ 3977544 w 3979753"/>
              <a:gd name="connsiteY3" fmla="*/ -347 h 1628171"/>
              <a:gd name="connsiteX4" fmla="*/ 3977544 w 3979753"/>
              <a:gd name="connsiteY4" fmla="*/ -440 h 1628171"/>
              <a:gd name="connsiteX5" fmla="*/ 3580105 w 3979753"/>
              <a:gd name="connsiteY5" fmla="*/ -440 h 1628171"/>
              <a:gd name="connsiteX6" fmla="*/ 2690808 w 3979753"/>
              <a:gd name="connsiteY6" fmla="*/ -440 h 1628171"/>
              <a:gd name="connsiteX7" fmla="*/ 2690808 w 3979753"/>
              <a:gd name="connsiteY7" fmla="*/ 57177 h 1628171"/>
              <a:gd name="connsiteX8" fmla="*/ 1084556 w 3979753"/>
              <a:gd name="connsiteY8" fmla="*/ 57177 h 1628171"/>
              <a:gd name="connsiteX9" fmla="*/ 1084556 w 3979753"/>
              <a:gd name="connsiteY9" fmla="*/ -440 h 1628171"/>
              <a:gd name="connsiteX10" fmla="*/ -2210 w 3979753"/>
              <a:gd name="connsiteY10" fmla="*/ -440 h 1628171"/>
              <a:gd name="connsiteX11" fmla="*/ -2210 w 3979753"/>
              <a:gd name="connsiteY11" fmla="*/ 1627732 h 1628171"/>
              <a:gd name="connsiteX12" fmla="*/ 47634 w 3979753"/>
              <a:gd name="connsiteY12" fmla="*/ 1552804 h 1628171"/>
              <a:gd name="connsiteX13" fmla="*/ 148251 w 3979753"/>
              <a:gd name="connsiteY13" fmla="*/ 1415519 h 1628171"/>
              <a:gd name="connsiteX14" fmla="*/ 96620 w 3979753"/>
              <a:gd name="connsiteY14" fmla="*/ 1260340 h 1628171"/>
              <a:gd name="connsiteX15" fmla="*/ 96620 w 3979753"/>
              <a:gd name="connsiteY15" fmla="*/ 1260274 h 1628171"/>
              <a:gd name="connsiteX16" fmla="*/ 96620 w 3979753"/>
              <a:gd name="connsiteY16" fmla="*/ 1259632 h 1628171"/>
              <a:gd name="connsiteX17" fmla="*/ 96620 w 3979753"/>
              <a:gd name="connsiteY17" fmla="*/ 1259510 h 1628171"/>
              <a:gd name="connsiteX18" fmla="*/ 96620 w 3979753"/>
              <a:gd name="connsiteY18" fmla="*/ 1258869 h 1628171"/>
              <a:gd name="connsiteX19" fmla="*/ 96620 w 3979753"/>
              <a:gd name="connsiteY19" fmla="*/ 1258869 h 1628171"/>
              <a:gd name="connsiteX20" fmla="*/ 96620 w 3979753"/>
              <a:gd name="connsiteY20" fmla="*/ 1258869 h 1628171"/>
              <a:gd name="connsiteX21" fmla="*/ 108538 w 3979753"/>
              <a:gd name="connsiteY21" fmla="*/ 1180286 h 1628171"/>
              <a:gd name="connsiteX22" fmla="*/ 364623 w 3979753"/>
              <a:gd name="connsiteY22" fmla="*/ 977612 h 1628171"/>
              <a:gd name="connsiteX23" fmla="*/ 499398 w 3979753"/>
              <a:gd name="connsiteY23" fmla="*/ 1014737 h 1628171"/>
              <a:gd name="connsiteX24" fmla="*/ 734339 w 3979753"/>
              <a:gd name="connsiteY24" fmla="*/ 824344 h 1628171"/>
              <a:gd name="connsiteX25" fmla="*/ 734339 w 3979753"/>
              <a:gd name="connsiteY25" fmla="*/ 317408 h 1628171"/>
              <a:gd name="connsiteX26" fmla="*/ 3035400 w 3979753"/>
              <a:gd name="connsiteY26" fmla="*/ 317408 h 1628171"/>
              <a:gd name="connsiteX27" fmla="*/ 3035400 w 3979753"/>
              <a:gd name="connsiteY27" fmla="*/ 682407 h 1628171"/>
              <a:gd name="connsiteX28" fmla="*/ 3144646 w 3979753"/>
              <a:gd name="connsiteY28" fmla="*/ 730957 h 1628171"/>
              <a:gd name="connsiteX29" fmla="*/ 3256109 w 3979753"/>
              <a:gd name="connsiteY29" fmla="*/ 785365 h 1628171"/>
              <a:gd name="connsiteX30" fmla="*/ 3256109 w 3979753"/>
              <a:gd name="connsiteY30" fmla="*/ -347 h 1628171"/>
              <a:gd name="connsiteX31" fmla="*/ 3294344 w 3979753"/>
              <a:gd name="connsiteY31" fmla="*/ -347 h 1628171"/>
              <a:gd name="connsiteX32" fmla="*/ 3580105 w 3979753"/>
              <a:gd name="connsiteY32" fmla="*/ -347 h 1628171"/>
              <a:gd name="connsiteX33" fmla="*/ 3580105 w 3979753"/>
              <a:gd name="connsiteY33" fmla="*/ -440 h 1628171"/>
              <a:gd name="connsiteX34" fmla="*/ 1956429 w 3979753"/>
              <a:gd name="connsiteY34" fmla="*/ 57177 h 1628171"/>
              <a:gd name="connsiteX35" fmla="*/ 1956429 w 3979753"/>
              <a:gd name="connsiteY35" fmla="*/ 57177 h 1628171"/>
              <a:gd name="connsiteX36" fmla="*/ 2690808 w 3979753"/>
              <a:gd name="connsiteY36" fmla="*/ 57177 h 1628171"/>
              <a:gd name="connsiteX37" fmla="*/ 2592002 w 3979753"/>
              <a:gd name="connsiteY37" fmla="*/ 250803 h 1628171"/>
              <a:gd name="connsiteX38" fmla="*/ 1184816 w 3979753"/>
              <a:gd name="connsiteY38" fmla="*/ 250803 h 1628171"/>
              <a:gd name="connsiteX39" fmla="*/ 1084556 w 3979753"/>
              <a:gd name="connsiteY39" fmla="*/ 57177 h 1628171"/>
              <a:gd name="connsiteX40" fmla="*/ 1956429 w 3979753"/>
              <a:gd name="connsiteY40" fmla="*/ 57177 h 1628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979753" h="1628171">
                <a:moveTo>
                  <a:pt x="3977544" y="-440"/>
                </a:moveTo>
                <a:lnTo>
                  <a:pt x="3969416" y="-440"/>
                </a:lnTo>
                <a:lnTo>
                  <a:pt x="3969630" y="-347"/>
                </a:lnTo>
                <a:lnTo>
                  <a:pt x="3977544" y="-347"/>
                </a:lnTo>
                <a:lnTo>
                  <a:pt x="3977544" y="-440"/>
                </a:lnTo>
                <a:moveTo>
                  <a:pt x="3580105" y="-440"/>
                </a:moveTo>
                <a:lnTo>
                  <a:pt x="2690808" y="-440"/>
                </a:lnTo>
                <a:lnTo>
                  <a:pt x="2690808" y="57177"/>
                </a:lnTo>
                <a:lnTo>
                  <a:pt x="1084556" y="57177"/>
                </a:lnTo>
                <a:lnTo>
                  <a:pt x="1084556" y="-440"/>
                </a:lnTo>
                <a:lnTo>
                  <a:pt x="-2210" y="-440"/>
                </a:lnTo>
                <a:lnTo>
                  <a:pt x="-2210" y="1627732"/>
                </a:lnTo>
                <a:cubicBezTo>
                  <a:pt x="13714" y="1602444"/>
                  <a:pt x="30424" y="1577499"/>
                  <a:pt x="47634" y="1552804"/>
                </a:cubicBezTo>
                <a:cubicBezTo>
                  <a:pt x="79838" y="1506642"/>
                  <a:pt x="113496" y="1460870"/>
                  <a:pt x="148251" y="1415519"/>
                </a:cubicBezTo>
                <a:cubicBezTo>
                  <a:pt x="116071" y="1372103"/>
                  <a:pt x="96954" y="1318449"/>
                  <a:pt x="96620" y="1260340"/>
                </a:cubicBezTo>
                <a:cubicBezTo>
                  <a:pt x="96620" y="1260321"/>
                  <a:pt x="96620" y="1260293"/>
                  <a:pt x="96620" y="1260274"/>
                </a:cubicBezTo>
                <a:cubicBezTo>
                  <a:pt x="96620" y="1260061"/>
                  <a:pt x="96620" y="1259818"/>
                  <a:pt x="96620" y="1259632"/>
                </a:cubicBezTo>
                <a:cubicBezTo>
                  <a:pt x="96620" y="1259575"/>
                  <a:pt x="96620" y="1259558"/>
                  <a:pt x="96620" y="1259510"/>
                </a:cubicBezTo>
                <a:cubicBezTo>
                  <a:pt x="96620" y="1259296"/>
                  <a:pt x="96620" y="1259081"/>
                  <a:pt x="96620" y="1258869"/>
                </a:cubicBezTo>
                <a:lnTo>
                  <a:pt x="96620" y="1258869"/>
                </a:lnTo>
                <a:lnTo>
                  <a:pt x="96620" y="1258869"/>
                </a:lnTo>
                <a:cubicBezTo>
                  <a:pt x="96620" y="1231481"/>
                  <a:pt x="100791" y="1205092"/>
                  <a:pt x="108538" y="1180286"/>
                </a:cubicBezTo>
                <a:cubicBezTo>
                  <a:pt x="135880" y="1064086"/>
                  <a:pt x="240144" y="977612"/>
                  <a:pt x="364623" y="977612"/>
                </a:cubicBezTo>
                <a:cubicBezTo>
                  <a:pt x="413894" y="977612"/>
                  <a:pt x="459972" y="991162"/>
                  <a:pt x="499398" y="1014737"/>
                </a:cubicBezTo>
                <a:cubicBezTo>
                  <a:pt x="571911" y="947011"/>
                  <a:pt x="650312" y="883032"/>
                  <a:pt x="734339" y="824344"/>
                </a:cubicBezTo>
                <a:lnTo>
                  <a:pt x="734339" y="317408"/>
                </a:lnTo>
                <a:lnTo>
                  <a:pt x="3035400" y="317408"/>
                </a:lnTo>
                <a:lnTo>
                  <a:pt x="3035400" y="682407"/>
                </a:lnTo>
                <a:cubicBezTo>
                  <a:pt x="3072252" y="698128"/>
                  <a:pt x="3108675" y="714332"/>
                  <a:pt x="3144646" y="730957"/>
                </a:cubicBezTo>
                <a:cubicBezTo>
                  <a:pt x="3182428" y="748390"/>
                  <a:pt x="3219590" y="766544"/>
                  <a:pt x="3256109" y="785365"/>
                </a:cubicBezTo>
                <a:lnTo>
                  <a:pt x="3256109" y="-347"/>
                </a:lnTo>
                <a:lnTo>
                  <a:pt x="3294344" y="-347"/>
                </a:lnTo>
                <a:lnTo>
                  <a:pt x="3580105" y="-347"/>
                </a:lnTo>
                <a:lnTo>
                  <a:pt x="3580105" y="-440"/>
                </a:lnTo>
                <a:moveTo>
                  <a:pt x="1956429" y="57177"/>
                </a:moveTo>
                <a:lnTo>
                  <a:pt x="1956429" y="57177"/>
                </a:lnTo>
                <a:lnTo>
                  <a:pt x="2690808" y="57177"/>
                </a:lnTo>
                <a:lnTo>
                  <a:pt x="2592002" y="250803"/>
                </a:lnTo>
                <a:lnTo>
                  <a:pt x="1184816" y="250803"/>
                </a:lnTo>
                <a:lnTo>
                  <a:pt x="1084556" y="57177"/>
                </a:lnTo>
                <a:lnTo>
                  <a:pt x="1956429" y="57177"/>
                </a:lnTo>
              </a:path>
            </a:pathLst>
          </a:custGeom>
          <a:solidFill>
            <a:srgbClr val="A3DCE7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050" name="Vrije vorm 2049">
            <a:extLst>
              <a:ext uri="{FF2B5EF4-FFF2-40B4-BE49-F238E27FC236}">
                <a16:creationId xmlns:a16="http://schemas.microsoft.com/office/drawing/2014/main" id="{E2447463-DBBB-A2C3-829F-A6955DE023F6}"/>
              </a:ext>
            </a:extLst>
          </p:cNvPr>
          <p:cNvSpPr/>
          <p:nvPr/>
        </p:nvSpPr>
        <p:spPr>
          <a:xfrm flipV="1">
            <a:off x="1533898" y="1369145"/>
            <a:ext cx="389919" cy="810766"/>
          </a:xfrm>
          <a:custGeom>
            <a:avLst/>
            <a:gdLst>
              <a:gd name="connsiteX0" fmla="*/ 12041 w 142022"/>
              <a:gd name="connsiteY0" fmla="*/ -608 h 304503"/>
              <a:gd name="connsiteX1" fmla="*/ -1689 w 142022"/>
              <a:gd name="connsiteY1" fmla="*/ 12298 h 304503"/>
              <a:gd name="connsiteX2" fmla="*/ 135447 w 142022"/>
              <a:gd name="connsiteY2" fmla="*/ 243524 h 304503"/>
              <a:gd name="connsiteX3" fmla="*/ 135447 w 142022"/>
              <a:gd name="connsiteY3" fmla="*/ 243524 h 304503"/>
              <a:gd name="connsiteX4" fmla="*/ 135447 w 142022"/>
              <a:gd name="connsiteY4" fmla="*/ 243524 h 304503"/>
              <a:gd name="connsiteX5" fmla="*/ 135447 w 142022"/>
              <a:gd name="connsiteY5" fmla="*/ 244063 h 304503"/>
              <a:gd name="connsiteX6" fmla="*/ 135447 w 142022"/>
              <a:gd name="connsiteY6" fmla="*/ 244230 h 304503"/>
              <a:gd name="connsiteX7" fmla="*/ 135447 w 142022"/>
              <a:gd name="connsiteY7" fmla="*/ 244781 h 304503"/>
              <a:gd name="connsiteX8" fmla="*/ 135447 w 142022"/>
              <a:gd name="connsiteY8" fmla="*/ 244809 h 304503"/>
              <a:gd name="connsiteX9" fmla="*/ 135447 w 142022"/>
              <a:gd name="connsiteY9" fmla="*/ 245377 h 304503"/>
              <a:gd name="connsiteX10" fmla="*/ 135447 w 142022"/>
              <a:gd name="connsiteY10" fmla="*/ 245499 h 304503"/>
              <a:gd name="connsiteX11" fmla="*/ 135447 w 142022"/>
              <a:gd name="connsiteY11" fmla="*/ 246076 h 304503"/>
              <a:gd name="connsiteX12" fmla="*/ 135447 w 142022"/>
              <a:gd name="connsiteY12" fmla="*/ 246121 h 304503"/>
              <a:gd name="connsiteX13" fmla="*/ 135423 w 142022"/>
              <a:gd name="connsiteY13" fmla="*/ 246644 h 304503"/>
              <a:gd name="connsiteX14" fmla="*/ 135423 w 142022"/>
              <a:gd name="connsiteY14" fmla="*/ 246766 h 304503"/>
              <a:gd name="connsiteX15" fmla="*/ 135423 w 142022"/>
              <a:gd name="connsiteY15" fmla="*/ 247362 h 304503"/>
              <a:gd name="connsiteX16" fmla="*/ 135423 w 142022"/>
              <a:gd name="connsiteY16" fmla="*/ 247362 h 304503"/>
              <a:gd name="connsiteX17" fmla="*/ 135423 w 142022"/>
              <a:gd name="connsiteY17" fmla="*/ 247930 h 304503"/>
              <a:gd name="connsiteX18" fmla="*/ 135423 w 142022"/>
              <a:gd name="connsiteY18" fmla="*/ 248051 h 304503"/>
              <a:gd name="connsiteX19" fmla="*/ 135399 w 142022"/>
              <a:gd name="connsiteY19" fmla="*/ 249244 h 304503"/>
              <a:gd name="connsiteX20" fmla="*/ 135399 w 142022"/>
              <a:gd name="connsiteY20" fmla="*/ 249318 h 304503"/>
              <a:gd name="connsiteX21" fmla="*/ 135352 w 142022"/>
              <a:gd name="connsiteY21" fmla="*/ 250559 h 304503"/>
              <a:gd name="connsiteX22" fmla="*/ 135352 w 142022"/>
              <a:gd name="connsiteY22" fmla="*/ 250578 h 304503"/>
              <a:gd name="connsiteX23" fmla="*/ 128510 w 142022"/>
              <a:gd name="connsiteY23" fmla="*/ 303896 h 304503"/>
              <a:gd name="connsiteX24" fmla="*/ 140334 w 142022"/>
              <a:gd name="connsiteY24" fmla="*/ 225556 h 304503"/>
              <a:gd name="connsiteX25" fmla="*/ 12041 w 142022"/>
              <a:gd name="connsiteY25" fmla="*/ -608 h 304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42022" h="304503">
                <a:moveTo>
                  <a:pt x="12041" y="-608"/>
                </a:moveTo>
                <a:cubicBezTo>
                  <a:pt x="7441" y="3679"/>
                  <a:pt x="2864" y="7973"/>
                  <a:pt x="-1689" y="12298"/>
                </a:cubicBezTo>
                <a:cubicBezTo>
                  <a:pt x="80025" y="56969"/>
                  <a:pt x="135447" y="143760"/>
                  <a:pt x="135447" y="243524"/>
                </a:cubicBezTo>
                <a:lnTo>
                  <a:pt x="135447" y="243524"/>
                </a:lnTo>
                <a:lnTo>
                  <a:pt x="135447" y="243524"/>
                </a:lnTo>
                <a:cubicBezTo>
                  <a:pt x="135447" y="243691"/>
                  <a:pt x="135447" y="243877"/>
                  <a:pt x="135447" y="244063"/>
                </a:cubicBezTo>
                <a:cubicBezTo>
                  <a:pt x="135447" y="244120"/>
                  <a:pt x="135447" y="244165"/>
                  <a:pt x="135447" y="244230"/>
                </a:cubicBezTo>
                <a:cubicBezTo>
                  <a:pt x="135447" y="244399"/>
                  <a:pt x="135447" y="244595"/>
                  <a:pt x="135447" y="244781"/>
                </a:cubicBezTo>
                <a:cubicBezTo>
                  <a:pt x="135447" y="244809"/>
                  <a:pt x="135447" y="244809"/>
                  <a:pt x="135447" y="244809"/>
                </a:cubicBezTo>
                <a:cubicBezTo>
                  <a:pt x="135447" y="244995"/>
                  <a:pt x="135447" y="245191"/>
                  <a:pt x="135447" y="245377"/>
                </a:cubicBezTo>
                <a:cubicBezTo>
                  <a:pt x="135447" y="245406"/>
                  <a:pt x="135447" y="245451"/>
                  <a:pt x="135447" y="245499"/>
                </a:cubicBezTo>
                <a:cubicBezTo>
                  <a:pt x="135447" y="245694"/>
                  <a:pt x="135447" y="245881"/>
                  <a:pt x="135447" y="246076"/>
                </a:cubicBezTo>
                <a:cubicBezTo>
                  <a:pt x="135447" y="246076"/>
                  <a:pt x="135447" y="246095"/>
                  <a:pt x="135447" y="246121"/>
                </a:cubicBezTo>
                <a:cubicBezTo>
                  <a:pt x="135447" y="246291"/>
                  <a:pt x="135447" y="246477"/>
                  <a:pt x="135423" y="246644"/>
                </a:cubicBezTo>
                <a:cubicBezTo>
                  <a:pt x="135423" y="246692"/>
                  <a:pt x="135423" y="246737"/>
                  <a:pt x="135423" y="246766"/>
                </a:cubicBezTo>
                <a:cubicBezTo>
                  <a:pt x="135423" y="246980"/>
                  <a:pt x="135423" y="247166"/>
                  <a:pt x="135423" y="247362"/>
                </a:cubicBezTo>
                <a:lnTo>
                  <a:pt x="135423" y="247362"/>
                </a:lnTo>
                <a:cubicBezTo>
                  <a:pt x="135423" y="247577"/>
                  <a:pt x="135423" y="247743"/>
                  <a:pt x="135423" y="247930"/>
                </a:cubicBezTo>
                <a:cubicBezTo>
                  <a:pt x="135423" y="247977"/>
                  <a:pt x="135423" y="248004"/>
                  <a:pt x="135423" y="248051"/>
                </a:cubicBezTo>
                <a:cubicBezTo>
                  <a:pt x="135399" y="248462"/>
                  <a:pt x="135399" y="248834"/>
                  <a:pt x="135399" y="249244"/>
                </a:cubicBezTo>
                <a:cubicBezTo>
                  <a:pt x="135399" y="249273"/>
                  <a:pt x="135399" y="249292"/>
                  <a:pt x="135399" y="249318"/>
                </a:cubicBezTo>
                <a:cubicBezTo>
                  <a:pt x="135375" y="249719"/>
                  <a:pt x="135375" y="250129"/>
                  <a:pt x="135352" y="250559"/>
                </a:cubicBezTo>
                <a:cubicBezTo>
                  <a:pt x="135352" y="250559"/>
                  <a:pt x="135352" y="250559"/>
                  <a:pt x="135352" y="250578"/>
                </a:cubicBezTo>
                <a:cubicBezTo>
                  <a:pt x="134875" y="268877"/>
                  <a:pt x="132539" y="286723"/>
                  <a:pt x="128510" y="303896"/>
                </a:cubicBezTo>
                <a:cubicBezTo>
                  <a:pt x="136186" y="279156"/>
                  <a:pt x="140334" y="252822"/>
                  <a:pt x="140334" y="225556"/>
                </a:cubicBezTo>
                <a:cubicBezTo>
                  <a:pt x="140334" y="129421"/>
                  <a:pt x="88892" y="45358"/>
                  <a:pt x="12041" y="-608"/>
                </a:cubicBezTo>
              </a:path>
            </a:pathLst>
          </a:custGeom>
          <a:solidFill>
            <a:srgbClr val="9BB69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051" name="Vrije vorm 2050">
            <a:extLst>
              <a:ext uri="{FF2B5EF4-FFF2-40B4-BE49-F238E27FC236}">
                <a16:creationId xmlns:a16="http://schemas.microsoft.com/office/drawing/2014/main" id="{EB019C2C-80A6-8D59-DAB9-4BD80D685CCE}"/>
              </a:ext>
            </a:extLst>
          </p:cNvPr>
          <p:cNvSpPr/>
          <p:nvPr/>
        </p:nvSpPr>
        <p:spPr>
          <a:xfrm flipV="1">
            <a:off x="498495" y="1739125"/>
            <a:ext cx="1073098" cy="539634"/>
          </a:xfrm>
          <a:custGeom>
            <a:avLst/>
            <a:gdLst>
              <a:gd name="connsiteX0" fmla="*/ 254487 w 390859"/>
              <a:gd name="connsiteY0" fmla="*/ -566 h 202673"/>
              <a:gd name="connsiteX1" fmla="*/ -1597 w 390859"/>
              <a:gd name="connsiteY1" fmla="*/ 202108 h 202673"/>
              <a:gd name="connsiteX2" fmla="*/ 249576 w 390859"/>
              <a:gd name="connsiteY2" fmla="*/ 17373 h 202673"/>
              <a:gd name="connsiteX3" fmla="*/ 375532 w 390859"/>
              <a:gd name="connsiteY3" fmla="*/ 49465 h 202673"/>
              <a:gd name="connsiteX4" fmla="*/ 389263 w 390859"/>
              <a:gd name="connsiteY4" fmla="*/ 36560 h 202673"/>
              <a:gd name="connsiteX5" fmla="*/ 254487 w 390859"/>
              <a:gd name="connsiteY5" fmla="*/ -566 h 202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0859" h="202673">
                <a:moveTo>
                  <a:pt x="254487" y="-566"/>
                </a:moveTo>
                <a:cubicBezTo>
                  <a:pt x="130008" y="-566"/>
                  <a:pt x="25744" y="85908"/>
                  <a:pt x="-1597" y="202108"/>
                </a:cubicBezTo>
                <a:cubicBezTo>
                  <a:pt x="31799" y="95069"/>
                  <a:pt x="131629" y="17373"/>
                  <a:pt x="249576" y="17373"/>
                </a:cubicBezTo>
                <a:cubicBezTo>
                  <a:pt x="295201" y="17373"/>
                  <a:pt x="338132" y="29022"/>
                  <a:pt x="375532" y="49465"/>
                </a:cubicBezTo>
                <a:cubicBezTo>
                  <a:pt x="380085" y="45140"/>
                  <a:pt x="384662" y="40847"/>
                  <a:pt x="389263" y="36560"/>
                </a:cubicBezTo>
                <a:cubicBezTo>
                  <a:pt x="349836" y="12984"/>
                  <a:pt x="303758" y="-566"/>
                  <a:pt x="254487" y="-566"/>
                </a:cubicBezTo>
              </a:path>
            </a:pathLst>
          </a:custGeom>
          <a:solidFill>
            <a:srgbClr val="79A78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52" name="Vrije vorm 2051">
            <a:extLst>
              <a:ext uri="{FF2B5EF4-FFF2-40B4-BE49-F238E27FC236}">
                <a16:creationId xmlns:a16="http://schemas.microsoft.com/office/drawing/2014/main" id="{CAA5D421-8B68-E440-AE5E-D8A853C470C3}"/>
              </a:ext>
            </a:extLst>
          </p:cNvPr>
          <p:cNvSpPr/>
          <p:nvPr/>
        </p:nvSpPr>
        <p:spPr>
          <a:xfrm flipV="1">
            <a:off x="465772" y="828885"/>
            <a:ext cx="1444631" cy="1402110"/>
          </a:xfrm>
          <a:custGeom>
            <a:avLst/>
            <a:gdLst>
              <a:gd name="connsiteX0" fmla="*/ 524567 w 526184"/>
              <a:gd name="connsiteY0" fmla="*/ 262667 h 526597"/>
              <a:gd name="connsiteX1" fmla="*/ 261475 w 526184"/>
              <a:gd name="connsiteY1" fmla="*/ -651 h 526597"/>
              <a:gd name="connsiteX2" fmla="*/ -1618 w 526184"/>
              <a:gd name="connsiteY2" fmla="*/ 262667 h 526597"/>
              <a:gd name="connsiteX3" fmla="*/ 261475 w 526184"/>
              <a:gd name="connsiteY3" fmla="*/ 525946 h 526597"/>
              <a:gd name="connsiteX4" fmla="*/ 524567 w 526184"/>
              <a:gd name="connsiteY4" fmla="*/ 262667 h 526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184" h="526597">
                <a:moveTo>
                  <a:pt x="524567" y="262667"/>
                </a:moveTo>
                <a:cubicBezTo>
                  <a:pt x="524567" y="117245"/>
                  <a:pt x="406787" y="-651"/>
                  <a:pt x="261475" y="-651"/>
                </a:cubicBezTo>
                <a:cubicBezTo>
                  <a:pt x="116162" y="-651"/>
                  <a:pt x="-1618" y="117245"/>
                  <a:pt x="-1618" y="262667"/>
                </a:cubicBezTo>
                <a:cubicBezTo>
                  <a:pt x="-1618" y="408060"/>
                  <a:pt x="116162" y="525946"/>
                  <a:pt x="261475" y="525946"/>
                </a:cubicBezTo>
                <a:cubicBezTo>
                  <a:pt x="406787" y="525946"/>
                  <a:pt x="524567" y="408060"/>
                  <a:pt x="524567" y="262667"/>
                </a:cubicBezTo>
              </a:path>
            </a:pathLst>
          </a:custGeom>
          <a:solidFill>
            <a:srgbClr val="EF3120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53" name="Vrije vorm 2052">
            <a:extLst>
              <a:ext uri="{FF2B5EF4-FFF2-40B4-BE49-F238E27FC236}">
                <a16:creationId xmlns:a16="http://schemas.microsoft.com/office/drawing/2014/main" id="{92217A0F-064B-A53E-2665-727CE743BFFC}"/>
              </a:ext>
            </a:extLst>
          </p:cNvPr>
          <p:cNvSpPr/>
          <p:nvPr/>
        </p:nvSpPr>
        <p:spPr>
          <a:xfrm flipV="1">
            <a:off x="497529" y="847131"/>
            <a:ext cx="1362352" cy="714223"/>
          </a:xfrm>
          <a:custGeom>
            <a:avLst/>
            <a:gdLst>
              <a:gd name="connsiteX0" fmla="*/ -168 w 496215"/>
              <a:gd name="connsiteY0" fmla="*/ -709 h 268244"/>
              <a:gd name="connsiteX1" fmla="*/ -1479 w 496215"/>
              <a:gd name="connsiteY1" fmla="*/ 31402 h 268244"/>
              <a:gd name="connsiteX2" fmla="*/ 2717 w 496215"/>
              <a:gd name="connsiteY2" fmla="*/ 68165 h 268244"/>
              <a:gd name="connsiteX3" fmla="*/ 16328 w 496215"/>
              <a:gd name="connsiteY3" fmla="*/ 114281 h 268244"/>
              <a:gd name="connsiteX4" fmla="*/ 44622 w 496215"/>
              <a:gd name="connsiteY4" fmla="*/ 163751 h 268244"/>
              <a:gd name="connsiteX5" fmla="*/ 89842 w 496215"/>
              <a:gd name="connsiteY5" fmla="*/ 208171 h 268244"/>
              <a:gd name="connsiteX6" fmla="*/ 148196 w 496215"/>
              <a:gd name="connsiteY6" fmla="*/ 242043 h 268244"/>
              <a:gd name="connsiteX7" fmla="*/ 164166 w 496215"/>
              <a:gd name="connsiteY7" fmla="*/ 248789 h 268244"/>
              <a:gd name="connsiteX8" fmla="*/ 180567 w 496215"/>
              <a:gd name="connsiteY8" fmla="*/ 254660 h 268244"/>
              <a:gd name="connsiteX9" fmla="*/ 197372 w 496215"/>
              <a:gd name="connsiteY9" fmla="*/ 259600 h 268244"/>
              <a:gd name="connsiteX10" fmla="*/ 205882 w 496215"/>
              <a:gd name="connsiteY10" fmla="*/ 261752 h 268244"/>
              <a:gd name="connsiteX11" fmla="*/ 214535 w 496215"/>
              <a:gd name="connsiteY11" fmla="*/ 263439 h 268244"/>
              <a:gd name="connsiteX12" fmla="*/ 223211 w 496215"/>
              <a:gd name="connsiteY12" fmla="*/ 265013 h 268244"/>
              <a:gd name="connsiteX13" fmla="*/ 231936 w 496215"/>
              <a:gd name="connsiteY13" fmla="*/ 266065 h 268244"/>
              <a:gd name="connsiteX14" fmla="*/ 240684 w 496215"/>
              <a:gd name="connsiteY14" fmla="*/ 266969 h 268244"/>
              <a:gd name="connsiteX15" fmla="*/ 249456 w 496215"/>
              <a:gd name="connsiteY15" fmla="*/ 267379 h 268244"/>
              <a:gd name="connsiteX16" fmla="*/ 284402 w 496215"/>
              <a:gd name="connsiteY16" fmla="*/ 265946 h 268244"/>
              <a:gd name="connsiteX17" fmla="*/ 349859 w 496215"/>
              <a:gd name="connsiteY17" fmla="*/ 247577 h 268244"/>
              <a:gd name="connsiteX18" fmla="*/ 404232 w 496215"/>
              <a:gd name="connsiteY18" fmla="*/ 214581 h 268244"/>
              <a:gd name="connsiteX19" fmla="*/ 444898 w 496215"/>
              <a:gd name="connsiteY19" fmla="*/ 174727 h 268244"/>
              <a:gd name="connsiteX20" fmla="*/ 472049 w 496215"/>
              <a:gd name="connsiteY20" fmla="*/ 135051 h 268244"/>
              <a:gd name="connsiteX21" fmla="*/ 487233 w 496215"/>
              <a:gd name="connsiteY21" fmla="*/ 101299 h 268244"/>
              <a:gd name="connsiteX22" fmla="*/ 491143 w 496215"/>
              <a:gd name="connsiteY22" fmla="*/ 88207 h 268244"/>
              <a:gd name="connsiteX23" fmla="*/ 493359 w 496215"/>
              <a:gd name="connsiteY23" fmla="*/ 78284 h 268244"/>
              <a:gd name="connsiteX24" fmla="*/ 494599 w 496215"/>
              <a:gd name="connsiteY24" fmla="*/ 69999 h 268244"/>
              <a:gd name="connsiteX25" fmla="*/ 493955 w 496215"/>
              <a:gd name="connsiteY25" fmla="*/ 69877 h 268244"/>
              <a:gd name="connsiteX26" fmla="*/ 492167 w 496215"/>
              <a:gd name="connsiteY26" fmla="*/ 78040 h 268244"/>
              <a:gd name="connsiteX27" fmla="*/ 489450 w 496215"/>
              <a:gd name="connsiteY27" fmla="*/ 87675 h 268244"/>
              <a:gd name="connsiteX28" fmla="*/ 484826 w 496215"/>
              <a:gd name="connsiteY28" fmla="*/ 100414 h 268244"/>
              <a:gd name="connsiteX29" fmla="*/ 440655 w 496215"/>
              <a:gd name="connsiteY29" fmla="*/ 171075 h 268244"/>
              <a:gd name="connsiteX30" fmla="*/ 400156 w 496215"/>
              <a:gd name="connsiteY30" fmla="*/ 209336 h 268244"/>
              <a:gd name="connsiteX31" fmla="*/ 375150 w 496215"/>
              <a:gd name="connsiteY31" fmla="*/ 226678 h 268244"/>
              <a:gd name="connsiteX32" fmla="*/ 361492 w 496215"/>
              <a:gd name="connsiteY32" fmla="*/ 234431 h 268244"/>
              <a:gd name="connsiteX33" fmla="*/ 347165 w 496215"/>
              <a:gd name="connsiteY33" fmla="*/ 241521 h 268244"/>
              <a:gd name="connsiteX34" fmla="*/ 283639 w 496215"/>
              <a:gd name="connsiteY34" fmla="*/ 260316 h 268244"/>
              <a:gd name="connsiteX35" fmla="*/ 215131 w 496215"/>
              <a:gd name="connsiteY35" fmla="*/ 259982 h 268244"/>
              <a:gd name="connsiteX36" fmla="*/ 206525 w 496215"/>
              <a:gd name="connsiteY36" fmla="*/ 258575 h 268244"/>
              <a:gd name="connsiteX37" fmla="*/ 198039 w 496215"/>
              <a:gd name="connsiteY37" fmla="*/ 256738 h 268244"/>
              <a:gd name="connsiteX38" fmla="*/ 181353 w 496215"/>
              <a:gd name="connsiteY38" fmla="*/ 252348 h 268244"/>
              <a:gd name="connsiteX39" fmla="*/ 164977 w 496215"/>
              <a:gd name="connsiteY39" fmla="*/ 246721 h 268244"/>
              <a:gd name="connsiteX40" fmla="*/ 149006 w 496215"/>
              <a:gd name="connsiteY40" fmla="*/ 240254 h 268244"/>
              <a:gd name="connsiteX41" fmla="*/ 91963 w 496215"/>
              <a:gd name="connsiteY41" fmla="*/ 205450 h 268244"/>
              <a:gd name="connsiteX42" fmla="*/ 85789 w 496215"/>
              <a:gd name="connsiteY42" fmla="*/ 200204 h 268244"/>
              <a:gd name="connsiteX43" fmla="*/ 79759 w 496215"/>
              <a:gd name="connsiteY43" fmla="*/ 194901 h 268244"/>
              <a:gd name="connsiteX44" fmla="*/ 68579 w 496215"/>
              <a:gd name="connsiteY44" fmla="*/ 183785 h 268244"/>
              <a:gd name="connsiteX45" fmla="*/ 49128 w 496215"/>
              <a:gd name="connsiteY45" fmla="*/ 160369 h 268244"/>
              <a:gd name="connsiteX46" fmla="*/ 21381 w 496215"/>
              <a:gd name="connsiteY46" fmla="*/ 112155 h 268244"/>
              <a:gd name="connsiteX47" fmla="*/ 6840 w 496215"/>
              <a:gd name="connsiteY47" fmla="*/ 67334 h 268244"/>
              <a:gd name="connsiteX48" fmla="*/ 1239 w 496215"/>
              <a:gd name="connsiteY48" fmla="*/ 31235 h 268244"/>
              <a:gd name="connsiteX49" fmla="*/ 237 w 496215"/>
              <a:gd name="connsiteY49" fmla="*/ 7697 h 268244"/>
              <a:gd name="connsiteX50" fmla="*/ 500 w 496215"/>
              <a:gd name="connsiteY50" fmla="*/ -681 h 268244"/>
              <a:gd name="connsiteX51" fmla="*/ -168 w 496215"/>
              <a:gd name="connsiteY51" fmla="*/ -709 h 268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496215" h="268244">
                <a:moveTo>
                  <a:pt x="-168" y="-709"/>
                </a:moveTo>
                <a:cubicBezTo>
                  <a:pt x="-168" y="-709"/>
                  <a:pt x="-2146" y="10865"/>
                  <a:pt x="-1479" y="31402"/>
                </a:cubicBezTo>
                <a:cubicBezTo>
                  <a:pt x="-1121" y="41633"/>
                  <a:pt x="71" y="54093"/>
                  <a:pt x="2717" y="68165"/>
                </a:cubicBezTo>
                <a:cubicBezTo>
                  <a:pt x="5362" y="82263"/>
                  <a:pt x="9701" y="97888"/>
                  <a:pt x="16328" y="114281"/>
                </a:cubicBezTo>
                <a:cubicBezTo>
                  <a:pt x="23073" y="130662"/>
                  <a:pt x="32394" y="147601"/>
                  <a:pt x="44622" y="163751"/>
                </a:cubicBezTo>
                <a:cubicBezTo>
                  <a:pt x="56779" y="179946"/>
                  <a:pt x="72178" y="195051"/>
                  <a:pt x="89842" y="208171"/>
                </a:cubicBezTo>
                <a:cubicBezTo>
                  <a:pt x="107505" y="221263"/>
                  <a:pt x="127290" y="232549"/>
                  <a:pt x="148196" y="242043"/>
                </a:cubicBezTo>
                <a:cubicBezTo>
                  <a:pt x="153416" y="244383"/>
                  <a:pt x="158779" y="246888"/>
                  <a:pt x="164166" y="248789"/>
                </a:cubicBezTo>
                <a:cubicBezTo>
                  <a:pt x="169578" y="250822"/>
                  <a:pt x="174917" y="253040"/>
                  <a:pt x="180567" y="254660"/>
                </a:cubicBezTo>
                <a:cubicBezTo>
                  <a:pt x="186144" y="256430"/>
                  <a:pt x="191651" y="258360"/>
                  <a:pt x="197372" y="259600"/>
                </a:cubicBezTo>
                <a:lnTo>
                  <a:pt x="205882" y="261752"/>
                </a:lnTo>
                <a:cubicBezTo>
                  <a:pt x="208766" y="262487"/>
                  <a:pt x="211650" y="262871"/>
                  <a:pt x="214535" y="263439"/>
                </a:cubicBezTo>
                <a:lnTo>
                  <a:pt x="223211" y="265013"/>
                </a:lnTo>
                <a:lnTo>
                  <a:pt x="231936" y="266065"/>
                </a:lnTo>
                <a:cubicBezTo>
                  <a:pt x="234868" y="266373"/>
                  <a:pt x="237752" y="266802"/>
                  <a:pt x="240684" y="266969"/>
                </a:cubicBezTo>
                <a:lnTo>
                  <a:pt x="249456" y="267379"/>
                </a:lnTo>
                <a:cubicBezTo>
                  <a:pt x="261160" y="267873"/>
                  <a:pt x="272912" y="267138"/>
                  <a:pt x="284402" y="265946"/>
                </a:cubicBezTo>
                <a:cubicBezTo>
                  <a:pt x="307429" y="262990"/>
                  <a:pt x="329573" y="256449"/>
                  <a:pt x="349859" y="247577"/>
                </a:cubicBezTo>
                <a:cubicBezTo>
                  <a:pt x="370145" y="238727"/>
                  <a:pt x="388428" y="227255"/>
                  <a:pt x="404232" y="214581"/>
                </a:cubicBezTo>
                <a:cubicBezTo>
                  <a:pt x="420155" y="202012"/>
                  <a:pt x="433647" y="188324"/>
                  <a:pt x="444898" y="174727"/>
                </a:cubicBezTo>
                <a:cubicBezTo>
                  <a:pt x="456149" y="161122"/>
                  <a:pt x="465184" y="147649"/>
                  <a:pt x="472049" y="135051"/>
                </a:cubicBezTo>
                <a:cubicBezTo>
                  <a:pt x="478938" y="122509"/>
                  <a:pt x="484015" y="111056"/>
                  <a:pt x="487233" y="101299"/>
                </a:cubicBezTo>
                <a:cubicBezTo>
                  <a:pt x="488902" y="96454"/>
                  <a:pt x="490070" y="92046"/>
                  <a:pt x="491143" y="88207"/>
                </a:cubicBezTo>
                <a:cubicBezTo>
                  <a:pt x="492001" y="84293"/>
                  <a:pt x="492883" y="80994"/>
                  <a:pt x="493359" y="78284"/>
                </a:cubicBezTo>
                <a:cubicBezTo>
                  <a:pt x="494170" y="72888"/>
                  <a:pt x="494599" y="69999"/>
                  <a:pt x="494599" y="69999"/>
                </a:cubicBezTo>
                <a:lnTo>
                  <a:pt x="493955" y="69877"/>
                </a:lnTo>
                <a:cubicBezTo>
                  <a:pt x="493955" y="69877"/>
                  <a:pt x="493359" y="72747"/>
                  <a:pt x="492167" y="78040"/>
                </a:cubicBezTo>
                <a:cubicBezTo>
                  <a:pt x="491572" y="80688"/>
                  <a:pt x="490499" y="83866"/>
                  <a:pt x="489450" y="87675"/>
                </a:cubicBezTo>
                <a:cubicBezTo>
                  <a:pt x="488163" y="91449"/>
                  <a:pt x="486756" y="95691"/>
                  <a:pt x="484826" y="100414"/>
                </a:cubicBezTo>
                <a:cubicBezTo>
                  <a:pt x="477388" y="119219"/>
                  <a:pt x="463324" y="144908"/>
                  <a:pt x="440655" y="171075"/>
                </a:cubicBezTo>
                <a:cubicBezTo>
                  <a:pt x="429285" y="184102"/>
                  <a:pt x="415721" y="197148"/>
                  <a:pt x="400156" y="209336"/>
                </a:cubicBezTo>
                <a:cubicBezTo>
                  <a:pt x="392313" y="215450"/>
                  <a:pt x="383875" y="221077"/>
                  <a:pt x="375150" y="226678"/>
                </a:cubicBezTo>
                <a:cubicBezTo>
                  <a:pt x="370645" y="229231"/>
                  <a:pt x="366187" y="231952"/>
                  <a:pt x="361492" y="234431"/>
                </a:cubicBezTo>
                <a:cubicBezTo>
                  <a:pt x="356724" y="236723"/>
                  <a:pt x="352100" y="239471"/>
                  <a:pt x="347165" y="241521"/>
                </a:cubicBezTo>
                <a:cubicBezTo>
                  <a:pt x="327547" y="250421"/>
                  <a:pt x="306046" y="257074"/>
                  <a:pt x="283639" y="260316"/>
                </a:cubicBezTo>
                <a:cubicBezTo>
                  <a:pt x="261232" y="263484"/>
                  <a:pt x="237967" y="263346"/>
                  <a:pt x="215131" y="259982"/>
                </a:cubicBezTo>
                <a:cubicBezTo>
                  <a:pt x="212246" y="259505"/>
                  <a:pt x="209386" y="259216"/>
                  <a:pt x="206525" y="258575"/>
                </a:cubicBezTo>
                <a:lnTo>
                  <a:pt x="198039" y="256738"/>
                </a:lnTo>
                <a:cubicBezTo>
                  <a:pt x="192366" y="255667"/>
                  <a:pt x="186860" y="253925"/>
                  <a:pt x="181353" y="252348"/>
                </a:cubicBezTo>
                <a:cubicBezTo>
                  <a:pt x="175799" y="250896"/>
                  <a:pt x="170364" y="248696"/>
                  <a:pt x="164977" y="246721"/>
                </a:cubicBezTo>
                <a:cubicBezTo>
                  <a:pt x="159447" y="244858"/>
                  <a:pt x="154322" y="242501"/>
                  <a:pt x="149006" y="240254"/>
                </a:cubicBezTo>
                <a:cubicBezTo>
                  <a:pt x="128220" y="230927"/>
                  <a:pt x="108793" y="219140"/>
                  <a:pt x="91963" y="205450"/>
                </a:cubicBezTo>
                <a:lnTo>
                  <a:pt x="85789" y="200204"/>
                </a:lnTo>
                <a:lnTo>
                  <a:pt x="79759" y="194901"/>
                </a:lnTo>
                <a:cubicBezTo>
                  <a:pt x="75873" y="191278"/>
                  <a:pt x="72226" y="187485"/>
                  <a:pt x="68579" y="183785"/>
                </a:cubicBezTo>
                <a:cubicBezTo>
                  <a:pt x="61547" y="176108"/>
                  <a:pt x="54920" y="168429"/>
                  <a:pt x="49128" y="160369"/>
                </a:cubicBezTo>
                <a:cubicBezTo>
                  <a:pt x="37400" y="144453"/>
                  <a:pt x="28079" y="128091"/>
                  <a:pt x="21381" y="112155"/>
                </a:cubicBezTo>
                <a:cubicBezTo>
                  <a:pt x="14564" y="96287"/>
                  <a:pt x="10011" y="80994"/>
                  <a:pt x="6840" y="67334"/>
                </a:cubicBezTo>
                <a:cubicBezTo>
                  <a:pt x="3646" y="53561"/>
                  <a:pt x="2216" y="41309"/>
                  <a:pt x="1239" y="31235"/>
                </a:cubicBezTo>
                <a:cubicBezTo>
                  <a:pt x="285" y="21144"/>
                  <a:pt x="166" y="13129"/>
                  <a:pt x="237" y="7697"/>
                </a:cubicBezTo>
                <a:cubicBezTo>
                  <a:pt x="237" y="2227"/>
                  <a:pt x="500" y="-681"/>
                  <a:pt x="500" y="-681"/>
                </a:cubicBezTo>
                <a:lnTo>
                  <a:pt x="-168" y="-709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54" name="Vrije vorm 2053">
            <a:extLst>
              <a:ext uri="{FF2B5EF4-FFF2-40B4-BE49-F238E27FC236}">
                <a16:creationId xmlns:a16="http://schemas.microsoft.com/office/drawing/2014/main" id="{AF888846-5EB7-F9E7-8BDB-5B57013A6555}"/>
              </a:ext>
            </a:extLst>
          </p:cNvPr>
          <p:cNvSpPr/>
          <p:nvPr/>
        </p:nvSpPr>
        <p:spPr>
          <a:xfrm flipV="1">
            <a:off x="1910403" y="1528011"/>
            <a:ext cx="49084" cy="445"/>
          </a:xfrm>
          <a:custGeom>
            <a:avLst/>
            <a:gdLst>
              <a:gd name="connsiteX0" fmla="*/ -1713 w 17878"/>
              <a:gd name="connsiteY0" fmla="*/ -651 h 167"/>
              <a:gd name="connsiteX1" fmla="*/ -1713 w 17878"/>
              <a:gd name="connsiteY1" fmla="*/ -484 h 167"/>
              <a:gd name="connsiteX2" fmla="*/ -1713 w 17878"/>
              <a:gd name="connsiteY2" fmla="*/ -651 h 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878" h="167">
                <a:moveTo>
                  <a:pt x="-1713" y="-651"/>
                </a:moveTo>
                <a:cubicBezTo>
                  <a:pt x="-1713" y="-594"/>
                  <a:pt x="-1713" y="-549"/>
                  <a:pt x="-1713" y="-484"/>
                </a:cubicBezTo>
                <a:cubicBezTo>
                  <a:pt x="-1713" y="-549"/>
                  <a:pt x="-1713" y="-594"/>
                  <a:pt x="-1713" y="-651"/>
                </a:cubicBezTo>
              </a:path>
            </a:pathLst>
          </a:custGeom>
          <a:solidFill>
            <a:srgbClr val="675749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55" name="Vrije vorm 2054">
            <a:extLst>
              <a:ext uri="{FF2B5EF4-FFF2-40B4-BE49-F238E27FC236}">
                <a16:creationId xmlns:a16="http://schemas.microsoft.com/office/drawing/2014/main" id="{0D9B27CA-825D-D417-9854-D40571413BF4}"/>
              </a:ext>
            </a:extLst>
          </p:cNvPr>
          <p:cNvSpPr/>
          <p:nvPr/>
        </p:nvSpPr>
        <p:spPr>
          <a:xfrm flipV="1">
            <a:off x="465772" y="1527859"/>
            <a:ext cx="49084" cy="322"/>
          </a:xfrm>
          <a:custGeom>
            <a:avLst/>
            <a:gdLst>
              <a:gd name="connsiteX0" fmla="*/ -1522 w 17878"/>
              <a:gd name="connsiteY0" fmla="*/ -652 h 121"/>
              <a:gd name="connsiteX1" fmla="*/ -1522 w 17878"/>
              <a:gd name="connsiteY1" fmla="*/ -530 h 121"/>
              <a:gd name="connsiteX2" fmla="*/ -1522 w 17878"/>
              <a:gd name="connsiteY2" fmla="*/ -652 h 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878" h="121">
                <a:moveTo>
                  <a:pt x="-1522" y="-652"/>
                </a:moveTo>
                <a:cubicBezTo>
                  <a:pt x="-1522" y="-604"/>
                  <a:pt x="-1522" y="-587"/>
                  <a:pt x="-1522" y="-530"/>
                </a:cubicBezTo>
                <a:cubicBezTo>
                  <a:pt x="-1522" y="-587"/>
                  <a:pt x="-1522" y="-604"/>
                  <a:pt x="-1522" y="-652"/>
                </a:cubicBezTo>
              </a:path>
            </a:pathLst>
          </a:custGeom>
          <a:solidFill>
            <a:srgbClr val="666C79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56" name="Vrije vorm 2055">
            <a:extLst>
              <a:ext uri="{FF2B5EF4-FFF2-40B4-BE49-F238E27FC236}">
                <a16:creationId xmlns:a16="http://schemas.microsoft.com/office/drawing/2014/main" id="{60BD9722-EFBC-E41E-6A4D-B3B663500658}"/>
              </a:ext>
            </a:extLst>
          </p:cNvPr>
          <p:cNvSpPr/>
          <p:nvPr/>
        </p:nvSpPr>
        <p:spPr>
          <a:xfrm flipV="1">
            <a:off x="1910403" y="1526466"/>
            <a:ext cx="49084" cy="75"/>
          </a:xfrm>
          <a:custGeom>
            <a:avLst/>
            <a:gdLst>
              <a:gd name="connsiteX0" fmla="*/ -1713 w 17878"/>
              <a:gd name="connsiteY0" fmla="*/ -652 h 28"/>
              <a:gd name="connsiteX1" fmla="*/ -1713 w 17878"/>
              <a:gd name="connsiteY1" fmla="*/ -623 h 28"/>
              <a:gd name="connsiteX2" fmla="*/ -1713 w 17878"/>
              <a:gd name="connsiteY2" fmla="*/ -652 h 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878" h="28">
                <a:moveTo>
                  <a:pt x="-1713" y="-652"/>
                </a:moveTo>
                <a:cubicBezTo>
                  <a:pt x="-1713" y="-623"/>
                  <a:pt x="-1713" y="-623"/>
                  <a:pt x="-1713" y="-623"/>
                </a:cubicBezTo>
                <a:cubicBezTo>
                  <a:pt x="-1713" y="-623"/>
                  <a:pt x="-1713" y="-623"/>
                  <a:pt x="-1713" y="-652"/>
                </a:cubicBezTo>
              </a:path>
            </a:pathLst>
          </a:custGeom>
          <a:solidFill>
            <a:srgbClr val="675749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57" name="Vrije vorm 2056">
            <a:extLst>
              <a:ext uri="{FF2B5EF4-FFF2-40B4-BE49-F238E27FC236}">
                <a16:creationId xmlns:a16="http://schemas.microsoft.com/office/drawing/2014/main" id="{C3A3ACA0-E76B-36F4-0A79-5116F24EC6FC}"/>
              </a:ext>
            </a:extLst>
          </p:cNvPr>
          <p:cNvSpPr/>
          <p:nvPr/>
        </p:nvSpPr>
        <p:spPr>
          <a:xfrm flipV="1">
            <a:off x="465772" y="1525971"/>
            <a:ext cx="49084" cy="176"/>
          </a:xfrm>
          <a:custGeom>
            <a:avLst/>
            <a:gdLst>
              <a:gd name="connsiteX0" fmla="*/ -1522 w 17878"/>
              <a:gd name="connsiteY0" fmla="*/ -652 h 66"/>
              <a:gd name="connsiteX1" fmla="*/ -1522 w 17878"/>
              <a:gd name="connsiteY1" fmla="*/ -585 h 66"/>
              <a:gd name="connsiteX2" fmla="*/ -1522 w 17878"/>
              <a:gd name="connsiteY2" fmla="*/ -652 h 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878" h="66">
                <a:moveTo>
                  <a:pt x="-1522" y="-652"/>
                </a:moveTo>
                <a:cubicBezTo>
                  <a:pt x="-1522" y="-633"/>
                  <a:pt x="-1522" y="-604"/>
                  <a:pt x="-1522" y="-585"/>
                </a:cubicBezTo>
                <a:cubicBezTo>
                  <a:pt x="-1522" y="-604"/>
                  <a:pt x="-1522" y="-633"/>
                  <a:pt x="-1522" y="-652"/>
                </a:cubicBezTo>
              </a:path>
            </a:pathLst>
          </a:custGeom>
          <a:solidFill>
            <a:srgbClr val="666C79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58" name="Vrije vorm 2057">
            <a:extLst>
              <a:ext uri="{FF2B5EF4-FFF2-40B4-BE49-F238E27FC236}">
                <a16:creationId xmlns:a16="http://schemas.microsoft.com/office/drawing/2014/main" id="{0123A912-747A-9F34-9D14-B21C53C3825E}"/>
              </a:ext>
            </a:extLst>
          </p:cNvPr>
          <p:cNvSpPr/>
          <p:nvPr/>
        </p:nvSpPr>
        <p:spPr>
          <a:xfrm flipV="1">
            <a:off x="1910142" y="1511109"/>
            <a:ext cx="261" cy="13845"/>
          </a:xfrm>
          <a:custGeom>
            <a:avLst/>
            <a:gdLst>
              <a:gd name="connsiteX0" fmla="*/ -1618 w 95"/>
              <a:gd name="connsiteY0" fmla="*/ -653 h 5200"/>
              <a:gd name="connsiteX1" fmla="*/ -1618 w 95"/>
              <a:gd name="connsiteY1" fmla="*/ -532 h 5200"/>
              <a:gd name="connsiteX2" fmla="*/ -1618 w 95"/>
              <a:gd name="connsiteY2" fmla="*/ -653 h 5200"/>
              <a:gd name="connsiteX3" fmla="*/ -1618 w 95"/>
              <a:gd name="connsiteY3" fmla="*/ 46 h 5200"/>
              <a:gd name="connsiteX4" fmla="*/ -1618 w 95"/>
              <a:gd name="connsiteY4" fmla="*/ 91 h 5200"/>
              <a:gd name="connsiteX5" fmla="*/ -1618 w 95"/>
              <a:gd name="connsiteY5" fmla="*/ 46 h 5200"/>
              <a:gd name="connsiteX6" fmla="*/ -1642 w 95"/>
              <a:gd name="connsiteY6" fmla="*/ 613 h 5200"/>
              <a:gd name="connsiteX7" fmla="*/ -1642 w 95"/>
              <a:gd name="connsiteY7" fmla="*/ 735 h 5200"/>
              <a:gd name="connsiteX8" fmla="*/ -1642 w 95"/>
              <a:gd name="connsiteY8" fmla="*/ 613 h 5200"/>
              <a:gd name="connsiteX9" fmla="*/ -1642 w 95"/>
              <a:gd name="connsiteY9" fmla="*/ 1331 h 5200"/>
              <a:gd name="connsiteX10" fmla="*/ -1642 w 95"/>
              <a:gd name="connsiteY10" fmla="*/ 1331 h 5200"/>
              <a:gd name="connsiteX11" fmla="*/ -1642 w 95"/>
              <a:gd name="connsiteY11" fmla="*/ 1331 h 5200"/>
              <a:gd name="connsiteX12" fmla="*/ -1642 w 95"/>
              <a:gd name="connsiteY12" fmla="*/ 1899 h 5200"/>
              <a:gd name="connsiteX13" fmla="*/ -1642 w 95"/>
              <a:gd name="connsiteY13" fmla="*/ 2021 h 5200"/>
              <a:gd name="connsiteX14" fmla="*/ -1642 w 95"/>
              <a:gd name="connsiteY14" fmla="*/ 1899 h 5200"/>
              <a:gd name="connsiteX15" fmla="*/ -1666 w 95"/>
              <a:gd name="connsiteY15" fmla="*/ 3214 h 5200"/>
              <a:gd name="connsiteX16" fmla="*/ -1666 w 95"/>
              <a:gd name="connsiteY16" fmla="*/ 3287 h 5200"/>
              <a:gd name="connsiteX17" fmla="*/ -1666 w 95"/>
              <a:gd name="connsiteY17" fmla="*/ 3214 h 5200"/>
              <a:gd name="connsiteX18" fmla="*/ -1713 w 95"/>
              <a:gd name="connsiteY18" fmla="*/ 4528 h 5200"/>
              <a:gd name="connsiteX19" fmla="*/ -1713 w 95"/>
              <a:gd name="connsiteY19" fmla="*/ 4547 h 5200"/>
              <a:gd name="connsiteX20" fmla="*/ -1713 w 95"/>
              <a:gd name="connsiteY20" fmla="*/ 4528 h 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95" h="5200">
                <a:moveTo>
                  <a:pt x="-1618" y="-653"/>
                </a:moveTo>
                <a:cubicBezTo>
                  <a:pt x="-1618" y="-608"/>
                  <a:pt x="-1618" y="-579"/>
                  <a:pt x="-1618" y="-532"/>
                </a:cubicBezTo>
                <a:cubicBezTo>
                  <a:pt x="-1618" y="-579"/>
                  <a:pt x="-1618" y="-625"/>
                  <a:pt x="-1618" y="-653"/>
                </a:cubicBezTo>
                <a:moveTo>
                  <a:pt x="-1618" y="46"/>
                </a:moveTo>
                <a:cubicBezTo>
                  <a:pt x="-1618" y="65"/>
                  <a:pt x="-1618" y="65"/>
                  <a:pt x="-1618" y="91"/>
                </a:cubicBezTo>
                <a:cubicBezTo>
                  <a:pt x="-1618" y="65"/>
                  <a:pt x="-1618" y="46"/>
                  <a:pt x="-1618" y="46"/>
                </a:cubicBezTo>
                <a:moveTo>
                  <a:pt x="-1642" y="613"/>
                </a:moveTo>
                <a:cubicBezTo>
                  <a:pt x="-1642" y="661"/>
                  <a:pt x="-1642" y="706"/>
                  <a:pt x="-1642" y="735"/>
                </a:cubicBezTo>
                <a:cubicBezTo>
                  <a:pt x="-1642" y="706"/>
                  <a:pt x="-1642" y="661"/>
                  <a:pt x="-1642" y="613"/>
                </a:cubicBezTo>
                <a:moveTo>
                  <a:pt x="-1642" y="1331"/>
                </a:moveTo>
                <a:lnTo>
                  <a:pt x="-1642" y="1331"/>
                </a:lnTo>
                <a:lnTo>
                  <a:pt x="-1642" y="1331"/>
                </a:lnTo>
                <a:moveTo>
                  <a:pt x="-1642" y="1899"/>
                </a:moveTo>
                <a:cubicBezTo>
                  <a:pt x="-1642" y="1947"/>
                  <a:pt x="-1642" y="1992"/>
                  <a:pt x="-1642" y="2021"/>
                </a:cubicBezTo>
                <a:cubicBezTo>
                  <a:pt x="-1642" y="1973"/>
                  <a:pt x="-1642" y="1947"/>
                  <a:pt x="-1642" y="1899"/>
                </a:cubicBezTo>
                <a:moveTo>
                  <a:pt x="-1666" y="3214"/>
                </a:moveTo>
                <a:cubicBezTo>
                  <a:pt x="-1666" y="3242"/>
                  <a:pt x="-1666" y="3261"/>
                  <a:pt x="-1666" y="3287"/>
                </a:cubicBezTo>
                <a:cubicBezTo>
                  <a:pt x="-1666" y="3261"/>
                  <a:pt x="-1666" y="3242"/>
                  <a:pt x="-1666" y="3214"/>
                </a:cubicBezTo>
                <a:moveTo>
                  <a:pt x="-1713" y="4528"/>
                </a:moveTo>
                <a:cubicBezTo>
                  <a:pt x="-1713" y="4528"/>
                  <a:pt x="-1713" y="4528"/>
                  <a:pt x="-1713" y="4547"/>
                </a:cubicBezTo>
                <a:cubicBezTo>
                  <a:pt x="-1713" y="4528"/>
                  <a:pt x="-1713" y="4528"/>
                  <a:pt x="-1713" y="4528"/>
                </a:cubicBezTo>
              </a:path>
            </a:pathLst>
          </a:custGeom>
          <a:solidFill>
            <a:srgbClr val="675749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59" name="Vrije vorm 2058">
            <a:extLst>
              <a:ext uri="{FF2B5EF4-FFF2-40B4-BE49-F238E27FC236}">
                <a16:creationId xmlns:a16="http://schemas.microsoft.com/office/drawing/2014/main" id="{BD7311C0-2E76-2EC7-4923-85B79CF0B31D}"/>
              </a:ext>
            </a:extLst>
          </p:cNvPr>
          <p:cNvSpPr/>
          <p:nvPr/>
        </p:nvSpPr>
        <p:spPr>
          <a:xfrm flipV="1">
            <a:off x="465772" y="891511"/>
            <a:ext cx="1444631" cy="1339484"/>
          </a:xfrm>
          <a:custGeom>
            <a:avLst/>
            <a:gdLst>
              <a:gd name="connsiteX0" fmla="*/ 261475 w 526184"/>
              <a:gd name="connsiteY0" fmla="*/ -646 h 503076"/>
              <a:gd name="connsiteX1" fmla="*/ -1618 w 526184"/>
              <a:gd name="connsiteY1" fmla="*/ 262672 h 503076"/>
              <a:gd name="connsiteX2" fmla="*/ -1618 w 526184"/>
              <a:gd name="connsiteY2" fmla="*/ 263314 h 503076"/>
              <a:gd name="connsiteX3" fmla="*/ -1618 w 526184"/>
              <a:gd name="connsiteY3" fmla="*/ 263436 h 503076"/>
              <a:gd name="connsiteX4" fmla="*/ -1618 w 526184"/>
              <a:gd name="connsiteY4" fmla="*/ 264077 h 503076"/>
              <a:gd name="connsiteX5" fmla="*/ -1618 w 526184"/>
              <a:gd name="connsiteY5" fmla="*/ 264144 h 503076"/>
              <a:gd name="connsiteX6" fmla="*/ 13567 w 526184"/>
              <a:gd name="connsiteY6" fmla="*/ 350859 h 503076"/>
              <a:gd name="connsiteX7" fmla="*/ 3174 w 526184"/>
              <a:gd name="connsiteY7" fmla="*/ 259418 h 503076"/>
              <a:gd name="connsiteX8" fmla="*/ 21052 w 526184"/>
              <a:gd name="connsiteY8" fmla="*/ 203696 h 503076"/>
              <a:gd name="connsiteX9" fmla="*/ 25676 w 526184"/>
              <a:gd name="connsiteY9" fmla="*/ 216630 h 503076"/>
              <a:gd name="connsiteX10" fmla="*/ 71634 w 526184"/>
              <a:gd name="connsiteY10" fmla="*/ 411400 h 503076"/>
              <a:gd name="connsiteX11" fmla="*/ 262857 w 526184"/>
              <a:gd name="connsiteY11" fmla="*/ 502431 h 503076"/>
              <a:gd name="connsiteX12" fmla="*/ 269508 w 526184"/>
              <a:gd name="connsiteY12" fmla="*/ 502386 h 503076"/>
              <a:gd name="connsiteX13" fmla="*/ 500515 w 526184"/>
              <a:gd name="connsiteY13" fmla="*/ 303319 h 503076"/>
              <a:gd name="connsiteX14" fmla="*/ 493149 w 526184"/>
              <a:gd name="connsiteY14" fmla="*/ 197014 h 503076"/>
              <a:gd name="connsiteX15" fmla="*/ 494460 w 526184"/>
              <a:gd name="connsiteY15" fmla="*/ 179485 h 503076"/>
              <a:gd name="connsiteX16" fmla="*/ 505068 w 526184"/>
              <a:gd name="connsiteY16" fmla="*/ 198328 h 503076"/>
              <a:gd name="connsiteX17" fmla="*/ 517630 w 526184"/>
              <a:gd name="connsiteY17" fmla="*/ 271188 h 503076"/>
              <a:gd name="connsiteX18" fmla="*/ 479061 w 526184"/>
              <a:gd name="connsiteY18" fmla="*/ 410682 h 503076"/>
              <a:gd name="connsiteX19" fmla="*/ 524471 w 526184"/>
              <a:gd name="connsiteY19" fmla="*/ 269726 h 503076"/>
              <a:gd name="connsiteX20" fmla="*/ 524471 w 526184"/>
              <a:gd name="connsiteY20" fmla="*/ 269707 h 503076"/>
              <a:gd name="connsiteX21" fmla="*/ 524519 w 526184"/>
              <a:gd name="connsiteY21" fmla="*/ 268467 h 503076"/>
              <a:gd name="connsiteX22" fmla="*/ 524519 w 526184"/>
              <a:gd name="connsiteY22" fmla="*/ 268393 h 503076"/>
              <a:gd name="connsiteX23" fmla="*/ 524543 w 526184"/>
              <a:gd name="connsiteY23" fmla="*/ 267200 h 503076"/>
              <a:gd name="connsiteX24" fmla="*/ 524543 w 526184"/>
              <a:gd name="connsiteY24" fmla="*/ 267078 h 503076"/>
              <a:gd name="connsiteX25" fmla="*/ 524543 w 526184"/>
              <a:gd name="connsiteY25" fmla="*/ 266510 h 503076"/>
              <a:gd name="connsiteX26" fmla="*/ 524543 w 526184"/>
              <a:gd name="connsiteY26" fmla="*/ 266510 h 503076"/>
              <a:gd name="connsiteX27" fmla="*/ 524543 w 526184"/>
              <a:gd name="connsiteY27" fmla="*/ 265914 h 503076"/>
              <a:gd name="connsiteX28" fmla="*/ 524543 w 526184"/>
              <a:gd name="connsiteY28" fmla="*/ 265792 h 503076"/>
              <a:gd name="connsiteX29" fmla="*/ 524567 w 526184"/>
              <a:gd name="connsiteY29" fmla="*/ 265270 h 503076"/>
              <a:gd name="connsiteX30" fmla="*/ 524567 w 526184"/>
              <a:gd name="connsiteY30" fmla="*/ 265225 h 503076"/>
              <a:gd name="connsiteX31" fmla="*/ 524567 w 526184"/>
              <a:gd name="connsiteY31" fmla="*/ 264647 h 503076"/>
              <a:gd name="connsiteX32" fmla="*/ 524567 w 526184"/>
              <a:gd name="connsiteY32" fmla="*/ 264526 h 503076"/>
              <a:gd name="connsiteX33" fmla="*/ 524567 w 526184"/>
              <a:gd name="connsiteY33" fmla="*/ 263958 h 503076"/>
              <a:gd name="connsiteX34" fmla="*/ 524567 w 526184"/>
              <a:gd name="connsiteY34" fmla="*/ 263929 h 503076"/>
              <a:gd name="connsiteX35" fmla="*/ 524567 w 526184"/>
              <a:gd name="connsiteY35" fmla="*/ 263378 h 503076"/>
              <a:gd name="connsiteX36" fmla="*/ 524567 w 526184"/>
              <a:gd name="connsiteY36" fmla="*/ 263211 h 503076"/>
              <a:gd name="connsiteX37" fmla="*/ 524567 w 526184"/>
              <a:gd name="connsiteY37" fmla="*/ 262672 h 503076"/>
              <a:gd name="connsiteX38" fmla="*/ 261475 w 526184"/>
              <a:gd name="connsiteY38" fmla="*/ -646 h 503076"/>
              <a:gd name="connsiteX39" fmla="*/ 51945 w 526184"/>
              <a:gd name="connsiteY39" fmla="*/ 132560 h 503076"/>
              <a:gd name="connsiteX40" fmla="*/ 53661 w 526184"/>
              <a:gd name="connsiteY40" fmla="*/ 128915 h 503076"/>
              <a:gd name="connsiteX41" fmla="*/ 59668 w 526184"/>
              <a:gd name="connsiteY41" fmla="*/ 119039 h 503076"/>
              <a:gd name="connsiteX42" fmla="*/ 69966 w 526184"/>
              <a:gd name="connsiteY42" fmla="*/ 104223 h 503076"/>
              <a:gd name="connsiteX43" fmla="*/ 84983 w 526184"/>
              <a:gd name="connsiteY43" fmla="*/ 86191 h 503076"/>
              <a:gd name="connsiteX44" fmla="*/ 104935 w 526184"/>
              <a:gd name="connsiteY44" fmla="*/ 66866 h 503076"/>
              <a:gd name="connsiteX45" fmla="*/ 116520 w 526184"/>
              <a:gd name="connsiteY45" fmla="*/ 57203 h 503076"/>
              <a:gd name="connsiteX46" fmla="*/ 122956 w 526184"/>
              <a:gd name="connsiteY46" fmla="*/ 52477 h 503076"/>
              <a:gd name="connsiteX47" fmla="*/ 129607 w 526184"/>
              <a:gd name="connsiteY47" fmla="*/ 47978 h 503076"/>
              <a:gd name="connsiteX48" fmla="*/ 136257 w 526184"/>
              <a:gd name="connsiteY48" fmla="*/ 43467 h 503076"/>
              <a:gd name="connsiteX49" fmla="*/ 143552 w 526184"/>
              <a:gd name="connsiteY49" fmla="*/ 39385 h 503076"/>
              <a:gd name="connsiteX50" fmla="*/ 158569 w 526184"/>
              <a:gd name="connsiteY50" fmla="*/ 31661 h 503076"/>
              <a:gd name="connsiteX51" fmla="*/ 190749 w 526184"/>
              <a:gd name="connsiteY51" fmla="*/ 19631 h 503076"/>
              <a:gd name="connsiteX52" fmla="*/ 198902 w 526184"/>
              <a:gd name="connsiteY52" fmla="*/ 17272 h 503076"/>
              <a:gd name="connsiteX53" fmla="*/ 207483 w 526184"/>
              <a:gd name="connsiteY53" fmla="*/ 15559 h 503076"/>
              <a:gd name="connsiteX54" fmla="*/ 211774 w 526184"/>
              <a:gd name="connsiteY54" fmla="*/ 14691 h 503076"/>
              <a:gd name="connsiteX55" fmla="*/ 215850 w 526184"/>
              <a:gd name="connsiteY55" fmla="*/ 14049 h 503076"/>
              <a:gd name="connsiteX56" fmla="*/ 224431 w 526184"/>
              <a:gd name="connsiteY56" fmla="*/ 12763 h 503076"/>
              <a:gd name="connsiteX57" fmla="*/ 241165 w 526184"/>
              <a:gd name="connsiteY57" fmla="*/ 11263 h 503076"/>
              <a:gd name="connsiteX58" fmla="*/ 257684 w 526184"/>
              <a:gd name="connsiteY58" fmla="*/ 11048 h 503076"/>
              <a:gd name="connsiteX59" fmla="*/ 273560 w 526184"/>
              <a:gd name="connsiteY59" fmla="*/ 11904 h 503076"/>
              <a:gd name="connsiteX60" fmla="*/ 288577 w 526184"/>
              <a:gd name="connsiteY60" fmla="*/ 13620 h 503076"/>
              <a:gd name="connsiteX61" fmla="*/ 302737 w 526184"/>
              <a:gd name="connsiteY61" fmla="*/ 16201 h 503076"/>
              <a:gd name="connsiteX62" fmla="*/ 315609 w 526184"/>
              <a:gd name="connsiteY62" fmla="*/ 18987 h 503076"/>
              <a:gd name="connsiteX63" fmla="*/ 327623 w 526184"/>
              <a:gd name="connsiteY63" fmla="*/ 22212 h 503076"/>
              <a:gd name="connsiteX64" fmla="*/ 338135 w 526184"/>
              <a:gd name="connsiteY64" fmla="*/ 25640 h 503076"/>
              <a:gd name="connsiteX65" fmla="*/ 355084 w 526184"/>
              <a:gd name="connsiteY65" fmla="*/ 31876 h 503076"/>
              <a:gd name="connsiteX66" fmla="*/ 369458 w 526184"/>
              <a:gd name="connsiteY66" fmla="*/ 37885 h 503076"/>
              <a:gd name="connsiteX67" fmla="*/ 354654 w 526184"/>
              <a:gd name="connsiteY67" fmla="*/ 32947 h 503076"/>
              <a:gd name="connsiteX68" fmla="*/ 337492 w 526184"/>
              <a:gd name="connsiteY68" fmla="*/ 28007 h 503076"/>
              <a:gd name="connsiteX69" fmla="*/ 314966 w 526184"/>
              <a:gd name="connsiteY69" fmla="*/ 22639 h 503076"/>
              <a:gd name="connsiteX70" fmla="*/ 301879 w 526184"/>
              <a:gd name="connsiteY70" fmla="*/ 20497 h 503076"/>
              <a:gd name="connsiteX71" fmla="*/ 287934 w 526184"/>
              <a:gd name="connsiteY71" fmla="*/ 18345 h 503076"/>
              <a:gd name="connsiteX72" fmla="*/ 273131 w 526184"/>
              <a:gd name="connsiteY72" fmla="*/ 17272 h 503076"/>
              <a:gd name="connsiteX73" fmla="*/ 257470 w 526184"/>
              <a:gd name="connsiteY73" fmla="*/ 16630 h 503076"/>
              <a:gd name="connsiteX74" fmla="*/ 241594 w 526184"/>
              <a:gd name="connsiteY74" fmla="*/ 17272 h 503076"/>
              <a:gd name="connsiteX75" fmla="*/ 233442 w 526184"/>
              <a:gd name="connsiteY75" fmla="*/ 17916 h 503076"/>
              <a:gd name="connsiteX76" fmla="*/ 225075 w 526184"/>
              <a:gd name="connsiteY76" fmla="*/ 18772 h 503076"/>
              <a:gd name="connsiteX77" fmla="*/ 216923 w 526184"/>
              <a:gd name="connsiteY77" fmla="*/ 20058 h 503076"/>
              <a:gd name="connsiteX78" fmla="*/ 212846 w 526184"/>
              <a:gd name="connsiteY78" fmla="*/ 20712 h 503076"/>
              <a:gd name="connsiteX79" fmla="*/ 208770 w 526184"/>
              <a:gd name="connsiteY79" fmla="*/ 21783 h 503076"/>
              <a:gd name="connsiteX80" fmla="*/ 200618 w 526184"/>
              <a:gd name="connsiteY80" fmla="*/ 23498 h 503076"/>
              <a:gd name="connsiteX81" fmla="*/ 192466 w 526184"/>
              <a:gd name="connsiteY81" fmla="*/ 25855 h 503076"/>
              <a:gd name="connsiteX82" fmla="*/ 161143 w 526184"/>
              <a:gd name="connsiteY82" fmla="*/ 37243 h 503076"/>
              <a:gd name="connsiteX83" fmla="*/ 132610 w 526184"/>
              <a:gd name="connsiteY83" fmla="*/ 52692 h 503076"/>
              <a:gd name="connsiteX84" fmla="*/ 119738 w 526184"/>
              <a:gd name="connsiteY84" fmla="*/ 61499 h 503076"/>
              <a:gd name="connsiteX85" fmla="*/ 107938 w 526184"/>
              <a:gd name="connsiteY85" fmla="*/ 70518 h 503076"/>
              <a:gd name="connsiteX86" fmla="*/ 87558 w 526184"/>
              <a:gd name="connsiteY86" fmla="*/ 88763 h 503076"/>
              <a:gd name="connsiteX87" fmla="*/ 71896 w 526184"/>
              <a:gd name="connsiteY87" fmla="*/ 105724 h 503076"/>
              <a:gd name="connsiteX88" fmla="*/ 60741 w 526184"/>
              <a:gd name="connsiteY88" fmla="*/ 119681 h 503076"/>
              <a:gd name="connsiteX89" fmla="*/ 54090 w 526184"/>
              <a:gd name="connsiteY89" fmla="*/ 129130 h 503076"/>
              <a:gd name="connsiteX90" fmla="*/ 51945 w 526184"/>
              <a:gd name="connsiteY90" fmla="*/ 132560 h 503076"/>
              <a:gd name="connsiteX91" fmla="*/ 261475 w 526184"/>
              <a:gd name="connsiteY91" fmla="*/ 497047 h 503076"/>
              <a:gd name="connsiteX92" fmla="*/ 27249 w 526184"/>
              <a:gd name="connsiteY92" fmla="*/ 262672 h 503076"/>
              <a:gd name="connsiteX93" fmla="*/ 261475 w 526184"/>
              <a:gd name="connsiteY93" fmla="*/ 28250 h 503076"/>
              <a:gd name="connsiteX94" fmla="*/ 495700 w 526184"/>
              <a:gd name="connsiteY94" fmla="*/ 262672 h 503076"/>
              <a:gd name="connsiteX95" fmla="*/ 261475 w 526184"/>
              <a:gd name="connsiteY95" fmla="*/ 497047 h 503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526184" h="503076">
                <a:moveTo>
                  <a:pt x="261475" y="-646"/>
                </a:moveTo>
                <a:cubicBezTo>
                  <a:pt x="116162" y="-646"/>
                  <a:pt x="-1618" y="117250"/>
                  <a:pt x="-1618" y="262672"/>
                </a:cubicBezTo>
                <a:cubicBezTo>
                  <a:pt x="-1618" y="262884"/>
                  <a:pt x="-1618" y="263099"/>
                  <a:pt x="-1618" y="263314"/>
                </a:cubicBezTo>
                <a:cubicBezTo>
                  <a:pt x="-1618" y="263362"/>
                  <a:pt x="-1618" y="263378"/>
                  <a:pt x="-1618" y="263436"/>
                </a:cubicBezTo>
                <a:cubicBezTo>
                  <a:pt x="-1618" y="263650"/>
                  <a:pt x="-1618" y="263865"/>
                  <a:pt x="-1618" y="264077"/>
                </a:cubicBezTo>
                <a:cubicBezTo>
                  <a:pt x="-1618" y="264096"/>
                  <a:pt x="-1618" y="264125"/>
                  <a:pt x="-1618" y="264144"/>
                </a:cubicBezTo>
                <a:cubicBezTo>
                  <a:pt x="-1451" y="294559"/>
                  <a:pt x="3889" y="323734"/>
                  <a:pt x="13567" y="350859"/>
                </a:cubicBezTo>
                <a:cubicBezTo>
                  <a:pt x="7059" y="323855"/>
                  <a:pt x="1028" y="289173"/>
                  <a:pt x="3174" y="259418"/>
                </a:cubicBezTo>
                <a:cubicBezTo>
                  <a:pt x="6010" y="220635"/>
                  <a:pt x="15307" y="203696"/>
                  <a:pt x="21052" y="203696"/>
                </a:cubicBezTo>
                <a:cubicBezTo>
                  <a:pt x="24007" y="203696"/>
                  <a:pt x="26010" y="208233"/>
                  <a:pt x="25676" y="216630"/>
                </a:cubicBezTo>
                <a:cubicBezTo>
                  <a:pt x="24603" y="241267"/>
                  <a:pt x="7465" y="333304"/>
                  <a:pt x="71634" y="411400"/>
                </a:cubicBezTo>
                <a:cubicBezTo>
                  <a:pt x="133659" y="486908"/>
                  <a:pt x="199617" y="502431"/>
                  <a:pt x="262857" y="502431"/>
                </a:cubicBezTo>
                <a:cubicBezTo>
                  <a:pt x="265074" y="502431"/>
                  <a:pt x="267315" y="502414"/>
                  <a:pt x="269508" y="502386"/>
                </a:cubicBezTo>
                <a:cubicBezTo>
                  <a:pt x="334750" y="501331"/>
                  <a:pt x="478489" y="443082"/>
                  <a:pt x="500515" y="303319"/>
                </a:cubicBezTo>
                <a:cubicBezTo>
                  <a:pt x="503232" y="285995"/>
                  <a:pt x="509692" y="253727"/>
                  <a:pt x="493149" y="197014"/>
                </a:cubicBezTo>
                <a:cubicBezTo>
                  <a:pt x="491409" y="191031"/>
                  <a:pt x="491290" y="179485"/>
                  <a:pt x="494460" y="179485"/>
                </a:cubicBezTo>
                <a:cubicBezTo>
                  <a:pt x="496510" y="179485"/>
                  <a:pt x="499895" y="184256"/>
                  <a:pt x="505068" y="198328"/>
                </a:cubicBezTo>
                <a:cubicBezTo>
                  <a:pt x="512434" y="218438"/>
                  <a:pt x="518369" y="243989"/>
                  <a:pt x="517630" y="271188"/>
                </a:cubicBezTo>
                <a:cubicBezTo>
                  <a:pt x="516391" y="314285"/>
                  <a:pt x="512290" y="358967"/>
                  <a:pt x="479061" y="410682"/>
                </a:cubicBezTo>
                <a:cubicBezTo>
                  <a:pt x="506546" y="370279"/>
                  <a:pt x="523113" y="321899"/>
                  <a:pt x="524471" y="269726"/>
                </a:cubicBezTo>
                <a:cubicBezTo>
                  <a:pt x="524471" y="269707"/>
                  <a:pt x="524471" y="269707"/>
                  <a:pt x="524471" y="269707"/>
                </a:cubicBezTo>
                <a:cubicBezTo>
                  <a:pt x="524495" y="269278"/>
                  <a:pt x="524495" y="268867"/>
                  <a:pt x="524519" y="268467"/>
                </a:cubicBezTo>
                <a:cubicBezTo>
                  <a:pt x="524519" y="268440"/>
                  <a:pt x="524519" y="268421"/>
                  <a:pt x="524519" y="268393"/>
                </a:cubicBezTo>
                <a:cubicBezTo>
                  <a:pt x="524519" y="267982"/>
                  <a:pt x="524519" y="267610"/>
                  <a:pt x="524543" y="267200"/>
                </a:cubicBezTo>
                <a:cubicBezTo>
                  <a:pt x="524543" y="267171"/>
                  <a:pt x="524543" y="267126"/>
                  <a:pt x="524543" y="267078"/>
                </a:cubicBezTo>
                <a:cubicBezTo>
                  <a:pt x="524543" y="266892"/>
                  <a:pt x="524543" y="266696"/>
                  <a:pt x="524543" y="266510"/>
                </a:cubicBezTo>
                <a:lnTo>
                  <a:pt x="524543" y="266510"/>
                </a:lnTo>
                <a:cubicBezTo>
                  <a:pt x="524543" y="266315"/>
                  <a:pt x="524543" y="266129"/>
                  <a:pt x="524543" y="265914"/>
                </a:cubicBezTo>
                <a:cubicBezTo>
                  <a:pt x="524543" y="265885"/>
                  <a:pt x="524543" y="265840"/>
                  <a:pt x="524543" y="265792"/>
                </a:cubicBezTo>
                <a:cubicBezTo>
                  <a:pt x="524567" y="265625"/>
                  <a:pt x="524567" y="265439"/>
                  <a:pt x="524567" y="265270"/>
                </a:cubicBezTo>
                <a:cubicBezTo>
                  <a:pt x="524567" y="265244"/>
                  <a:pt x="524567" y="265244"/>
                  <a:pt x="524567" y="265225"/>
                </a:cubicBezTo>
                <a:cubicBezTo>
                  <a:pt x="524567" y="265029"/>
                  <a:pt x="524567" y="264843"/>
                  <a:pt x="524567" y="264647"/>
                </a:cubicBezTo>
                <a:cubicBezTo>
                  <a:pt x="524567" y="264600"/>
                  <a:pt x="524567" y="264571"/>
                  <a:pt x="524567" y="264526"/>
                </a:cubicBezTo>
                <a:cubicBezTo>
                  <a:pt x="524567" y="264340"/>
                  <a:pt x="524567" y="264144"/>
                  <a:pt x="524567" y="263958"/>
                </a:cubicBezTo>
                <a:cubicBezTo>
                  <a:pt x="524567" y="263958"/>
                  <a:pt x="524567" y="263958"/>
                  <a:pt x="524567" y="263929"/>
                </a:cubicBezTo>
                <a:cubicBezTo>
                  <a:pt x="524567" y="263743"/>
                  <a:pt x="524567" y="263548"/>
                  <a:pt x="524567" y="263378"/>
                </a:cubicBezTo>
                <a:cubicBezTo>
                  <a:pt x="524567" y="263314"/>
                  <a:pt x="524567" y="263269"/>
                  <a:pt x="524567" y="263211"/>
                </a:cubicBezTo>
                <a:cubicBezTo>
                  <a:pt x="524567" y="263025"/>
                  <a:pt x="524567" y="262839"/>
                  <a:pt x="524567" y="262672"/>
                </a:cubicBezTo>
                <a:cubicBezTo>
                  <a:pt x="524567" y="117250"/>
                  <a:pt x="406787" y="-646"/>
                  <a:pt x="261475" y="-646"/>
                </a:cubicBezTo>
                <a:moveTo>
                  <a:pt x="51945" y="132560"/>
                </a:moveTo>
                <a:cubicBezTo>
                  <a:pt x="51945" y="132560"/>
                  <a:pt x="52374" y="131275"/>
                  <a:pt x="53661" y="128915"/>
                </a:cubicBezTo>
                <a:cubicBezTo>
                  <a:pt x="54948" y="126549"/>
                  <a:pt x="56879" y="123121"/>
                  <a:pt x="59668" y="119039"/>
                </a:cubicBezTo>
                <a:cubicBezTo>
                  <a:pt x="62457" y="114743"/>
                  <a:pt x="65890" y="109805"/>
                  <a:pt x="69966" y="104223"/>
                </a:cubicBezTo>
                <a:cubicBezTo>
                  <a:pt x="74256" y="98641"/>
                  <a:pt x="79191" y="92630"/>
                  <a:pt x="84983" y="86191"/>
                </a:cubicBezTo>
                <a:cubicBezTo>
                  <a:pt x="90776" y="79967"/>
                  <a:pt x="97212" y="73305"/>
                  <a:pt x="104935" y="66866"/>
                </a:cubicBezTo>
                <a:cubicBezTo>
                  <a:pt x="108582" y="63651"/>
                  <a:pt x="112444" y="60425"/>
                  <a:pt x="116520" y="57203"/>
                </a:cubicBezTo>
                <a:lnTo>
                  <a:pt x="122956" y="52477"/>
                </a:lnTo>
                <a:cubicBezTo>
                  <a:pt x="125101" y="50976"/>
                  <a:pt x="127247" y="49476"/>
                  <a:pt x="129607" y="47978"/>
                </a:cubicBezTo>
                <a:cubicBezTo>
                  <a:pt x="131752" y="46468"/>
                  <a:pt x="134112" y="44967"/>
                  <a:pt x="136257" y="43467"/>
                </a:cubicBezTo>
                <a:cubicBezTo>
                  <a:pt x="138832" y="42181"/>
                  <a:pt x="141192" y="40671"/>
                  <a:pt x="143552" y="39385"/>
                </a:cubicBezTo>
                <a:cubicBezTo>
                  <a:pt x="148271" y="36590"/>
                  <a:pt x="153420" y="34233"/>
                  <a:pt x="158569" y="31661"/>
                </a:cubicBezTo>
                <a:cubicBezTo>
                  <a:pt x="168867" y="27150"/>
                  <a:pt x="179593" y="22639"/>
                  <a:pt x="190749" y="19631"/>
                </a:cubicBezTo>
                <a:cubicBezTo>
                  <a:pt x="193538" y="18772"/>
                  <a:pt x="196327" y="17916"/>
                  <a:pt x="198902" y="17272"/>
                </a:cubicBezTo>
                <a:lnTo>
                  <a:pt x="207483" y="15559"/>
                </a:lnTo>
                <a:lnTo>
                  <a:pt x="211774" y="14691"/>
                </a:lnTo>
                <a:lnTo>
                  <a:pt x="215850" y="14049"/>
                </a:lnTo>
                <a:cubicBezTo>
                  <a:pt x="218853" y="13620"/>
                  <a:pt x="221642" y="13193"/>
                  <a:pt x="224431" y="12763"/>
                </a:cubicBezTo>
                <a:cubicBezTo>
                  <a:pt x="230009" y="11904"/>
                  <a:pt x="235587" y="11692"/>
                  <a:pt x="241165" y="11263"/>
                </a:cubicBezTo>
                <a:cubicBezTo>
                  <a:pt x="246743" y="11048"/>
                  <a:pt x="252107" y="11048"/>
                  <a:pt x="257684" y="11048"/>
                </a:cubicBezTo>
                <a:cubicBezTo>
                  <a:pt x="263048" y="11263"/>
                  <a:pt x="268197" y="11478"/>
                  <a:pt x="273560" y="11904"/>
                </a:cubicBezTo>
                <a:cubicBezTo>
                  <a:pt x="278494" y="12334"/>
                  <a:pt x="283643" y="13193"/>
                  <a:pt x="288577" y="13620"/>
                </a:cubicBezTo>
                <a:cubicBezTo>
                  <a:pt x="293297" y="14264"/>
                  <a:pt x="298017" y="15344"/>
                  <a:pt x="302737" y="16201"/>
                </a:cubicBezTo>
                <a:cubicBezTo>
                  <a:pt x="307242" y="17060"/>
                  <a:pt x="311533" y="17916"/>
                  <a:pt x="315609" y="18987"/>
                </a:cubicBezTo>
                <a:cubicBezTo>
                  <a:pt x="319900" y="20273"/>
                  <a:pt x="323761" y="21353"/>
                  <a:pt x="327623" y="22212"/>
                </a:cubicBezTo>
                <a:cubicBezTo>
                  <a:pt x="331485" y="23283"/>
                  <a:pt x="334703" y="24569"/>
                  <a:pt x="338135" y="25640"/>
                </a:cubicBezTo>
                <a:cubicBezTo>
                  <a:pt x="344786" y="28007"/>
                  <a:pt x="350364" y="29936"/>
                  <a:pt x="355084" y="31876"/>
                </a:cubicBezTo>
                <a:cubicBezTo>
                  <a:pt x="364309" y="35733"/>
                  <a:pt x="369458" y="37885"/>
                  <a:pt x="369458" y="37885"/>
                </a:cubicBezTo>
                <a:cubicBezTo>
                  <a:pt x="369458" y="37885"/>
                  <a:pt x="364094" y="36160"/>
                  <a:pt x="354654" y="32947"/>
                </a:cubicBezTo>
                <a:cubicBezTo>
                  <a:pt x="349935" y="31446"/>
                  <a:pt x="344142" y="29722"/>
                  <a:pt x="337492" y="28007"/>
                </a:cubicBezTo>
                <a:cubicBezTo>
                  <a:pt x="330841" y="26079"/>
                  <a:pt x="323118" y="24569"/>
                  <a:pt x="314966" y="22639"/>
                </a:cubicBezTo>
                <a:cubicBezTo>
                  <a:pt x="310675" y="21568"/>
                  <a:pt x="306384" y="21141"/>
                  <a:pt x="301879" y="20497"/>
                </a:cubicBezTo>
                <a:cubicBezTo>
                  <a:pt x="297374" y="19846"/>
                  <a:pt x="292654" y="18772"/>
                  <a:pt x="287934" y="18345"/>
                </a:cubicBezTo>
                <a:cubicBezTo>
                  <a:pt x="283000" y="18131"/>
                  <a:pt x="278065" y="17272"/>
                  <a:pt x="273131" y="17272"/>
                </a:cubicBezTo>
                <a:cubicBezTo>
                  <a:pt x="267982" y="17060"/>
                  <a:pt x="262833" y="16630"/>
                  <a:pt x="257470" y="16630"/>
                </a:cubicBezTo>
                <a:cubicBezTo>
                  <a:pt x="252321" y="16845"/>
                  <a:pt x="246958" y="16845"/>
                  <a:pt x="241594" y="17272"/>
                </a:cubicBezTo>
                <a:cubicBezTo>
                  <a:pt x="238805" y="17487"/>
                  <a:pt x="236016" y="17701"/>
                  <a:pt x="233442" y="17916"/>
                </a:cubicBezTo>
                <a:cubicBezTo>
                  <a:pt x="230653" y="18345"/>
                  <a:pt x="227864" y="18345"/>
                  <a:pt x="225075" y="18772"/>
                </a:cubicBezTo>
                <a:cubicBezTo>
                  <a:pt x="222501" y="19202"/>
                  <a:pt x="219712" y="19631"/>
                  <a:pt x="216923" y="20058"/>
                </a:cubicBezTo>
                <a:lnTo>
                  <a:pt x="212846" y="20712"/>
                </a:lnTo>
                <a:lnTo>
                  <a:pt x="208770" y="21783"/>
                </a:lnTo>
                <a:lnTo>
                  <a:pt x="200618" y="23498"/>
                </a:lnTo>
                <a:cubicBezTo>
                  <a:pt x="197829" y="24140"/>
                  <a:pt x="195254" y="24998"/>
                  <a:pt x="192466" y="25855"/>
                </a:cubicBezTo>
                <a:cubicBezTo>
                  <a:pt x="181739" y="28651"/>
                  <a:pt x="171227" y="32732"/>
                  <a:pt x="161143" y="37243"/>
                </a:cubicBezTo>
                <a:cubicBezTo>
                  <a:pt x="151060" y="41957"/>
                  <a:pt x="141406" y="46895"/>
                  <a:pt x="132610" y="52692"/>
                </a:cubicBezTo>
                <a:cubicBezTo>
                  <a:pt x="128105" y="55487"/>
                  <a:pt x="123814" y="58498"/>
                  <a:pt x="119738" y="61499"/>
                </a:cubicBezTo>
                <a:cubicBezTo>
                  <a:pt x="115662" y="64507"/>
                  <a:pt x="111586" y="67293"/>
                  <a:pt x="107938" y="70518"/>
                </a:cubicBezTo>
                <a:cubicBezTo>
                  <a:pt x="100430" y="76527"/>
                  <a:pt x="93779" y="82754"/>
                  <a:pt x="87558" y="88763"/>
                </a:cubicBezTo>
                <a:cubicBezTo>
                  <a:pt x="81551" y="94774"/>
                  <a:pt x="76402" y="100568"/>
                  <a:pt x="71896" y="105724"/>
                </a:cubicBezTo>
                <a:cubicBezTo>
                  <a:pt x="67392" y="111091"/>
                  <a:pt x="63530" y="115599"/>
                  <a:pt x="60741" y="119681"/>
                </a:cubicBezTo>
                <a:cubicBezTo>
                  <a:pt x="57737" y="123763"/>
                  <a:pt x="55592" y="126978"/>
                  <a:pt x="54090" y="129130"/>
                </a:cubicBezTo>
                <a:cubicBezTo>
                  <a:pt x="52588" y="131487"/>
                  <a:pt x="51945" y="132560"/>
                  <a:pt x="51945" y="132560"/>
                </a:cubicBezTo>
                <a:moveTo>
                  <a:pt x="261475" y="497047"/>
                </a:moveTo>
                <a:cubicBezTo>
                  <a:pt x="132324" y="497047"/>
                  <a:pt x="27249" y="391916"/>
                  <a:pt x="27249" y="262672"/>
                </a:cubicBezTo>
                <a:cubicBezTo>
                  <a:pt x="27249" y="133398"/>
                  <a:pt x="132324" y="28250"/>
                  <a:pt x="261475" y="28250"/>
                </a:cubicBezTo>
                <a:cubicBezTo>
                  <a:pt x="390649" y="28250"/>
                  <a:pt x="495700" y="133398"/>
                  <a:pt x="495700" y="262672"/>
                </a:cubicBezTo>
                <a:cubicBezTo>
                  <a:pt x="495700" y="391916"/>
                  <a:pt x="390649" y="497047"/>
                  <a:pt x="261475" y="497047"/>
                </a:cubicBezTo>
              </a:path>
            </a:pathLst>
          </a:custGeom>
          <a:solidFill>
            <a:srgbClr val="C9202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60" name="Vrije vorm 2059">
            <a:extLst>
              <a:ext uri="{FF2B5EF4-FFF2-40B4-BE49-F238E27FC236}">
                <a16:creationId xmlns:a16="http://schemas.microsoft.com/office/drawing/2014/main" id="{5D22A4D3-D3AE-5AF9-6927-3FF9A9803197}"/>
              </a:ext>
            </a:extLst>
          </p:cNvPr>
          <p:cNvSpPr/>
          <p:nvPr/>
        </p:nvSpPr>
        <p:spPr>
          <a:xfrm flipV="1">
            <a:off x="549542" y="910117"/>
            <a:ext cx="1277222" cy="1239623"/>
          </a:xfrm>
          <a:custGeom>
            <a:avLst/>
            <a:gdLst>
              <a:gd name="connsiteX0" fmla="*/ 463591 w 465208"/>
              <a:gd name="connsiteY0" fmla="*/ 232149 h 465571"/>
              <a:gd name="connsiteX1" fmla="*/ 230963 w 465208"/>
              <a:gd name="connsiteY1" fmla="*/ -651 h 465571"/>
              <a:gd name="connsiteX2" fmla="*/ -1618 w 465208"/>
              <a:gd name="connsiteY2" fmla="*/ 232149 h 465571"/>
              <a:gd name="connsiteX3" fmla="*/ 230963 w 465208"/>
              <a:gd name="connsiteY3" fmla="*/ 464920 h 465571"/>
              <a:gd name="connsiteX4" fmla="*/ 463591 w 465208"/>
              <a:gd name="connsiteY4" fmla="*/ 232149 h 46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208" h="465571">
                <a:moveTo>
                  <a:pt x="463591" y="232149"/>
                </a:moveTo>
                <a:cubicBezTo>
                  <a:pt x="463591" y="103564"/>
                  <a:pt x="359422" y="-651"/>
                  <a:pt x="230963" y="-651"/>
                </a:cubicBezTo>
                <a:cubicBezTo>
                  <a:pt x="102503" y="-651"/>
                  <a:pt x="-1618" y="103564"/>
                  <a:pt x="-1618" y="232149"/>
                </a:cubicBezTo>
                <a:cubicBezTo>
                  <a:pt x="-1618" y="360693"/>
                  <a:pt x="102503" y="464920"/>
                  <a:pt x="230963" y="464920"/>
                </a:cubicBezTo>
                <a:cubicBezTo>
                  <a:pt x="359422" y="464920"/>
                  <a:pt x="463591" y="360693"/>
                  <a:pt x="463591" y="232149"/>
                </a:cubicBezTo>
              </a:path>
            </a:pathLst>
          </a:custGeom>
          <a:solidFill>
            <a:srgbClr val="FBFAEE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061" name="Vrije vorm 2060">
            <a:extLst>
              <a:ext uri="{FF2B5EF4-FFF2-40B4-BE49-F238E27FC236}">
                <a16:creationId xmlns:a16="http://schemas.microsoft.com/office/drawing/2014/main" id="{DC719FFD-D8F1-006F-1684-B6F820B5A6F4}"/>
              </a:ext>
            </a:extLst>
          </p:cNvPr>
          <p:cNvSpPr/>
          <p:nvPr/>
        </p:nvSpPr>
        <p:spPr>
          <a:xfrm flipV="1">
            <a:off x="545026" y="905849"/>
            <a:ext cx="1286123" cy="1248210"/>
          </a:xfrm>
          <a:custGeom>
            <a:avLst/>
            <a:gdLst>
              <a:gd name="connsiteX0" fmla="*/ 232608 w 468450"/>
              <a:gd name="connsiteY0" fmla="*/ 464949 h 468796"/>
              <a:gd name="connsiteX1" fmla="*/ 1577 w 468450"/>
              <a:gd name="connsiteY1" fmla="*/ 233771 h 468796"/>
              <a:gd name="connsiteX2" fmla="*/ 232608 w 468450"/>
              <a:gd name="connsiteY2" fmla="*/ 2591 h 468796"/>
              <a:gd name="connsiteX3" fmla="*/ 463639 w 468450"/>
              <a:gd name="connsiteY3" fmla="*/ 233771 h 468796"/>
              <a:gd name="connsiteX4" fmla="*/ 232608 w 468450"/>
              <a:gd name="connsiteY4" fmla="*/ 464949 h 468796"/>
              <a:gd name="connsiteX5" fmla="*/ 232608 w 468450"/>
              <a:gd name="connsiteY5" fmla="*/ -651 h 468796"/>
              <a:gd name="connsiteX6" fmla="*/ -1618 w 468450"/>
              <a:gd name="connsiteY6" fmla="*/ 233771 h 468796"/>
              <a:gd name="connsiteX7" fmla="*/ 232608 w 468450"/>
              <a:gd name="connsiteY7" fmla="*/ 468146 h 468796"/>
              <a:gd name="connsiteX8" fmla="*/ 466833 w 468450"/>
              <a:gd name="connsiteY8" fmla="*/ 233771 h 468796"/>
              <a:gd name="connsiteX9" fmla="*/ 232608 w 468450"/>
              <a:gd name="connsiteY9" fmla="*/ -651 h 468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68450" h="468796">
                <a:moveTo>
                  <a:pt x="232608" y="464949"/>
                </a:moveTo>
                <a:cubicBezTo>
                  <a:pt x="105245" y="464949"/>
                  <a:pt x="1577" y="361226"/>
                  <a:pt x="1577" y="233771"/>
                </a:cubicBezTo>
                <a:cubicBezTo>
                  <a:pt x="1577" y="106314"/>
                  <a:pt x="105245" y="2591"/>
                  <a:pt x="232608" y="2591"/>
                </a:cubicBezTo>
                <a:cubicBezTo>
                  <a:pt x="359970" y="2591"/>
                  <a:pt x="463639" y="106314"/>
                  <a:pt x="463639" y="233771"/>
                </a:cubicBezTo>
                <a:cubicBezTo>
                  <a:pt x="463639" y="361226"/>
                  <a:pt x="359970" y="464949"/>
                  <a:pt x="232608" y="464949"/>
                </a:cubicBezTo>
                <a:moveTo>
                  <a:pt x="232608" y="-651"/>
                </a:moveTo>
                <a:cubicBezTo>
                  <a:pt x="103457" y="-651"/>
                  <a:pt x="-1618" y="104497"/>
                  <a:pt x="-1618" y="233771"/>
                </a:cubicBezTo>
                <a:cubicBezTo>
                  <a:pt x="-1618" y="363015"/>
                  <a:pt x="103457" y="468146"/>
                  <a:pt x="232608" y="468146"/>
                </a:cubicBezTo>
                <a:cubicBezTo>
                  <a:pt x="361782" y="468146"/>
                  <a:pt x="466833" y="363015"/>
                  <a:pt x="466833" y="233771"/>
                </a:cubicBezTo>
                <a:cubicBezTo>
                  <a:pt x="466833" y="104497"/>
                  <a:pt x="361782" y="-651"/>
                  <a:pt x="232608" y="-651"/>
                </a:cubicBezTo>
              </a:path>
            </a:pathLst>
          </a:custGeom>
          <a:solidFill>
            <a:srgbClr val="83181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62" name="Vrije vorm 2061">
            <a:extLst>
              <a:ext uri="{FF2B5EF4-FFF2-40B4-BE49-F238E27FC236}">
                <a16:creationId xmlns:a16="http://schemas.microsoft.com/office/drawing/2014/main" id="{EFF74038-A5A4-049D-F3D2-D3952DE423D9}"/>
              </a:ext>
            </a:extLst>
          </p:cNvPr>
          <p:cNvSpPr/>
          <p:nvPr/>
        </p:nvSpPr>
        <p:spPr>
          <a:xfrm flipV="1">
            <a:off x="553795" y="914359"/>
            <a:ext cx="1268582" cy="1231068"/>
          </a:xfrm>
          <a:custGeom>
            <a:avLst/>
            <a:gdLst>
              <a:gd name="connsiteX0" fmla="*/ 229413 w 462061"/>
              <a:gd name="connsiteY0" fmla="*/ -651 h 462358"/>
              <a:gd name="connsiteX1" fmla="*/ -1618 w 462061"/>
              <a:gd name="connsiteY1" fmla="*/ 230529 h 462358"/>
              <a:gd name="connsiteX2" fmla="*/ 229413 w 462061"/>
              <a:gd name="connsiteY2" fmla="*/ 461707 h 462358"/>
              <a:gd name="connsiteX3" fmla="*/ 460444 w 462061"/>
              <a:gd name="connsiteY3" fmla="*/ 230529 h 462358"/>
              <a:gd name="connsiteX4" fmla="*/ 229413 w 462061"/>
              <a:gd name="connsiteY4" fmla="*/ -651 h 462358"/>
              <a:gd name="connsiteX5" fmla="*/ 220498 w 462061"/>
              <a:gd name="connsiteY5" fmla="*/ 17195 h 462358"/>
              <a:gd name="connsiteX6" fmla="*/ 223692 w 462061"/>
              <a:gd name="connsiteY6" fmla="*/ 13466 h 462358"/>
              <a:gd name="connsiteX7" fmla="*/ 230987 w 462061"/>
              <a:gd name="connsiteY7" fmla="*/ 11324 h 462358"/>
              <a:gd name="connsiteX8" fmla="*/ 240212 w 462061"/>
              <a:gd name="connsiteY8" fmla="*/ 15191 h 462358"/>
              <a:gd name="connsiteX9" fmla="*/ 241809 w 462061"/>
              <a:gd name="connsiteY9" fmla="*/ 17352 h 462358"/>
              <a:gd name="connsiteX10" fmla="*/ 329506 w 462061"/>
              <a:gd name="connsiteY10" fmla="*/ 41236 h 462358"/>
              <a:gd name="connsiteX11" fmla="*/ 332462 w 462061"/>
              <a:gd name="connsiteY11" fmla="*/ 40303 h 462358"/>
              <a:gd name="connsiteX12" fmla="*/ 335680 w 462061"/>
              <a:gd name="connsiteY12" fmla="*/ 40091 h 462358"/>
              <a:gd name="connsiteX13" fmla="*/ 343832 w 462061"/>
              <a:gd name="connsiteY13" fmla="*/ 41803 h 462358"/>
              <a:gd name="connsiteX14" fmla="*/ 350483 w 462061"/>
              <a:gd name="connsiteY14" fmla="*/ 47610 h 462358"/>
              <a:gd name="connsiteX15" fmla="*/ 352843 w 462061"/>
              <a:gd name="connsiteY15" fmla="*/ 55119 h 462358"/>
              <a:gd name="connsiteX16" fmla="*/ 352843 w 462061"/>
              <a:gd name="connsiteY16" fmla="*/ 55167 h 462358"/>
              <a:gd name="connsiteX17" fmla="*/ 412460 w 462061"/>
              <a:gd name="connsiteY17" fmla="*/ 116026 h 462358"/>
              <a:gd name="connsiteX18" fmla="*/ 415272 w 462061"/>
              <a:gd name="connsiteY18" fmla="*/ 116090 h 462358"/>
              <a:gd name="connsiteX19" fmla="*/ 422781 w 462061"/>
              <a:gd name="connsiteY19" fmla="*/ 115875 h 462358"/>
              <a:gd name="connsiteX20" fmla="*/ 424927 w 462061"/>
              <a:gd name="connsiteY20" fmla="*/ 115875 h 462358"/>
              <a:gd name="connsiteX21" fmla="*/ 424927 w 462061"/>
              <a:gd name="connsiteY21" fmla="*/ 118242 h 462358"/>
              <a:gd name="connsiteX22" fmla="*/ 421279 w 462061"/>
              <a:gd name="connsiteY22" fmla="*/ 118671 h 462358"/>
              <a:gd name="connsiteX23" fmla="*/ 419992 w 462061"/>
              <a:gd name="connsiteY23" fmla="*/ 119101 h 462358"/>
              <a:gd name="connsiteX24" fmla="*/ 419563 w 462061"/>
              <a:gd name="connsiteY24" fmla="*/ 120172 h 462358"/>
              <a:gd name="connsiteX25" fmla="*/ 419563 w 462061"/>
              <a:gd name="connsiteY25" fmla="*/ 125968 h 462358"/>
              <a:gd name="connsiteX26" fmla="*/ 422996 w 462061"/>
              <a:gd name="connsiteY26" fmla="*/ 125968 h 462358"/>
              <a:gd name="connsiteX27" fmla="*/ 424712 w 462061"/>
              <a:gd name="connsiteY27" fmla="*/ 125968 h 462358"/>
              <a:gd name="connsiteX28" fmla="*/ 424712 w 462061"/>
              <a:gd name="connsiteY28" fmla="*/ 127896 h 462358"/>
              <a:gd name="connsiteX29" fmla="*/ 424712 w 462061"/>
              <a:gd name="connsiteY29" fmla="*/ 130477 h 462358"/>
              <a:gd name="connsiteX30" fmla="*/ 424712 w 462061"/>
              <a:gd name="connsiteY30" fmla="*/ 130906 h 462358"/>
              <a:gd name="connsiteX31" fmla="*/ 421303 w 462061"/>
              <a:gd name="connsiteY31" fmla="*/ 130720 h 462358"/>
              <a:gd name="connsiteX32" fmla="*/ 448144 w 462061"/>
              <a:gd name="connsiteY32" fmla="*/ 235868 h 462358"/>
              <a:gd name="connsiteX33" fmla="*/ 229413 w 462061"/>
              <a:gd name="connsiteY33" fmla="*/ 454708 h 462358"/>
              <a:gd name="connsiteX34" fmla="*/ 10706 w 462061"/>
              <a:gd name="connsiteY34" fmla="*/ 235868 h 462358"/>
              <a:gd name="connsiteX35" fmla="*/ 57165 w 462061"/>
              <a:gd name="connsiteY35" fmla="*/ 100995 h 462358"/>
              <a:gd name="connsiteX36" fmla="*/ 57642 w 462061"/>
              <a:gd name="connsiteY36" fmla="*/ 98702 h 462358"/>
              <a:gd name="connsiteX37" fmla="*/ 59787 w 462061"/>
              <a:gd name="connsiteY37" fmla="*/ 95477 h 462358"/>
              <a:gd name="connsiteX38" fmla="*/ 62790 w 462061"/>
              <a:gd name="connsiteY38" fmla="*/ 93550 h 462358"/>
              <a:gd name="connsiteX39" fmla="*/ 63577 w 462061"/>
              <a:gd name="connsiteY39" fmla="*/ 93168 h 462358"/>
              <a:gd name="connsiteX40" fmla="*/ 135280 w 462061"/>
              <a:gd name="connsiteY40" fmla="*/ 38254 h 462358"/>
              <a:gd name="connsiteX41" fmla="*/ 131656 w 462061"/>
              <a:gd name="connsiteY41" fmla="*/ 31937 h 462358"/>
              <a:gd name="connsiteX42" fmla="*/ 131871 w 462061"/>
              <a:gd name="connsiteY42" fmla="*/ 31283 h 462358"/>
              <a:gd name="connsiteX43" fmla="*/ 135304 w 462061"/>
              <a:gd name="connsiteY43" fmla="*/ 31508 h 462358"/>
              <a:gd name="connsiteX44" fmla="*/ 138522 w 462061"/>
              <a:gd name="connsiteY44" fmla="*/ 31283 h 462358"/>
              <a:gd name="connsiteX45" fmla="*/ 140238 w 462061"/>
              <a:gd name="connsiteY45" fmla="*/ 35961 h 462358"/>
              <a:gd name="connsiteX46" fmla="*/ 220498 w 462061"/>
              <a:gd name="connsiteY46" fmla="*/ 17195 h 462358"/>
              <a:gd name="connsiteX47" fmla="*/ 231630 w 462061"/>
              <a:gd name="connsiteY47" fmla="*/ 14325 h 462358"/>
              <a:gd name="connsiteX48" fmla="*/ 227339 w 462061"/>
              <a:gd name="connsiteY48" fmla="*/ 16906 h 462358"/>
              <a:gd name="connsiteX49" fmla="*/ 227268 w 462061"/>
              <a:gd name="connsiteY49" fmla="*/ 17028 h 462358"/>
              <a:gd name="connsiteX50" fmla="*/ 229413 w 462061"/>
              <a:gd name="connsiteY50" fmla="*/ 16999 h 462358"/>
              <a:gd name="connsiteX51" fmla="*/ 235945 w 462061"/>
              <a:gd name="connsiteY51" fmla="*/ 17092 h 462358"/>
              <a:gd name="connsiteX52" fmla="*/ 235277 w 462061"/>
              <a:gd name="connsiteY52" fmla="*/ 16047 h 462358"/>
              <a:gd name="connsiteX53" fmla="*/ 231630 w 462061"/>
              <a:gd name="connsiteY53" fmla="*/ 14325 h 462358"/>
              <a:gd name="connsiteX54" fmla="*/ 338469 w 462061"/>
              <a:gd name="connsiteY54" fmla="*/ 43528 h 462358"/>
              <a:gd name="connsiteX55" fmla="*/ 335131 w 462061"/>
              <a:gd name="connsiteY55" fmla="*/ 44218 h 462358"/>
              <a:gd name="connsiteX56" fmla="*/ 345715 w 462061"/>
              <a:gd name="connsiteY56" fmla="*/ 50470 h 462358"/>
              <a:gd name="connsiteX57" fmla="*/ 343618 w 462061"/>
              <a:gd name="connsiteY57" fmla="*/ 45670 h 462358"/>
              <a:gd name="connsiteX58" fmla="*/ 338469 w 462061"/>
              <a:gd name="connsiteY58" fmla="*/ 43528 h 462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462061" h="462358">
                <a:moveTo>
                  <a:pt x="229413" y="-651"/>
                </a:moveTo>
                <a:cubicBezTo>
                  <a:pt x="102051" y="-651"/>
                  <a:pt x="-1618" y="103072"/>
                  <a:pt x="-1618" y="230529"/>
                </a:cubicBezTo>
                <a:cubicBezTo>
                  <a:pt x="-1618" y="357984"/>
                  <a:pt x="102051" y="461707"/>
                  <a:pt x="229413" y="461707"/>
                </a:cubicBezTo>
                <a:cubicBezTo>
                  <a:pt x="356776" y="461707"/>
                  <a:pt x="460444" y="357984"/>
                  <a:pt x="460444" y="230529"/>
                </a:cubicBezTo>
                <a:cubicBezTo>
                  <a:pt x="460444" y="103072"/>
                  <a:pt x="356776" y="-651"/>
                  <a:pt x="229413" y="-651"/>
                </a:cubicBezTo>
                <a:moveTo>
                  <a:pt x="220498" y="17195"/>
                </a:moveTo>
                <a:cubicBezTo>
                  <a:pt x="221332" y="15732"/>
                  <a:pt x="222453" y="14540"/>
                  <a:pt x="223692" y="13466"/>
                </a:cubicBezTo>
                <a:cubicBezTo>
                  <a:pt x="225623" y="11966"/>
                  <a:pt x="227983" y="11324"/>
                  <a:pt x="230987" y="11324"/>
                </a:cubicBezTo>
                <a:cubicBezTo>
                  <a:pt x="234634" y="11324"/>
                  <a:pt x="237637" y="12610"/>
                  <a:pt x="240212" y="15191"/>
                </a:cubicBezTo>
                <a:cubicBezTo>
                  <a:pt x="240831" y="15852"/>
                  <a:pt x="241356" y="16570"/>
                  <a:pt x="241809" y="17352"/>
                </a:cubicBezTo>
                <a:cubicBezTo>
                  <a:pt x="273274" y="19122"/>
                  <a:pt x="302975" y="27548"/>
                  <a:pt x="329506" y="41236"/>
                </a:cubicBezTo>
                <a:lnTo>
                  <a:pt x="332462" y="40303"/>
                </a:lnTo>
                <a:lnTo>
                  <a:pt x="335680" y="40091"/>
                </a:lnTo>
                <a:cubicBezTo>
                  <a:pt x="338898" y="40091"/>
                  <a:pt x="341472" y="40732"/>
                  <a:pt x="343832" y="41803"/>
                </a:cubicBezTo>
                <a:cubicBezTo>
                  <a:pt x="346836" y="43313"/>
                  <a:pt x="348981" y="45243"/>
                  <a:pt x="350483" y="47610"/>
                </a:cubicBezTo>
                <a:cubicBezTo>
                  <a:pt x="351985" y="50181"/>
                  <a:pt x="352843" y="52538"/>
                  <a:pt x="352843" y="55119"/>
                </a:cubicBezTo>
                <a:cubicBezTo>
                  <a:pt x="352843" y="55138"/>
                  <a:pt x="352843" y="55138"/>
                  <a:pt x="352843" y="55167"/>
                </a:cubicBezTo>
                <a:cubicBezTo>
                  <a:pt x="376466" y="71362"/>
                  <a:pt x="396751" y="92049"/>
                  <a:pt x="412460" y="116026"/>
                </a:cubicBezTo>
                <a:lnTo>
                  <a:pt x="415272" y="116090"/>
                </a:lnTo>
                <a:lnTo>
                  <a:pt x="422781" y="115875"/>
                </a:lnTo>
                <a:lnTo>
                  <a:pt x="424927" y="115875"/>
                </a:lnTo>
                <a:lnTo>
                  <a:pt x="424927" y="118242"/>
                </a:lnTo>
                <a:lnTo>
                  <a:pt x="421279" y="118671"/>
                </a:lnTo>
                <a:lnTo>
                  <a:pt x="419992" y="119101"/>
                </a:lnTo>
                <a:lnTo>
                  <a:pt x="419563" y="120172"/>
                </a:lnTo>
                <a:cubicBezTo>
                  <a:pt x="419563" y="121243"/>
                  <a:pt x="419563" y="122967"/>
                  <a:pt x="419563" y="125968"/>
                </a:cubicBezTo>
                <a:lnTo>
                  <a:pt x="422996" y="125968"/>
                </a:lnTo>
                <a:lnTo>
                  <a:pt x="424712" y="125968"/>
                </a:lnTo>
                <a:lnTo>
                  <a:pt x="424712" y="127896"/>
                </a:lnTo>
                <a:lnTo>
                  <a:pt x="424712" y="130477"/>
                </a:lnTo>
                <a:lnTo>
                  <a:pt x="424712" y="130906"/>
                </a:lnTo>
                <a:lnTo>
                  <a:pt x="421303" y="130720"/>
                </a:lnTo>
                <a:cubicBezTo>
                  <a:pt x="438419" y="161918"/>
                  <a:pt x="448144" y="197745"/>
                  <a:pt x="448144" y="235868"/>
                </a:cubicBezTo>
                <a:cubicBezTo>
                  <a:pt x="448144" y="356746"/>
                  <a:pt x="350197" y="454708"/>
                  <a:pt x="229413" y="454708"/>
                </a:cubicBezTo>
                <a:cubicBezTo>
                  <a:pt x="108606" y="454708"/>
                  <a:pt x="10706" y="356746"/>
                  <a:pt x="10706" y="235868"/>
                </a:cubicBezTo>
                <a:cubicBezTo>
                  <a:pt x="10706" y="184990"/>
                  <a:pt x="28060" y="138156"/>
                  <a:pt x="57165" y="100995"/>
                </a:cubicBezTo>
                <a:lnTo>
                  <a:pt x="57642" y="98702"/>
                </a:lnTo>
                <a:lnTo>
                  <a:pt x="59787" y="95477"/>
                </a:lnTo>
                <a:lnTo>
                  <a:pt x="62790" y="93550"/>
                </a:lnTo>
                <a:cubicBezTo>
                  <a:pt x="63029" y="93409"/>
                  <a:pt x="63291" y="93287"/>
                  <a:pt x="63577" y="93168"/>
                </a:cubicBezTo>
                <a:cubicBezTo>
                  <a:pt x="83291" y="70243"/>
                  <a:pt x="107676" y="51448"/>
                  <a:pt x="135280" y="38254"/>
                </a:cubicBezTo>
                <a:cubicBezTo>
                  <a:pt x="134231" y="36436"/>
                  <a:pt x="133015" y="34339"/>
                  <a:pt x="131656" y="31937"/>
                </a:cubicBezTo>
                <a:lnTo>
                  <a:pt x="131871" y="31283"/>
                </a:lnTo>
                <a:lnTo>
                  <a:pt x="135304" y="31508"/>
                </a:lnTo>
                <a:lnTo>
                  <a:pt x="138522" y="31283"/>
                </a:lnTo>
                <a:cubicBezTo>
                  <a:pt x="138975" y="32626"/>
                  <a:pt x="139499" y="34153"/>
                  <a:pt x="140238" y="35961"/>
                </a:cubicBezTo>
                <a:cubicBezTo>
                  <a:pt x="164910" y="24919"/>
                  <a:pt x="191989" y="18330"/>
                  <a:pt x="220498" y="17195"/>
                </a:cubicBezTo>
                <a:moveTo>
                  <a:pt x="231630" y="14325"/>
                </a:moveTo>
                <a:lnTo>
                  <a:pt x="227339" y="16906"/>
                </a:lnTo>
                <a:cubicBezTo>
                  <a:pt x="227315" y="16951"/>
                  <a:pt x="227292" y="16980"/>
                  <a:pt x="227268" y="17028"/>
                </a:cubicBezTo>
                <a:cubicBezTo>
                  <a:pt x="227983" y="16999"/>
                  <a:pt x="228698" y="16999"/>
                  <a:pt x="229413" y="16999"/>
                </a:cubicBezTo>
                <a:cubicBezTo>
                  <a:pt x="231606" y="16999"/>
                  <a:pt x="233776" y="17044"/>
                  <a:pt x="235945" y="17092"/>
                </a:cubicBezTo>
                <a:cubicBezTo>
                  <a:pt x="235754" y="16710"/>
                  <a:pt x="235540" y="16355"/>
                  <a:pt x="235277" y="16047"/>
                </a:cubicBezTo>
                <a:lnTo>
                  <a:pt x="231630" y="14325"/>
                </a:lnTo>
                <a:moveTo>
                  <a:pt x="338469" y="43528"/>
                </a:moveTo>
                <a:lnTo>
                  <a:pt x="335131" y="44218"/>
                </a:lnTo>
                <a:cubicBezTo>
                  <a:pt x="338731" y="46221"/>
                  <a:pt x="342235" y="48299"/>
                  <a:pt x="345715" y="50470"/>
                </a:cubicBezTo>
                <a:cubicBezTo>
                  <a:pt x="345525" y="48485"/>
                  <a:pt x="344881" y="46939"/>
                  <a:pt x="343618" y="45670"/>
                </a:cubicBezTo>
                <a:lnTo>
                  <a:pt x="338469" y="43528"/>
                </a:lnTo>
              </a:path>
            </a:pathLst>
          </a:custGeom>
          <a:solidFill>
            <a:srgbClr val="F0E1A0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063" name="Vrije vorm 2062">
            <a:extLst>
              <a:ext uri="{FF2B5EF4-FFF2-40B4-BE49-F238E27FC236}">
                <a16:creationId xmlns:a16="http://schemas.microsoft.com/office/drawing/2014/main" id="{0BD216F0-33BB-AD13-8B7A-B1C9DEFE7CDD}"/>
              </a:ext>
            </a:extLst>
          </p:cNvPr>
          <p:cNvSpPr/>
          <p:nvPr/>
        </p:nvSpPr>
        <p:spPr>
          <a:xfrm flipV="1">
            <a:off x="549542" y="910117"/>
            <a:ext cx="1277222" cy="1239623"/>
          </a:xfrm>
          <a:custGeom>
            <a:avLst/>
            <a:gdLst>
              <a:gd name="connsiteX0" fmla="*/ 230963 w 465208"/>
              <a:gd name="connsiteY0" fmla="*/ -651 h 465571"/>
              <a:gd name="connsiteX1" fmla="*/ -1618 w 465208"/>
              <a:gd name="connsiteY1" fmla="*/ 232149 h 465571"/>
              <a:gd name="connsiteX2" fmla="*/ 230963 w 465208"/>
              <a:gd name="connsiteY2" fmla="*/ 464920 h 465571"/>
              <a:gd name="connsiteX3" fmla="*/ 463591 w 465208"/>
              <a:gd name="connsiteY3" fmla="*/ 232149 h 465571"/>
              <a:gd name="connsiteX4" fmla="*/ 230963 w 465208"/>
              <a:gd name="connsiteY4" fmla="*/ -651 h 465571"/>
              <a:gd name="connsiteX5" fmla="*/ 230963 w 465208"/>
              <a:gd name="connsiteY5" fmla="*/ 463327 h 465571"/>
              <a:gd name="connsiteX6" fmla="*/ -68 w 465208"/>
              <a:gd name="connsiteY6" fmla="*/ 232149 h 465571"/>
              <a:gd name="connsiteX7" fmla="*/ 230963 w 465208"/>
              <a:gd name="connsiteY7" fmla="*/ 968 h 465571"/>
              <a:gd name="connsiteX8" fmla="*/ 461994 w 465208"/>
              <a:gd name="connsiteY8" fmla="*/ 232149 h 465571"/>
              <a:gd name="connsiteX9" fmla="*/ 230963 w 465208"/>
              <a:gd name="connsiteY9" fmla="*/ 463327 h 46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65208" h="465571">
                <a:moveTo>
                  <a:pt x="230963" y="-651"/>
                </a:moveTo>
                <a:cubicBezTo>
                  <a:pt x="102503" y="-651"/>
                  <a:pt x="-1618" y="103564"/>
                  <a:pt x="-1618" y="232149"/>
                </a:cubicBezTo>
                <a:cubicBezTo>
                  <a:pt x="-1618" y="360693"/>
                  <a:pt x="102503" y="464920"/>
                  <a:pt x="230963" y="464920"/>
                </a:cubicBezTo>
                <a:cubicBezTo>
                  <a:pt x="359422" y="464920"/>
                  <a:pt x="463591" y="360693"/>
                  <a:pt x="463591" y="232149"/>
                </a:cubicBezTo>
                <a:cubicBezTo>
                  <a:pt x="463591" y="103564"/>
                  <a:pt x="359422" y="-651"/>
                  <a:pt x="230963" y="-651"/>
                </a:cubicBezTo>
                <a:moveTo>
                  <a:pt x="230963" y="463327"/>
                </a:moveTo>
                <a:cubicBezTo>
                  <a:pt x="103600" y="463327"/>
                  <a:pt x="-68" y="359603"/>
                  <a:pt x="-68" y="232149"/>
                </a:cubicBezTo>
                <a:cubicBezTo>
                  <a:pt x="-68" y="104692"/>
                  <a:pt x="103600" y="968"/>
                  <a:pt x="230963" y="968"/>
                </a:cubicBezTo>
                <a:cubicBezTo>
                  <a:pt x="358325" y="968"/>
                  <a:pt x="461994" y="104692"/>
                  <a:pt x="461994" y="232149"/>
                </a:cubicBezTo>
                <a:cubicBezTo>
                  <a:pt x="461994" y="359603"/>
                  <a:pt x="358325" y="463327"/>
                  <a:pt x="230963" y="463327"/>
                </a:cubicBezTo>
              </a:path>
            </a:pathLst>
          </a:custGeom>
          <a:solidFill>
            <a:srgbClr val="7F171B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64" name="Vrije vorm 2063">
            <a:extLst>
              <a:ext uri="{FF2B5EF4-FFF2-40B4-BE49-F238E27FC236}">
                <a16:creationId xmlns:a16="http://schemas.microsoft.com/office/drawing/2014/main" id="{CAE85858-44A6-B1C2-5EF3-F96DC73F2617}"/>
              </a:ext>
            </a:extLst>
          </p:cNvPr>
          <p:cNvSpPr/>
          <p:nvPr/>
        </p:nvSpPr>
        <p:spPr>
          <a:xfrm flipV="1">
            <a:off x="1119044" y="960358"/>
            <a:ext cx="68585" cy="106317"/>
          </a:xfrm>
          <a:custGeom>
            <a:avLst/>
            <a:gdLst>
              <a:gd name="connsiteX0" fmla="*/ 23368 w 24981"/>
              <a:gd name="connsiteY0" fmla="*/ -743 h 39930"/>
              <a:gd name="connsiteX1" fmla="*/ 13166 w 24981"/>
              <a:gd name="connsiteY1" fmla="*/ -464 h 39930"/>
              <a:gd name="connsiteX2" fmla="*/ 866 w 24981"/>
              <a:gd name="connsiteY2" fmla="*/ -743 h 39930"/>
              <a:gd name="connsiteX3" fmla="*/ 866 w 24981"/>
              <a:gd name="connsiteY3" fmla="*/ 1616 h 39930"/>
              <a:gd name="connsiteX4" fmla="*/ 6372 w 24981"/>
              <a:gd name="connsiteY4" fmla="*/ 2193 h 39930"/>
              <a:gd name="connsiteX5" fmla="*/ 7636 w 24981"/>
              <a:gd name="connsiteY5" fmla="*/ 2687 h 39930"/>
              <a:gd name="connsiteX6" fmla="*/ 8255 w 24981"/>
              <a:gd name="connsiteY6" fmla="*/ 4290 h 39930"/>
              <a:gd name="connsiteX7" fmla="*/ 8613 w 24981"/>
              <a:gd name="connsiteY7" fmla="*/ 14335 h 39930"/>
              <a:gd name="connsiteX8" fmla="*/ 8613 w 24981"/>
              <a:gd name="connsiteY8" fmla="*/ 21277 h 39930"/>
              <a:gd name="connsiteX9" fmla="*/ 8518 w 24981"/>
              <a:gd name="connsiteY9" fmla="*/ 29075 h 39930"/>
              <a:gd name="connsiteX10" fmla="*/ 8494 w 24981"/>
              <a:gd name="connsiteY10" fmla="*/ 31573 h 39930"/>
              <a:gd name="connsiteX11" fmla="*/ 8303 w 24981"/>
              <a:gd name="connsiteY11" fmla="*/ 32747 h 39930"/>
              <a:gd name="connsiteX12" fmla="*/ 7850 w 24981"/>
              <a:gd name="connsiteY12" fmla="*/ 32990 h 39930"/>
              <a:gd name="connsiteX13" fmla="*/ 6587 w 24981"/>
              <a:gd name="connsiteY13" fmla="*/ 32506 h 39930"/>
              <a:gd name="connsiteX14" fmla="*/ -660 w 24981"/>
              <a:gd name="connsiteY14" fmla="*/ 29168 h 39930"/>
              <a:gd name="connsiteX15" fmla="*/ -970 w 24981"/>
              <a:gd name="connsiteY15" fmla="*/ 29431 h 39930"/>
              <a:gd name="connsiteX16" fmla="*/ -1280 w 24981"/>
              <a:gd name="connsiteY16" fmla="*/ 31265 h 39930"/>
              <a:gd name="connsiteX17" fmla="*/ -1613 w 24981"/>
              <a:gd name="connsiteY17" fmla="*/ 33035 h 39930"/>
              <a:gd name="connsiteX18" fmla="*/ -1566 w 24981"/>
              <a:gd name="connsiteY18" fmla="*/ 33224 h 39930"/>
              <a:gd name="connsiteX19" fmla="*/ 6658 w 24981"/>
              <a:gd name="connsiteY19" fmla="*/ 35728 h 39930"/>
              <a:gd name="connsiteX20" fmla="*/ 16217 w 24981"/>
              <a:gd name="connsiteY20" fmla="*/ 39187 h 39930"/>
              <a:gd name="connsiteX21" fmla="*/ 16861 w 24981"/>
              <a:gd name="connsiteY21" fmla="*/ 38758 h 39930"/>
              <a:gd name="connsiteX22" fmla="*/ 16670 w 24981"/>
              <a:gd name="connsiteY22" fmla="*/ 36065 h 39930"/>
              <a:gd name="connsiteX23" fmla="*/ 16527 w 24981"/>
              <a:gd name="connsiteY23" fmla="*/ 33147 h 39930"/>
              <a:gd name="connsiteX24" fmla="*/ 16265 w 24981"/>
              <a:gd name="connsiteY24" fmla="*/ 20251 h 39930"/>
              <a:gd name="connsiteX25" fmla="*/ 16265 w 24981"/>
              <a:gd name="connsiteY25" fmla="*/ 15929 h 39930"/>
              <a:gd name="connsiteX26" fmla="*/ 16336 w 24981"/>
              <a:gd name="connsiteY26" fmla="*/ 7224 h 39930"/>
              <a:gd name="connsiteX27" fmla="*/ 16718 w 24981"/>
              <a:gd name="connsiteY27" fmla="*/ 2902 h 39930"/>
              <a:gd name="connsiteX28" fmla="*/ 17314 w 24981"/>
              <a:gd name="connsiteY28" fmla="*/ 2305 h 39930"/>
              <a:gd name="connsiteX29" fmla="*/ 21461 w 24981"/>
              <a:gd name="connsiteY29" fmla="*/ 1754 h 39930"/>
              <a:gd name="connsiteX30" fmla="*/ 23368 w 24981"/>
              <a:gd name="connsiteY30" fmla="*/ 1616 h 39930"/>
              <a:gd name="connsiteX31" fmla="*/ 23368 w 24981"/>
              <a:gd name="connsiteY31" fmla="*/ -743 h 39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81" h="39930">
                <a:moveTo>
                  <a:pt x="23368" y="-743"/>
                </a:moveTo>
                <a:cubicBezTo>
                  <a:pt x="19173" y="-529"/>
                  <a:pt x="15764" y="-464"/>
                  <a:pt x="13166" y="-464"/>
                </a:cubicBezTo>
                <a:cubicBezTo>
                  <a:pt x="11378" y="-464"/>
                  <a:pt x="7302" y="-529"/>
                  <a:pt x="866" y="-743"/>
                </a:cubicBezTo>
                <a:lnTo>
                  <a:pt x="866" y="1616"/>
                </a:lnTo>
                <a:lnTo>
                  <a:pt x="6372" y="2193"/>
                </a:lnTo>
                <a:lnTo>
                  <a:pt x="7636" y="2687"/>
                </a:lnTo>
                <a:lnTo>
                  <a:pt x="8255" y="4290"/>
                </a:lnTo>
                <a:cubicBezTo>
                  <a:pt x="8494" y="5791"/>
                  <a:pt x="8613" y="9135"/>
                  <a:pt x="8613" y="14335"/>
                </a:cubicBezTo>
                <a:lnTo>
                  <a:pt x="8613" y="21277"/>
                </a:lnTo>
                <a:cubicBezTo>
                  <a:pt x="8613" y="23682"/>
                  <a:pt x="8541" y="26280"/>
                  <a:pt x="8518" y="29075"/>
                </a:cubicBezTo>
                <a:lnTo>
                  <a:pt x="8494" y="31573"/>
                </a:lnTo>
                <a:lnTo>
                  <a:pt x="8303" y="32747"/>
                </a:lnTo>
                <a:lnTo>
                  <a:pt x="7850" y="32990"/>
                </a:lnTo>
                <a:lnTo>
                  <a:pt x="6587" y="32506"/>
                </a:lnTo>
                <a:cubicBezTo>
                  <a:pt x="2797" y="30838"/>
                  <a:pt x="413" y="29739"/>
                  <a:pt x="-660" y="29168"/>
                </a:cubicBezTo>
                <a:lnTo>
                  <a:pt x="-970" y="29431"/>
                </a:lnTo>
                <a:lnTo>
                  <a:pt x="-1280" y="31265"/>
                </a:lnTo>
                <a:lnTo>
                  <a:pt x="-1613" y="33035"/>
                </a:lnTo>
                <a:lnTo>
                  <a:pt x="-1566" y="33224"/>
                </a:lnTo>
                <a:cubicBezTo>
                  <a:pt x="1915" y="34247"/>
                  <a:pt x="4632" y="35087"/>
                  <a:pt x="6658" y="35728"/>
                </a:cubicBezTo>
                <a:cubicBezTo>
                  <a:pt x="8708" y="36446"/>
                  <a:pt x="11903" y="37594"/>
                  <a:pt x="16217" y="39187"/>
                </a:cubicBezTo>
                <a:lnTo>
                  <a:pt x="16861" y="38758"/>
                </a:lnTo>
                <a:lnTo>
                  <a:pt x="16670" y="36065"/>
                </a:lnTo>
                <a:lnTo>
                  <a:pt x="16527" y="33147"/>
                </a:lnTo>
                <a:cubicBezTo>
                  <a:pt x="16456" y="31480"/>
                  <a:pt x="16360" y="27164"/>
                  <a:pt x="16265" y="20251"/>
                </a:cubicBezTo>
                <a:lnTo>
                  <a:pt x="16265" y="15929"/>
                </a:lnTo>
                <a:cubicBezTo>
                  <a:pt x="16265" y="11754"/>
                  <a:pt x="16289" y="8846"/>
                  <a:pt x="16336" y="7224"/>
                </a:cubicBezTo>
                <a:cubicBezTo>
                  <a:pt x="16432" y="4736"/>
                  <a:pt x="16527" y="3283"/>
                  <a:pt x="16718" y="2902"/>
                </a:cubicBezTo>
                <a:lnTo>
                  <a:pt x="17314" y="2305"/>
                </a:lnTo>
                <a:cubicBezTo>
                  <a:pt x="17790" y="2043"/>
                  <a:pt x="19149" y="1876"/>
                  <a:pt x="21461" y="1754"/>
                </a:cubicBezTo>
                <a:lnTo>
                  <a:pt x="23368" y="1616"/>
                </a:lnTo>
                <a:lnTo>
                  <a:pt x="23368" y="-743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65" name="Vrije vorm 2064">
            <a:extLst>
              <a:ext uri="{FF2B5EF4-FFF2-40B4-BE49-F238E27FC236}">
                <a16:creationId xmlns:a16="http://schemas.microsoft.com/office/drawing/2014/main" id="{B5968876-5BA1-97E8-1033-9B7D704A028D}"/>
              </a:ext>
            </a:extLst>
          </p:cNvPr>
          <p:cNvSpPr/>
          <p:nvPr/>
        </p:nvSpPr>
        <p:spPr>
          <a:xfrm flipV="1">
            <a:off x="1199278" y="962200"/>
            <a:ext cx="72511" cy="104475"/>
          </a:xfrm>
          <a:custGeom>
            <a:avLst/>
            <a:gdLst>
              <a:gd name="connsiteX0" fmla="*/ 24669 w 26411"/>
              <a:gd name="connsiteY0" fmla="*/ -743 h 39238"/>
              <a:gd name="connsiteX1" fmla="*/ 16087 w 26411"/>
              <a:gd name="connsiteY1" fmla="*/ -509 h 39238"/>
              <a:gd name="connsiteX2" fmla="*/ 11916 w 26411"/>
              <a:gd name="connsiteY2" fmla="*/ -436 h 39238"/>
              <a:gd name="connsiteX3" fmla="*/ -1624 w 26411"/>
              <a:gd name="connsiteY3" fmla="*/ -743 h 39238"/>
              <a:gd name="connsiteX4" fmla="*/ -1624 w 26411"/>
              <a:gd name="connsiteY4" fmla="*/ 2258 h 39238"/>
              <a:gd name="connsiteX5" fmla="*/ 3739 w 26411"/>
              <a:gd name="connsiteY5" fmla="*/ 7606 h 39238"/>
              <a:gd name="connsiteX6" fmla="*/ 9937 w 26411"/>
              <a:gd name="connsiteY6" fmla="*/ 14185 h 39238"/>
              <a:gd name="connsiteX7" fmla="*/ 13084 w 26411"/>
              <a:gd name="connsiteY7" fmla="*/ 18482 h 39238"/>
              <a:gd name="connsiteX8" fmla="*/ 14681 w 26411"/>
              <a:gd name="connsiteY8" fmla="*/ 22134 h 39238"/>
              <a:gd name="connsiteX9" fmla="*/ 15110 w 26411"/>
              <a:gd name="connsiteY9" fmla="*/ 25395 h 39238"/>
              <a:gd name="connsiteX10" fmla="*/ 13441 w 26411"/>
              <a:gd name="connsiteY10" fmla="*/ 30483 h 39238"/>
              <a:gd name="connsiteX11" fmla="*/ 8793 w 26411"/>
              <a:gd name="connsiteY11" fmla="*/ 32227 h 39238"/>
              <a:gd name="connsiteX12" fmla="*/ 5670 w 26411"/>
              <a:gd name="connsiteY12" fmla="*/ 31573 h 39238"/>
              <a:gd name="connsiteX13" fmla="*/ 3144 w 26411"/>
              <a:gd name="connsiteY13" fmla="*/ 29569 h 39238"/>
              <a:gd name="connsiteX14" fmla="*/ 1976 w 26411"/>
              <a:gd name="connsiteY14" fmla="*/ 24968 h 39238"/>
              <a:gd name="connsiteX15" fmla="*/ -241 w 26411"/>
              <a:gd name="connsiteY15" fmla="*/ 24968 h 39238"/>
              <a:gd name="connsiteX16" fmla="*/ 498 w 26411"/>
              <a:gd name="connsiteY16" fmla="*/ 31602 h 39238"/>
              <a:gd name="connsiteX17" fmla="*/ 855 w 26411"/>
              <a:gd name="connsiteY17" fmla="*/ 34824 h 39238"/>
              <a:gd name="connsiteX18" fmla="*/ 5218 w 26411"/>
              <a:gd name="connsiteY18" fmla="*/ 37566 h 39238"/>
              <a:gd name="connsiteX19" fmla="*/ 10700 w 26411"/>
              <a:gd name="connsiteY19" fmla="*/ 38496 h 39238"/>
              <a:gd name="connsiteX20" fmla="*/ 17661 w 26411"/>
              <a:gd name="connsiteY20" fmla="*/ 37043 h 39238"/>
              <a:gd name="connsiteX21" fmla="*/ 21617 w 26411"/>
              <a:gd name="connsiteY21" fmla="*/ 33128 h 39238"/>
              <a:gd name="connsiteX22" fmla="*/ 22905 w 26411"/>
              <a:gd name="connsiteY22" fmla="*/ 27976 h 39238"/>
              <a:gd name="connsiteX23" fmla="*/ 22404 w 26411"/>
              <a:gd name="connsiteY23" fmla="*/ 24641 h 39238"/>
              <a:gd name="connsiteX24" fmla="*/ 20712 w 26411"/>
              <a:gd name="connsiteY24" fmla="*/ 21034 h 39238"/>
              <a:gd name="connsiteX25" fmla="*/ 18090 w 26411"/>
              <a:gd name="connsiteY25" fmla="*/ 17623 h 39238"/>
              <a:gd name="connsiteX26" fmla="*/ 14824 w 26411"/>
              <a:gd name="connsiteY26" fmla="*/ 14233 h 39238"/>
              <a:gd name="connsiteX27" fmla="*/ 11797 w 26411"/>
              <a:gd name="connsiteY27" fmla="*/ 11251 h 39238"/>
              <a:gd name="connsiteX28" fmla="*/ 6600 w 26411"/>
              <a:gd name="connsiteY28" fmla="*/ 6368 h 39238"/>
              <a:gd name="connsiteX29" fmla="*/ 6719 w 26411"/>
              <a:gd name="connsiteY29" fmla="*/ 5986 h 39238"/>
              <a:gd name="connsiteX30" fmla="*/ 11797 w 26411"/>
              <a:gd name="connsiteY30" fmla="*/ 5986 h 39238"/>
              <a:gd name="connsiteX31" fmla="*/ 19448 w 26411"/>
              <a:gd name="connsiteY31" fmla="*/ 6153 h 39238"/>
              <a:gd name="connsiteX32" fmla="*/ 24574 w 26411"/>
              <a:gd name="connsiteY32" fmla="*/ 6368 h 39238"/>
              <a:gd name="connsiteX33" fmla="*/ 24788 w 26411"/>
              <a:gd name="connsiteY33" fmla="*/ 5986 h 39238"/>
              <a:gd name="connsiteX34" fmla="*/ 24526 w 26411"/>
              <a:gd name="connsiteY34" fmla="*/ 1979 h 39238"/>
              <a:gd name="connsiteX35" fmla="*/ 24788 w 26411"/>
              <a:gd name="connsiteY35" fmla="*/ -436 h 39238"/>
              <a:gd name="connsiteX36" fmla="*/ 24669 w 26411"/>
              <a:gd name="connsiteY36" fmla="*/ -743 h 39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6411" h="39238">
                <a:moveTo>
                  <a:pt x="24669" y="-743"/>
                </a:moveTo>
                <a:lnTo>
                  <a:pt x="16087" y="-509"/>
                </a:lnTo>
                <a:lnTo>
                  <a:pt x="11916" y="-436"/>
                </a:lnTo>
                <a:lnTo>
                  <a:pt x="-1624" y="-743"/>
                </a:lnTo>
                <a:lnTo>
                  <a:pt x="-1624" y="2258"/>
                </a:lnTo>
                <a:lnTo>
                  <a:pt x="3739" y="7606"/>
                </a:lnTo>
                <a:cubicBezTo>
                  <a:pt x="6505" y="10373"/>
                  <a:pt x="8602" y="12563"/>
                  <a:pt x="9937" y="14185"/>
                </a:cubicBezTo>
                <a:lnTo>
                  <a:pt x="13084" y="18482"/>
                </a:lnTo>
                <a:lnTo>
                  <a:pt x="14681" y="22134"/>
                </a:lnTo>
                <a:lnTo>
                  <a:pt x="15110" y="25395"/>
                </a:lnTo>
                <a:cubicBezTo>
                  <a:pt x="15110" y="27642"/>
                  <a:pt x="14562" y="29338"/>
                  <a:pt x="13441" y="30483"/>
                </a:cubicBezTo>
                <a:lnTo>
                  <a:pt x="8793" y="32227"/>
                </a:lnTo>
                <a:lnTo>
                  <a:pt x="5670" y="31573"/>
                </a:lnTo>
                <a:lnTo>
                  <a:pt x="3144" y="29569"/>
                </a:lnTo>
                <a:lnTo>
                  <a:pt x="1976" y="24968"/>
                </a:lnTo>
                <a:lnTo>
                  <a:pt x="-241" y="24968"/>
                </a:lnTo>
                <a:lnTo>
                  <a:pt x="498" y="31602"/>
                </a:lnTo>
                <a:lnTo>
                  <a:pt x="855" y="34824"/>
                </a:lnTo>
                <a:lnTo>
                  <a:pt x="5218" y="37566"/>
                </a:lnTo>
                <a:lnTo>
                  <a:pt x="10700" y="38496"/>
                </a:lnTo>
                <a:cubicBezTo>
                  <a:pt x="13584" y="38496"/>
                  <a:pt x="15897" y="37976"/>
                  <a:pt x="17661" y="37043"/>
                </a:cubicBezTo>
                <a:lnTo>
                  <a:pt x="21617" y="33128"/>
                </a:lnTo>
                <a:lnTo>
                  <a:pt x="22905" y="27976"/>
                </a:lnTo>
                <a:lnTo>
                  <a:pt x="22404" y="24641"/>
                </a:lnTo>
                <a:lnTo>
                  <a:pt x="20712" y="21034"/>
                </a:lnTo>
                <a:lnTo>
                  <a:pt x="18090" y="17623"/>
                </a:lnTo>
                <a:lnTo>
                  <a:pt x="14824" y="14233"/>
                </a:lnTo>
                <a:lnTo>
                  <a:pt x="11797" y="11251"/>
                </a:lnTo>
                <a:lnTo>
                  <a:pt x="6600" y="6368"/>
                </a:lnTo>
                <a:lnTo>
                  <a:pt x="6719" y="5986"/>
                </a:lnTo>
                <a:lnTo>
                  <a:pt x="11797" y="5986"/>
                </a:lnTo>
                <a:cubicBezTo>
                  <a:pt x="12536" y="5986"/>
                  <a:pt x="15110" y="6003"/>
                  <a:pt x="19448" y="6153"/>
                </a:cubicBezTo>
                <a:lnTo>
                  <a:pt x="24574" y="6368"/>
                </a:lnTo>
                <a:lnTo>
                  <a:pt x="24788" y="5986"/>
                </a:lnTo>
                <a:lnTo>
                  <a:pt x="24526" y="1979"/>
                </a:lnTo>
                <a:lnTo>
                  <a:pt x="24788" y="-436"/>
                </a:lnTo>
                <a:lnTo>
                  <a:pt x="24669" y="-743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66" name="Vrije vorm 2065">
            <a:extLst>
              <a:ext uri="{FF2B5EF4-FFF2-40B4-BE49-F238E27FC236}">
                <a16:creationId xmlns:a16="http://schemas.microsoft.com/office/drawing/2014/main" id="{6523357A-163A-43AC-EE94-7EA5207BAE62}"/>
              </a:ext>
            </a:extLst>
          </p:cNvPr>
          <p:cNvSpPr/>
          <p:nvPr/>
        </p:nvSpPr>
        <p:spPr>
          <a:xfrm flipV="1">
            <a:off x="1457329" y="1044770"/>
            <a:ext cx="68519" cy="106336"/>
          </a:xfrm>
          <a:custGeom>
            <a:avLst/>
            <a:gdLst>
              <a:gd name="connsiteX0" fmla="*/ 23300 w 24957"/>
              <a:gd name="connsiteY0" fmla="*/ -728 h 39937"/>
              <a:gd name="connsiteX1" fmla="*/ 13098 w 24957"/>
              <a:gd name="connsiteY1" fmla="*/ -411 h 39937"/>
              <a:gd name="connsiteX2" fmla="*/ 798 w 24957"/>
              <a:gd name="connsiteY2" fmla="*/ -728 h 39937"/>
              <a:gd name="connsiteX3" fmla="*/ 798 w 24957"/>
              <a:gd name="connsiteY3" fmla="*/ 1638 h 39937"/>
              <a:gd name="connsiteX4" fmla="*/ 6256 w 24957"/>
              <a:gd name="connsiteY4" fmla="*/ 2189 h 39937"/>
              <a:gd name="connsiteX5" fmla="*/ 7567 w 24957"/>
              <a:gd name="connsiteY5" fmla="*/ 2738 h 39937"/>
              <a:gd name="connsiteX6" fmla="*/ 8163 w 24957"/>
              <a:gd name="connsiteY6" fmla="*/ 4315 h 39937"/>
              <a:gd name="connsiteX7" fmla="*/ 8545 w 24957"/>
              <a:gd name="connsiteY7" fmla="*/ 14351 h 39937"/>
              <a:gd name="connsiteX8" fmla="*/ 8545 w 24957"/>
              <a:gd name="connsiteY8" fmla="*/ 21318 h 39937"/>
              <a:gd name="connsiteX9" fmla="*/ 8425 w 24957"/>
              <a:gd name="connsiteY9" fmla="*/ 29071 h 39937"/>
              <a:gd name="connsiteX10" fmla="*/ 8425 w 24957"/>
              <a:gd name="connsiteY10" fmla="*/ 31598 h 39937"/>
              <a:gd name="connsiteX11" fmla="*/ 8235 w 24957"/>
              <a:gd name="connsiteY11" fmla="*/ 32771 h 39937"/>
              <a:gd name="connsiteX12" fmla="*/ 7782 w 24957"/>
              <a:gd name="connsiteY12" fmla="*/ 33050 h 39937"/>
              <a:gd name="connsiteX13" fmla="*/ 6495 w 24957"/>
              <a:gd name="connsiteY13" fmla="*/ 32530 h 39937"/>
              <a:gd name="connsiteX14" fmla="*/ -728 w 24957"/>
              <a:gd name="connsiteY14" fmla="*/ 29241 h 39937"/>
              <a:gd name="connsiteX15" fmla="*/ -1038 w 24957"/>
              <a:gd name="connsiteY15" fmla="*/ 29455 h 39937"/>
              <a:gd name="connsiteX16" fmla="*/ -1348 w 24957"/>
              <a:gd name="connsiteY16" fmla="*/ 31261 h 39937"/>
              <a:gd name="connsiteX17" fmla="*/ -1658 w 24957"/>
              <a:gd name="connsiteY17" fmla="*/ 33050 h 39937"/>
              <a:gd name="connsiteX18" fmla="*/ -1634 w 24957"/>
              <a:gd name="connsiteY18" fmla="*/ 33265 h 39937"/>
              <a:gd name="connsiteX19" fmla="*/ 6614 w 24957"/>
              <a:gd name="connsiteY19" fmla="*/ 35772 h 39937"/>
              <a:gd name="connsiteX20" fmla="*/ 16125 w 24957"/>
              <a:gd name="connsiteY20" fmla="*/ 39210 h 39937"/>
              <a:gd name="connsiteX21" fmla="*/ 16816 w 24957"/>
              <a:gd name="connsiteY21" fmla="*/ 38802 h 39937"/>
              <a:gd name="connsiteX22" fmla="*/ 16625 w 24957"/>
              <a:gd name="connsiteY22" fmla="*/ 36061 h 39937"/>
              <a:gd name="connsiteX23" fmla="*/ 16458 w 24957"/>
              <a:gd name="connsiteY23" fmla="*/ 33201 h 39937"/>
              <a:gd name="connsiteX24" fmla="*/ 16196 w 24957"/>
              <a:gd name="connsiteY24" fmla="*/ 20267 h 39937"/>
              <a:gd name="connsiteX25" fmla="*/ 16196 w 24957"/>
              <a:gd name="connsiteY25" fmla="*/ 15999 h 39937"/>
              <a:gd name="connsiteX26" fmla="*/ 16292 w 24957"/>
              <a:gd name="connsiteY26" fmla="*/ 7249 h 39937"/>
              <a:gd name="connsiteX27" fmla="*/ 16625 w 24957"/>
              <a:gd name="connsiteY27" fmla="*/ 2907 h 39937"/>
              <a:gd name="connsiteX28" fmla="*/ 17221 w 24957"/>
              <a:gd name="connsiteY28" fmla="*/ 2311 h 39937"/>
              <a:gd name="connsiteX29" fmla="*/ 21393 w 24957"/>
              <a:gd name="connsiteY29" fmla="*/ 1808 h 39937"/>
              <a:gd name="connsiteX30" fmla="*/ 23300 w 24957"/>
              <a:gd name="connsiteY30" fmla="*/ 1638 h 39937"/>
              <a:gd name="connsiteX31" fmla="*/ 23300 w 24957"/>
              <a:gd name="connsiteY31" fmla="*/ -728 h 39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57" h="39937">
                <a:moveTo>
                  <a:pt x="23300" y="-728"/>
                </a:moveTo>
                <a:cubicBezTo>
                  <a:pt x="19104" y="-559"/>
                  <a:pt x="15672" y="-411"/>
                  <a:pt x="13098" y="-411"/>
                </a:cubicBezTo>
                <a:cubicBezTo>
                  <a:pt x="11333" y="-411"/>
                  <a:pt x="7233" y="-559"/>
                  <a:pt x="798" y="-728"/>
                </a:cubicBezTo>
                <a:lnTo>
                  <a:pt x="798" y="1638"/>
                </a:lnTo>
                <a:lnTo>
                  <a:pt x="6256" y="2189"/>
                </a:lnTo>
                <a:lnTo>
                  <a:pt x="7567" y="2738"/>
                </a:lnTo>
                <a:lnTo>
                  <a:pt x="8163" y="4315"/>
                </a:lnTo>
                <a:cubicBezTo>
                  <a:pt x="8425" y="5787"/>
                  <a:pt x="8545" y="9150"/>
                  <a:pt x="8545" y="14351"/>
                </a:cubicBezTo>
                <a:lnTo>
                  <a:pt x="8545" y="21318"/>
                </a:lnTo>
                <a:cubicBezTo>
                  <a:pt x="8545" y="23723"/>
                  <a:pt x="8497" y="26304"/>
                  <a:pt x="8425" y="29071"/>
                </a:cubicBezTo>
                <a:lnTo>
                  <a:pt x="8425" y="31598"/>
                </a:lnTo>
                <a:lnTo>
                  <a:pt x="8235" y="32771"/>
                </a:lnTo>
                <a:lnTo>
                  <a:pt x="7782" y="33050"/>
                </a:lnTo>
                <a:lnTo>
                  <a:pt x="6495" y="32530"/>
                </a:lnTo>
                <a:cubicBezTo>
                  <a:pt x="2728" y="30880"/>
                  <a:pt x="344" y="29789"/>
                  <a:pt x="-728" y="29241"/>
                </a:cubicBezTo>
                <a:lnTo>
                  <a:pt x="-1038" y="29455"/>
                </a:lnTo>
                <a:lnTo>
                  <a:pt x="-1348" y="31261"/>
                </a:lnTo>
                <a:lnTo>
                  <a:pt x="-1658" y="33050"/>
                </a:lnTo>
                <a:lnTo>
                  <a:pt x="-1634" y="33265"/>
                </a:lnTo>
                <a:cubicBezTo>
                  <a:pt x="1846" y="34272"/>
                  <a:pt x="4564" y="35083"/>
                  <a:pt x="6614" y="35772"/>
                </a:cubicBezTo>
                <a:cubicBezTo>
                  <a:pt x="8664" y="36462"/>
                  <a:pt x="11810" y="37609"/>
                  <a:pt x="16125" y="39210"/>
                </a:cubicBezTo>
                <a:lnTo>
                  <a:pt x="16816" y="38802"/>
                </a:lnTo>
                <a:lnTo>
                  <a:pt x="16625" y="36061"/>
                </a:lnTo>
                <a:lnTo>
                  <a:pt x="16458" y="33201"/>
                </a:lnTo>
                <a:cubicBezTo>
                  <a:pt x="16411" y="31476"/>
                  <a:pt x="16292" y="27189"/>
                  <a:pt x="16196" y="20267"/>
                </a:cubicBezTo>
                <a:lnTo>
                  <a:pt x="16196" y="15999"/>
                </a:lnTo>
                <a:cubicBezTo>
                  <a:pt x="16196" y="11796"/>
                  <a:pt x="16220" y="8871"/>
                  <a:pt x="16292" y="7249"/>
                </a:cubicBezTo>
                <a:cubicBezTo>
                  <a:pt x="16316" y="4790"/>
                  <a:pt x="16458" y="3334"/>
                  <a:pt x="16625" y="2907"/>
                </a:cubicBezTo>
                <a:lnTo>
                  <a:pt x="17221" y="2311"/>
                </a:lnTo>
                <a:cubicBezTo>
                  <a:pt x="17698" y="2068"/>
                  <a:pt x="19104" y="1901"/>
                  <a:pt x="21393" y="1808"/>
                </a:cubicBezTo>
                <a:lnTo>
                  <a:pt x="23300" y="1638"/>
                </a:lnTo>
                <a:lnTo>
                  <a:pt x="23300" y="-728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67" name="Vrije vorm 2066">
            <a:extLst>
              <a:ext uri="{FF2B5EF4-FFF2-40B4-BE49-F238E27FC236}">
                <a16:creationId xmlns:a16="http://schemas.microsoft.com/office/drawing/2014/main" id="{801A25D2-8F79-FBFE-3C19-32CF1352C371}"/>
              </a:ext>
            </a:extLst>
          </p:cNvPr>
          <p:cNvSpPr/>
          <p:nvPr/>
        </p:nvSpPr>
        <p:spPr>
          <a:xfrm flipV="1">
            <a:off x="1643715" y="1238614"/>
            <a:ext cx="72643" cy="104475"/>
          </a:xfrm>
          <a:custGeom>
            <a:avLst/>
            <a:gdLst>
              <a:gd name="connsiteX0" fmla="*/ 24634 w 26459"/>
              <a:gd name="connsiteY0" fmla="*/ -694 h 39238"/>
              <a:gd name="connsiteX1" fmla="*/ 16005 w 26459"/>
              <a:gd name="connsiteY1" fmla="*/ -434 h 39238"/>
              <a:gd name="connsiteX2" fmla="*/ 11881 w 26459"/>
              <a:gd name="connsiteY2" fmla="*/ -341 h 39238"/>
              <a:gd name="connsiteX3" fmla="*/ -1683 w 26459"/>
              <a:gd name="connsiteY3" fmla="*/ -694 h 39238"/>
              <a:gd name="connsiteX4" fmla="*/ -1683 w 26459"/>
              <a:gd name="connsiteY4" fmla="*/ 2333 h 39238"/>
              <a:gd name="connsiteX5" fmla="*/ 3704 w 26459"/>
              <a:gd name="connsiteY5" fmla="*/ 7655 h 39238"/>
              <a:gd name="connsiteX6" fmla="*/ 9902 w 26459"/>
              <a:gd name="connsiteY6" fmla="*/ 14215 h 39238"/>
              <a:gd name="connsiteX7" fmla="*/ 13097 w 26459"/>
              <a:gd name="connsiteY7" fmla="*/ 18605 h 39238"/>
              <a:gd name="connsiteX8" fmla="*/ 14646 w 26459"/>
              <a:gd name="connsiteY8" fmla="*/ 22154 h 39238"/>
              <a:gd name="connsiteX9" fmla="*/ 15099 w 26459"/>
              <a:gd name="connsiteY9" fmla="*/ 25470 h 39238"/>
              <a:gd name="connsiteX10" fmla="*/ 13383 w 26459"/>
              <a:gd name="connsiteY10" fmla="*/ 30549 h 39238"/>
              <a:gd name="connsiteX11" fmla="*/ 8758 w 26459"/>
              <a:gd name="connsiteY11" fmla="*/ 32293 h 39238"/>
              <a:gd name="connsiteX12" fmla="*/ 5612 w 26459"/>
              <a:gd name="connsiteY12" fmla="*/ 31622 h 39238"/>
              <a:gd name="connsiteX13" fmla="*/ 3109 w 26459"/>
              <a:gd name="connsiteY13" fmla="*/ 29645 h 39238"/>
              <a:gd name="connsiteX14" fmla="*/ 1917 w 26459"/>
              <a:gd name="connsiteY14" fmla="*/ 25043 h 39238"/>
              <a:gd name="connsiteX15" fmla="*/ -300 w 26459"/>
              <a:gd name="connsiteY15" fmla="*/ 25043 h 39238"/>
              <a:gd name="connsiteX16" fmla="*/ 463 w 26459"/>
              <a:gd name="connsiteY16" fmla="*/ 31677 h 39238"/>
              <a:gd name="connsiteX17" fmla="*/ 796 w 26459"/>
              <a:gd name="connsiteY17" fmla="*/ 34845 h 39238"/>
              <a:gd name="connsiteX18" fmla="*/ 5159 w 26459"/>
              <a:gd name="connsiteY18" fmla="*/ 37612 h 39238"/>
              <a:gd name="connsiteX19" fmla="*/ 10689 w 26459"/>
              <a:gd name="connsiteY19" fmla="*/ 38545 h 39238"/>
              <a:gd name="connsiteX20" fmla="*/ 17649 w 26459"/>
              <a:gd name="connsiteY20" fmla="*/ 37138 h 39238"/>
              <a:gd name="connsiteX21" fmla="*/ 21582 w 26459"/>
              <a:gd name="connsiteY21" fmla="*/ 33197 h 39238"/>
              <a:gd name="connsiteX22" fmla="*/ 22894 w 26459"/>
              <a:gd name="connsiteY22" fmla="*/ 28044 h 39238"/>
              <a:gd name="connsiteX23" fmla="*/ 22417 w 26459"/>
              <a:gd name="connsiteY23" fmla="*/ 24678 h 39238"/>
              <a:gd name="connsiteX24" fmla="*/ 20677 w 26459"/>
              <a:gd name="connsiteY24" fmla="*/ 21129 h 39238"/>
              <a:gd name="connsiteX25" fmla="*/ 18055 w 26459"/>
              <a:gd name="connsiteY25" fmla="*/ 17672 h 39238"/>
              <a:gd name="connsiteX26" fmla="*/ 14765 w 26459"/>
              <a:gd name="connsiteY26" fmla="*/ 14328 h 39238"/>
              <a:gd name="connsiteX27" fmla="*/ 11762 w 26459"/>
              <a:gd name="connsiteY27" fmla="*/ 11327 h 39238"/>
              <a:gd name="connsiteX28" fmla="*/ 6541 w 26459"/>
              <a:gd name="connsiteY28" fmla="*/ 6434 h 39238"/>
              <a:gd name="connsiteX29" fmla="*/ 6660 w 26459"/>
              <a:gd name="connsiteY29" fmla="*/ 6052 h 39238"/>
              <a:gd name="connsiteX30" fmla="*/ 11762 w 26459"/>
              <a:gd name="connsiteY30" fmla="*/ 6052 h 39238"/>
              <a:gd name="connsiteX31" fmla="*/ 19437 w 26459"/>
              <a:gd name="connsiteY31" fmla="*/ 6191 h 39238"/>
              <a:gd name="connsiteX32" fmla="*/ 24562 w 26459"/>
              <a:gd name="connsiteY32" fmla="*/ 6434 h 39238"/>
              <a:gd name="connsiteX33" fmla="*/ 24777 w 26459"/>
              <a:gd name="connsiteY33" fmla="*/ 6052 h 39238"/>
              <a:gd name="connsiteX34" fmla="*/ 24491 w 26459"/>
              <a:gd name="connsiteY34" fmla="*/ 2045 h 39238"/>
              <a:gd name="connsiteX35" fmla="*/ 24777 w 26459"/>
              <a:gd name="connsiteY35" fmla="*/ -341 h 39238"/>
              <a:gd name="connsiteX36" fmla="*/ 24634 w 26459"/>
              <a:gd name="connsiteY36" fmla="*/ -694 h 39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6459" h="39238">
                <a:moveTo>
                  <a:pt x="24634" y="-694"/>
                </a:moveTo>
                <a:lnTo>
                  <a:pt x="16005" y="-434"/>
                </a:lnTo>
                <a:lnTo>
                  <a:pt x="11881" y="-341"/>
                </a:lnTo>
                <a:lnTo>
                  <a:pt x="-1683" y="-694"/>
                </a:lnTo>
                <a:lnTo>
                  <a:pt x="-1683" y="2333"/>
                </a:lnTo>
                <a:lnTo>
                  <a:pt x="3704" y="7655"/>
                </a:lnTo>
                <a:cubicBezTo>
                  <a:pt x="6494" y="10487"/>
                  <a:pt x="8544" y="12686"/>
                  <a:pt x="9902" y="14215"/>
                </a:cubicBezTo>
                <a:lnTo>
                  <a:pt x="13097" y="18605"/>
                </a:lnTo>
                <a:lnTo>
                  <a:pt x="14646" y="22154"/>
                </a:lnTo>
                <a:lnTo>
                  <a:pt x="15099" y="25470"/>
                </a:lnTo>
                <a:cubicBezTo>
                  <a:pt x="15099" y="27689"/>
                  <a:pt x="14527" y="29404"/>
                  <a:pt x="13383" y="30549"/>
                </a:cubicBezTo>
                <a:lnTo>
                  <a:pt x="8758" y="32293"/>
                </a:lnTo>
                <a:lnTo>
                  <a:pt x="5612" y="31622"/>
                </a:lnTo>
                <a:lnTo>
                  <a:pt x="3109" y="29645"/>
                </a:lnTo>
                <a:lnTo>
                  <a:pt x="1917" y="25043"/>
                </a:lnTo>
                <a:lnTo>
                  <a:pt x="-300" y="25043"/>
                </a:lnTo>
                <a:lnTo>
                  <a:pt x="463" y="31677"/>
                </a:lnTo>
                <a:lnTo>
                  <a:pt x="796" y="34845"/>
                </a:lnTo>
                <a:lnTo>
                  <a:pt x="5159" y="37612"/>
                </a:lnTo>
                <a:lnTo>
                  <a:pt x="10689" y="38545"/>
                </a:lnTo>
                <a:cubicBezTo>
                  <a:pt x="13549" y="38545"/>
                  <a:pt x="15861" y="38070"/>
                  <a:pt x="17649" y="37138"/>
                </a:cubicBezTo>
                <a:lnTo>
                  <a:pt x="21582" y="33197"/>
                </a:lnTo>
                <a:lnTo>
                  <a:pt x="22894" y="28044"/>
                </a:lnTo>
                <a:lnTo>
                  <a:pt x="22417" y="24678"/>
                </a:lnTo>
                <a:lnTo>
                  <a:pt x="20677" y="21129"/>
                </a:lnTo>
                <a:lnTo>
                  <a:pt x="18055" y="17672"/>
                </a:lnTo>
                <a:lnTo>
                  <a:pt x="14765" y="14328"/>
                </a:lnTo>
                <a:lnTo>
                  <a:pt x="11762" y="11327"/>
                </a:lnTo>
                <a:lnTo>
                  <a:pt x="6541" y="6434"/>
                </a:lnTo>
                <a:lnTo>
                  <a:pt x="6660" y="6052"/>
                </a:lnTo>
                <a:lnTo>
                  <a:pt x="11762" y="6052"/>
                </a:lnTo>
                <a:cubicBezTo>
                  <a:pt x="12548" y="6052"/>
                  <a:pt x="15099" y="6098"/>
                  <a:pt x="19437" y="6191"/>
                </a:cubicBezTo>
                <a:lnTo>
                  <a:pt x="24562" y="6434"/>
                </a:lnTo>
                <a:lnTo>
                  <a:pt x="24777" y="6052"/>
                </a:lnTo>
                <a:lnTo>
                  <a:pt x="24491" y="2045"/>
                </a:lnTo>
                <a:lnTo>
                  <a:pt x="24777" y="-341"/>
                </a:lnTo>
                <a:lnTo>
                  <a:pt x="24634" y="-694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68" name="Vrije vorm 2067">
            <a:extLst>
              <a:ext uri="{FF2B5EF4-FFF2-40B4-BE49-F238E27FC236}">
                <a16:creationId xmlns:a16="http://schemas.microsoft.com/office/drawing/2014/main" id="{E83A458E-D49B-4D42-B602-AB44A5F24E96}"/>
              </a:ext>
            </a:extLst>
          </p:cNvPr>
          <p:cNvSpPr/>
          <p:nvPr/>
        </p:nvSpPr>
        <p:spPr>
          <a:xfrm flipV="1">
            <a:off x="648953" y="1256209"/>
            <a:ext cx="68453" cy="106386"/>
          </a:xfrm>
          <a:custGeom>
            <a:avLst/>
            <a:gdLst>
              <a:gd name="connsiteX0" fmla="*/ 23383 w 24933"/>
              <a:gd name="connsiteY0" fmla="*/ -691 h 39956"/>
              <a:gd name="connsiteX1" fmla="*/ 13157 w 24933"/>
              <a:gd name="connsiteY1" fmla="*/ -364 h 39956"/>
              <a:gd name="connsiteX2" fmla="*/ 905 w 24933"/>
              <a:gd name="connsiteY2" fmla="*/ -691 h 39956"/>
              <a:gd name="connsiteX3" fmla="*/ 905 w 24933"/>
              <a:gd name="connsiteY3" fmla="*/ 1669 h 39956"/>
              <a:gd name="connsiteX4" fmla="*/ 6363 w 24933"/>
              <a:gd name="connsiteY4" fmla="*/ 2265 h 39956"/>
              <a:gd name="connsiteX5" fmla="*/ 7698 w 24933"/>
              <a:gd name="connsiteY5" fmla="*/ 2768 h 39956"/>
              <a:gd name="connsiteX6" fmla="*/ 8270 w 24933"/>
              <a:gd name="connsiteY6" fmla="*/ 4343 h 39956"/>
              <a:gd name="connsiteX7" fmla="*/ 8628 w 24933"/>
              <a:gd name="connsiteY7" fmla="*/ 14434 h 39956"/>
              <a:gd name="connsiteX8" fmla="*/ 8628 w 24933"/>
              <a:gd name="connsiteY8" fmla="*/ 21349 h 39956"/>
              <a:gd name="connsiteX9" fmla="*/ 8556 w 24933"/>
              <a:gd name="connsiteY9" fmla="*/ 29128 h 39956"/>
              <a:gd name="connsiteX10" fmla="*/ 8485 w 24933"/>
              <a:gd name="connsiteY10" fmla="*/ 31607 h 39956"/>
              <a:gd name="connsiteX11" fmla="*/ 8318 w 24933"/>
              <a:gd name="connsiteY11" fmla="*/ 32773 h 39956"/>
              <a:gd name="connsiteX12" fmla="*/ 7889 w 24933"/>
              <a:gd name="connsiteY12" fmla="*/ 33043 h 39956"/>
              <a:gd name="connsiteX13" fmla="*/ 6649 w 24933"/>
              <a:gd name="connsiteY13" fmla="*/ 32559 h 39956"/>
              <a:gd name="connsiteX14" fmla="*/ -621 w 24933"/>
              <a:gd name="connsiteY14" fmla="*/ 29298 h 39956"/>
              <a:gd name="connsiteX15" fmla="*/ -955 w 24933"/>
              <a:gd name="connsiteY15" fmla="*/ 29455 h 39956"/>
              <a:gd name="connsiteX16" fmla="*/ -1241 w 24933"/>
              <a:gd name="connsiteY16" fmla="*/ 31318 h 39956"/>
              <a:gd name="connsiteX17" fmla="*/ -1551 w 24933"/>
              <a:gd name="connsiteY17" fmla="*/ 33107 h 39956"/>
              <a:gd name="connsiteX18" fmla="*/ -1527 w 24933"/>
              <a:gd name="connsiteY18" fmla="*/ 33322 h 39956"/>
              <a:gd name="connsiteX19" fmla="*/ 6697 w 24933"/>
              <a:gd name="connsiteY19" fmla="*/ 35829 h 39956"/>
              <a:gd name="connsiteX20" fmla="*/ 16256 w 24933"/>
              <a:gd name="connsiteY20" fmla="*/ 39266 h 39956"/>
              <a:gd name="connsiteX21" fmla="*/ 16899 w 24933"/>
              <a:gd name="connsiteY21" fmla="*/ 38859 h 39956"/>
              <a:gd name="connsiteX22" fmla="*/ 16756 w 24933"/>
              <a:gd name="connsiteY22" fmla="*/ 36118 h 39956"/>
              <a:gd name="connsiteX23" fmla="*/ 16542 w 24933"/>
              <a:gd name="connsiteY23" fmla="*/ 33229 h 39956"/>
              <a:gd name="connsiteX24" fmla="*/ 16327 w 24933"/>
              <a:gd name="connsiteY24" fmla="*/ 20323 h 39956"/>
              <a:gd name="connsiteX25" fmla="*/ 16327 w 24933"/>
              <a:gd name="connsiteY25" fmla="*/ 16027 h 39956"/>
              <a:gd name="connsiteX26" fmla="*/ 16375 w 24933"/>
              <a:gd name="connsiteY26" fmla="*/ 7296 h 39956"/>
              <a:gd name="connsiteX27" fmla="*/ 16756 w 24933"/>
              <a:gd name="connsiteY27" fmla="*/ 2955 h 39956"/>
              <a:gd name="connsiteX28" fmla="*/ 17328 w 24933"/>
              <a:gd name="connsiteY28" fmla="*/ 2358 h 39956"/>
              <a:gd name="connsiteX29" fmla="*/ 21500 w 24933"/>
              <a:gd name="connsiteY29" fmla="*/ 1836 h 39956"/>
              <a:gd name="connsiteX30" fmla="*/ 23383 w 24933"/>
              <a:gd name="connsiteY30" fmla="*/ 1669 h 39956"/>
              <a:gd name="connsiteX31" fmla="*/ 23383 w 24933"/>
              <a:gd name="connsiteY31" fmla="*/ -691 h 39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33" h="39956">
                <a:moveTo>
                  <a:pt x="23383" y="-691"/>
                </a:moveTo>
                <a:cubicBezTo>
                  <a:pt x="19164" y="-502"/>
                  <a:pt x="15779" y="-364"/>
                  <a:pt x="13157" y="-364"/>
                </a:cubicBezTo>
                <a:cubicBezTo>
                  <a:pt x="11417" y="-364"/>
                  <a:pt x="7293" y="-502"/>
                  <a:pt x="905" y="-691"/>
                </a:cubicBezTo>
                <a:lnTo>
                  <a:pt x="905" y="1669"/>
                </a:lnTo>
                <a:lnTo>
                  <a:pt x="6363" y="2265"/>
                </a:lnTo>
                <a:lnTo>
                  <a:pt x="7698" y="2768"/>
                </a:lnTo>
                <a:lnTo>
                  <a:pt x="8270" y="4343"/>
                </a:lnTo>
                <a:cubicBezTo>
                  <a:pt x="8532" y="5843"/>
                  <a:pt x="8628" y="9207"/>
                  <a:pt x="8628" y="14434"/>
                </a:cubicBezTo>
                <a:lnTo>
                  <a:pt x="8628" y="21349"/>
                </a:lnTo>
                <a:cubicBezTo>
                  <a:pt x="8628" y="23735"/>
                  <a:pt x="8628" y="26361"/>
                  <a:pt x="8556" y="29128"/>
                </a:cubicBezTo>
                <a:lnTo>
                  <a:pt x="8485" y="31607"/>
                </a:lnTo>
                <a:lnTo>
                  <a:pt x="8318" y="32773"/>
                </a:lnTo>
                <a:lnTo>
                  <a:pt x="7889" y="33043"/>
                </a:lnTo>
                <a:lnTo>
                  <a:pt x="6649" y="32559"/>
                </a:lnTo>
                <a:cubicBezTo>
                  <a:pt x="2812" y="30936"/>
                  <a:pt x="451" y="29791"/>
                  <a:pt x="-621" y="29298"/>
                </a:cubicBezTo>
                <a:lnTo>
                  <a:pt x="-955" y="29455"/>
                </a:lnTo>
                <a:lnTo>
                  <a:pt x="-1241" y="31318"/>
                </a:lnTo>
                <a:lnTo>
                  <a:pt x="-1551" y="33107"/>
                </a:lnTo>
                <a:lnTo>
                  <a:pt x="-1527" y="33322"/>
                </a:lnTo>
                <a:cubicBezTo>
                  <a:pt x="1930" y="34328"/>
                  <a:pt x="4671" y="35140"/>
                  <a:pt x="6697" y="35829"/>
                </a:cubicBezTo>
                <a:cubicBezTo>
                  <a:pt x="8747" y="36518"/>
                  <a:pt x="11894" y="37647"/>
                  <a:pt x="16256" y="39266"/>
                </a:cubicBezTo>
                <a:lnTo>
                  <a:pt x="16899" y="38859"/>
                </a:lnTo>
                <a:lnTo>
                  <a:pt x="16756" y="36118"/>
                </a:lnTo>
                <a:lnTo>
                  <a:pt x="16542" y="33229"/>
                </a:lnTo>
                <a:cubicBezTo>
                  <a:pt x="16494" y="31561"/>
                  <a:pt x="16423" y="27220"/>
                  <a:pt x="16327" y="20323"/>
                </a:cubicBezTo>
                <a:lnTo>
                  <a:pt x="16327" y="16027"/>
                </a:lnTo>
                <a:cubicBezTo>
                  <a:pt x="16327" y="11833"/>
                  <a:pt x="16327" y="8918"/>
                  <a:pt x="16375" y="7296"/>
                </a:cubicBezTo>
                <a:cubicBezTo>
                  <a:pt x="16447" y="4818"/>
                  <a:pt x="16566" y="3336"/>
                  <a:pt x="16756" y="2955"/>
                </a:cubicBezTo>
                <a:lnTo>
                  <a:pt x="17328" y="2358"/>
                </a:lnTo>
                <a:cubicBezTo>
                  <a:pt x="17805" y="2124"/>
                  <a:pt x="19164" y="1957"/>
                  <a:pt x="21500" y="1836"/>
                </a:cubicBezTo>
                <a:lnTo>
                  <a:pt x="23383" y="1669"/>
                </a:lnTo>
                <a:lnTo>
                  <a:pt x="23383" y="-691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69" name="Vrije vorm 2068">
            <a:extLst>
              <a:ext uri="{FF2B5EF4-FFF2-40B4-BE49-F238E27FC236}">
                <a16:creationId xmlns:a16="http://schemas.microsoft.com/office/drawing/2014/main" id="{388E4007-9FF7-7955-B3A5-269D54A85809}"/>
              </a:ext>
            </a:extLst>
          </p:cNvPr>
          <p:cNvSpPr/>
          <p:nvPr/>
        </p:nvSpPr>
        <p:spPr>
          <a:xfrm flipV="1">
            <a:off x="730299" y="1258360"/>
            <a:ext cx="70743" cy="106908"/>
          </a:xfrm>
          <a:custGeom>
            <a:avLst/>
            <a:gdLst>
              <a:gd name="connsiteX0" fmla="*/ 10857 w 25767"/>
              <a:gd name="connsiteY0" fmla="*/ -690 h 40152"/>
              <a:gd name="connsiteX1" fmla="*/ 5113 w 25767"/>
              <a:gd name="connsiteY1" fmla="*/ 596 h 40152"/>
              <a:gd name="connsiteX2" fmla="*/ 1132 w 25767"/>
              <a:gd name="connsiteY2" fmla="*/ 4293 h 40152"/>
              <a:gd name="connsiteX3" fmla="*/ -1037 w 25767"/>
              <a:gd name="connsiteY3" fmla="*/ 10426 h 40152"/>
              <a:gd name="connsiteX4" fmla="*/ -1562 w 25767"/>
              <a:gd name="connsiteY4" fmla="*/ 18682 h 40152"/>
              <a:gd name="connsiteX5" fmla="*/ -847 w 25767"/>
              <a:gd name="connsiteY5" fmla="*/ 27888 h 40152"/>
              <a:gd name="connsiteX6" fmla="*/ 822 w 25767"/>
              <a:gd name="connsiteY6" fmla="*/ 32874 h 40152"/>
              <a:gd name="connsiteX7" fmla="*/ 3611 w 25767"/>
              <a:gd name="connsiteY7" fmla="*/ 36526 h 40152"/>
              <a:gd name="connsiteX8" fmla="*/ 7234 w 25767"/>
              <a:gd name="connsiteY8" fmla="*/ 38716 h 40152"/>
              <a:gd name="connsiteX9" fmla="*/ 11692 w 25767"/>
              <a:gd name="connsiteY9" fmla="*/ 39462 h 40152"/>
              <a:gd name="connsiteX10" fmla="*/ 19153 w 25767"/>
              <a:gd name="connsiteY10" fmla="*/ 37401 h 40152"/>
              <a:gd name="connsiteX11" fmla="*/ 22991 w 25767"/>
              <a:gd name="connsiteY11" fmla="*/ 31495 h 40152"/>
              <a:gd name="connsiteX12" fmla="*/ 24206 w 25767"/>
              <a:gd name="connsiteY12" fmla="*/ 20918 h 40152"/>
              <a:gd name="connsiteX13" fmla="*/ 23730 w 25767"/>
              <a:gd name="connsiteY13" fmla="*/ 12523 h 40152"/>
              <a:gd name="connsiteX14" fmla="*/ 21966 w 25767"/>
              <a:gd name="connsiteY14" fmla="*/ 6390 h 40152"/>
              <a:gd name="connsiteX15" fmla="*/ 19153 w 25767"/>
              <a:gd name="connsiteY15" fmla="*/ 2337 h 40152"/>
              <a:gd name="connsiteX16" fmla="*/ 15649 w 25767"/>
              <a:gd name="connsiteY16" fmla="*/ 73 h 40152"/>
              <a:gd name="connsiteX17" fmla="*/ 10857 w 25767"/>
              <a:gd name="connsiteY17" fmla="*/ -690 h 40152"/>
              <a:gd name="connsiteX18" fmla="*/ 10953 w 25767"/>
              <a:gd name="connsiteY18" fmla="*/ 36378 h 40152"/>
              <a:gd name="connsiteX19" fmla="*/ 8188 w 25767"/>
              <a:gd name="connsiteY19" fmla="*/ 35426 h 40152"/>
              <a:gd name="connsiteX20" fmla="*/ 6424 w 25767"/>
              <a:gd name="connsiteY20" fmla="*/ 32249 h 40152"/>
              <a:gd name="connsiteX21" fmla="*/ 5494 w 25767"/>
              <a:gd name="connsiteY21" fmla="*/ 22716 h 40152"/>
              <a:gd name="connsiteX22" fmla="*/ 6138 w 25767"/>
              <a:gd name="connsiteY22" fmla="*/ 10930 h 40152"/>
              <a:gd name="connsiteX23" fmla="*/ 8283 w 25767"/>
              <a:gd name="connsiteY23" fmla="*/ 3959 h 40152"/>
              <a:gd name="connsiteX24" fmla="*/ 11644 w 25767"/>
              <a:gd name="connsiteY24" fmla="*/ 2244 h 40152"/>
              <a:gd name="connsiteX25" fmla="*/ 15529 w 25767"/>
              <a:gd name="connsiteY25" fmla="*/ 4658 h 40152"/>
              <a:gd name="connsiteX26" fmla="*/ 17079 w 25767"/>
              <a:gd name="connsiteY26" fmla="*/ 16342 h 40152"/>
              <a:gd name="connsiteX27" fmla="*/ 16316 w 25767"/>
              <a:gd name="connsiteY27" fmla="*/ 28410 h 40152"/>
              <a:gd name="connsiteX28" fmla="*/ 15172 w 25767"/>
              <a:gd name="connsiteY28" fmla="*/ 33227 h 40152"/>
              <a:gd name="connsiteX29" fmla="*/ 13432 w 25767"/>
              <a:gd name="connsiteY29" fmla="*/ 35593 h 40152"/>
              <a:gd name="connsiteX30" fmla="*/ 10953 w 25767"/>
              <a:gd name="connsiteY30" fmla="*/ 36378 h 40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5767" h="40152">
                <a:moveTo>
                  <a:pt x="10857" y="-690"/>
                </a:moveTo>
                <a:cubicBezTo>
                  <a:pt x="8712" y="-690"/>
                  <a:pt x="6758" y="-263"/>
                  <a:pt x="5113" y="596"/>
                </a:cubicBezTo>
                <a:lnTo>
                  <a:pt x="1132" y="4293"/>
                </a:lnTo>
                <a:cubicBezTo>
                  <a:pt x="83" y="5944"/>
                  <a:pt x="-632" y="7993"/>
                  <a:pt x="-1037" y="10426"/>
                </a:cubicBezTo>
                <a:cubicBezTo>
                  <a:pt x="-1371" y="12886"/>
                  <a:pt x="-1562" y="15624"/>
                  <a:pt x="-1562" y="18682"/>
                </a:cubicBezTo>
                <a:cubicBezTo>
                  <a:pt x="-1562" y="22046"/>
                  <a:pt x="-1323" y="25121"/>
                  <a:pt x="-847" y="27888"/>
                </a:cubicBezTo>
                <a:lnTo>
                  <a:pt x="822" y="32874"/>
                </a:lnTo>
                <a:lnTo>
                  <a:pt x="3611" y="36526"/>
                </a:lnTo>
                <a:lnTo>
                  <a:pt x="7234" y="38716"/>
                </a:lnTo>
                <a:lnTo>
                  <a:pt x="11692" y="39462"/>
                </a:lnTo>
                <a:cubicBezTo>
                  <a:pt x="14862" y="39462"/>
                  <a:pt x="17365" y="38809"/>
                  <a:pt x="19153" y="37401"/>
                </a:cubicBezTo>
                <a:cubicBezTo>
                  <a:pt x="20917" y="35994"/>
                  <a:pt x="22204" y="34047"/>
                  <a:pt x="22991" y="31495"/>
                </a:cubicBezTo>
                <a:cubicBezTo>
                  <a:pt x="23801" y="28959"/>
                  <a:pt x="24206" y="25429"/>
                  <a:pt x="24206" y="20918"/>
                </a:cubicBezTo>
                <a:cubicBezTo>
                  <a:pt x="24206" y="17721"/>
                  <a:pt x="24040" y="14935"/>
                  <a:pt x="23730" y="12523"/>
                </a:cubicBezTo>
                <a:cubicBezTo>
                  <a:pt x="23396" y="10164"/>
                  <a:pt x="22824" y="8115"/>
                  <a:pt x="21966" y="6390"/>
                </a:cubicBezTo>
                <a:lnTo>
                  <a:pt x="19153" y="2337"/>
                </a:lnTo>
                <a:lnTo>
                  <a:pt x="15649" y="73"/>
                </a:lnTo>
                <a:lnTo>
                  <a:pt x="10857" y="-690"/>
                </a:lnTo>
                <a:moveTo>
                  <a:pt x="10953" y="36378"/>
                </a:moveTo>
                <a:lnTo>
                  <a:pt x="8188" y="35426"/>
                </a:lnTo>
                <a:lnTo>
                  <a:pt x="6424" y="32249"/>
                </a:lnTo>
                <a:cubicBezTo>
                  <a:pt x="5780" y="30152"/>
                  <a:pt x="5494" y="26955"/>
                  <a:pt x="5494" y="22716"/>
                </a:cubicBezTo>
                <a:cubicBezTo>
                  <a:pt x="5494" y="18346"/>
                  <a:pt x="5709" y="14415"/>
                  <a:pt x="6138" y="10930"/>
                </a:cubicBezTo>
                <a:cubicBezTo>
                  <a:pt x="6590" y="7444"/>
                  <a:pt x="7306" y="5104"/>
                  <a:pt x="8283" y="3959"/>
                </a:cubicBezTo>
                <a:lnTo>
                  <a:pt x="11644" y="2244"/>
                </a:lnTo>
                <a:lnTo>
                  <a:pt x="15529" y="4658"/>
                </a:lnTo>
                <a:cubicBezTo>
                  <a:pt x="16578" y="6233"/>
                  <a:pt x="17079" y="10138"/>
                  <a:pt x="17079" y="16342"/>
                </a:cubicBezTo>
                <a:cubicBezTo>
                  <a:pt x="17079" y="20378"/>
                  <a:pt x="16817" y="24403"/>
                  <a:pt x="16316" y="28410"/>
                </a:cubicBezTo>
                <a:lnTo>
                  <a:pt x="15172" y="33227"/>
                </a:lnTo>
                <a:lnTo>
                  <a:pt x="13432" y="35593"/>
                </a:lnTo>
                <a:lnTo>
                  <a:pt x="10953" y="36378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0" name="Vrije vorm 2069">
            <a:extLst>
              <a:ext uri="{FF2B5EF4-FFF2-40B4-BE49-F238E27FC236}">
                <a16:creationId xmlns:a16="http://schemas.microsoft.com/office/drawing/2014/main" id="{3CE3591B-8DF7-CA01-FF8F-97FD84035BFD}"/>
              </a:ext>
            </a:extLst>
          </p:cNvPr>
          <p:cNvSpPr/>
          <p:nvPr/>
        </p:nvSpPr>
        <p:spPr>
          <a:xfrm flipV="1">
            <a:off x="841033" y="1044770"/>
            <a:ext cx="68519" cy="106336"/>
          </a:xfrm>
          <a:custGeom>
            <a:avLst/>
            <a:gdLst>
              <a:gd name="connsiteX0" fmla="*/ 23382 w 24957"/>
              <a:gd name="connsiteY0" fmla="*/ -728 h 39937"/>
              <a:gd name="connsiteX1" fmla="*/ 13203 w 24957"/>
              <a:gd name="connsiteY1" fmla="*/ -411 h 39937"/>
              <a:gd name="connsiteX2" fmla="*/ 879 w 24957"/>
              <a:gd name="connsiteY2" fmla="*/ -728 h 39937"/>
              <a:gd name="connsiteX3" fmla="*/ 879 w 24957"/>
              <a:gd name="connsiteY3" fmla="*/ 1638 h 39937"/>
              <a:gd name="connsiteX4" fmla="*/ 6314 w 24957"/>
              <a:gd name="connsiteY4" fmla="*/ 2189 h 39937"/>
              <a:gd name="connsiteX5" fmla="*/ 7625 w 24957"/>
              <a:gd name="connsiteY5" fmla="*/ 2738 h 39937"/>
              <a:gd name="connsiteX6" fmla="*/ 8245 w 24957"/>
              <a:gd name="connsiteY6" fmla="*/ 4315 h 39937"/>
              <a:gd name="connsiteX7" fmla="*/ 8626 w 24957"/>
              <a:gd name="connsiteY7" fmla="*/ 14351 h 39937"/>
              <a:gd name="connsiteX8" fmla="*/ 8626 w 24957"/>
              <a:gd name="connsiteY8" fmla="*/ 21318 h 39937"/>
              <a:gd name="connsiteX9" fmla="*/ 8531 w 24957"/>
              <a:gd name="connsiteY9" fmla="*/ 29071 h 39937"/>
              <a:gd name="connsiteX10" fmla="*/ 8460 w 24957"/>
              <a:gd name="connsiteY10" fmla="*/ 31598 h 39937"/>
              <a:gd name="connsiteX11" fmla="*/ 8292 w 24957"/>
              <a:gd name="connsiteY11" fmla="*/ 32771 h 39937"/>
              <a:gd name="connsiteX12" fmla="*/ 7864 w 24957"/>
              <a:gd name="connsiteY12" fmla="*/ 33050 h 39937"/>
              <a:gd name="connsiteX13" fmla="*/ 6552 w 24957"/>
              <a:gd name="connsiteY13" fmla="*/ 32530 h 39937"/>
              <a:gd name="connsiteX14" fmla="*/ -623 w 24957"/>
              <a:gd name="connsiteY14" fmla="*/ 29241 h 39937"/>
              <a:gd name="connsiteX15" fmla="*/ -980 w 24957"/>
              <a:gd name="connsiteY15" fmla="*/ 29455 h 39937"/>
              <a:gd name="connsiteX16" fmla="*/ -1266 w 24957"/>
              <a:gd name="connsiteY16" fmla="*/ 31290 h 39937"/>
              <a:gd name="connsiteX17" fmla="*/ -1576 w 24957"/>
              <a:gd name="connsiteY17" fmla="*/ 33050 h 39937"/>
              <a:gd name="connsiteX18" fmla="*/ -1528 w 24957"/>
              <a:gd name="connsiteY18" fmla="*/ 33265 h 39937"/>
              <a:gd name="connsiteX19" fmla="*/ 6672 w 24957"/>
              <a:gd name="connsiteY19" fmla="*/ 35772 h 39937"/>
              <a:gd name="connsiteX20" fmla="*/ 16207 w 24957"/>
              <a:gd name="connsiteY20" fmla="*/ 39210 h 39937"/>
              <a:gd name="connsiteX21" fmla="*/ 16850 w 24957"/>
              <a:gd name="connsiteY21" fmla="*/ 38802 h 39937"/>
              <a:gd name="connsiteX22" fmla="*/ 16731 w 24957"/>
              <a:gd name="connsiteY22" fmla="*/ 36061 h 39937"/>
              <a:gd name="connsiteX23" fmla="*/ 16517 w 24957"/>
              <a:gd name="connsiteY23" fmla="*/ 33201 h 39937"/>
              <a:gd name="connsiteX24" fmla="*/ 16302 w 24957"/>
              <a:gd name="connsiteY24" fmla="*/ 20267 h 39937"/>
              <a:gd name="connsiteX25" fmla="*/ 16302 w 24957"/>
              <a:gd name="connsiteY25" fmla="*/ 15999 h 39937"/>
              <a:gd name="connsiteX26" fmla="*/ 16326 w 24957"/>
              <a:gd name="connsiteY26" fmla="*/ 7249 h 39937"/>
              <a:gd name="connsiteX27" fmla="*/ 16731 w 24957"/>
              <a:gd name="connsiteY27" fmla="*/ 2907 h 39937"/>
              <a:gd name="connsiteX28" fmla="*/ 17279 w 24957"/>
              <a:gd name="connsiteY28" fmla="*/ 2311 h 39937"/>
              <a:gd name="connsiteX29" fmla="*/ 21475 w 24957"/>
              <a:gd name="connsiteY29" fmla="*/ 1808 h 39937"/>
              <a:gd name="connsiteX30" fmla="*/ 23382 w 24957"/>
              <a:gd name="connsiteY30" fmla="*/ 1638 h 39937"/>
              <a:gd name="connsiteX31" fmla="*/ 23382 w 24957"/>
              <a:gd name="connsiteY31" fmla="*/ -728 h 39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57" h="39937">
                <a:moveTo>
                  <a:pt x="23382" y="-728"/>
                </a:moveTo>
                <a:cubicBezTo>
                  <a:pt x="19162" y="-559"/>
                  <a:pt x="15777" y="-411"/>
                  <a:pt x="13203" y="-411"/>
                </a:cubicBezTo>
                <a:cubicBezTo>
                  <a:pt x="11391" y="-411"/>
                  <a:pt x="7291" y="-559"/>
                  <a:pt x="879" y="-728"/>
                </a:cubicBezTo>
                <a:lnTo>
                  <a:pt x="879" y="1638"/>
                </a:lnTo>
                <a:lnTo>
                  <a:pt x="6314" y="2189"/>
                </a:lnTo>
                <a:lnTo>
                  <a:pt x="7625" y="2738"/>
                </a:lnTo>
                <a:lnTo>
                  <a:pt x="8245" y="4315"/>
                </a:lnTo>
                <a:cubicBezTo>
                  <a:pt x="8483" y="5787"/>
                  <a:pt x="8626" y="9150"/>
                  <a:pt x="8626" y="14351"/>
                </a:cubicBezTo>
                <a:lnTo>
                  <a:pt x="8626" y="21318"/>
                </a:lnTo>
                <a:cubicBezTo>
                  <a:pt x="8626" y="23723"/>
                  <a:pt x="8555" y="26304"/>
                  <a:pt x="8531" y="29071"/>
                </a:cubicBezTo>
                <a:lnTo>
                  <a:pt x="8460" y="31598"/>
                </a:lnTo>
                <a:lnTo>
                  <a:pt x="8292" y="32771"/>
                </a:lnTo>
                <a:lnTo>
                  <a:pt x="7864" y="33050"/>
                </a:lnTo>
                <a:lnTo>
                  <a:pt x="6552" y="32530"/>
                </a:lnTo>
                <a:cubicBezTo>
                  <a:pt x="2834" y="30880"/>
                  <a:pt x="355" y="29789"/>
                  <a:pt x="-623" y="29241"/>
                </a:cubicBezTo>
                <a:lnTo>
                  <a:pt x="-980" y="29455"/>
                </a:lnTo>
                <a:lnTo>
                  <a:pt x="-1266" y="31290"/>
                </a:lnTo>
                <a:lnTo>
                  <a:pt x="-1576" y="33050"/>
                </a:lnTo>
                <a:lnTo>
                  <a:pt x="-1528" y="33265"/>
                </a:lnTo>
                <a:cubicBezTo>
                  <a:pt x="1904" y="34272"/>
                  <a:pt x="4669" y="35111"/>
                  <a:pt x="6672" y="35772"/>
                </a:cubicBezTo>
                <a:cubicBezTo>
                  <a:pt x="8746" y="36462"/>
                  <a:pt x="11916" y="37609"/>
                  <a:pt x="16207" y="39210"/>
                </a:cubicBezTo>
                <a:lnTo>
                  <a:pt x="16850" y="38802"/>
                </a:lnTo>
                <a:lnTo>
                  <a:pt x="16731" y="36061"/>
                </a:lnTo>
                <a:lnTo>
                  <a:pt x="16517" y="33201"/>
                </a:lnTo>
                <a:cubicBezTo>
                  <a:pt x="16445" y="31476"/>
                  <a:pt x="16373" y="27189"/>
                  <a:pt x="16302" y="20267"/>
                </a:cubicBezTo>
                <a:lnTo>
                  <a:pt x="16302" y="15999"/>
                </a:lnTo>
                <a:cubicBezTo>
                  <a:pt x="16302" y="11796"/>
                  <a:pt x="16302" y="8871"/>
                  <a:pt x="16326" y="7249"/>
                </a:cubicBezTo>
                <a:cubicBezTo>
                  <a:pt x="16373" y="4790"/>
                  <a:pt x="16517" y="3334"/>
                  <a:pt x="16731" y="2907"/>
                </a:cubicBezTo>
                <a:lnTo>
                  <a:pt x="17279" y="2311"/>
                </a:lnTo>
                <a:cubicBezTo>
                  <a:pt x="17756" y="2068"/>
                  <a:pt x="19162" y="1901"/>
                  <a:pt x="21475" y="1808"/>
                </a:cubicBezTo>
                <a:lnTo>
                  <a:pt x="23382" y="1638"/>
                </a:lnTo>
                <a:lnTo>
                  <a:pt x="23382" y="-728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1" name="Vrije vorm 2070">
            <a:extLst>
              <a:ext uri="{FF2B5EF4-FFF2-40B4-BE49-F238E27FC236}">
                <a16:creationId xmlns:a16="http://schemas.microsoft.com/office/drawing/2014/main" id="{8EF62D7B-15F2-9771-6A2F-0C365859BF52}"/>
              </a:ext>
            </a:extLst>
          </p:cNvPr>
          <p:cNvSpPr/>
          <p:nvPr/>
        </p:nvSpPr>
        <p:spPr>
          <a:xfrm flipV="1">
            <a:off x="916490" y="1044770"/>
            <a:ext cx="68453" cy="106336"/>
          </a:xfrm>
          <a:custGeom>
            <a:avLst/>
            <a:gdLst>
              <a:gd name="connsiteX0" fmla="*/ 23348 w 24933"/>
              <a:gd name="connsiteY0" fmla="*/ -728 h 39937"/>
              <a:gd name="connsiteX1" fmla="*/ 13145 w 24933"/>
              <a:gd name="connsiteY1" fmla="*/ -411 h 39937"/>
              <a:gd name="connsiteX2" fmla="*/ 845 w 24933"/>
              <a:gd name="connsiteY2" fmla="*/ -728 h 39937"/>
              <a:gd name="connsiteX3" fmla="*/ 845 w 24933"/>
              <a:gd name="connsiteY3" fmla="*/ 1638 h 39937"/>
              <a:gd name="connsiteX4" fmla="*/ 6352 w 24933"/>
              <a:gd name="connsiteY4" fmla="*/ 2189 h 39937"/>
              <a:gd name="connsiteX5" fmla="*/ 7639 w 24933"/>
              <a:gd name="connsiteY5" fmla="*/ 2738 h 39937"/>
              <a:gd name="connsiteX6" fmla="*/ 8235 w 24933"/>
              <a:gd name="connsiteY6" fmla="*/ 4315 h 39937"/>
              <a:gd name="connsiteX7" fmla="*/ 8592 w 24933"/>
              <a:gd name="connsiteY7" fmla="*/ 14351 h 39937"/>
              <a:gd name="connsiteX8" fmla="*/ 8592 w 24933"/>
              <a:gd name="connsiteY8" fmla="*/ 21318 h 39937"/>
              <a:gd name="connsiteX9" fmla="*/ 8545 w 24933"/>
              <a:gd name="connsiteY9" fmla="*/ 29071 h 39937"/>
              <a:gd name="connsiteX10" fmla="*/ 8473 w 24933"/>
              <a:gd name="connsiteY10" fmla="*/ 31598 h 39937"/>
              <a:gd name="connsiteX11" fmla="*/ 8306 w 24933"/>
              <a:gd name="connsiteY11" fmla="*/ 32771 h 39937"/>
              <a:gd name="connsiteX12" fmla="*/ 7853 w 24933"/>
              <a:gd name="connsiteY12" fmla="*/ 33050 h 39937"/>
              <a:gd name="connsiteX13" fmla="*/ 6590 w 24933"/>
              <a:gd name="connsiteY13" fmla="*/ 32530 h 39937"/>
              <a:gd name="connsiteX14" fmla="*/ -633 w 24933"/>
              <a:gd name="connsiteY14" fmla="*/ 29241 h 39937"/>
              <a:gd name="connsiteX15" fmla="*/ -990 w 24933"/>
              <a:gd name="connsiteY15" fmla="*/ 29455 h 39937"/>
              <a:gd name="connsiteX16" fmla="*/ -1300 w 24933"/>
              <a:gd name="connsiteY16" fmla="*/ 31290 h 39937"/>
              <a:gd name="connsiteX17" fmla="*/ -1586 w 24933"/>
              <a:gd name="connsiteY17" fmla="*/ 33050 h 39937"/>
              <a:gd name="connsiteX18" fmla="*/ -1538 w 24933"/>
              <a:gd name="connsiteY18" fmla="*/ 33265 h 39937"/>
              <a:gd name="connsiteX19" fmla="*/ 6661 w 24933"/>
              <a:gd name="connsiteY19" fmla="*/ 35772 h 39937"/>
              <a:gd name="connsiteX20" fmla="*/ 16268 w 24933"/>
              <a:gd name="connsiteY20" fmla="*/ 39210 h 39937"/>
              <a:gd name="connsiteX21" fmla="*/ 16864 w 24933"/>
              <a:gd name="connsiteY21" fmla="*/ 38802 h 39937"/>
              <a:gd name="connsiteX22" fmla="*/ 16673 w 24933"/>
              <a:gd name="connsiteY22" fmla="*/ 36061 h 39937"/>
              <a:gd name="connsiteX23" fmla="*/ 16506 w 24933"/>
              <a:gd name="connsiteY23" fmla="*/ 33201 h 39937"/>
              <a:gd name="connsiteX24" fmla="*/ 16268 w 24933"/>
              <a:gd name="connsiteY24" fmla="*/ 20267 h 39937"/>
              <a:gd name="connsiteX25" fmla="*/ 16268 w 24933"/>
              <a:gd name="connsiteY25" fmla="*/ 15999 h 39937"/>
              <a:gd name="connsiteX26" fmla="*/ 16363 w 24933"/>
              <a:gd name="connsiteY26" fmla="*/ 7249 h 39937"/>
              <a:gd name="connsiteX27" fmla="*/ 16721 w 24933"/>
              <a:gd name="connsiteY27" fmla="*/ 2907 h 39937"/>
              <a:gd name="connsiteX28" fmla="*/ 17317 w 24933"/>
              <a:gd name="connsiteY28" fmla="*/ 2311 h 39937"/>
              <a:gd name="connsiteX29" fmla="*/ 21465 w 24933"/>
              <a:gd name="connsiteY29" fmla="*/ 1808 h 39937"/>
              <a:gd name="connsiteX30" fmla="*/ 23348 w 24933"/>
              <a:gd name="connsiteY30" fmla="*/ 1638 h 39937"/>
              <a:gd name="connsiteX31" fmla="*/ 23348 w 24933"/>
              <a:gd name="connsiteY31" fmla="*/ -728 h 39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33" h="39937">
                <a:moveTo>
                  <a:pt x="23348" y="-728"/>
                </a:moveTo>
                <a:cubicBezTo>
                  <a:pt x="19176" y="-559"/>
                  <a:pt x="15767" y="-411"/>
                  <a:pt x="13145" y="-411"/>
                </a:cubicBezTo>
                <a:cubicBezTo>
                  <a:pt x="11381" y="-411"/>
                  <a:pt x="7305" y="-559"/>
                  <a:pt x="845" y="-728"/>
                </a:cubicBezTo>
                <a:lnTo>
                  <a:pt x="845" y="1638"/>
                </a:lnTo>
                <a:lnTo>
                  <a:pt x="6352" y="2189"/>
                </a:lnTo>
                <a:lnTo>
                  <a:pt x="7639" y="2738"/>
                </a:lnTo>
                <a:lnTo>
                  <a:pt x="8235" y="4315"/>
                </a:lnTo>
                <a:cubicBezTo>
                  <a:pt x="8473" y="5787"/>
                  <a:pt x="8592" y="9150"/>
                  <a:pt x="8592" y="14351"/>
                </a:cubicBezTo>
                <a:lnTo>
                  <a:pt x="8592" y="21318"/>
                </a:lnTo>
                <a:cubicBezTo>
                  <a:pt x="8592" y="23723"/>
                  <a:pt x="8592" y="26304"/>
                  <a:pt x="8545" y="29071"/>
                </a:cubicBezTo>
                <a:lnTo>
                  <a:pt x="8473" y="31598"/>
                </a:lnTo>
                <a:lnTo>
                  <a:pt x="8306" y="32771"/>
                </a:lnTo>
                <a:lnTo>
                  <a:pt x="7853" y="33050"/>
                </a:lnTo>
                <a:lnTo>
                  <a:pt x="6590" y="32530"/>
                </a:lnTo>
                <a:cubicBezTo>
                  <a:pt x="2776" y="30880"/>
                  <a:pt x="416" y="29789"/>
                  <a:pt x="-633" y="29241"/>
                </a:cubicBezTo>
                <a:lnTo>
                  <a:pt x="-990" y="29455"/>
                </a:lnTo>
                <a:lnTo>
                  <a:pt x="-1300" y="31290"/>
                </a:lnTo>
                <a:lnTo>
                  <a:pt x="-1586" y="33050"/>
                </a:lnTo>
                <a:lnTo>
                  <a:pt x="-1538" y="33265"/>
                </a:lnTo>
                <a:cubicBezTo>
                  <a:pt x="1870" y="34272"/>
                  <a:pt x="4635" y="35111"/>
                  <a:pt x="6661" y="35772"/>
                </a:cubicBezTo>
                <a:cubicBezTo>
                  <a:pt x="8712" y="36462"/>
                  <a:pt x="11906" y="37609"/>
                  <a:pt x="16268" y="39210"/>
                </a:cubicBezTo>
                <a:lnTo>
                  <a:pt x="16864" y="38802"/>
                </a:lnTo>
                <a:lnTo>
                  <a:pt x="16673" y="36061"/>
                </a:lnTo>
                <a:lnTo>
                  <a:pt x="16506" y="33201"/>
                </a:lnTo>
                <a:cubicBezTo>
                  <a:pt x="16459" y="31476"/>
                  <a:pt x="16363" y="27189"/>
                  <a:pt x="16268" y="20267"/>
                </a:cubicBezTo>
                <a:lnTo>
                  <a:pt x="16268" y="15999"/>
                </a:lnTo>
                <a:cubicBezTo>
                  <a:pt x="16268" y="11796"/>
                  <a:pt x="16292" y="8871"/>
                  <a:pt x="16363" y="7249"/>
                </a:cubicBezTo>
                <a:cubicBezTo>
                  <a:pt x="16411" y="4790"/>
                  <a:pt x="16506" y="3334"/>
                  <a:pt x="16721" y="2907"/>
                </a:cubicBezTo>
                <a:lnTo>
                  <a:pt x="17317" y="2311"/>
                </a:lnTo>
                <a:cubicBezTo>
                  <a:pt x="17770" y="2068"/>
                  <a:pt x="19152" y="1901"/>
                  <a:pt x="21465" y="1808"/>
                </a:cubicBezTo>
                <a:lnTo>
                  <a:pt x="23348" y="1638"/>
                </a:lnTo>
                <a:lnTo>
                  <a:pt x="23348" y="-728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2" name="Vrije vorm 2071">
            <a:extLst>
              <a:ext uri="{FF2B5EF4-FFF2-40B4-BE49-F238E27FC236}">
                <a16:creationId xmlns:a16="http://schemas.microsoft.com/office/drawing/2014/main" id="{45E2BDDE-30A3-FEBF-9D2D-D91979D15B4C}"/>
              </a:ext>
            </a:extLst>
          </p:cNvPr>
          <p:cNvSpPr/>
          <p:nvPr/>
        </p:nvSpPr>
        <p:spPr>
          <a:xfrm flipV="1">
            <a:off x="1119044" y="951332"/>
            <a:ext cx="68585" cy="106261"/>
          </a:xfrm>
          <a:custGeom>
            <a:avLst/>
            <a:gdLst>
              <a:gd name="connsiteX0" fmla="*/ 866 w 24981"/>
              <a:gd name="connsiteY0" fmla="*/ -745 h 39909"/>
              <a:gd name="connsiteX1" fmla="*/ 866 w 24981"/>
              <a:gd name="connsiteY1" fmla="*/ 1567 h 39909"/>
              <a:gd name="connsiteX2" fmla="*/ 6372 w 24981"/>
              <a:gd name="connsiteY2" fmla="*/ 2163 h 39909"/>
              <a:gd name="connsiteX3" fmla="*/ 7636 w 24981"/>
              <a:gd name="connsiteY3" fmla="*/ 2666 h 39909"/>
              <a:gd name="connsiteX4" fmla="*/ 8255 w 24981"/>
              <a:gd name="connsiteY4" fmla="*/ 4260 h 39909"/>
              <a:gd name="connsiteX5" fmla="*/ 8613 w 24981"/>
              <a:gd name="connsiteY5" fmla="*/ 14305 h 39909"/>
              <a:gd name="connsiteX6" fmla="*/ 8613 w 24981"/>
              <a:gd name="connsiteY6" fmla="*/ 21247 h 39909"/>
              <a:gd name="connsiteX7" fmla="*/ 8518 w 24981"/>
              <a:gd name="connsiteY7" fmla="*/ 29026 h 39909"/>
              <a:gd name="connsiteX8" fmla="*/ 8494 w 24981"/>
              <a:gd name="connsiteY8" fmla="*/ 31504 h 39909"/>
              <a:gd name="connsiteX9" fmla="*/ 8279 w 24981"/>
              <a:gd name="connsiteY9" fmla="*/ 32697 h 39909"/>
              <a:gd name="connsiteX10" fmla="*/ 7850 w 24981"/>
              <a:gd name="connsiteY10" fmla="*/ 32988 h 39909"/>
              <a:gd name="connsiteX11" fmla="*/ 6587 w 24981"/>
              <a:gd name="connsiteY11" fmla="*/ 32485 h 39909"/>
              <a:gd name="connsiteX12" fmla="*/ -660 w 24981"/>
              <a:gd name="connsiteY12" fmla="*/ 29195 h 39909"/>
              <a:gd name="connsiteX13" fmla="*/ -970 w 24981"/>
              <a:gd name="connsiteY13" fmla="*/ 29362 h 39909"/>
              <a:gd name="connsiteX14" fmla="*/ -1280 w 24981"/>
              <a:gd name="connsiteY14" fmla="*/ 31199 h 39909"/>
              <a:gd name="connsiteX15" fmla="*/ -1613 w 24981"/>
              <a:gd name="connsiteY15" fmla="*/ 32988 h 39909"/>
              <a:gd name="connsiteX16" fmla="*/ -1566 w 24981"/>
              <a:gd name="connsiteY16" fmla="*/ 33201 h 39909"/>
              <a:gd name="connsiteX17" fmla="*/ 6658 w 24981"/>
              <a:gd name="connsiteY17" fmla="*/ 35727 h 39909"/>
              <a:gd name="connsiteX18" fmla="*/ 16217 w 24981"/>
              <a:gd name="connsiteY18" fmla="*/ 39164 h 39909"/>
              <a:gd name="connsiteX19" fmla="*/ 16861 w 24981"/>
              <a:gd name="connsiteY19" fmla="*/ 38737 h 39909"/>
              <a:gd name="connsiteX20" fmla="*/ 16670 w 24981"/>
              <a:gd name="connsiteY20" fmla="*/ 36035 h 39909"/>
              <a:gd name="connsiteX21" fmla="*/ 16527 w 24981"/>
              <a:gd name="connsiteY21" fmla="*/ 33127 h 39909"/>
              <a:gd name="connsiteX22" fmla="*/ 16265 w 24981"/>
              <a:gd name="connsiteY22" fmla="*/ 20221 h 39909"/>
              <a:gd name="connsiteX23" fmla="*/ 16265 w 24981"/>
              <a:gd name="connsiteY23" fmla="*/ 15973 h 39909"/>
              <a:gd name="connsiteX24" fmla="*/ 16336 w 24981"/>
              <a:gd name="connsiteY24" fmla="*/ 7194 h 39909"/>
              <a:gd name="connsiteX25" fmla="*/ 16718 w 24981"/>
              <a:gd name="connsiteY25" fmla="*/ 2833 h 39909"/>
              <a:gd name="connsiteX26" fmla="*/ 17314 w 24981"/>
              <a:gd name="connsiteY26" fmla="*/ 2282 h 39909"/>
              <a:gd name="connsiteX27" fmla="*/ 21461 w 24981"/>
              <a:gd name="connsiteY27" fmla="*/ 1762 h 39909"/>
              <a:gd name="connsiteX28" fmla="*/ 23368 w 24981"/>
              <a:gd name="connsiteY28" fmla="*/ 1567 h 39909"/>
              <a:gd name="connsiteX29" fmla="*/ 23368 w 24981"/>
              <a:gd name="connsiteY29" fmla="*/ -745 h 39909"/>
              <a:gd name="connsiteX30" fmla="*/ 13166 w 24981"/>
              <a:gd name="connsiteY30" fmla="*/ -456 h 39909"/>
              <a:gd name="connsiteX31" fmla="*/ 866 w 24981"/>
              <a:gd name="connsiteY31" fmla="*/ -745 h 39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81" h="39909">
                <a:moveTo>
                  <a:pt x="866" y="-745"/>
                </a:moveTo>
                <a:lnTo>
                  <a:pt x="866" y="1567"/>
                </a:lnTo>
                <a:lnTo>
                  <a:pt x="6372" y="2163"/>
                </a:lnTo>
                <a:lnTo>
                  <a:pt x="7636" y="2666"/>
                </a:lnTo>
                <a:lnTo>
                  <a:pt x="8255" y="4260"/>
                </a:lnTo>
                <a:cubicBezTo>
                  <a:pt x="8494" y="5741"/>
                  <a:pt x="8613" y="9105"/>
                  <a:pt x="8613" y="14305"/>
                </a:cubicBezTo>
                <a:lnTo>
                  <a:pt x="8613" y="21247"/>
                </a:lnTo>
                <a:cubicBezTo>
                  <a:pt x="8613" y="23678"/>
                  <a:pt x="8541" y="26233"/>
                  <a:pt x="8518" y="29026"/>
                </a:cubicBezTo>
                <a:lnTo>
                  <a:pt x="8494" y="31504"/>
                </a:lnTo>
                <a:lnTo>
                  <a:pt x="8279" y="32697"/>
                </a:lnTo>
                <a:lnTo>
                  <a:pt x="7850" y="32988"/>
                </a:lnTo>
                <a:lnTo>
                  <a:pt x="6587" y="32485"/>
                </a:lnTo>
                <a:cubicBezTo>
                  <a:pt x="2797" y="30834"/>
                  <a:pt x="413" y="29670"/>
                  <a:pt x="-660" y="29195"/>
                </a:cubicBezTo>
                <a:lnTo>
                  <a:pt x="-970" y="29362"/>
                </a:lnTo>
                <a:lnTo>
                  <a:pt x="-1280" y="31199"/>
                </a:lnTo>
                <a:lnTo>
                  <a:pt x="-1613" y="32988"/>
                </a:lnTo>
                <a:lnTo>
                  <a:pt x="-1566" y="33201"/>
                </a:lnTo>
                <a:cubicBezTo>
                  <a:pt x="1915" y="34226"/>
                  <a:pt x="4632" y="35083"/>
                  <a:pt x="6658" y="35727"/>
                </a:cubicBezTo>
                <a:cubicBezTo>
                  <a:pt x="8708" y="36416"/>
                  <a:pt x="11903" y="37564"/>
                  <a:pt x="16217" y="39164"/>
                </a:cubicBezTo>
                <a:lnTo>
                  <a:pt x="16861" y="38737"/>
                </a:lnTo>
                <a:lnTo>
                  <a:pt x="16670" y="36035"/>
                </a:lnTo>
                <a:lnTo>
                  <a:pt x="16527" y="33127"/>
                </a:lnTo>
                <a:cubicBezTo>
                  <a:pt x="16456" y="31459"/>
                  <a:pt x="16360" y="27134"/>
                  <a:pt x="16265" y="20221"/>
                </a:cubicBezTo>
                <a:lnTo>
                  <a:pt x="16265" y="15973"/>
                </a:lnTo>
                <a:cubicBezTo>
                  <a:pt x="16265" y="11705"/>
                  <a:pt x="16289" y="8816"/>
                  <a:pt x="16336" y="7194"/>
                </a:cubicBezTo>
                <a:cubicBezTo>
                  <a:pt x="16432" y="4715"/>
                  <a:pt x="16527" y="3279"/>
                  <a:pt x="16718" y="2833"/>
                </a:cubicBezTo>
                <a:lnTo>
                  <a:pt x="17314" y="2282"/>
                </a:lnTo>
                <a:cubicBezTo>
                  <a:pt x="17790" y="2022"/>
                  <a:pt x="19149" y="1827"/>
                  <a:pt x="21461" y="1762"/>
                </a:cubicBezTo>
                <a:lnTo>
                  <a:pt x="23368" y="1567"/>
                </a:lnTo>
                <a:lnTo>
                  <a:pt x="23368" y="-745"/>
                </a:lnTo>
                <a:cubicBezTo>
                  <a:pt x="19197" y="-578"/>
                  <a:pt x="15764" y="-456"/>
                  <a:pt x="13166" y="-456"/>
                </a:cubicBezTo>
                <a:cubicBezTo>
                  <a:pt x="11378" y="-456"/>
                  <a:pt x="7278" y="-578"/>
                  <a:pt x="866" y="-745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073" name="Vrije vorm 2072">
            <a:extLst>
              <a:ext uri="{FF2B5EF4-FFF2-40B4-BE49-F238E27FC236}">
                <a16:creationId xmlns:a16="http://schemas.microsoft.com/office/drawing/2014/main" id="{7A8162D7-955C-EC87-BAD8-8A0AED438EB1}"/>
              </a:ext>
            </a:extLst>
          </p:cNvPr>
          <p:cNvSpPr/>
          <p:nvPr/>
        </p:nvSpPr>
        <p:spPr>
          <a:xfrm flipV="1">
            <a:off x="1199278" y="953313"/>
            <a:ext cx="72511" cy="104280"/>
          </a:xfrm>
          <a:custGeom>
            <a:avLst/>
            <a:gdLst>
              <a:gd name="connsiteX0" fmla="*/ -1624 w 26411"/>
              <a:gd name="connsiteY0" fmla="*/ -745 h 39165"/>
              <a:gd name="connsiteX1" fmla="*/ -1624 w 26411"/>
              <a:gd name="connsiteY1" fmla="*/ 2237 h 39165"/>
              <a:gd name="connsiteX2" fmla="*/ 3739 w 26411"/>
              <a:gd name="connsiteY2" fmla="*/ 7557 h 39165"/>
              <a:gd name="connsiteX3" fmla="*/ 9937 w 26411"/>
              <a:gd name="connsiteY3" fmla="*/ 14136 h 39165"/>
              <a:gd name="connsiteX4" fmla="*/ 13084 w 26411"/>
              <a:gd name="connsiteY4" fmla="*/ 18480 h 39165"/>
              <a:gd name="connsiteX5" fmla="*/ 14681 w 26411"/>
              <a:gd name="connsiteY5" fmla="*/ 22103 h 39165"/>
              <a:gd name="connsiteX6" fmla="*/ 15110 w 26411"/>
              <a:gd name="connsiteY6" fmla="*/ 25403 h 39165"/>
              <a:gd name="connsiteX7" fmla="*/ 13441 w 26411"/>
              <a:gd name="connsiteY7" fmla="*/ 30453 h 39165"/>
              <a:gd name="connsiteX8" fmla="*/ 8793 w 26411"/>
              <a:gd name="connsiteY8" fmla="*/ 32177 h 39165"/>
              <a:gd name="connsiteX9" fmla="*/ 5670 w 26411"/>
              <a:gd name="connsiteY9" fmla="*/ 31505 h 39165"/>
              <a:gd name="connsiteX10" fmla="*/ 3144 w 26411"/>
              <a:gd name="connsiteY10" fmla="*/ 29520 h 39165"/>
              <a:gd name="connsiteX11" fmla="*/ 1976 w 26411"/>
              <a:gd name="connsiteY11" fmla="*/ 24918 h 39165"/>
              <a:gd name="connsiteX12" fmla="*/ -241 w 26411"/>
              <a:gd name="connsiteY12" fmla="*/ 24918 h 39165"/>
              <a:gd name="connsiteX13" fmla="*/ 498 w 26411"/>
              <a:gd name="connsiteY13" fmla="*/ 31581 h 39165"/>
              <a:gd name="connsiteX14" fmla="*/ 855 w 26411"/>
              <a:gd name="connsiteY14" fmla="*/ 34778 h 39165"/>
              <a:gd name="connsiteX15" fmla="*/ 5218 w 26411"/>
              <a:gd name="connsiteY15" fmla="*/ 37516 h 39165"/>
              <a:gd name="connsiteX16" fmla="*/ 10700 w 26411"/>
              <a:gd name="connsiteY16" fmla="*/ 38420 h 39165"/>
              <a:gd name="connsiteX17" fmla="*/ 17661 w 26411"/>
              <a:gd name="connsiteY17" fmla="*/ 37013 h 39165"/>
              <a:gd name="connsiteX18" fmla="*/ 21617 w 26411"/>
              <a:gd name="connsiteY18" fmla="*/ 33098 h 39165"/>
              <a:gd name="connsiteX19" fmla="*/ 22905 w 26411"/>
              <a:gd name="connsiteY19" fmla="*/ 27974 h 39165"/>
              <a:gd name="connsiteX20" fmla="*/ 22404 w 26411"/>
              <a:gd name="connsiteY20" fmla="*/ 24611 h 39165"/>
              <a:gd name="connsiteX21" fmla="*/ 20712 w 26411"/>
              <a:gd name="connsiteY21" fmla="*/ 21004 h 39165"/>
              <a:gd name="connsiteX22" fmla="*/ 18090 w 26411"/>
              <a:gd name="connsiteY22" fmla="*/ 17547 h 39165"/>
              <a:gd name="connsiteX23" fmla="*/ 14824 w 26411"/>
              <a:gd name="connsiteY23" fmla="*/ 14229 h 39165"/>
              <a:gd name="connsiteX24" fmla="*/ 11797 w 26411"/>
              <a:gd name="connsiteY24" fmla="*/ 11228 h 39165"/>
              <a:gd name="connsiteX25" fmla="*/ 6600 w 26411"/>
              <a:gd name="connsiteY25" fmla="*/ 6338 h 39165"/>
              <a:gd name="connsiteX26" fmla="*/ 6719 w 26411"/>
              <a:gd name="connsiteY26" fmla="*/ 5956 h 39165"/>
              <a:gd name="connsiteX27" fmla="*/ 11797 w 26411"/>
              <a:gd name="connsiteY27" fmla="*/ 5956 h 39165"/>
              <a:gd name="connsiteX28" fmla="*/ 19448 w 26411"/>
              <a:gd name="connsiteY28" fmla="*/ 6094 h 39165"/>
              <a:gd name="connsiteX29" fmla="*/ 24574 w 26411"/>
              <a:gd name="connsiteY29" fmla="*/ 6338 h 39165"/>
              <a:gd name="connsiteX30" fmla="*/ 24788 w 26411"/>
              <a:gd name="connsiteY30" fmla="*/ 5956 h 39165"/>
              <a:gd name="connsiteX31" fmla="*/ 24526 w 26411"/>
              <a:gd name="connsiteY31" fmla="*/ 1977 h 39165"/>
              <a:gd name="connsiteX32" fmla="*/ 24788 w 26411"/>
              <a:gd name="connsiteY32" fmla="*/ -456 h 39165"/>
              <a:gd name="connsiteX33" fmla="*/ 24669 w 26411"/>
              <a:gd name="connsiteY33" fmla="*/ -745 h 39165"/>
              <a:gd name="connsiteX34" fmla="*/ 16087 w 26411"/>
              <a:gd name="connsiteY34" fmla="*/ -559 h 39165"/>
              <a:gd name="connsiteX35" fmla="*/ 11916 w 26411"/>
              <a:gd name="connsiteY35" fmla="*/ -456 h 39165"/>
              <a:gd name="connsiteX36" fmla="*/ -1624 w 26411"/>
              <a:gd name="connsiteY36" fmla="*/ -745 h 39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6411" h="39165">
                <a:moveTo>
                  <a:pt x="-1624" y="-745"/>
                </a:moveTo>
                <a:lnTo>
                  <a:pt x="-1624" y="2237"/>
                </a:lnTo>
                <a:lnTo>
                  <a:pt x="3739" y="7557"/>
                </a:lnTo>
                <a:cubicBezTo>
                  <a:pt x="6505" y="10343"/>
                  <a:pt x="8602" y="12562"/>
                  <a:pt x="9937" y="14136"/>
                </a:cubicBezTo>
                <a:lnTo>
                  <a:pt x="13084" y="18480"/>
                </a:lnTo>
                <a:lnTo>
                  <a:pt x="14681" y="22103"/>
                </a:lnTo>
                <a:lnTo>
                  <a:pt x="15110" y="25403"/>
                </a:lnTo>
                <a:cubicBezTo>
                  <a:pt x="15110" y="27593"/>
                  <a:pt x="14562" y="29289"/>
                  <a:pt x="13441" y="30453"/>
                </a:cubicBezTo>
                <a:lnTo>
                  <a:pt x="8793" y="32177"/>
                </a:lnTo>
                <a:lnTo>
                  <a:pt x="5670" y="31505"/>
                </a:lnTo>
                <a:lnTo>
                  <a:pt x="3144" y="29520"/>
                </a:lnTo>
                <a:lnTo>
                  <a:pt x="1976" y="24918"/>
                </a:lnTo>
                <a:lnTo>
                  <a:pt x="-241" y="24918"/>
                </a:lnTo>
                <a:lnTo>
                  <a:pt x="498" y="31581"/>
                </a:lnTo>
                <a:lnTo>
                  <a:pt x="855" y="34778"/>
                </a:lnTo>
                <a:lnTo>
                  <a:pt x="5218" y="37516"/>
                </a:lnTo>
                <a:lnTo>
                  <a:pt x="10700" y="38420"/>
                </a:lnTo>
                <a:cubicBezTo>
                  <a:pt x="13584" y="38420"/>
                  <a:pt x="15897" y="37946"/>
                  <a:pt x="17661" y="37013"/>
                </a:cubicBezTo>
                <a:lnTo>
                  <a:pt x="21617" y="33098"/>
                </a:lnTo>
                <a:lnTo>
                  <a:pt x="22905" y="27974"/>
                </a:lnTo>
                <a:lnTo>
                  <a:pt x="22404" y="24611"/>
                </a:lnTo>
                <a:lnTo>
                  <a:pt x="20712" y="21004"/>
                </a:lnTo>
                <a:lnTo>
                  <a:pt x="18090" y="17547"/>
                </a:lnTo>
                <a:lnTo>
                  <a:pt x="14824" y="14229"/>
                </a:lnTo>
                <a:lnTo>
                  <a:pt x="11797" y="11228"/>
                </a:lnTo>
                <a:lnTo>
                  <a:pt x="6600" y="6338"/>
                </a:lnTo>
                <a:lnTo>
                  <a:pt x="6719" y="5956"/>
                </a:lnTo>
                <a:lnTo>
                  <a:pt x="11797" y="5956"/>
                </a:lnTo>
                <a:cubicBezTo>
                  <a:pt x="12536" y="5956"/>
                  <a:pt x="15110" y="6001"/>
                  <a:pt x="19448" y="6094"/>
                </a:cubicBezTo>
                <a:lnTo>
                  <a:pt x="24574" y="6338"/>
                </a:lnTo>
                <a:lnTo>
                  <a:pt x="24788" y="5956"/>
                </a:lnTo>
                <a:lnTo>
                  <a:pt x="24526" y="1977"/>
                </a:lnTo>
                <a:lnTo>
                  <a:pt x="24788" y="-456"/>
                </a:lnTo>
                <a:lnTo>
                  <a:pt x="24669" y="-745"/>
                </a:lnTo>
                <a:lnTo>
                  <a:pt x="16087" y="-559"/>
                </a:lnTo>
                <a:lnTo>
                  <a:pt x="11916" y="-456"/>
                </a:lnTo>
                <a:lnTo>
                  <a:pt x="-1624" y="-745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4" name="Vrije vorm 2073">
            <a:extLst>
              <a:ext uri="{FF2B5EF4-FFF2-40B4-BE49-F238E27FC236}">
                <a16:creationId xmlns:a16="http://schemas.microsoft.com/office/drawing/2014/main" id="{24BDC520-CA16-2948-F86C-36D5D406560E}"/>
              </a:ext>
            </a:extLst>
          </p:cNvPr>
          <p:cNvSpPr/>
          <p:nvPr/>
        </p:nvSpPr>
        <p:spPr>
          <a:xfrm flipV="1">
            <a:off x="1457329" y="1035688"/>
            <a:ext cx="68519" cy="106312"/>
          </a:xfrm>
          <a:custGeom>
            <a:avLst/>
            <a:gdLst>
              <a:gd name="connsiteX0" fmla="*/ 798 w 24957"/>
              <a:gd name="connsiteY0" fmla="*/ -730 h 39928"/>
              <a:gd name="connsiteX1" fmla="*/ 798 w 24957"/>
              <a:gd name="connsiteY1" fmla="*/ 1598 h 39928"/>
              <a:gd name="connsiteX2" fmla="*/ 6256 w 24957"/>
              <a:gd name="connsiteY2" fmla="*/ 2149 h 39928"/>
              <a:gd name="connsiteX3" fmla="*/ 7567 w 24957"/>
              <a:gd name="connsiteY3" fmla="*/ 2698 h 39928"/>
              <a:gd name="connsiteX4" fmla="*/ 8163 w 24957"/>
              <a:gd name="connsiteY4" fmla="*/ 4256 h 39928"/>
              <a:gd name="connsiteX5" fmla="*/ 8545 w 24957"/>
              <a:gd name="connsiteY5" fmla="*/ 14318 h 39928"/>
              <a:gd name="connsiteX6" fmla="*/ 8545 w 24957"/>
              <a:gd name="connsiteY6" fmla="*/ 21262 h 39928"/>
              <a:gd name="connsiteX7" fmla="*/ 8425 w 24957"/>
              <a:gd name="connsiteY7" fmla="*/ 29032 h 39928"/>
              <a:gd name="connsiteX8" fmla="*/ 8425 w 24957"/>
              <a:gd name="connsiteY8" fmla="*/ 31567 h 39928"/>
              <a:gd name="connsiteX9" fmla="*/ 8235 w 24957"/>
              <a:gd name="connsiteY9" fmla="*/ 32712 h 39928"/>
              <a:gd name="connsiteX10" fmla="*/ 7782 w 24957"/>
              <a:gd name="connsiteY10" fmla="*/ 32994 h 39928"/>
              <a:gd name="connsiteX11" fmla="*/ 6495 w 24957"/>
              <a:gd name="connsiteY11" fmla="*/ 32500 h 39928"/>
              <a:gd name="connsiteX12" fmla="*/ -728 w 24957"/>
              <a:gd name="connsiteY12" fmla="*/ 29201 h 39928"/>
              <a:gd name="connsiteX13" fmla="*/ -1038 w 24957"/>
              <a:gd name="connsiteY13" fmla="*/ 29397 h 39928"/>
              <a:gd name="connsiteX14" fmla="*/ -1348 w 24957"/>
              <a:gd name="connsiteY14" fmla="*/ 31260 h 39928"/>
              <a:gd name="connsiteX15" fmla="*/ -1658 w 24957"/>
              <a:gd name="connsiteY15" fmla="*/ 33039 h 39928"/>
              <a:gd name="connsiteX16" fmla="*/ -1634 w 24957"/>
              <a:gd name="connsiteY16" fmla="*/ 33235 h 39928"/>
              <a:gd name="connsiteX17" fmla="*/ 6614 w 24957"/>
              <a:gd name="connsiteY17" fmla="*/ 35713 h 39928"/>
              <a:gd name="connsiteX18" fmla="*/ 16125 w 24957"/>
              <a:gd name="connsiteY18" fmla="*/ 39198 h 39928"/>
              <a:gd name="connsiteX19" fmla="*/ 16816 w 24957"/>
              <a:gd name="connsiteY19" fmla="*/ 38743 h 39928"/>
              <a:gd name="connsiteX20" fmla="*/ 16625 w 24957"/>
              <a:gd name="connsiteY20" fmla="*/ 36021 h 39928"/>
              <a:gd name="connsiteX21" fmla="*/ 16458 w 24957"/>
              <a:gd name="connsiteY21" fmla="*/ 33142 h 39928"/>
              <a:gd name="connsiteX22" fmla="*/ 16196 w 24957"/>
              <a:gd name="connsiteY22" fmla="*/ 20236 h 39928"/>
              <a:gd name="connsiteX23" fmla="*/ 16196 w 24957"/>
              <a:gd name="connsiteY23" fmla="*/ 15940 h 39928"/>
              <a:gd name="connsiteX24" fmla="*/ 16292 w 24957"/>
              <a:gd name="connsiteY24" fmla="*/ 7238 h 39928"/>
              <a:gd name="connsiteX25" fmla="*/ 16625 w 24957"/>
              <a:gd name="connsiteY25" fmla="*/ 2867 h 39928"/>
              <a:gd name="connsiteX26" fmla="*/ 17221 w 24957"/>
              <a:gd name="connsiteY26" fmla="*/ 2297 h 39928"/>
              <a:gd name="connsiteX27" fmla="*/ 21393 w 24957"/>
              <a:gd name="connsiteY27" fmla="*/ 1749 h 39928"/>
              <a:gd name="connsiteX28" fmla="*/ 23300 w 24957"/>
              <a:gd name="connsiteY28" fmla="*/ 1598 h 39928"/>
              <a:gd name="connsiteX29" fmla="*/ 23300 w 24957"/>
              <a:gd name="connsiteY29" fmla="*/ -730 h 39928"/>
              <a:gd name="connsiteX30" fmla="*/ 13098 w 24957"/>
              <a:gd name="connsiteY30" fmla="*/ -451 h 39928"/>
              <a:gd name="connsiteX31" fmla="*/ 798 w 24957"/>
              <a:gd name="connsiteY31" fmla="*/ -730 h 39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57" h="39928">
                <a:moveTo>
                  <a:pt x="798" y="-730"/>
                </a:moveTo>
                <a:lnTo>
                  <a:pt x="798" y="1598"/>
                </a:lnTo>
                <a:lnTo>
                  <a:pt x="6256" y="2149"/>
                </a:lnTo>
                <a:lnTo>
                  <a:pt x="7567" y="2698"/>
                </a:lnTo>
                <a:lnTo>
                  <a:pt x="8163" y="4256"/>
                </a:lnTo>
                <a:cubicBezTo>
                  <a:pt x="8425" y="5756"/>
                  <a:pt x="8545" y="9120"/>
                  <a:pt x="8545" y="14318"/>
                </a:cubicBezTo>
                <a:lnTo>
                  <a:pt x="8545" y="21262"/>
                </a:lnTo>
                <a:cubicBezTo>
                  <a:pt x="8545" y="23693"/>
                  <a:pt x="8497" y="26245"/>
                  <a:pt x="8425" y="29032"/>
                </a:cubicBezTo>
                <a:lnTo>
                  <a:pt x="8425" y="31567"/>
                </a:lnTo>
                <a:lnTo>
                  <a:pt x="8235" y="32712"/>
                </a:lnTo>
                <a:lnTo>
                  <a:pt x="7782" y="32994"/>
                </a:lnTo>
                <a:lnTo>
                  <a:pt x="6495" y="32500"/>
                </a:lnTo>
                <a:cubicBezTo>
                  <a:pt x="2728" y="30849"/>
                  <a:pt x="344" y="29704"/>
                  <a:pt x="-728" y="29201"/>
                </a:cubicBezTo>
                <a:lnTo>
                  <a:pt x="-1038" y="29397"/>
                </a:lnTo>
                <a:lnTo>
                  <a:pt x="-1348" y="31260"/>
                </a:lnTo>
                <a:lnTo>
                  <a:pt x="-1658" y="33039"/>
                </a:lnTo>
                <a:lnTo>
                  <a:pt x="-1634" y="33235"/>
                </a:lnTo>
                <a:cubicBezTo>
                  <a:pt x="1846" y="34187"/>
                  <a:pt x="4564" y="35052"/>
                  <a:pt x="6614" y="35713"/>
                </a:cubicBezTo>
                <a:cubicBezTo>
                  <a:pt x="8664" y="36403"/>
                  <a:pt x="11810" y="37550"/>
                  <a:pt x="16125" y="39198"/>
                </a:cubicBezTo>
                <a:lnTo>
                  <a:pt x="16816" y="38743"/>
                </a:lnTo>
                <a:lnTo>
                  <a:pt x="16625" y="36021"/>
                </a:lnTo>
                <a:lnTo>
                  <a:pt x="16458" y="33142"/>
                </a:lnTo>
                <a:cubicBezTo>
                  <a:pt x="16411" y="31474"/>
                  <a:pt x="16292" y="27149"/>
                  <a:pt x="16196" y="20236"/>
                </a:cubicBezTo>
                <a:lnTo>
                  <a:pt x="16196" y="15940"/>
                </a:lnTo>
                <a:cubicBezTo>
                  <a:pt x="16196" y="11737"/>
                  <a:pt x="16220" y="8857"/>
                  <a:pt x="16292" y="7238"/>
                </a:cubicBezTo>
                <a:cubicBezTo>
                  <a:pt x="16316" y="4731"/>
                  <a:pt x="16458" y="3294"/>
                  <a:pt x="16625" y="2867"/>
                </a:cubicBezTo>
                <a:lnTo>
                  <a:pt x="17221" y="2297"/>
                </a:lnTo>
                <a:cubicBezTo>
                  <a:pt x="17698" y="2028"/>
                  <a:pt x="19104" y="1870"/>
                  <a:pt x="21393" y="1749"/>
                </a:cubicBezTo>
                <a:lnTo>
                  <a:pt x="23300" y="1598"/>
                </a:lnTo>
                <a:lnTo>
                  <a:pt x="23300" y="-730"/>
                </a:lnTo>
                <a:cubicBezTo>
                  <a:pt x="19104" y="-572"/>
                  <a:pt x="15672" y="-451"/>
                  <a:pt x="13098" y="-451"/>
                </a:cubicBezTo>
                <a:cubicBezTo>
                  <a:pt x="11333" y="-451"/>
                  <a:pt x="7233" y="-572"/>
                  <a:pt x="798" y="-730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5" name="Vrije vorm 2074">
            <a:extLst>
              <a:ext uri="{FF2B5EF4-FFF2-40B4-BE49-F238E27FC236}">
                <a16:creationId xmlns:a16="http://schemas.microsoft.com/office/drawing/2014/main" id="{EF930163-1653-166B-719E-1EC0C8A85D82}"/>
              </a:ext>
            </a:extLst>
          </p:cNvPr>
          <p:cNvSpPr/>
          <p:nvPr/>
        </p:nvSpPr>
        <p:spPr>
          <a:xfrm flipV="1">
            <a:off x="1643715" y="1229657"/>
            <a:ext cx="72643" cy="104355"/>
          </a:xfrm>
          <a:custGeom>
            <a:avLst/>
            <a:gdLst>
              <a:gd name="connsiteX0" fmla="*/ -1683 w 26459"/>
              <a:gd name="connsiteY0" fmla="*/ -695 h 39193"/>
              <a:gd name="connsiteX1" fmla="*/ -1683 w 26459"/>
              <a:gd name="connsiteY1" fmla="*/ 2286 h 39193"/>
              <a:gd name="connsiteX2" fmla="*/ 3704 w 26459"/>
              <a:gd name="connsiteY2" fmla="*/ 7628 h 39193"/>
              <a:gd name="connsiteX3" fmla="*/ 9902 w 26459"/>
              <a:gd name="connsiteY3" fmla="*/ 14188 h 39193"/>
              <a:gd name="connsiteX4" fmla="*/ 13097 w 26459"/>
              <a:gd name="connsiteY4" fmla="*/ 18558 h 39193"/>
              <a:gd name="connsiteX5" fmla="*/ 14646 w 26459"/>
              <a:gd name="connsiteY5" fmla="*/ 22181 h 39193"/>
              <a:gd name="connsiteX6" fmla="*/ 15099 w 26459"/>
              <a:gd name="connsiteY6" fmla="*/ 25442 h 39193"/>
              <a:gd name="connsiteX7" fmla="*/ 13383 w 26459"/>
              <a:gd name="connsiteY7" fmla="*/ 30504 h 39193"/>
              <a:gd name="connsiteX8" fmla="*/ 8758 w 26459"/>
              <a:gd name="connsiteY8" fmla="*/ 32217 h 39193"/>
              <a:gd name="connsiteX9" fmla="*/ 5612 w 26459"/>
              <a:gd name="connsiteY9" fmla="*/ 31602 h 39193"/>
              <a:gd name="connsiteX10" fmla="*/ 3109 w 26459"/>
              <a:gd name="connsiteY10" fmla="*/ 29617 h 39193"/>
              <a:gd name="connsiteX11" fmla="*/ 1917 w 26459"/>
              <a:gd name="connsiteY11" fmla="*/ 25042 h 39193"/>
              <a:gd name="connsiteX12" fmla="*/ -300 w 26459"/>
              <a:gd name="connsiteY12" fmla="*/ 25042 h 39193"/>
              <a:gd name="connsiteX13" fmla="*/ 463 w 26459"/>
              <a:gd name="connsiteY13" fmla="*/ 31602 h 39193"/>
              <a:gd name="connsiteX14" fmla="*/ 820 w 26459"/>
              <a:gd name="connsiteY14" fmla="*/ 34846 h 39193"/>
              <a:gd name="connsiteX15" fmla="*/ 5159 w 26459"/>
              <a:gd name="connsiteY15" fmla="*/ 37585 h 39193"/>
              <a:gd name="connsiteX16" fmla="*/ 10689 w 26459"/>
              <a:gd name="connsiteY16" fmla="*/ 38498 h 39193"/>
              <a:gd name="connsiteX17" fmla="*/ 17649 w 26459"/>
              <a:gd name="connsiteY17" fmla="*/ 37091 h 39193"/>
              <a:gd name="connsiteX18" fmla="*/ 21582 w 26459"/>
              <a:gd name="connsiteY18" fmla="*/ 33150 h 39193"/>
              <a:gd name="connsiteX19" fmla="*/ 22894 w 26459"/>
              <a:gd name="connsiteY19" fmla="*/ 28043 h 39193"/>
              <a:gd name="connsiteX20" fmla="*/ 22417 w 26459"/>
              <a:gd name="connsiteY20" fmla="*/ 24679 h 39193"/>
              <a:gd name="connsiteX21" fmla="*/ 20677 w 26459"/>
              <a:gd name="connsiteY21" fmla="*/ 21082 h 39193"/>
              <a:gd name="connsiteX22" fmla="*/ 18055 w 26459"/>
              <a:gd name="connsiteY22" fmla="*/ 17597 h 39193"/>
              <a:gd name="connsiteX23" fmla="*/ 14741 w 26459"/>
              <a:gd name="connsiteY23" fmla="*/ 14281 h 39193"/>
              <a:gd name="connsiteX24" fmla="*/ 11762 w 26459"/>
              <a:gd name="connsiteY24" fmla="*/ 11325 h 39193"/>
              <a:gd name="connsiteX25" fmla="*/ 6541 w 26459"/>
              <a:gd name="connsiteY25" fmla="*/ 6416 h 39193"/>
              <a:gd name="connsiteX26" fmla="*/ 6660 w 26459"/>
              <a:gd name="connsiteY26" fmla="*/ 6053 h 39193"/>
              <a:gd name="connsiteX27" fmla="*/ 11762 w 26459"/>
              <a:gd name="connsiteY27" fmla="*/ 6053 h 39193"/>
              <a:gd name="connsiteX28" fmla="*/ 19437 w 26459"/>
              <a:gd name="connsiteY28" fmla="*/ 6192 h 39193"/>
              <a:gd name="connsiteX29" fmla="*/ 24562 w 26459"/>
              <a:gd name="connsiteY29" fmla="*/ 6416 h 39193"/>
              <a:gd name="connsiteX30" fmla="*/ 24777 w 26459"/>
              <a:gd name="connsiteY30" fmla="*/ 6053 h 39193"/>
              <a:gd name="connsiteX31" fmla="*/ 24491 w 26459"/>
              <a:gd name="connsiteY31" fmla="*/ 2026 h 39193"/>
              <a:gd name="connsiteX32" fmla="*/ 24777 w 26459"/>
              <a:gd name="connsiteY32" fmla="*/ -388 h 39193"/>
              <a:gd name="connsiteX33" fmla="*/ 24634 w 26459"/>
              <a:gd name="connsiteY33" fmla="*/ -695 h 39193"/>
              <a:gd name="connsiteX34" fmla="*/ 16005 w 26459"/>
              <a:gd name="connsiteY34" fmla="*/ -462 h 39193"/>
              <a:gd name="connsiteX35" fmla="*/ 11881 w 26459"/>
              <a:gd name="connsiteY35" fmla="*/ -388 h 39193"/>
              <a:gd name="connsiteX36" fmla="*/ -1683 w 26459"/>
              <a:gd name="connsiteY36" fmla="*/ -695 h 39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6459" h="39193">
                <a:moveTo>
                  <a:pt x="-1683" y="-695"/>
                </a:moveTo>
                <a:lnTo>
                  <a:pt x="-1683" y="2286"/>
                </a:lnTo>
                <a:lnTo>
                  <a:pt x="3704" y="7628"/>
                </a:lnTo>
                <a:cubicBezTo>
                  <a:pt x="6494" y="10423"/>
                  <a:pt x="8544" y="12640"/>
                  <a:pt x="9902" y="14188"/>
                </a:cubicBezTo>
                <a:lnTo>
                  <a:pt x="13097" y="18558"/>
                </a:lnTo>
                <a:lnTo>
                  <a:pt x="14646" y="22181"/>
                </a:lnTo>
                <a:lnTo>
                  <a:pt x="15099" y="25442"/>
                </a:lnTo>
                <a:cubicBezTo>
                  <a:pt x="15099" y="27690"/>
                  <a:pt x="14527" y="29357"/>
                  <a:pt x="13383" y="30504"/>
                </a:cubicBezTo>
                <a:lnTo>
                  <a:pt x="8758" y="32217"/>
                </a:lnTo>
                <a:lnTo>
                  <a:pt x="5612" y="31602"/>
                </a:lnTo>
                <a:lnTo>
                  <a:pt x="3109" y="29617"/>
                </a:lnTo>
                <a:lnTo>
                  <a:pt x="1917" y="25042"/>
                </a:lnTo>
                <a:lnTo>
                  <a:pt x="-300" y="25042"/>
                </a:lnTo>
                <a:lnTo>
                  <a:pt x="463" y="31602"/>
                </a:lnTo>
                <a:lnTo>
                  <a:pt x="820" y="34846"/>
                </a:lnTo>
                <a:lnTo>
                  <a:pt x="5159" y="37585"/>
                </a:lnTo>
                <a:lnTo>
                  <a:pt x="10689" y="38498"/>
                </a:lnTo>
                <a:cubicBezTo>
                  <a:pt x="13549" y="38498"/>
                  <a:pt x="15861" y="38069"/>
                  <a:pt x="17649" y="37091"/>
                </a:cubicBezTo>
                <a:lnTo>
                  <a:pt x="21582" y="33150"/>
                </a:lnTo>
                <a:lnTo>
                  <a:pt x="22894" y="28043"/>
                </a:lnTo>
                <a:lnTo>
                  <a:pt x="22417" y="24679"/>
                </a:lnTo>
                <a:lnTo>
                  <a:pt x="20677" y="21082"/>
                </a:lnTo>
                <a:lnTo>
                  <a:pt x="18055" y="17597"/>
                </a:lnTo>
                <a:lnTo>
                  <a:pt x="14741" y="14281"/>
                </a:lnTo>
                <a:lnTo>
                  <a:pt x="11762" y="11325"/>
                </a:lnTo>
                <a:lnTo>
                  <a:pt x="6541" y="6416"/>
                </a:lnTo>
                <a:lnTo>
                  <a:pt x="6660" y="6053"/>
                </a:lnTo>
                <a:lnTo>
                  <a:pt x="11762" y="6053"/>
                </a:lnTo>
                <a:cubicBezTo>
                  <a:pt x="12548" y="6053"/>
                  <a:pt x="15099" y="6079"/>
                  <a:pt x="19437" y="6192"/>
                </a:cubicBezTo>
                <a:lnTo>
                  <a:pt x="24562" y="6416"/>
                </a:lnTo>
                <a:lnTo>
                  <a:pt x="24777" y="6053"/>
                </a:lnTo>
                <a:lnTo>
                  <a:pt x="24491" y="2026"/>
                </a:lnTo>
                <a:lnTo>
                  <a:pt x="24777" y="-388"/>
                </a:lnTo>
                <a:lnTo>
                  <a:pt x="24634" y="-695"/>
                </a:lnTo>
                <a:lnTo>
                  <a:pt x="16005" y="-462"/>
                </a:lnTo>
                <a:lnTo>
                  <a:pt x="11881" y="-388"/>
                </a:lnTo>
                <a:lnTo>
                  <a:pt x="-1683" y="-695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6" name="Vrije vorm 2075">
            <a:extLst>
              <a:ext uri="{FF2B5EF4-FFF2-40B4-BE49-F238E27FC236}">
                <a16:creationId xmlns:a16="http://schemas.microsoft.com/office/drawing/2014/main" id="{A86C824E-ADEF-DFA2-27CD-40F86F4092BD}"/>
              </a:ext>
            </a:extLst>
          </p:cNvPr>
          <p:cNvSpPr/>
          <p:nvPr/>
        </p:nvSpPr>
        <p:spPr>
          <a:xfrm flipV="1">
            <a:off x="1708505" y="1490593"/>
            <a:ext cx="70614" cy="107081"/>
          </a:xfrm>
          <a:custGeom>
            <a:avLst/>
            <a:gdLst>
              <a:gd name="connsiteX0" fmla="*/ -213 w 25720"/>
              <a:gd name="connsiteY0" fmla="*/ 878 h 40217"/>
              <a:gd name="connsiteX1" fmla="*/ -905 w 25720"/>
              <a:gd name="connsiteY1" fmla="*/ 5222 h 40217"/>
              <a:gd name="connsiteX2" fmla="*/ -1691 w 25720"/>
              <a:gd name="connsiteY2" fmla="*/ 9628 h 40217"/>
              <a:gd name="connsiteX3" fmla="*/ 263 w 25720"/>
              <a:gd name="connsiteY3" fmla="*/ 10224 h 40217"/>
              <a:gd name="connsiteX4" fmla="*/ 2695 w 25720"/>
              <a:gd name="connsiteY4" fmla="*/ 5957 h 40217"/>
              <a:gd name="connsiteX5" fmla="*/ 5794 w 25720"/>
              <a:gd name="connsiteY5" fmla="*/ 3526 h 40217"/>
              <a:gd name="connsiteX6" fmla="*/ 9560 w 25720"/>
              <a:gd name="connsiteY6" fmla="*/ 2760 h 40217"/>
              <a:gd name="connsiteX7" fmla="*/ 14780 w 25720"/>
              <a:gd name="connsiteY7" fmla="*/ 4812 h 40217"/>
              <a:gd name="connsiteX8" fmla="*/ 16783 w 25720"/>
              <a:gd name="connsiteY8" fmla="*/ 10468 h 40217"/>
              <a:gd name="connsiteX9" fmla="*/ 14590 w 25720"/>
              <a:gd name="connsiteY9" fmla="*/ 16050 h 40217"/>
              <a:gd name="connsiteX10" fmla="*/ 9036 w 25720"/>
              <a:gd name="connsiteY10" fmla="*/ 17932 h 40217"/>
              <a:gd name="connsiteX11" fmla="*/ 5651 w 25720"/>
              <a:gd name="connsiteY11" fmla="*/ 17457 h 40217"/>
              <a:gd name="connsiteX12" fmla="*/ 5269 w 25720"/>
              <a:gd name="connsiteY12" fmla="*/ 17820 h 40217"/>
              <a:gd name="connsiteX13" fmla="*/ 5365 w 25720"/>
              <a:gd name="connsiteY13" fmla="*/ 18173 h 40217"/>
              <a:gd name="connsiteX14" fmla="*/ 5865 w 25720"/>
              <a:gd name="connsiteY14" fmla="*/ 19888 h 40217"/>
              <a:gd name="connsiteX15" fmla="*/ 6366 w 25720"/>
              <a:gd name="connsiteY15" fmla="*/ 22152 h 40217"/>
              <a:gd name="connsiteX16" fmla="*/ 6676 w 25720"/>
              <a:gd name="connsiteY16" fmla="*/ 22209 h 40217"/>
              <a:gd name="connsiteX17" fmla="*/ 8773 w 25720"/>
              <a:gd name="connsiteY17" fmla="*/ 22152 h 40217"/>
              <a:gd name="connsiteX18" fmla="*/ 11872 w 25720"/>
              <a:gd name="connsiteY18" fmla="*/ 22972 h 40217"/>
              <a:gd name="connsiteX19" fmla="*/ 14208 w 25720"/>
              <a:gd name="connsiteY19" fmla="*/ 25255 h 40217"/>
              <a:gd name="connsiteX20" fmla="*/ 15090 w 25720"/>
              <a:gd name="connsiteY20" fmla="*/ 28330 h 40217"/>
              <a:gd name="connsiteX21" fmla="*/ 13469 w 25720"/>
              <a:gd name="connsiteY21" fmla="*/ 32104 h 40217"/>
              <a:gd name="connsiteX22" fmla="*/ 9179 w 25720"/>
              <a:gd name="connsiteY22" fmla="*/ 33652 h 40217"/>
              <a:gd name="connsiteX23" fmla="*/ 6080 w 25720"/>
              <a:gd name="connsiteY23" fmla="*/ 33130 h 40217"/>
              <a:gd name="connsiteX24" fmla="*/ 4030 w 25720"/>
              <a:gd name="connsiteY24" fmla="*/ 31770 h 40217"/>
              <a:gd name="connsiteX25" fmla="*/ 2647 w 25720"/>
              <a:gd name="connsiteY25" fmla="*/ 28936 h 40217"/>
              <a:gd name="connsiteX26" fmla="*/ 2194 w 25720"/>
              <a:gd name="connsiteY26" fmla="*/ 27689 h 40217"/>
              <a:gd name="connsiteX27" fmla="*/ 73 w 25720"/>
              <a:gd name="connsiteY27" fmla="*/ 27856 h 40217"/>
              <a:gd name="connsiteX28" fmla="*/ 1360 w 25720"/>
              <a:gd name="connsiteY28" fmla="*/ 33726 h 40217"/>
              <a:gd name="connsiteX29" fmla="*/ 1837 w 25720"/>
              <a:gd name="connsiteY29" fmla="*/ 36737 h 40217"/>
              <a:gd name="connsiteX30" fmla="*/ 6056 w 25720"/>
              <a:gd name="connsiteY30" fmla="*/ 38850 h 40217"/>
              <a:gd name="connsiteX31" fmla="*/ 11253 w 25720"/>
              <a:gd name="connsiteY31" fmla="*/ 39568 h 40217"/>
              <a:gd name="connsiteX32" fmla="*/ 19000 w 25720"/>
              <a:gd name="connsiteY32" fmla="*/ 37138 h 40217"/>
              <a:gd name="connsiteX33" fmla="*/ 21717 w 25720"/>
              <a:gd name="connsiteY33" fmla="*/ 31219 h 40217"/>
              <a:gd name="connsiteX34" fmla="*/ 20120 w 25720"/>
              <a:gd name="connsiteY34" fmla="*/ 26429 h 40217"/>
              <a:gd name="connsiteX35" fmla="*/ 15257 w 25720"/>
              <a:gd name="connsiteY35" fmla="*/ 22610 h 40217"/>
              <a:gd name="connsiteX36" fmla="*/ 17021 w 25720"/>
              <a:gd name="connsiteY36" fmla="*/ 22367 h 40217"/>
              <a:gd name="connsiteX37" fmla="*/ 19810 w 25720"/>
              <a:gd name="connsiteY37" fmla="*/ 21296 h 40217"/>
              <a:gd name="connsiteX38" fmla="*/ 22122 w 25720"/>
              <a:gd name="connsiteY38" fmla="*/ 19487 h 40217"/>
              <a:gd name="connsiteX39" fmla="*/ 23576 w 25720"/>
              <a:gd name="connsiteY39" fmla="*/ 17009 h 40217"/>
              <a:gd name="connsiteX40" fmla="*/ 24029 w 25720"/>
              <a:gd name="connsiteY40" fmla="*/ 13710 h 40217"/>
              <a:gd name="connsiteX41" fmla="*/ 19548 w 25720"/>
              <a:gd name="connsiteY41" fmla="*/ 4103 h 40217"/>
              <a:gd name="connsiteX42" fmla="*/ 6890 w 25720"/>
              <a:gd name="connsiteY42" fmla="*/ -649 h 40217"/>
              <a:gd name="connsiteX43" fmla="*/ 3243 w 25720"/>
              <a:gd name="connsiteY43" fmla="*/ -341 h 40217"/>
              <a:gd name="connsiteX44" fmla="*/ -213 w 25720"/>
              <a:gd name="connsiteY44" fmla="*/ 878 h 40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25720" h="40217">
                <a:moveTo>
                  <a:pt x="-213" y="878"/>
                </a:moveTo>
                <a:lnTo>
                  <a:pt x="-905" y="5222"/>
                </a:lnTo>
                <a:cubicBezTo>
                  <a:pt x="-1262" y="7393"/>
                  <a:pt x="-1548" y="8874"/>
                  <a:pt x="-1691" y="9628"/>
                </a:cubicBezTo>
                <a:lnTo>
                  <a:pt x="263" y="10224"/>
                </a:lnTo>
                <a:lnTo>
                  <a:pt x="2695" y="5957"/>
                </a:lnTo>
                <a:lnTo>
                  <a:pt x="5794" y="3526"/>
                </a:lnTo>
                <a:lnTo>
                  <a:pt x="9560" y="2760"/>
                </a:lnTo>
                <a:lnTo>
                  <a:pt x="14780" y="4812"/>
                </a:lnTo>
                <a:cubicBezTo>
                  <a:pt x="16115" y="6200"/>
                  <a:pt x="16783" y="8082"/>
                  <a:pt x="16783" y="10468"/>
                </a:cubicBezTo>
                <a:cubicBezTo>
                  <a:pt x="16783" y="12946"/>
                  <a:pt x="16020" y="14857"/>
                  <a:pt x="14590" y="16050"/>
                </a:cubicBezTo>
                <a:cubicBezTo>
                  <a:pt x="13136" y="17317"/>
                  <a:pt x="11276" y="17932"/>
                  <a:pt x="9036" y="17932"/>
                </a:cubicBezTo>
                <a:lnTo>
                  <a:pt x="5651" y="17457"/>
                </a:lnTo>
                <a:lnTo>
                  <a:pt x="5269" y="17820"/>
                </a:lnTo>
                <a:lnTo>
                  <a:pt x="5365" y="18173"/>
                </a:lnTo>
                <a:lnTo>
                  <a:pt x="5865" y="19888"/>
                </a:lnTo>
                <a:lnTo>
                  <a:pt x="6366" y="22152"/>
                </a:lnTo>
                <a:lnTo>
                  <a:pt x="6676" y="22209"/>
                </a:lnTo>
                <a:lnTo>
                  <a:pt x="8773" y="22152"/>
                </a:lnTo>
                <a:lnTo>
                  <a:pt x="11872" y="22972"/>
                </a:lnTo>
                <a:lnTo>
                  <a:pt x="14208" y="25255"/>
                </a:lnTo>
                <a:lnTo>
                  <a:pt x="15090" y="28330"/>
                </a:lnTo>
                <a:lnTo>
                  <a:pt x="13469" y="32104"/>
                </a:lnTo>
                <a:lnTo>
                  <a:pt x="9179" y="33652"/>
                </a:lnTo>
                <a:lnTo>
                  <a:pt x="6080" y="33130"/>
                </a:lnTo>
                <a:lnTo>
                  <a:pt x="4030" y="31770"/>
                </a:lnTo>
                <a:lnTo>
                  <a:pt x="2647" y="28936"/>
                </a:lnTo>
                <a:lnTo>
                  <a:pt x="2194" y="27689"/>
                </a:lnTo>
                <a:lnTo>
                  <a:pt x="73" y="27856"/>
                </a:lnTo>
                <a:lnTo>
                  <a:pt x="1360" y="33726"/>
                </a:lnTo>
                <a:lnTo>
                  <a:pt x="1837" y="36737"/>
                </a:lnTo>
                <a:lnTo>
                  <a:pt x="6056" y="38850"/>
                </a:lnTo>
                <a:lnTo>
                  <a:pt x="11253" y="39568"/>
                </a:lnTo>
                <a:cubicBezTo>
                  <a:pt x="14637" y="39568"/>
                  <a:pt x="17235" y="38786"/>
                  <a:pt x="19000" y="37138"/>
                </a:cubicBezTo>
                <a:cubicBezTo>
                  <a:pt x="20787" y="35561"/>
                  <a:pt x="21717" y="33586"/>
                  <a:pt x="21717" y="31219"/>
                </a:cubicBezTo>
                <a:lnTo>
                  <a:pt x="20120" y="26429"/>
                </a:lnTo>
                <a:cubicBezTo>
                  <a:pt x="19047" y="25022"/>
                  <a:pt x="17426" y="23755"/>
                  <a:pt x="15257" y="22610"/>
                </a:cubicBezTo>
                <a:lnTo>
                  <a:pt x="17021" y="22367"/>
                </a:lnTo>
                <a:lnTo>
                  <a:pt x="19810" y="21296"/>
                </a:lnTo>
                <a:lnTo>
                  <a:pt x="22122" y="19487"/>
                </a:lnTo>
                <a:lnTo>
                  <a:pt x="23576" y="17009"/>
                </a:lnTo>
                <a:lnTo>
                  <a:pt x="24029" y="13710"/>
                </a:lnTo>
                <a:cubicBezTo>
                  <a:pt x="24029" y="9945"/>
                  <a:pt x="22528" y="6768"/>
                  <a:pt x="19548" y="4103"/>
                </a:cubicBezTo>
                <a:cubicBezTo>
                  <a:pt x="15996" y="926"/>
                  <a:pt x="11753" y="-649"/>
                  <a:pt x="6890" y="-649"/>
                </a:cubicBezTo>
                <a:lnTo>
                  <a:pt x="3243" y="-341"/>
                </a:lnTo>
                <a:lnTo>
                  <a:pt x="-213" y="878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7" name="Vrije vorm 2076">
            <a:extLst>
              <a:ext uri="{FF2B5EF4-FFF2-40B4-BE49-F238E27FC236}">
                <a16:creationId xmlns:a16="http://schemas.microsoft.com/office/drawing/2014/main" id="{9B3E91B9-9200-98E9-5AFE-678A3F3215B8}"/>
              </a:ext>
            </a:extLst>
          </p:cNvPr>
          <p:cNvSpPr/>
          <p:nvPr/>
        </p:nvSpPr>
        <p:spPr>
          <a:xfrm flipV="1">
            <a:off x="1650128" y="1720265"/>
            <a:ext cx="74869" cy="105944"/>
          </a:xfrm>
          <a:custGeom>
            <a:avLst/>
            <a:gdLst>
              <a:gd name="connsiteX0" fmla="*/ 2559 w 27270"/>
              <a:gd name="connsiteY0" fmla="*/ 14180 h 39790"/>
              <a:gd name="connsiteX1" fmla="*/ 12929 w 27270"/>
              <a:gd name="connsiteY1" fmla="*/ 14180 h 39790"/>
              <a:gd name="connsiteX2" fmla="*/ 13096 w 27270"/>
              <a:gd name="connsiteY2" fmla="*/ 24729 h 39790"/>
              <a:gd name="connsiteX3" fmla="*/ 13119 w 27270"/>
              <a:gd name="connsiteY3" fmla="*/ 28493 h 39790"/>
              <a:gd name="connsiteX4" fmla="*/ 13238 w 27270"/>
              <a:gd name="connsiteY4" fmla="*/ 33937 h 39790"/>
              <a:gd name="connsiteX5" fmla="*/ 7422 w 27270"/>
              <a:gd name="connsiteY5" fmla="*/ 24151 h 39790"/>
              <a:gd name="connsiteX6" fmla="*/ 2559 w 27270"/>
              <a:gd name="connsiteY6" fmla="*/ 14180 h 39790"/>
              <a:gd name="connsiteX7" fmla="*/ 5968 w 27270"/>
              <a:gd name="connsiteY7" fmla="*/ -608 h 39790"/>
              <a:gd name="connsiteX8" fmla="*/ 5968 w 27270"/>
              <a:gd name="connsiteY8" fmla="*/ 1759 h 39790"/>
              <a:gd name="connsiteX9" fmla="*/ 11308 w 27270"/>
              <a:gd name="connsiteY9" fmla="*/ 2236 h 39790"/>
              <a:gd name="connsiteX10" fmla="*/ 12237 w 27270"/>
              <a:gd name="connsiteY10" fmla="*/ 2637 h 39790"/>
              <a:gd name="connsiteX11" fmla="*/ 12714 w 27270"/>
              <a:gd name="connsiteY11" fmla="*/ 4407 h 39790"/>
              <a:gd name="connsiteX12" fmla="*/ 12929 w 27270"/>
              <a:gd name="connsiteY12" fmla="*/ 9466 h 39790"/>
              <a:gd name="connsiteX13" fmla="*/ 9115 w 27270"/>
              <a:gd name="connsiteY13" fmla="*/ 9466 h 39790"/>
              <a:gd name="connsiteX14" fmla="*/ -1302 w 27270"/>
              <a:gd name="connsiteY14" fmla="*/ 9316 h 39790"/>
              <a:gd name="connsiteX15" fmla="*/ -1684 w 27270"/>
              <a:gd name="connsiteY15" fmla="*/ 11730 h 39790"/>
              <a:gd name="connsiteX16" fmla="*/ 1987 w 27270"/>
              <a:gd name="connsiteY16" fmla="*/ 19547 h 39790"/>
              <a:gd name="connsiteX17" fmla="*/ 8805 w 27270"/>
              <a:gd name="connsiteY17" fmla="*/ 31792 h 39790"/>
              <a:gd name="connsiteX18" fmla="*/ 12833 w 27270"/>
              <a:gd name="connsiteY18" fmla="*/ 37804 h 39790"/>
              <a:gd name="connsiteX19" fmla="*/ 16242 w 27270"/>
              <a:gd name="connsiteY19" fmla="*/ 38474 h 39790"/>
              <a:gd name="connsiteX20" fmla="*/ 20080 w 27270"/>
              <a:gd name="connsiteY20" fmla="*/ 39182 h 39790"/>
              <a:gd name="connsiteX21" fmla="*/ 20604 w 27270"/>
              <a:gd name="connsiteY21" fmla="*/ 38688 h 39790"/>
              <a:gd name="connsiteX22" fmla="*/ 20294 w 27270"/>
              <a:gd name="connsiteY22" fmla="*/ 32603 h 39790"/>
              <a:gd name="connsiteX23" fmla="*/ 20080 w 27270"/>
              <a:gd name="connsiteY23" fmla="*/ 20769 h 39790"/>
              <a:gd name="connsiteX24" fmla="*/ 20080 w 27270"/>
              <a:gd name="connsiteY24" fmla="*/ 14180 h 39790"/>
              <a:gd name="connsiteX25" fmla="*/ 21153 w 27270"/>
              <a:gd name="connsiteY25" fmla="*/ 14180 h 39790"/>
              <a:gd name="connsiteX26" fmla="*/ 25229 w 27270"/>
              <a:gd name="connsiteY26" fmla="*/ 14349 h 39790"/>
              <a:gd name="connsiteX27" fmla="*/ 25395 w 27270"/>
              <a:gd name="connsiteY27" fmla="*/ 13994 h 39790"/>
              <a:gd name="connsiteX28" fmla="*/ 25324 w 27270"/>
              <a:gd name="connsiteY28" fmla="*/ 11515 h 39790"/>
              <a:gd name="connsiteX29" fmla="*/ 25395 w 27270"/>
              <a:gd name="connsiteY29" fmla="*/ 9438 h 39790"/>
              <a:gd name="connsiteX30" fmla="*/ 23560 w 27270"/>
              <a:gd name="connsiteY30" fmla="*/ 9466 h 39790"/>
              <a:gd name="connsiteX31" fmla="*/ 20080 w 27270"/>
              <a:gd name="connsiteY31" fmla="*/ 9466 h 39790"/>
              <a:gd name="connsiteX32" fmla="*/ 20223 w 27270"/>
              <a:gd name="connsiteY32" fmla="*/ 3689 h 39790"/>
              <a:gd name="connsiteX33" fmla="*/ 20676 w 27270"/>
              <a:gd name="connsiteY33" fmla="*/ 2637 h 39790"/>
              <a:gd name="connsiteX34" fmla="*/ 21844 w 27270"/>
              <a:gd name="connsiteY34" fmla="*/ 2159 h 39790"/>
              <a:gd name="connsiteX35" fmla="*/ 25586 w 27270"/>
              <a:gd name="connsiteY35" fmla="*/ 1759 h 39790"/>
              <a:gd name="connsiteX36" fmla="*/ 25586 w 27270"/>
              <a:gd name="connsiteY36" fmla="*/ -608 h 39790"/>
              <a:gd name="connsiteX37" fmla="*/ 23322 w 27270"/>
              <a:gd name="connsiteY37" fmla="*/ -579 h 39790"/>
              <a:gd name="connsiteX38" fmla="*/ 15884 w 27270"/>
              <a:gd name="connsiteY38" fmla="*/ -412 h 39790"/>
              <a:gd name="connsiteX39" fmla="*/ 5968 w 27270"/>
              <a:gd name="connsiteY39" fmla="*/ -608 h 39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7270" h="39790">
                <a:moveTo>
                  <a:pt x="2559" y="14180"/>
                </a:moveTo>
                <a:lnTo>
                  <a:pt x="12929" y="14180"/>
                </a:lnTo>
                <a:lnTo>
                  <a:pt x="13096" y="24729"/>
                </a:lnTo>
                <a:lnTo>
                  <a:pt x="13119" y="28493"/>
                </a:lnTo>
                <a:lnTo>
                  <a:pt x="13238" y="33937"/>
                </a:lnTo>
                <a:cubicBezTo>
                  <a:pt x="10545" y="29528"/>
                  <a:pt x="8590" y="26303"/>
                  <a:pt x="7422" y="24151"/>
                </a:cubicBezTo>
                <a:cubicBezTo>
                  <a:pt x="6254" y="22009"/>
                  <a:pt x="4609" y="18739"/>
                  <a:pt x="2559" y="14180"/>
                </a:cubicBezTo>
                <a:close/>
                <a:moveTo>
                  <a:pt x="5968" y="-608"/>
                </a:moveTo>
                <a:lnTo>
                  <a:pt x="5968" y="1759"/>
                </a:lnTo>
                <a:cubicBezTo>
                  <a:pt x="9043" y="1947"/>
                  <a:pt x="10855" y="2114"/>
                  <a:pt x="11308" y="2236"/>
                </a:cubicBezTo>
                <a:lnTo>
                  <a:pt x="12237" y="2637"/>
                </a:lnTo>
                <a:lnTo>
                  <a:pt x="12714" y="4407"/>
                </a:lnTo>
                <a:cubicBezTo>
                  <a:pt x="12762" y="4741"/>
                  <a:pt x="12833" y="6410"/>
                  <a:pt x="12929" y="9466"/>
                </a:cubicBezTo>
                <a:lnTo>
                  <a:pt x="9115" y="9466"/>
                </a:lnTo>
                <a:cubicBezTo>
                  <a:pt x="5611" y="9466"/>
                  <a:pt x="2130" y="9409"/>
                  <a:pt x="-1302" y="9316"/>
                </a:cubicBezTo>
                <a:lnTo>
                  <a:pt x="-1684" y="11730"/>
                </a:lnTo>
                <a:cubicBezTo>
                  <a:pt x="-1183" y="13157"/>
                  <a:pt x="57" y="15783"/>
                  <a:pt x="1987" y="19547"/>
                </a:cubicBezTo>
                <a:cubicBezTo>
                  <a:pt x="4657" y="24748"/>
                  <a:pt x="6921" y="28829"/>
                  <a:pt x="8805" y="31792"/>
                </a:cubicBezTo>
                <a:cubicBezTo>
                  <a:pt x="10640" y="34774"/>
                  <a:pt x="11975" y="36778"/>
                  <a:pt x="12833" y="37804"/>
                </a:cubicBezTo>
                <a:lnTo>
                  <a:pt x="16242" y="38474"/>
                </a:lnTo>
                <a:cubicBezTo>
                  <a:pt x="18411" y="38922"/>
                  <a:pt x="19722" y="39182"/>
                  <a:pt x="20080" y="39182"/>
                </a:cubicBezTo>
                <a:lnTo>
                  <a:pt x="20604" y="38688"/>
                </a:lnTo>
                <a:cubicBezTo>
                  <a:pt x="20461" y="37374"/>
                  <a:pt x="20366" y="35370"/>
                  <a:pt x="20294" y="32603"/>
                </a:cubicBezTo>
                <a:cubicBezTo>
                  <a:pt x="20199" y="30814"/>
                  <a:pt x="20175" y="26854"/>
                  <a:pt x="20080" y="20769"/>
                </a:cubicBezTo>
                <a:lnTo>
                  <a:pt x="20080" y="14180"/>
                </a:lnTo>
                <a:lnTo>
                  <a:pt x="21153" y="14180"/>
                </a:lnTo>
                <a:lnTo>
                  <a:pt x="25229" y="14349"/>
                </a:lnTo>
                <a:lnTo>
                  <a:pt x="25395" y="13994"/>
                </a:lnTo>
                <a:lnTo>
                  <a:pt x="25324" y="11515"/>
                </a:lnTo>
                <a:lnTo>
                  <a:pt x="25395" y="9438"/>
                </a:lnTo>
                <a:lnTo>
                  <a:pt x="23560" y="9466"/>
                </a:lnTo>
                <a:lnTo>
                  <a:pt x="20080" y="9466"/>
                </a:lnTo>
                <a:cubicBezTo>
                  <a:pt x="20080" y="6549"/>
                  <a:pt x="20127" y="4667"/>
                  <a:pt x="20223" y="3689"/>
                </a:cubicBezTo>
                <a:lnTo>
                  <a:pt x="20676" y="2637"/>
                </a:lnTo>
                <a:lnTo>
                  <a:pt x="21844" y="2159"/>
                </a:lnTo>
                <a:lnTo>
                  <a:pt x="25586" y="1759"/>
                </a:lnTo>
                <a:lnTo>
                  <a:pt x="25586" y="-608"/>
                </a:lnTo>
                <a:lnTo>
                  <a:pt x="23322" y="-579"/>
                </a:lnTo>
                <a:lnTo>
                  <a:pt x="15884" y="-412"/>
                </a:lnTo>
                <a:lnTo>
                  <a:pt x="5968" y="-608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8" name="Vrije vorm 2077">
            <a:extLst>
              <a:ext uri="{FF2B5EF4-FFF2-40B4-BE49-F238E27FC236}">
                <a16:creationId xmlns:a16="http://schemas.microsoft.com/office/drawing/2014/main" id="{B4418849-7255-2CEE-18F6-3825C1A7A85C}"/>
              </a:ext>
            </a:extLst>
          </p:cNvPr>
          <p:cNvSpPr/>
          <p:nvPr/>
        </p:nvSpPr>
        <p:spPr>
          <a:xfrm flipV="1">
            <a:off x="1456412" y="1921408"/>
            <a:ext cx="70416" cy="106514"/>
          </a:xfrm>
          <a:custGeom>
            <a:avLst/>
            <a:gdLst>
              <a:gd name="connsiteX0" fmla="*/ 2490 w 25648"/>
              <a:gd name="connsiteY0" fmla="*/ 16835 h 40004"/>
              <a:gd name="connsiteX1" fmla="*/ 1346 w 25648"/>
              <a:gd name="connsiteY1" fmla="*/ 17412 h 40004"/>
              <a:gd name="connsiteX2" fmla="*/ 1560 w 25648"/>
              <a:gd name="connsiteY2" fmla="*/ 21802 h 40004"/>
              <a:gd name="connsiteX3" fmla="*/ 1703 w 25648"/>
              <a:gd name="connsiteY3" fmla="*/ 26454 h 40004"/>
              <a:gd name="connsiteX4" fmla="*/ 1703 w 25648"/>
              <a:gd name="connsiteY4" fmla="*/ 30227 h 40004"/>
              <a:gd name="connsiteX5" fmla="*/ 1560 w 25648"/>
              <a:gd name="connsiteY5" fmla="*/ 33441 h 40004"/>
              <a:gd name="connsiteX6" fmla="*/ 1536 w 25648"/>
              <a:gd name="connsiteY6" fmla="*/ 35995 h 40004"/>
              <a:gd name="connsiteX7" fmla="*/ 1441 w 25648"/>
              <a:gd name="connsiteY7" fmla="*/ 37429 h 40004"/>
              <a:gd name="connsiteX8" fmla="*/ 1274 w 25648"/>
              <a:gd name="connsiteY8" fmla="*/ 39097 h 40004"/>
              <a:gd name="connsiteX9" fmla="*/ 1632 w 25648"/>
              <a:gd name="connsiteY9" fmla="*/ 39433 h 40004"/>
              <a:gd name="connsiteX10" fmla="*/ 13694 w 25648"/>
              <a:gd name="connsiteY10" fmla="*/ 39097 h 40004"/>
              <a:gd name="connsiteX11" fmla="*/ 16745 w 25648"/>
              <a:gd name="connsiteY11" fmla="*/ 39116 h 40004"/>
              <a:gd name="connsiteX12" fmla="*/ 22251 w 25648"/>
              <a:gd name="connsiteY12" fmla="*/ 39433 h 40004"/>
              <a:gd name="connsiteX13" fmla="*/ 22537 w 25648"/>
              <a:gd name="connsiteY13" fmla="*/ 38930 h 40004"/>
              <a:gd name="connsiteX14" fmla="*/ 22179 w 25648"/>
              <a:gd name="connsiteY14" fmla="*/ 34829 h 40004"/>
              <a:gd name="connsiteX15" fmla="*/ 22251 w 25648"/>
              <a:gd name="connsiteY15" fmla="*/ 32844 h 40004"/>
              <a:gd name="connsiteX16" fmla="*/ 21989 w 25648"/>
              <a:gd name="connsiteY16" fmla="*/ 32463 h 40004"/>
              <a:gd name="connsiteX17" fmla="*/ 19438 w 25648"/>
              <a:gd name="connsiteY17" fmla="*/ 32565 h 40004"/>
              <a:gd name="connsiteX18" fmla="*/ 13431 w 25648"/>
              <a:gd name="connsiteY18" fmla="*/ 32658 h 40004"/>
              <a:gd name="connsiteX19" fmla="*/ 4850 w 25648"/>
              <a:gd name="connsiteY19" fmla="*/ 32463 h 40004"/>
              <a:gd name="connsiteX20" fmla="*/ 4611 w 25648"/>
              <a:gd name="connsiteY20" fmla="*/ 23283 h 40004"/>
              <a:gd name="connsiteX21" fmla="*/ 8759 w 25648"/>
              <a:gd name="connsiteY21" fmla="*/ 24812 h 40004"/>
              <a:gd name="connsiteX22" fmla="*/ 12478 w 25648"/>
              <a:gd name="connsiteY22" fmla="*/ 25213 h 40004"/>
              <a:gd name="connsiteX23" fmla="*/ 20869 w 25648"/>
              <a:gd name="connsiteY23" fmla="*/ 22305 h 40004"/>
              <a:gd name="connsiteX24" fmla="*/ 23991 w 25648"/>
              <a:gd name="connsiteY24" fmla="*/ 14526 h 40004"/>
              <a:gd name="connsiteX25" fmla="*/ 21727 w 25648"/>
              <a:gd name="connsiteY25" fmla="*/ 7033 h 40004"/>
              <a:gd name="connsiteX26" fmla="*/ 15004 w 25648"/>
              <a:gd name="connsiteY26" fmla="*/ 1143 h 40004"/>
              <a:gd name="connsiteX27" fmla="*/ 6947 w 25648"/>
              <a:gd name="connsiteY27" fmla="*/ -572 h 40004"/>
              <a:gd name="connsiteX28" fmla="*/ 3682 w 25648"/>
              <a:gd name="connsiteY28" fmla="*/ -264 h 40004"/>
              <a:gd name="connsiteX29" fmla="*/ 297 w 25648"/>
              <a:gd name="connsiteY29" fmla="*/ 762 h 40004"/>
              <a:gd name="connsiteX30" fmla="*/ -156 w 25648"/>
              <a:gd name="connsiteY30" fmla="*/ 3333 h 40004"/>
              <a:gd name="connsiteX31" fmla="*/ -1658 w 25648"/>
              <a:gd name="connsiteY31" fmla="*/ 9111 h 40004"/>
              <a:gd name="connsiteX32" fmla="*/ 273 w 25648"/>
              <a:gd name="connsiteY32" fmla="*/ 9781 h 40004"/>
              <a:gd name="connsiteX33" fmla="*/ 2514 w 25648"/>
              <a:gd name="connsiteY33" fmla="*/ 6100 h 40004"/>
              <a:gd name="connsiteX34" fmla="*/ 5684 w 25648"/>
              <a:gd name="connsiteY34" fmla="*/ 3744 h 40004"/>
              <a:gd name="connsiteX35" fmla="*/ 9593 w 25648"/>
              <a:gd name="connsiteY35" fmla="*/ 2887 h 40004"/>
              <a:gd name="connsiteX36" fmla="*/ 14862 w 25648"/>
              <a:gd name="connsiteY36" fmla="*/ 5077 h 40004"/>
              <a:gd name="connsiteX37" fmla="*/ 16912 w 25648"/>
              <a:gd name="connsiteY37" fmla="*/ 10948 h 40004"/>
              <a:gd name="connsiteX38" fmla="*/ 14790 w 25648"/>
              <a:gd name="connsiteY38" fmla="*/ 17005 h 40004"/>
              <a:gd name="connsiteX39" fmla="*/ 9069 w 25648"/>
              <a:gd name="connsiteY39" fmla="*/ 19202 h 40004"/>
              <a:gd name="connsiteX40" fmla="*/ 6519 w 25648"/>
              <a:gd name="connsiteY40" fmla="*/ 18896 h 40004"/>
              <a:gd name="connsiteX41" fmla="*/ 4611 w 25648"/>
              <a:gd name="connsiteY41" fmla="*/ 18197 h 40004"/>
              <a:gd name="connsiteX42" fmla="*/ 2490 w 25648"/>
              <a:gd name="connsiteY42" fmla="*/ 16835 h 40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25648" h="40004">
                <a:moveTo>
                  <a:pt x="2490" y="16835"/>
                </a:moveTo>
                <a:lnTo>
                  <a:pt x="1346" y="17412"/>
                </a:lnTo>
                <a:lnTo>
                  <a:pt x="1560" y="21802"/>
                </a:lnTo>
                <a:lnTo>
                  <a:pt x="1703" y="26454"/>
                </a:lnTo>
                <a:lnTo>
                  <a:pt x="1703" y="30227"/>
                </a:lnTo>
                <a:lnTo>
                  <a:pt x="1560" y="33441"/>
                </a:lnTo>
                <a:lnTo>
                  <a:pt x="1536" y="35995"/>
                </a:lnTo>
                <a:lnTo>
                  <a:pt x="1441" y="37429"/>
                </a:lnTo>
                <a:lnTo>
                  <a:pt x="1274" y="39097"/>
                </a:lnTo>
                <a:lnTo>
                  <a:pt x="1632" y="39433"/>
                </a:lnTo>
                <a:cubicBezTo>
                  <a:pt x="6304" y="39218"/>
                  <a:pt x="10356" y="39097"/>
                  <a:pt x="13694" y="39097"/>
                </a:cubicBezTo>
                <a:lnTo>
                  <a:pt x="16745" y="39116"/>
                </a:lnTo>
                <a:lnTo>
                  <a:pt x="22251" y="39433"/>
                </a:lnTo>
                <a:lnTo>
                  <a:pt x="22537" y="38930"/>
                </a:lnTo>
                <a:lnTo>
                  <a:pt x="22179" y="34829"/>
                </a:lnTo>
                <a:lnTo>
                  <a:pt x="22251" y="32844"/>
                </a:lnTo>
                <a:lnTo>
                  <a:pt x="21989" y="32463"/>
                </a:lnTo>
                <a:lnTo>
                  <a:pt x="19438" y="32565"/>
                </a:lnTo>
                <a:cubicBezTo>
                  <a:pt x="16339" y="32630"/>
                  <a:pt x="14313" y="32658"/>
                  <a:pt x="13431" y="32658"/>
                </a:cubicBezTo>
                <a:cubicBezTo>
                  <a:pt x="9283" y="32658"/>
                  <a:pt x="6471" y="32630"/>
                  <a:pt x="4850" y="32463"/>
                </a:cubicBezTo>
                <a:lnTo>
                  <a:pt x="4611" y="23283"/>
                </a:lnTo>
                <a:lnTo>
                  <a:pt x="8759" y="24812"/>
                </a:lnTo>
                <a:lnTo>
                  <a:pt x="12478" y="25213"/>
                </a:lnTo>
                <a:cubicBezTo>
                  <a:pt x="16006" y="25213"/>
                  <a:pt x="18842" y="24280"/>
                  <a:pt x="20869" y="22305"/>
                </a:cubicBezTo>
                <a:cubicBezTo>
                  <a:pt x="22966" y="20349"/>
                  <a:pt x="23991" y="17720"/>
                  <a:pt x="23991" y="14526"/>
                </a:cubicBezTo>
                <a:cubicBezTo>
                  <a:pt x="23991" y="11952"/>
                  <a:pt x="23228" y="9464"/>
                  <a:pt x="21727" y="7033"/>
                </a:cubicBezTo>
                <a:cubicBezTo>
                  <a:pt x="20273" y="4600"/>
                  <a:pt x="18032" y="2644"/>
                  <a:pt x="15004" y="1143"/>
                </a:cubicBezTo>
                <a:cubicBezTo>
                  <a:pt x="12668" y="25"/>
                  <a:pt x="10023" y="-572"/>
                  <a:pt x="6947" y="-572"/>
                </a:cubicBezTo>
                <a:lnTo>
                  <a:pt x="3682" y="-264"/>
                </a:lnTo>
                <a:lnTo>
                  <a:pt x="297" y="762"/>
                </a:lnTo>
                <a:lnTo>
                  <a:pt x="-156" y="3333"/>
                </a:lnTo>
                <a:cubicBezTo>
                  <a:pt x="-418" y="4199"/>
                  <a:pt x="-871" y="6129"/>
                  <a:pt x="-1658" y="9111"/>
                </a:cubicBezTo>
                <a:lnTo>
                  <a:pt x="273" y="9781"/>
                </a:lnTo>
                <a:lnTo>
                  <a:pt x="2514" y="6100"/>
                </a:lnTo>
                <a:lnTo>
                  <a:pt x="5684" y="3744"/>
                </a:lnTo>
                <a:lnTo>
                  <a:pt x="9593" y="2887"/>
                </a:lnTo>
                <a:lnTo>
                  <a:pt x="14862" y="5077"/>
                </a:lnTo>
                <a:cubicBezTo>
                  <a:pt x="16244" y="6511"/>
                  <a:pt x="16912" y="8467"/>
                  <a:pt x="16912" y="10948"/>
                </a:cubicBezTo>
                <a:cubicBezTo>
                  <a:pt x="16912" y="13546"/>
                  <a:pt x="16220" y="15578"/>
                  <a:pt x="14790" y="17005"/>
                </a:cubicBezTo>
                <a:cubicBezTo>
                  <a:pt x="13431" y="18486"/>
                  <a:pt x="11477" y="19202"/>
                  <a:pt x="9069" y="19202"/>
                </a:cubicBezTo>
                <a:lnTo>
                  <a:pt x="6519" y="18896"/>
                </a:lnTo>
                <a:lnTo>
                  <a:pt x="4611" y="18197"/>
                </a:lnTo>
                <a:lnTo>
                  <a:pt x="2490" y="16835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79" name="Vrije vorm 2078">
            <a:extLst>
              <a:ext uri="{FF2B5EF4-FFF2-40B4-BE49-F238E27FC236}">
                <a16:creationId xmlns:a16="http://schemas.microsoft.com/office/drawing/2014/main" id="{ABCD27A7-4492-2E4D-3F4D-2FE01074EC37}"/>
              </a:ext>
            </a:extLst>
          </p:cNvPr>
          <p:cNvSpPr/>
          <p:nvPr/>
        </p:nvSpPr>
        <p:spPr>
          <a:xfrm flipV="1">
            <a:off x="1157525" y="1997627"/>
            <a:ext cx="70155" cy="107081"/>
          </a:xfrm>
          <a:custGeom>
            <a:avLst/>
            <a:gdLst>
              <a:gd name="connsiteX0" fmla="*/ 5962 w 25553"/>
              <a:gd name="connsiteY0" fmla="*/ 12793 h 40217"/>
              <a:gd name="connsiteX1" fmla="*/ 7416 w 25553"/>
              <a:gd name="connsiteY1" fmla="*/ 5134 h 40217"/>
              <a:gd name="connsiteX2" fmla="*/ 11754 w 25553"/>
              <a:gd name="connsiteY2" fmla="*/ 2424 h 40217"/>
              <a:gd name="connsiteX3" fmla="*/ 15449 w 25553"/>
              <a:gd name="connsiteY3" fmla="*/ 4277 h 40217"/>
              <a:gd name="connsiteX4" fmla="*/ 16903 w 25553"/>
              <a:gd name="connsiteY4" fmla="*/ 10558 h 40217"/>
              <a:gd name="connsiteX5" fmla="*/ 16117 w 25553"/>
              <a:gd name="connsiteY5" fmla="*/ 15730 h 40217"/>
              <a:gd name="connsiteX6" fmla="*/ 13947 w 25553"/>
              <a:gd name="connsiteY6" fmla="*/ 18619 h 40217"/>
              <a:gd name="connsiteX7" fmla="*/ 11039 w 25553"/>
              <a:gd name="connsiteY7" fmla="*/ 19549 h 40217"/>
              <a:gd name="connsiteX8" fmla="*/ 8322 w 25553"/>
              <a:gd name="connsiteY8" fmla="*/ 18805 h 40217"/>
              <a:gd name="connsiteX9" fmla="*/ 6510 w 25553"/>
              <a:gd name="connsiteY9" fmla="*/ 16708 h 40217"/>
              <a:gd name="connsiteX10" fmla="*/ 19644 w 25553"/>
              <a:gd name="connsiteY10" fmla="*/ 39659 h 40217"/>
              <a:gd name="connsiteX11" fmla="*/ 21909 w 25553"/>
              <a:gd name="connsiteY11" fmla="*/ 37822 h 40217"/>
              <a:gd name="connsiteX12" fmla="*/ 21027 w 25553"/>
              <a:gd name="connsiteY12" fmla="*/ 36863 h 40217"/>
              <a:gd name="connsiteX13" fmla="*/ 19072 w 25553"/>
              <a:gd name="connsiteY13" fmla="*/ 36985 h 40217"/>
              <a:gd name="connsiteX14" fmla="*/ 13828 w 25553"/>
              <a:gd name="connsiteY14" fmla="*/ 35651 h 40217"/>
              <a:gd name="connsiteX15" fmla="*/ 9704 w 25553"/>
              <a:gd name="connsiteY15" fmla="*/ 31970 h 40217"/>
              <a:gd name="connsiteX16" fmla="*/ 7178 w 25553"/>
              <a:gd name="connsiteY16" fmla="*/ 26753 h 40217"/>
              <a:gd name="connsiteX17" fmla="*/ 6105 w 25553"/>
              <a:gd name="connsiteY17" fmla="*/ 19998 h 40217"/>
              <a:gd name="connsiteX18" fmla="*/ 10372 w 25553"/>
              <a:gd name="connsiteY18" fmla="*/ 23679 h 40217"/>
              <a:gd name="connsiteX19" fmla="*/ 12279 w 25553"/>
              <a:gd name="connsiteY19" fmla="*/ 24320 h 40217"/>
              <a:gd name="connsiteX20" fmla="*/ 15163 w 25553"/>
              <a:gd name="connsiteY20" fmla="*/ 24676 h 40217"/>
              <a:gd name="connsiteX21" fmla="*/ 21170 w 25553"/>
              <a:gd name="connsiteY21" fmla="*/ 22002 h 40217"/>
              <a:gd name="connsiteX22" fmla="*/ 23935 w 25553"/>
              <a:gd name="connsiteY22" fmla="*/ 13652 h 40217"/>
              <a:gd name="connsiteX23" fmla="*/ 20264 w 25553"/>
              <a:gd name="connsiteY23" fmla="*/ 3280 h 40217"/>
              <a:gd name="connsiteX24" fmla="*/ 11111 w 25553"/>
              <a:gd name="connsiteY24" fmla="*/ -558 h 40217"/>
              <a:gd name="connsiteX25" fmla="*/ 3888 w 25553"/>
              <a:gd name="connsiteY25" fmla="*/ 1632 h 40217"/>
              <a:gd name="connsiteX26" fmla="*/ -283 w 25553"/>
              <a:gd name="connsiteY26" fmla="*/ 7211 h 40217"/>
              <a:gd name="connsiteX27" fmla="*/ -1618 w 25553"/>
              <a:gd name="connsiteY27" fmla="*/ 15804 h 40217"/>
              <a:gd name="connsiteX28" fmla="*/ 193 w 25553"/>
              <a:gd name="connsiteY28" fmla="*/ 26221 h 40217"/>
              <a:gd name="connsiteX29" fmla="*/ 5080 w 25553"/>
              <a:gd name="connsiteY29" fmla="*/ 33452 h 40217"/>
              <a:gd name="connsiteX30" fmla="*/ 11802 w 25553"/>
              <a:gd name="connsiteY30" fmla="*/ 38037 h 40217"/>
              <a:gd name="connsiteX31" fmla="*/ 19644 w 25553"/>
              <a:gd name="connsiteY31" fmla="*/ 39659 h 40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5553" h="40217">
                <a:moveTo>
                  <a:pt x="5962" y="12793"/>
                </a:moveTo>
                <a:cubicBezTo>
                  <a:pt x="5962" y="9523"/>
                  <a:pt x="6415" y="7025"/>
                  <a:pt x="7416" y="5134"/>
                </a:cubicBezTo>
                <a:lnTo>
                  <a:pt x="11754" y="2424"/>
                </a:lnTo>
                <a:lnTo>
                  <a:pt x="15449" y="4277"/>
                </a:lnTo>
                <a:cubicBezTo>
                  <a:pt x="16403" y="5499"/>
                  <a:pt x="16903" y="7596"/>
                  <a:pt x="16903" y="10558"/>
                </a:cubicBezTo>
                <a:lnTo>
                  <a:pt x="16117" y="15730"/>
                </a:lnTo>
                <a:lnTo>
                  <a:pt x="13947" y="18619"/>
                </a:lnTo>
                <a:lnTo>
                  <a:pt x="11039" y="19549"/>
                </a:lnTo>
                <a:lnTo>
                  <a:pt x="8322" y="18805"/>
                </a:lnTo>
                <a:lnTo>
                  <a:pt x="6510" y="16708"/>
                </a:lnTo>
                <a:close/>
                <a:moveTo>
                  <a:pt x="19644" y="39659"/>
                </a:moveTo>
                <a:lnTo>
                  <a:pt x="21909" y="37822"/>
                </a:lnTo>
                <a:lnTo>
                  <a:pt x="21027" y="36863"/>
                </a:lnTo>
                <a:lnTo>
                  <a:pt x="19072" y="36985"/>
                </a:lnTo>
                <a:lnTo>
                  <a:pt x="13828" y="35651"/>
                </a:lnTo>
                <a:lnTo>
                  <a:pt x="9704" y="31970"/>
                </a:lnTo>
                <a:lnTo>
                  <a:pt x="7178" y="26753"/>
                </a:lnTo>
                <a:cubicBezTo>
                  <a:pt x="6748" y="25298"/>
                  <a:pt x="6415" y="23082"/>
                  <a:pt x="6105" y="19998"/>
                </a:cubicBezTo>
                <a:cubicBezTo>
                  <a:pt x="8489" y="22169"/>
                  <a:pt x="9871" y="23435"/>
                  <a:pt x="10372" y="23679"/>
                </a:cubicBezTo>
                <a:lnTo>
                  <a:pt x="12279" y="24320"/>
                </a:lnTo>
                <a:lnTo>
                  <a:pt x="15163" y="24676"/>
                </a:lnTo>
                <a:cubicBezTo>
                  <a:pt x="17380" y="24676"/>
                  <a:pt x="19358" y="23817"/>
                  <a:pt x="21170" y="22002"/>
                </a:cubicBezTo>
                <a:cubicBezTo>
                  <a:pt x="23006" y="20239"/>
                  <a:pt x="23935" y="17471"/>
                  <a:pt x="23935" y="13652"/>
                </a:cubicBezTo>
                <a:cubicBezTo>
                  <a:pt x="23935" y="9337"/>
                  <a:pt x="22720" y="5880"/>
                  <a:pt x="20264" y="3280"/>
                </a:cubicBezTo>
                <a:cubicBezTo>
                  <a:pt x="17833" y="680"/>
                  <a:pt x="14758" y="-558"/>
                  <a:pt x="11111" y="-558"/>
                </a:cubicBezTo>
                <a:cubicBezTo>
                  <a:pt x="8131" y="-558"/>
                  <a:pt x="5724" y="148"/>
                  <a:pt x="3888" y="1632"/>
                </a:cubicBezTo>
                <a:cubicBezTo>
                  <a:pt x="2005" y="3065"/>
                  <a:pt x="598" y="4919"/>
                  <a:pt x="-283" y="7211"/>
                </a:cubicBezTo>
                <a:cubicBezTo>
                  <a:pt x="-1189" y="9478"/>
                  <a:pt x="-1618" y="12319"/>
                  <a:pt x="-1618" y="15804"/>
                </a:cubicBezTo>
                <a:cubicBezTo>
                  <a:pt x="-1618" y="19931"/>
                  <a:pt x="-1046" y="23435"/>
                  <a:pt x="193" y="26221"/>
                </a:cubicBezTo>
                <a:cubicBezTo>
                  <a:pt x="1361" y="29091"/>
                  <a:pt x="3006" y="31477"/>
                  <a:pt x="5080" y="33452"/>
                </a:cubicBezTo>
                <a:cubicBezTo>
                  <a:pt x="7130" y="35484"/>
                  <a:pt x="9323" y="36985"/>
                  <a:pt x="11802" y="38037"/>
                </a:cubicBezTo>
                <a:cubicBezTo>
                  <a:pt x="14209" y="39108"/>
                  <a:pt x="16832" y="39659"/>
                  <a:pt x="19644" y="39659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0" name="Vrije vorm 2079">
            <a:extLst>
              <a:ext uri="{FF2B5EF4-FFF2-40B4-BE49-F238E27FC236}">
                <a16:creationId xmlns:a16="http://schemas.microsoft.com/office/drawing/2014/main" id="{0D01116A-7935-D49B-8655-C1A37B58DED3}"/>
              </a:ext>
            </a:extLst>
          </p:cNvPr>
          <p:cNvSpPr/>
          <p:nvPr/>
        </p:nvSpPr>
        <p:spPr>
          <a:xfrm flipV="1">
            <a:off x="913023" y="1947831"/>
            <a:ext cx="72250" cy="103612"/>
          </a:xfrm>
          <a:custGeom>
            <a:avLst/>
            <a:gdLst>
              <a:gd name="connsiteX0" fmla="*/ 1084 w 26316"/>
              <a:gd name="connsiteY0" fmla="*/ -567 h 38914"/>
              <a:gd name="connsiteX1" fmla="*/ 774 w 26316"/>
              <a:gd name="connsiteY1" fmla="*/ 86 h 38914"/>
              <a:gd name="connsiteX2" fmla="*/ 8974 w 26316"/>
              <a:gd name="connsiteY2" fmla="*/ 14111 h 38914"/>
              <a:gd name="connsiteX3" fmla="*/ 14409 w 26316"/>
              <a:gd name="connsiteY3" fmla="*/ 23242 h 38914"/>
              <a:gd name="connsiteX4" fmla="*/ 18414 w 26316"/>
              <a:gd name="connsiteY4" fmla="*/ 30668 h 38914"/>
              <a:gd name="connsiteX5" fmla="*/ 18223 w 26316"/>
              <a:gd name="connsiteY5" fmla="*/ 31162 h 38914"/>
              <a:gd name="connsiteX6" fmla="*/ 10881 w 26316"/>
              <a:gd name="connsiteY6" fmla="*/ 31162 h 38914"/>
              <a:gd name="connsiteX7" fmla="*/ 6280 w 26316"/>
              <a:gd name="connsiteY7" fmla="*/ 31117 h 38914"/>
              <a:gd name="connsiteX8" fmla="*/ 2705 w 26316"/>
              <a:gd name="connsiteY8" fmla="*/ 30902 h 38914"/>
              <a:gd name="connsiteX9" fmla="*/ 2109 w 26316"/>
              <a:gd name="connsiteY9" fmla="*/ 30547 h 38914"/>
              <a:gd name="connsiteX10" fmla="*/ 1585 w 26316"/>
              <a:gd name="connsiteY10" fmla="*/ 29616 h 38914"/>
              <a:gd name="connsiteX11" fmla="*/ 774 w 26316"/>
              <a:gd name="connsiteY11" fmla="*/ 24249 h 38914"/>
              <a:gd name="connsiteX12" fmla="*/ -1586 w 26316"/>
              <a:gd name="connsiteY12" fmla="*/ 24294 h 38914"/>
              <a:gd name="connsiteX13" fmla="*/ -1467 w 26316"/>
              <a:gd name="connsiteY13" fmla="*/ 30733 h 38914"/>
              <a:gd name="connsiteX14" fmla="*/ -1586 w 26316"/>
              <a:gd name="connsiteY14" fmla="*/ 38059 h 38914"/>
              <a:gd name="connsiteX15" fmla="*/ -1204 w 26316"/>
              <a:gd name="connsiteY15" fmla="*/ 38347 h 38914"/>
              <a:gd name="connsiteX16" fmla="*/ 6328 w 26316"/>
              <a:gd name="connsiteY16" fmla="*/ 38152 h 38914"/>
              <a:gd name="connsiteX17" fmla="*/ 12335 w 26316"/>
              <a:gd name="connsiteY17" fmla="*/ 38059 h 38914"/>
              <a:gd name="connsiteX18" fmla="*/ 24730 w 26316"/>
              <a:gd name="connsiteY18" fmla="*/ 38254 h 38914"/>
              <a:gd name="connsiteX19" fmla="*/ 24730 w 26316"/>
              <a:gd name="connsiteY19" fmla="*/ 35580 h 38914"/>
              <a:gd name="connsiteX20" fmla="*/ 19343 w 26316"/>
              <a:gd name="connsiteY20" fmla="*/ 25673 h 38914"/>
              <a:gd name="connsiteX21" fmla="*/ 14552 w 26316"/>
              <a:gd name="connsiteY21" fmla="*/ 15974 h 38914"/>
              <a:gd name="connsiteX22" fmla="*/ 10476 w 26316"/>
              <a:gd name="connsiteY22" fmla="*/ 6692 h 38914"/>
              <a:gd name="connsiteX23" fmla="*/ 7663 w 26316"/>
              <a:gd name="connsiteY23" fmla="*/ -567 h 38914"/>
              <a:gd name="connsiteX24" fmla="*/ 4493 w 26316"/>
              <a:gd name="connsiteY24" fmla="*/ -417 h 38914"/>
              <a:gd name="connsiteX25" fmla="*/ 1084 w 26316"/>
              <a:gd name="connsiteY25" fmla="*/ -567 h 38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316" h="38914">
                <a:moveTo>
                  <a:pt x="1084" y="-567"/>
                </a:moveTo>
                <a:lnTo>
                  <a:pt x="774" y="86"/>
                </a:lnTo>
                <a:cubicBezTo>
                  <a:pt x="5375" y="7978"/>
                  <a:pt x="8092" y="12675"/>
                  <a:pt x="8974" y="14111"/>
                </a:cubicBezTo>
                <a:cubicBezTo>
                  <a:pt x="12264" y="19645"/>
                  <a:pt x="14099" y="22691"/>
                  <a:pt x="14409" y="23242"/>
                </a:cubicBezTo>
                <a:lnTo>
                  <a:pt x="18414" y="30668"/>
                </a:lnTo>
                <a:lnTo>
                  <a:pt x="18223" y="31162"/>
                </a:lnTo>
                <a:lnTo>
                  <a:pt x="10881" y="31162"/>
                </a:lnTo>
                <a:lnTo>
                  <a:pt x="6280" y="31117"/>
                </a:lnTo>
                <a:lnTo>
                  <a:pt x="2705" y="30902"/>
                </a:lnTo>
                <a:lnTo>
                  <a:pt x="2109" y="30547"/>
                </a:lnTo>
                <a:lnTo>
                  <a:pt x="1585" y="29616"/>
                </a:lnTo>
                <a:cubicBezTo>
                  <a:pt x="1418" y="28927"/>
                  <a:pt x="1155" y="27155"/>
                  <a:pt x="774" y="24249"/>
                </a:cubicBezTo>
                <a:lnTo>
                  <a:pt x="-1586" y="24294"/>
                </a:lnTo>
                <a:cubicBezTo>
                  <a:pt x="-1514" y="26866"/>
                  <a:pt x="-1467" y="28991"/>
                  <a:pt x="-1467" y="30733"/>
                </a:cubicBezTo>
                <a:cubicBezTo>
                  <a:pt x="-1467" y="32570"/>
                  <a:pt x="-1514" y="35029"/>
                  <a:pt x="-1586" y="38059"/>
                </a:cubicBezTo>
                <a:lnTo>
                  <a:pt x="-1204" y="38347"/>
                </a:lnTo>
                <a:lnTo>
                  <a:pt x="6328" y="38152"/>
                </a:lnTo>
                <a:lnTo>
                  <a:pt x="12335" y="38059"/>
                </a:lnTo>
                <a:cubicBezTo>
                  <a:pt x="13742" y="38059"/>
                  <a:pt x="17865" y="38152"/>
                  <a:pt x="24730" y="38254"/>
                </a:cubicBezTo>
                <a:lnTo>
                  <a:pt x="24730" y="35580"/>
                </a:lnTo>
                <a:cubicBezTo>
                  <a:pt x="21822" y="30380"/>
                  <a:pt x="20035" y="27035"/>
                  <a:pt x="19343" y="25673"/>
                </a:cubicBezTo>
                <a:cubicBezTo>
                  <a:pt x="17365" y="21770"/>
                  <a:pt x="15768" y="18517"/>
                  <a:pt x="14552" y="15974"/>
                </a:cubicBezTo>
                <a:cubicBezTo>
                  <a:pt x="13336" y="13364"/>
                  <a:pt x="11978" y="10318"/>
                  <a:pt x="10476" y="6692"/>
                </a:cubicBezTo>
                <a:cubicBezTo>
                  <a:pt x="9308" y="3879"/>
                  <a:pt x="8378" y="1417"/>
                  <a:pt x="7663" y="-567"/>
                </a:cubicBezTo>
                <a:lnTo>
                  <a:pt x="4493" y="-417"/>
                </a:lnTo>
                <a:lnTo>
                  <a:pt x="1084" y="-567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1" name="Vrije vorm 2080">
            <a:extLst>
              <a:ext uri="{FF2B5EF4-FFF2-40B4-BE49-F238E27FC236}">
                <a16:creationId xmlns:a16="http://schemas.microsoft.com/office/drawing/2014/main" id="{700167BB-988B-A3B9-E1AB-A3A5CBB0E1F0}"/>
              </a:ext>
            </a:extLst>
          </p:cNvPr>
          <p:cNvSpPr/>
          <p:nvPr/>
        </p:nvSpPr>
        <p:spPr>
          <a:xfrm flipV="1">
            <a:off x="714266" y="1781553"/>
            <a:ext cx="70155" cy="107081"/>
          </a:xfrm>
          <a:custGeom>
            <a:avLst/>
            <a:gdLst>
              <a:gd name="connsiteX0" fmla="*/ 13840 w 25553"/>
              <a:gd name="connsiteY0" fmla="*/ 23781 h 40217"/>
              <a:gd name="connsiteX1" fmla="*/ 16414 w 25553"/>
              <a:gd name="connsiteY1" fmla="*/ 26577 h 40217"/>
              <a:gd name="connsiteX2" fmla="*/ 17344 w 25553"/>
              <a:gd name="connsiteY2" fmla="*/ 30312 h 40217"/>
              <a:gd name="connsiteX3" fmla="*/ 15675 w 25553"/>
              <a:gd name="connsiteY3" fmla="*/ 34804 h 40217"/>
              <a:gd name="connsiteX4" fmla="*/ 11051 w 25553"/>
              <a:gd name="connsiteY4" fmla="*/ 36500 h 40217"/>
              <a:gd name="connsiteX5" fmla="*/ 7046 w 25553"/>
              <a:gd name="connsiteY5" fmla="*/ 34990 h 40217"/>
              <a:gd name="connsiteX6" fmla="*/ 5520 w 25553"/>
              <a:gd name="connsiteY6" fmla="*/ 31226 h 40217"/>
              <a:gd name="connsiteX7" fmla="*/ 5783 w 25553"/>
              <a:gd name="connsiteY7" fmla="*/ 29558 h 40217"/>
              <a:gd name="connsiteX8" fmla="*/ 6641 w 25553"/>
              <a:gd name="connsiteY8" fmla="*/ 28001 h 40217"/>
              <a:gd name="connsiteX9" fmla="*/ 8047 w 25553"/>
              <a:gd name="connsiteY9" fmla="*/ 26641 h 40217"/>
              <a:gd name="connsiteX10" fmla="*/ 10192 w 25553"/>
              <a:gd name="connsiteY10" fmla="*/ 25403 h 40217"/>
              <a:gd name="connsiteX11" fmla="*/ 12290 w 25553"/>
              <a:gd name="connsiteY11" fmla="*/ 24422 h 40217"/>
              <a:gd name="connsiteX12" fmla="*/ 7833 w 25553"/>
              <a:gd name="connsiteY12" fmla="*/ 18339 h 40217"/>
              <a:gd name="connsiteX13" fmla="*/ 4710 w 25553"/>
              <a:gd name="connsiteY13" fmla="*/ 14806 h 40217"/>
              <a:gd name="connsiteX14" fmla="*/ 3709 w 25553"/>
              <a:gd name="connsiteY14" fmla="*/ 10539 h 40217"/>
              <a:gd name="connsiteX15" fmla="*/ 5854 w 25553"/>
              <a:gd name="connsiteY15" fmla="*/ 4771 h 40217"/>
              <a:gd name="connsiteX16" fmla="*/ 11074 w 25553"/>
              <a:gd name="connsiteY16" fmla="*/ 2526 h 40217"/>
              <a:gd name="connsiteX17" fmla="*/ 15723 w 25553"/>
              <a:gd name="connsiteY17" fmla="*/ 4389 h 40217"/>
              <a:gd name="connsiteX18" fmla="*/ 17558 w 25553"/>
              <a:gd name="connsiteY18" fmla="*/ 9179 h 40217"/>
              <a:gd name="connsiteX19" fmla="*/ 16843 w 25553"/>
              <a:gd name="connsiteY19" fmla="*/ 12664 h 40217"/>
              <a:gd name="connsiteX20" fmla="*/ 14340 w 25553"/>
              <a:gd name="connsiteY20" fmla="*/ 15188 h 40217"/>
              <a:gd name="connsiteX21" fmla="*/ 8619 w 25553"/>
              <a:gd name="connsiteY21" fmla="*/ 18013 h 40217"/>
              <a:gd name="connsiteX22" fmla="*/ 5329 w 25553"/>
              <a:gd name="connsiteY22" fmla="*/ 19465 h 40217"/>
              <a:gd name="connsiteX23" fmla="*/ 1897 w 25553"/>
              <a:gd name="connsiteY23" fmla="*/ 21944 h 40217"/>
              <a:gd name="connsiteX24" fmla="*/ 157 w 25553"/>
              <a:gd name="connsiteY24" fmla="*/ 24787 h 40217"/>
              <a:gd name="connsiteX25" fmla="*/ -487 w 25553"/>
              <a:gd name="connsiteY25" fmla="*/ 28597 h 40217"/>
              <a:gd name="connsiteX26" fmla="*/ 1182 w 25553"/>
              <a:gd name="connsiteY26" fmla="*/ 34422 h 40217"/>
              <a:gd name="connsiteX27" fmla="*/ 5520 w 25553"/>
              <a:gd name="connsiteY27" fmla="*/ 38289 h 40217"/>
              <a:gd name="connsiteX28" fmla="*/ 12099 w 25553"/>
              <a:gd name="connsiteY28" fmla="*/ 39620 h 40217"/>
              <a:gd name="connsiteX29" fmla="*/ 19632 w 25553"/>
              <a:gd name="connsiteY29" fmla="*/ 37142 h 40217"/>
              <a:gd name="connsiteX30" fmla="*/ 22230 w 25553"/>
              <a:gd name="connsiteY30" fmla="*/ 31133 h 40217"/>
              <a:gd name="connsiteX31" fmla="*/ 21515 w 25553"/>
              <a:gd name="connsiteY31" fmla="*/ 27574 h 40217"/>
              <a:gd name="connsiteX32" fmla="*/ 19346 w 25553"/>
              <a:gd name="connsiteY32" fmla="*/ 24618 h 40217"/>
              <a:gd name="connsiteX33" fmla="*/ 16700 w 25553"/>
              <a:gd name="connsiteY33" fmla="*/ 22710 h 40217"/>
              <a:gd name="connsiteX34" fmla="*/ 20490 w 25553"/>
              <a:gd name="connsiteY34" fmla="*/ 20677 h 40217"/>
              <a:gd name="connsiteX35" fmla="*/ 22540 w 25553"/>
              <a:gd name="connsiteY35" fmla="*/ 18459 h 40217"/>
              <a:gd name="connsiteX36" fmla="*/ 23661 w 25553"/>
              <a:gd name="connsiteY36" fmla="*/ 15813 h 40217"/>
              <a:gd name="connsiteX37" fmla="*/ 23994 w 25553"/>
              <a:gd name="connsiteY37" fmla="*/ 12664 h 40217"/>
              <a:gd name="connsiteX38" fmla="*/ 21968 w 25553"/>
              <a:gd name="connsiteY38" fmla="*/ 5338 h 40217"/>
              <a:gd name="connsiteX39" fmla="*/ 16199 w 25553"/>
              <a:gd name="connsiteY39" fmla="*/ 522 h 40217"/>
              <a:gd name="connsiteX40" fmla="*/ 10025 w 25553"/>
              <a:gd name="connsiteY40" fmla="*/ -597 h 40217"/>
              <a:gd name="connsiteX41" fmla="*/ 4471 w 25553"/>
              <a:gd name="connsiteY41" fmla="*/ 448 h 40217"/>
              <a:gd name="connsiteX42" fmla="*/ 1468 w 25553"/>
              <a:gd name="connsiteY42" fmla="*/ 2526 h 40217"/>
              <a:gd name="connsiteX43" fmla="*/ -749 w 25553"/>
              <a:gd name="connsiteY43" fmla="*/ 5601 h 40217"/>
              <a:gd name="connsiteX44" fmla="*/ -1560 w 25553"/>
              <a:gd name="connsiteY44" fmla="*/ 9878 h 40217"/>
              <a:gd name="connsiteX45" fmla="*/ -1011 w 25553"/>
              <a:gd name="connsiteY45" fmla="*/ 13380 h 40217"/>
              <a:gd name="connsiteX46" fmla="*/ 538 w 25553"/>
              <a:gd name="connsiteY46" fmla="*/ 16121 h 40217"/>
              <a:gd name="connsiteX47" fmla="*/ 2660 w 25553"/>
              <a:gd name="connsiteY47" fmla="*/ 17984 h 40217"/>
              <a:gd name="connsiteX48" fmla="*/ 5329 w 25553"/>
              <a:gd name="connsiteY48" fmla="*/ 19465 h 40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5553" h="40217">
                <a:moveTo>
                  <a:pt x="13840" y="23781"/>
                </a:moveTo>
                <a:lnTo>
                  <a:pt x="16414" y="26577"/>
                </a:lnTo>
                <a:lnTo>
                  <a:pt x="17344" y="30312"/>
                </a:lnTo>
                <a:lnTo>
                  <a:pt x="15675" y="34804"/>
                </a:lnTo>
                <a:lnTo>
                  <a:pt x="11051" y="36500"/>
                </a:lnTo>
                <a:lnTo>
                  <a:pt x="7046" y="34990"/>
                </a:lnTo>
                <a:lnTo>
                  <a:pt x="5520" y="31226"/>
                </a:lnTo>
                <a:lnTo>
                  <a:pt x="5783" y="29558"/>
                </a:lnTo>
                <a:lnTo>
                  <a:pt x="6641" y="28001"/>
                </a:lnTo>
                <a:lnTo>
                  <a:pt x="8047" y="26641"/>
                </a:lnTo>
                <a:lnTo>
                  <a:pt x="10192" y="25403"/>
                </a:lnTo>
                <a:lnTo>
                  <a:pt x="12290" y="24422"/>
                </a:lnTo>
                <a:close/>
                <a:moveTo>
                  <a:pt x="7833" y="18339"/>
                </a:moveTo>
                <a:lnTo>
                  <a:pt x="4710" y="14806"/>
                </a:lnTo>
                <a:lnTo>
                  <a:pt x="3709" y="10539"/>
                </a:lnTo>
                <a:cubicBezTo>
                  <a:pt x="3709" y="8182"/>
                  <a:pt x="4448" y="6271"/>
                  <a:pt x="5854" y="4771"/>
                </a:cubicBezTo>
                <a:lnTo>
                  <a:pt x="11074" y="2526"/>
                </a:lnTo>
                <a:lnTo>
                  <a:pt x="15723" y="4389"/>
                </a:lnTo>
                <a:lnTo>
                  <a:pt x="17558" y="9179"/>
                </a:lnTo>
                <a:lnTo>
                  <a:pt x="16843" y="12664"/>
                </a:lnTo>
                <a:lnTo>
                  <a:pt x="14340" y="15188"/>
                </a:lnTo>
                <a:cubicBezTo>
                  <a:pt x="13267" y="15906"/>
                  <a:pt x="11337" y="16865"/>
                  <a:pt x="8619" y="18013"/>
                </a:cubicBezTo>
                <a:close/>
                <a:moveTo>
                  <a:pt x="5329" y="19465"/>
                </a:moveTo>
                <a:lnTo>
                  <a:pt x="1897" y="21944"/>
                </a:lnTo>
                <a:lnTo>
                  <a:pt x="157" y="24787"/>
                </a:lnTo>
                <a:lnTo>
                  <a:pt x="-487" y="28597"/>
                </a:lnTo>
                <a:cubicBezTo>
                  <a:pt x="-487" y="30796"/>
                  <a:pt x="85" y="32755"/>
                  <a:pt x="1182" y="34422"/>
                </a:cubicBezTo>
                <a:lnTo>
                  <a:pt x="5520" y="38289"/>
                </a:lnTo>
                <a:cubicBezTo>
                  <a:pt x="7260" y="39165"/>
                  <a:pt x="9453" y="39620"/>
                  <a:pt x="12099" y="39620"/>
                </a:cubicBezTo>
                <a:cubicBezTo>
                  <a:pt x="15341" y="39620"/>
                  <a:pt x="17820" y="38783"/>
                  <a:pt x="19632" y="37142"/>
                </a:cubicBezTo>
                <a:cubicBezTo>
                  <a:pt x="21396" y="35493"/>
                  <a:pt x="22230" y="33490"/>
                  <a:pt x="22230" y="31133"/>
                </a:cubicBezTo>
                <a:lnTo>
                  <a:pt x="21515" y="27574"/>
                </a:lnTo>
                <a:lnTo>
                  <a:pt x="19346" y="24618"/>
                </a:lnTo>
                <a:lnTo>
                  <a:pt x="16700" y="22710"/>
                </a:lnTo>
                <a:lnTo>
                  <a:pt x="20490" y="20677"/>
                </a:lnTo>
                <a:lnTo>
                  <a:pt x="22540" y="18459"/>
                </a:lnTo>
                <a:lnTo>
                  <a:pt x="23661" y="15813"/>
                </a:lnTo>
                <a:lnTo>
                  <a:pt x="23994" y="12664"/>
                </a:lnTo>
                <a:cubicBezTo>
                  <a:pt x="23994" y="9897"/>
                  <a:pt x="23351" y="7464"/>
                  <a:pt x="21968" y="5338"/>
                </a:cubicBezTo>
                <a:cubicBezTo>
                  <a:pt x="20585" y="3242"/>
                  <a:pt x="18678" y="1622"/>
                  <a:pt x="16199" y="522"/>
                </a:cubicBezTo>
                <a:cubicBezTo>
                  <a:pt x="14459" y="-196"/>
                  <a:pt x="12433" y="-597"/>
                  <a:pt x="10025" y="-597"/>
                </a:cubicBezTo>
                <a:cubicBezTo>
                  <a:pt x="7785" y="-597"/>
                  <a:pt x="5949" y="-260"/>
                  <a:pt x="4471" y="448"/>
                </a:cubicBezTo>
                <a:lnTo>
                  <a:pt x="1468" y="2526"/>
                </a:lnTo>
                <a:lnTo>
                  <a:pt x="-749" y="5601"/>
                </a:lnTo>
                <a:lnTo>
                  <a:pt x="-1560" y="9878"/>
                </a:lnTo>
                <a:lnTo>
                  <a:pt x="-1011" y="13380"/>
                </a:lnTo>
                <a:lnTo>
                  <a:pt x="538" y="16121"/>
                </a:lnTo>
                <a:lnTo>
                  <a:pt x="2660" y="17984"/>
                </a:lnTo>
                <a:lnTo>
                  <a:pt x="5329" y="19465"/>
                </a:ln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2" name="Vrije vorm 2081">
            <a:extLst>
              <a:ext uri="{FF2B5EF4-FFF2-40B4-BE49-F238E27FC236}">
                <a16:creationId xmlns:a16="http://schemas.microsoft.com/office/drawing/2014/main" id="{641DAEE7-901C-C7F4-18F3-F08D2DD9CE17}"/>
              </a:ext>
            </a:extLst>
          </p:cNvPr>
          <p:cNvSpPr/>
          <p:nvPr/>
        </p:nvSpPr>
        <p:spPr>
          <a:xfrm flipV="1">
            <a:off x="614135" y="1511407"/>
            <a:ext cx="70090" cy="107233"/>
          </a:xfrm>
          <a:custGeom>
            <a:avLst/>
            <a:gdLst>
              <a:gd name="connsiteX0" fmla="*/ 16451 w 25529"/>
              <a:gd name="connsiteY0" fmla="*/ 26237 h 40274"/>
              <a:gd name="connsiteX1" fmla="*/ 14949 w 25529"/>
              <a:gd name="connsiteY1" fmla="*/ 33880 h 40274"/>
              <a:gd name="connsiteX2" fmla="*/ 10587 w 25529"/>
              <a:gd name="connsiteY2" fmla="*/ 36590 h 40274"/>
              <a:gd name="connsiteX3" fmla="*/ 6892 w 25529"/>
              <a:gd name="connsiteY3" fmla="*/ 34737 h 40274"/>
              <a:gd name="connsiteX4" fmla="*/ 5438 w 25529"/>
              <a:gd name="connsiteY4" fmla="*/ 28530 h 40274"/>
              <a:gd name="connsiteX5" fmla="*/ 6272 w 25529"/>
              <a:gd name="connsiteY5" fmla="*/ 23332 h 40274"/>
              <a:gd name="connsiteX6" fmla="*/ 8418 w 25529"/>
              <a:gd name="connsiteY6" fmla="*/ 20424 h 40274"/>
              <a:gd name="connsiteX7" fmla="*/ 11350 w 25529"/>
              <a:gd name="connsiteY7" fmla="*/ 19491 h 40274"/>
              <a:gd name="connsiteX8" fmla="*/ 14043 w 25529"/>
              <a:gd name="connsiteY8" fmla="*/ 20257 h 40274"/>
              <a:gd name="connsiteX9" fmla="*/ 15831 w 25529"/>
              <a:gd name="connsiteY9" fmla="*/ 22354 h 40274"/>
              <a:gd name="connsiteX10" fmla="*/ 2720 w 25529"/>
              <a:gd name="connsiteY10" fmla="*/ -645 h 40274"/>
              <a:gd name="connsiteX11" fmla="*/ 432 w 25529"/>
              <a:gd name="connsiteY11" fmla="*/ 1266 h 40274"/>
              <a:gd name="connsiteX12" fmla="*/ 1124 w 25529"/>
              <a:gd name="connsiteY12" fmla="*/ 2337 h 40274"/>
              <a:gd name="connsiteX13" fmla="*/ 3221 w 25529"/>
              <a:gd name="connsiteY13" fmla="*/ 2029 h 40274"/>
              <a:gd name="connsiteX14" fmla="*/ 8608 w 25529"/>
              <a:gd name="connsiteY14" fmla="*/ 3408 h 40274"/>
              <a:gd name="connsiteX15" fmla="*/ 12708 w 25529"/>
              <a:gd name="connsiteY15" fmla="*/ 7153 h 40274"/>
              <a:gd name="connsiteX16" fmla="*/ 15211 w 25529"/>
              <a:gd name="connsiteY16" fmla="*/ 12308 h 40274"/>
              <a:gd name="connsiteX17" fmla="*/ 16284 w 25529"/>
              <a:gd name="connsiteY17" fmla="*/ 19016 h 40274"/>
              <a:gd name="connsiteX18" fmla="*/ 12446 w 25529"/>
              <a:gd name="connsiteY18" fmla="*/ 15672 h 40274"/>
              <a:gd name="connsiteX19" fmla="*/ 11445 w 25529"/>
              <a:gd name="connsiteY19" fmla="*/ 15056 h 40274"/>
              <a:gd name="connsiteX20" fmla="*/ 7321 w 25529"/>
              <a:gd name="connsiteY20" fmla="*/ 14338 h 40274"/>
              <a:gd name="connsiteX21" fmla="*/ 1004 w 25529"/>
              <a:gd name="connsiteY21" fmla="*/ 17227 h 40274"/>
              <a:gd name="connsiteX22" fmla="*/ -1546 w 25529"/>
              <a:gd name="connsiteY22" fmla="*/ 25362 h 40274"/>
              <a:gd name="connsiteX23" fmla="*/ 2101 w 25529"/>
              <a:gd name="connsiteY23" fmla="*/ 35734 h 40274"/>
              <a:gd name="connsiteX24" fmla="*/ 11326 w 25529"/>
              <a:gd name="connsiteY24" fmla="*/ 39629 h 40274"/>
              <a:gd name="connsiteX25" fmla="*/ 18477 w 25529"/>
              <a:gd name="connsiteY25" fmla="*/ 37430 h 40274"/>
              <a:gd name="connsiteX26" fmla="*/ 22625 w 25529"/>
              <a:gd name="connsiteY26" fmla="*/ 31848 h 40274"/>
              <a:gd name="connsiteX27" fmla="*/ 23983 w 25529"/>
              <a:gd name="connsiteY27" fmla="*/ 23191 h 40274"/>
              <a:gd name="connsiteX28" fmla="*/ 22196 w 25529"/>
              <a:gd name="connsiteY28" fmla="*/ 12793 h 40274"/>
              <a:gd name="connsiteX29" fmla="*/ 17309 w 25529"/>
              <a:gd name="connsiteY29" fmla="*/ 5560 h 40274"/>
              <a:gd name="connsiteX30" fmla="*/ 10587 w 25529"/>
              <a:gd name="connsiteY30" fmla="*/ 977 h 40274"/>
              <a:gd name="connsiteX31" fmla="*/ 2720 w 25529"/>
              <a:gd name="connsiteY31" fmla="*/ -645 h 4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5529" h="40274">
                <a:moveTo>
                  <a:pt x="16451" y="26237"/>
                </a:moveTo>
                <a:cubicBezTo>
                  <a:pt x="16451" y="29510"/>
                  <a:pt x="15950" y="32063"/>
                  <a:pt x="14949" y="33880"/>
                </a:cubicBezTo>
                <a:lnTo>
                  <a:pt x="10587" y="36590"/>
                </a:lnTo>
                <a:lnTo>
                  <a:pt x="6892" y="34737"/>
                </a:lnTo>
                <a:cubicBezTo>
                  <a:pt x="5939" y="33515"/>
                  <a:pt x="5438" y="31447"/>
                  <a:pt x="5438" y="28530"/>
                </a:cubicBezTo>
                <a:cubicBezTo>
                  <a:pt x="5438" y="26359"/>
                  <a:pt x="5677" y="24644"/>
                  <a:pt x="6272" y="23332"/>
                </a:cubicBezTo>
                <a:lnTo>
                  <a:pt x="8418" y="20424"/>
                </a:lnTo>
                <a:lnTo>
                  <a:pt x="11350" y="19491"/>
                </a:lnTo>
                <a:lnTo>
                  <a:pt x="14043" y="20257"/>
                </a:lnTo>
                <a:lnTo>
                  <a:pt x="15831" y="22354"/>
                </a:lnTo>
                <a:close/>
                <a:moveTo>
                  <a:pt x="2720" y="-645"/>
                </a:moveTo>
                <a:lnTo>
                  <a:pt x="432" y="1266"/>
                </a:lnTo>
                <a:lnTo>
                  <a:pt x="1124" y="2337"/>
                </a:lnTo>
                <a:lnTo>
                  <a:pt x="3221" y="2029"/>
                </a:lnTo>
                <a:lnTo>
                  <a:pt x="8608" y="3408"/>
                </a:lnTo>
                <a:lnTo>
                  <a:pt x="12708" y="7153"/>
                </a:lnTo>
                <a:lnTo>
                  <a:pt x="15211" y="12308"/>
                </a:lnTo>
                <a:cubicBezTo>
                  <a:pt x="15593" y="13771"/>
                  <a:pt x="15950" y="15989"/>
                  <a:pt x="16284" y="19016"/>
                </a:cubicBezTo>
                <a:lnTo>
                  <a:pt x="12446" y="15672"/>
                </a:lnTo>
                <a:lnTo>
                  <a:pt x="11445" y="15056"/>
                </a:lnTo>
                <a:lnTo>
                  <a:pt x="7321" y="14338"/>
                </a:lnTo>
                <a:cubicBezTo>
                  <a:pt x="4794" y="14338"/>
                  <a:pt x="2720" y="15316"/>
                  <a:pt x="1004" y="17227"/>
                </a:cubicBezTo>
                <a:cubicBezTo>
                  <a:pt x="-688" y="19109"/>
                  <a:pt x="-1546" y="21831"/>
                  <a:pt x="-1546" y="25362"/>
                </a:cubicBezTo>
                <a:cubicBezTo>
                  <a:pt x="-1546" y="29706"/>
                  <a:pt x="-354" y="33162"/>
                  <a:pt x="2101" y="35734"/>
                </a:cubicBezTo>
                <a:cubicBezTo>
                  <a:pt x="4508" y="38315"/>
                  <a:pt x="7559" y="39629"/>
                  <a:pt x="11326" y="39629"/>
                </a:cubicBezTo>
                <a:cubicBezTo>
                  <a:pt x="14210" y="39629"/>
                  <a:pt x="16618" y="38883"/>
                  <a:pt x="18477" y="37430"/>
                </a:cubicBezTo>
                <a:cubicBezTo>
                  <a:pt x="20384" y="35994"/>
                  <a:pt x="21719" y="34140"/>
                  <a:pt x="22625" y="31848"/>
                </a:cubicBezTo>
                <a:cubicBezTo>
                  <a:pt x="23507" y="29555"/>
                  <a:pt x="23983" y="26667"/>
                  <a:pt x="23983" y="23191"/>
                </a:cubicBezTo>
                <a:cubicBezTo>
                  <a:pt x="23983" y="19081"/>
                  <a:pt x="23387" y="15605"/>
                  <a:pt x="22196" y="12793"/>
                </a:cubicBezTo>
                <a:cubicBezTo>
                  <a:pt x="21004" y="9949"/>
                  <a:pt x="19383" y="7537"/>
                  <a:pt x="17309" y="5560"/>
                </a:cubicBezTo>
                <a:cubicBezTo>
                  <a:pt x="15235" y="3558"/>
                  <a:pt x="12971" y="2029"/>
                  <a:pt x="10587" y="977"/>
                </a:cubicBezTo>
                <a:cubicBezTo>
                  <a:pt x="8132" y="-68"/>
                  <a:pt x="5533" y="-645"/>
                  <a:pt x="2720" y="-645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3" name="Vrije vorm 2082">
            <a:extLst>
              <a:ext uri="{FF2B5EF4-FFF2-40B4-BE49-F238E27FC236}">
                <a16:creationId xmlns:a16="http://schemas.microsoft.com/office/drawing/2014/main" id="{C42E7015-C255-5544-692B-1A253458B4BC}"/>
              </a:ext>
            </a:extLst>
          </p:cNvPr>
          <p:cNvSpPr/>
          <p:nvPr/>
        </p:nvSpPr>
        <p:spPr>
          <a:xfrm flipV="1">
            <a:off x="648953" y="1247124"/>
            <a:ext cx="68453" cy="106464"/>
          </a:xfrm>
          <a:custGeom>
            <a:avLst/>
            <a:gdLst>
              <a:gd name="connsiteX0" fmla="*/ 905 w 24933"/>
              <a:gd name="connsiteY0" fmla="*/ -692 h 39985"/>
              <a:gd name="connsiteX1" fmla="*/ 905 w 24933"/>
              <a:gd name="connsiteY1" fmla="*/ 1693 h 39985"/>
              <a:gd name="connsiteX2" fmla="*/ 6363 w 24933"/>
              <a:gd name="connsiteY2" fmla="*/ 2244 h 39985"/>
              <a:gd name="connsiteX3" fmla="*/ 7698 w 24933"/>
              <a:gd name="connsiteY3" fmla="*/ 2748 h 39985"/>
              <a:gd name="connsiteX4" fmla="*/ 8270 w 24933"/>
              <a:gd name="connsiteY4" fmla="*/ 4322 h 39985"/>
              <a:gd name="connsiteX5" fmla="*/ 8628 w 24933"/>
              <a:gd name="connsiteY5" fmla="*/ 14367 h 39985"/>
              <a:gd name="connsiteX6" fmla="*/ 8628 w 24933"/>
              <a:gd name="connsiteY6" fmla="*/ 21328 h 39985"/>
              <a:gd name="connsiteX7" fmla="*/ 8556 w 24933"/>
              <a:gd name="connsiteY7" fmla="*/ 29110 h 39985"/>
              <a:gd name="connsiteX8" fmla="*/ 8485 w 24933"/>
              <a:gd name="connsiteY8" fmla="*/ 31605 h 39985"/>
              <a:gd name="connsiteX9" fmla="*/ 8318 w 24933"/>
              <a:gd name="connsiteY9" fmla="*/ 32798 h 39985"/>
              <a:gd name="connsiteX10" fmla="*/ 7889 w 24933"/>
              <a:gd name="connsiteY10" fmla="*/ 33089 h 39985"/>
              <a:gd name="connsiteX11" fmla="*/ 6649 w 24933"/>
              <a:gd name="connsiteY11" fmla="*/ 32566 h 39985"/>
              <a:gd name="connsiteX12" fmla="*/ -621 w 24933"/>
              <a:gd name="connsiteY12" fmla="*/ 29248 h 39985"/>
              <a:gd name="connsiteX13" fmla="*/ -955 w 24933"/>
              <a:gd name="connsiteY13" fmla="*/ 29463 h 39985"/>
              <a:gd name="connsiteX14" fmla="*/ -1241 w 24933"/>
              <a:gd name="connsiteY14" fmla="*/ 31345 h 39985"/>
              <a:gd name="connsiteX15" fmla="*/ -1551 w 24933"/>
              <a:gd name="connsiteY15" fmla="*/ 33115 h 39985"/>
              <a:gd name="connsiteX16" fmla="*/ -1527 w 24933"/>
              <a:gd name="connsiteY16" fmla="*/ 33301 h 39985"/>
              <a:gd name="connsiteX17" fmla="*/ 6721 w 24933"/>
              <a:gd name="connsiteY17" fmla="*/ 35808 h 39985"/>
              <a:gd name="connsiteX18" fmla="*/ 16256 w 24933"/>
              <a:gd name="connsiteY18" fmla="*/ 39293 h 39985"/>
              <a:gd name="connsiteX19" fmla="*/ 16899 w 24933"/>
              <a:gd name="connsiteY19" fmla="*/ 38838 h 39985"/>
              <a:gd name="connsiteX20" fmla="*/ 16756 w 24933"/>
              <a:gd name="connsiteY20" fmla="*/ 36097 h 39985"/>
              <a:gd name="connsiteX21" fmla="*/ 16542 w 24933"/>
              <a:gd name="connsiteY21" fmla="*/ 33208 h 39985"/>
              <a:gd name="connsiteX22" fmla="*/ 16327 w 24933"/>
              <a:gd name="connsiteY22" fmla="*/ 20302 h 39985"/>
              <a:gd name="connsiteX23" fmla="*/ 16327 w 24933"/>
              <a:gd name="connsiteY23" fmla="*/ 16035 h 39985"/>
              <a:gd name="connsiteX24" fmla="*/ 16375 w 24933"/>
              <a:gd name="connsiteY24" fmla="*/ 7275 h 39985"/>
              <a:gd name="connsiteX25" fmla="*/ 16756 w 24933"/>
              <a:gd name="connsiteY25" fmla="*/ 2934 h 39985"/>
              <a:gd name="connsiteX26" fmla="*/ 17328 w 24933"/>
              <a:gd name="connsiteY26" fmla="*/ 2337 h 39985"/>
              <a:gd name="connsiteX27" fmla="*/ 21500 w 24933"/>
              <a:gd name="connsiteY27" fmla="*/ 1815 h 39985"/>
              <a:gd name="connsiteX28" fmla="*/ 23383 w 24933"/>
              <a:gd name="connsiteY28" fmla="*/ 1693 h 39985"/>
              <a:gd name="connsiteX29" fmla="*/ 23383 w 24933"/>
              <a:gd name="connsiteY29" fmla="*/ -692 h 39985"/>
              <a:gd name="connsiteX30" fmla="*/ 13157 w 24933"/>
              <a:gd name="connsiteY30" fmla="*/ -384 h 39985"/>
              <a:gd name="connsiteX31" fmla="*/ 905 w 24933"/>
              <a:gd name="connsiteY31" fmla="*/ -692 h 39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33" h="39985">
                <a:moveTo>
                  <a:pt x="905" y="-692"/>
                </a:moveTo>
                <a:lnTo>
                  <a:pt x="905" y="1693"/>
                </a:lnTo>
                <a:lnTo>
                  <a:pt x="6363" y="2244"/>
                </a:lnTo>
                <a:lnTo>
                  <a:pt x="7698" y="2748"/>
                </a:lnTo>
                <a:lnTo>
                  <a:pt x="8270" y="4322"/>
                </a:lnTo>
                <a:cubicBezTo>
                  <a:pt x="8532" y="5851"/>
                  <a:pt x="8628" y="9215"/>
                  <a:pt x="8628" y="14367"/>
                </a:cubicBezTo>
                <a:lnTo>
                  <a:pt x="8628" y="21328"/>
                </a:lnTo>
                <a:cubicBezTo>
                  <a:pt x="8628" y="23759"/>
                  <a:pt x="8628" y="26359"/>
                  <a:pt x="8556" y="29110"/>
                </a:cubicBezTo>
                <a:lnTo>
                  <a:pt x="8485" y="31605"/>
                </a:lnTo>
                <a:lnTo>
                  <a:pt x="8318" y="32798"/>
                </a:lnTo>
                <a:lnTo>
                  <a:pt x="7889" y="33089"/>
                </a:lnTo>
                <a:lnTo>
                  <a:pt x="6649" y="32566"/>
                </a:lnTo>
                <a:cubicBezTo>
                  <a:pt x="2812" y="30944"/>
                  <a:pt x="451" y="29816"/>
                  <a:pt x="-621" y="29248"/>
                </a:cubicBezTo>
                <a:lnTo>
                  <a:pt x="-955" y="29463"/>
                </a:lnTo>
                <a:lnTo>
                  <a:pt x="-1241" y="31345"/>
                </a:lnTo>
                <a:lnTo>
                  <a:pt x="-1551" y="33115"/>
                </a:lnTo>
                <a:lnTo>
                  <a:pt x="-1527" y="33301"/>
                </a:lnTo>
                <a:cubicBezTo>
                  <a:pt x="1930" y="34282"/>
                  <a:pt x="4671" y="35119"/>
                  <a:pt x="6721" y="35808"/>
                </a:cubicBezTo>
                <a:cubicBezTo>
                  <a:pt x="8747" y="36498"/>
                  <a:pt x="11894" y="37645"/>
                  <a:pt x="16256" y="39293"/>
                </a:cubicBezTo>
                <a:lnTo>
                  <a:pt x="16899" y="38838"/>
                </a:lnTo>
                <a:lnTo>
                  <a:pt x="16756" y="36097"/>
                </a:lnTo>
                <a:lnTo>
                  <a:pt x="16542" y="33208"/>
                </a:lnTo>
                <a:cubicBezTo>
                  <a:pt x="16494" y="31512"/>
                  <a:pt x="16423" y="27199"/>
                  <a:pt x="16327" y="20302"/>
                </a:cubicBezTo>
                <a:lnTo>
                  <a:pt x="16327" y="16035"/>
                </a:lnTo>
                <a:cubicBezTo>
                  <a:pt x="16327" y="11832"/>
                  <a:pt x="16327" y="8926"/>
                  <a:pt x="16375" y="7275"/>
                </a:cubicBezTo>
                <a:cubicBezTo>
                  <a:pt x="16447" y="4825"/>
                  <a:pt x="16566" y="3363"/>
                  <a:pt x="16756" y="2934"/>
                </a:cubicBezTo>
                <a:lnTo>
                  <a:pt x="17328" y="2337"/>
                </a:lnTo>
                <a:cubicBezTo>
                  <a:pt x="17805" y="2104"/>
                  <a:pt x="19164" y="1908"/>
                  <a:pt x="21500" y="1815"/>
                </a:cubicBezTo>
                <a:lnTo>
                  <a:pt x="23383" y="1693"/>
                </a:lnTo>
                <a:lnTo>
                  <a:pt x="23383" y="-692"/>
                </a:lnTo>
                <a:cubicBezTo>
                  <a:pt x="19164" y="-497"/>
                  <a:pt x="15779" y="-384"/>
                  <a:pt x="13157" y="-384"/>
                </a:cubicBezTo>
                <a:cubicBezTo>
                  <a:pt x="11417" y="-384"/>
                  <a:pt x="7293" y="-497"/>
                  <a:pt x="905" y="-692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4" name="Vrije vorm 2083">
            <a:extLst>
              <a:ext uri="{FF2B5EF4-FFF2-40B4-BE49-F238E27FC236}">
                <a16:creationId xmlns:a16="http://schemas.microsoft.com/office/drawing/2014/main" id="{B24C9583-39AB-55D2-76ED-78E9AF85F769}"/>
              </a:ext>
            </a:extLst>
          </p:cNvPr>
          <p:cNvSpPr/>
          <p:nvPr/>
        </p:nvSpPr>
        <p:spPr>
          <a:xfrm flipV="1">
            <a:off x="730299" y="1249355"/>
            <a:ext cx="70743" cy="106959"/>
          </a:xfrm>
          <a:custGeom>
            <a:avLst/>
            <a:gdLst>
              <a:gd name="connsiteX0" fmla="*/ 5494 w 25767"/>
              <a:gd name="connsiteY0" fmla="*/ 22686 h 40171"/>
              <a:gd name="connsiteX1" fmla="*/ 6138 w 25767"/>
              <a:gd name="connsiteY1" fmla="*/ 10899 h 40171"/>
              <a:gd name="connsiteX2" fmla="*/ 8283 w 25767"/>
              <a:gd name="connsiteY2" fmla="*/ 3958 h 40171"/>
              <a:gd name="connsiteX3" fmla="*/ 11644 w 25767"/>
              <a:gd name="connsiteY3" fmla="*/ 2271 h 40171"/>
              <a:gd name="connsiteX4" fmla="*/ 15529 w 25767"/>
              <a:gd name="connsiteY4" fmla="*/ 4702 h 40171"/>
              <a:gd name="connsiteX5" fmla="*/ 17079 w 25767"/>
              <a:gd name="connsiteY5" fmla="*/ 16369 h 40171"/>
              <a:gd name="connsiteX6" fmla="*/ 16316 w 25767"/>
              <a:gd name="connsiteY6" fmla="*/ 28409 h 40171"/>
              <a:gd name="connsiteX7" fmla="*/ 15172 w 25767"/>
              <a:gd name="connsiteY7" fmla="*/ 33254 h 40171"/>
              <a:gd name="connsiteX8" fmla="*/ 13432 w 25767"/>
              <a:gd name="connsiteY8" fmla="*/ 35611 h 40171"/>
              <a:gd name="connsiteX9" fmla="*/ 10953 w 25767"/>
              <a:gd name="connsiteY9" fmla="*/ 36376 h 40171"/>
              <a:gd name="connsiteX10" fmla="*/ 8188 w 25767"/>
              <a:gd name="connsiteY10" fmla="*/ 35444 h 40171"/>
              <a:gd name="connsiteX11" fmla="*/ 6424 w 25767"/>
              <a:gd name="connsiteY11" fmla="*/ 32228 h 40171"/>
              <a:gd name="connsiteX12" fmla="*/ 5494 w 25767"/>
              <a:gd name="connsiteY12" fmla="*/ 22686 h 40171"/>
              <a:gd name="connsiteX13" fmla="*/ -1562 w 25767"/>
              <a:gd name="connsiteY13" fmla="*/ 18681 h 40171"/>
              <a:gd name="connsiteX14" fmla="*/ -847 w 25767"/>
              <a:gd name="connsiteY14" fmla="*/ 27915 h 40171"/>
              <a:gd name="connsiteX15" fmla="*/ 822 w 25767"/>
              <a:gd name="connsiteY15" fmla="*/ 32844 h 40171"/>
              <a:gd name="connsiteX16" fmla="*/ 3611 w 25767"/>
              <a:gd name="connsiteY16" fmla="*/ 36572 h 40171"/>
              <a:gd name="connsiteX17" fmla="*/ 7234 w 25767"/>
              <a:gd name="connsiteY17" fmla="*/ 38743 h 40171"/>
              <a:gd name="connsiteX18" fmla="*/ 11692 w 25767"/>
              <a:gd name="connsiteY18" fmla="*/ 39480 h 40171"/>
              <a:gd name="connsiteX19" fmla="*/ 19153 w 25767"/>
              <a:gd name="connsiteY19" fmla="*/ 37400 h 40171"/>
              <a:gd name="connsiteX20" fmla="*/ 22991 w 25767"/>
              <a:gd name="connsiteY20" fmla="*/ 31539 h 40171"/>
              <a:gd name="connsiteX21" fmla="*/ 24206 w 25767"/>
              <a:gd name="connsiteY21" fmla="*/ 20916 h 40171"/>
              <a:gd name="connsiteX22" fmla="*/ 23730 w 25767"/>
              <a:gd name="connsiteY22" fmla="*/ 12567 h 40171"/>
              <a:gd name="connsiteX23" fmla="*/ 21966 w 25767"/>
              <a:gd name="connsiteY23" fmla="*/ 6417 h 40171"/>
              <a:gd name="connsiteX24" fmla="*/ 19153 w 25767"/>
              <a:gd name="connsiteY24" fmla="*/ 2383 h 40171"/>
              <a:gd name="connsiteX25" fmla="*/ 15649 w 25767"/>
              <a:gd name="connsiteY25" fmla="*/ 100 h 40171"/>
              <a:gd name="connsiteX26" fmla="*/ 10857 w 25767"/>
              <a:gd name="connsiteY26" fmla="*/ -692 h 40171"/>
              <a:gd name="connsiteX27" fmla="*/ 5113 w 25767"/>
              <a:gd name="connsiteY27" fmla="*/ 594 h 40171"/>
              <a:gd name="connsiteX28" fmla="*/ 1132 w 25767"/>
              <a:gd name="connsiteY28" fmla="*/ 4320 h 40171"/>
              <a:gd name="connsiteX29" fmla="*/ -1037 w 25767"/>
              <a:gd name="connsiteY29" fmla="*/ 10453 h 40171"/>
              <a:gd name="connsiteX30" fmla="*/ -1562 w 25767"/>
              <a:gd name="connsiteY30" fmla="*/ 18681 h 4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5767" h="40171">
                <a:moveTo>
                  <a:pt x="5494" y="22686"/>
                </a:moveTo>
                <a:cubicBezTo>
                  <a:pt x="5494" y="18344"/>
                  <a:pt x="5709" y="14459"/>
                  <a:pt x="6138" y="10899"/>
                </a:cubicBezTo>
                <a:cubicBezTo>
                  <a:pt x="6590" y="7443"/>
                  <a:pt x="7306" y="5103"/>
                  <a:pt x="8283" y="3958"/>
                </a:cubicBezTo>
                <a:lnTo>
                  <a:pt x="11644" y="2271"/>
                </a:lnTo>
                <a:lnTo>
                  <a:pt x="15529" y="4702"/>
                </a:lnTo>
                <a:cubicBezTo>
                  <a:pt x="16578" y="6250"/>
                  <a:pt x="17079" y="10162"/>
                  <a:pt x="17079" y="16369"/>
                </a:cubicBezTo>
                <a:cubicBezTo>
                  <a:pt x="17079" y="20422"/>
                  <a:pt x="16817" y="24430"/>
                  <a:pt x="16316" y="28409"/>
                </a:cubicBezTo>
                <a:cubicBezTo>
                  <a:pt x="16030" y="30580"/>
                  <a:pt x="15673" y="32183"/>
                  <a:pt x="15172" y="33254"/>
                </a:cubicBezTo>
                <a:lnTo>
                  <a:pt x="13432" y="35611"/>
                </a:lnTo>
                <a:lnTo>
                  <a:pt x="10953" y="36376"/>
                </a:lnTo>
                <a:lnTo>
                  <a:pt x="8188" y="35444"/>
                </a:lnTo>
                <a:lnTo>
                  <a:pt x="6424" y="32228"/>
                </a:lnTo>
                <a:cubicBezTo>
                  <a:pt x="5780" y="30150"/>
                  <a:pt x="5494" y="27001"/>
                  <a:pt x="5494" y="22686"/>
                </a:cubicBezTo>
                <a:close/>
                <a:moveTo>
                  <a:pt x="-1562" y="18681"/>
                </a:moveTo>
                <a:cubicBezTo>
                  <a:pt x="-1562" y="22064"/>
                  <a:pt x="-1323" y="25148"/>
                  <a:pt x="-847" y="27915"/>
                </a:cubicBezTo>
                <a:lnTo>
                  <a:pt x="822" y="32844"/>
                </a:lnTo>
                <a:lnTo>
                  <a:pt x="3611" y="36572"/>
                </a:lnTo>
                <a:lnTo>
                  <a:pt x="7234" y="38743"/>
                </a:lnTo>
                <a:lnTo>
                  <a:pt x="11692" y="39480"/>
                </a:lnTo>
                <a:cubicBezTo>
                  <a:pt x="14862" y="39480"/>
                  <a:pt x="17365" y="38807"/>
                  <a:pt x="19153" y="37400"/>
                </a:cubicBezTo>
                <a:cubicBezTo>
                  <a:pt x="20917" y="36021"/>
                  <a:pt x="22204" y="34065"/>
                  <a:pt x="22991" y="31539"/>
                </a:cubicBezTo>
                <a:cubicBezTo>
                  <a:pt x="23801" y="29005"/>
                  <a:pt x="24206" y="25456"/>
                  <a:pt x="24206" y="20916"/>
                </a:cubicBezTo>
                <a:cubicBezTo>
                  <a:pt x="24206" y="17703"/>
                  <a:pt x="24040" y="14952"/>
                  <a:pt x="23730" y="12567"/>
                </a:cubicBezTo>
                <a:cubicBezTo>
                  <a:pt x="23396" y="10162"/>
                  <a:pt x="22824" y="8161"/>
                  <a:pt x="21966" y="6417"/>
                </a:cubicBezTo>
                <a:lnTo>
                  <a:pt x="19153" y="2383"/>
                </a:lnTo>
                <a:lnTo>
                  <a:pt x="15649" y="100"/>
                </a:lnTo>
                <a:lnTo>
                  <a:pt x="10857" y="-692"/>
                </a:lnTo>
                <a:cubicBezTo>
                  <a:pt x="8712" y="-692"/>
                  <a:pt x="6758" y="-236"/>
                  <a:pt x="5113" y="594"/>
                </a:cubicBezTo>
                <a:lnTo>
                  <a:pt x="1132" y="4320"/>
                </a:lnTo>
                <a:cubicBezTo>
                  <a:pt x="83" y="5942"/>
                  <a:pt x="-632" y="8011"/>
                  <a:pt x="-1037" y="10453"/>
                </a:cubicBezTo>
                <a:cubicBezTo>
                  <a:pt x="-1371" y="12903"/>
                  <a:pt x="-1562" y="15651"/>
                  <a:pt x="-1562" y="18681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5" name="Vrije vorm 2084">
            <a:extLst>
              <a:ext uri="{FF2B5EF4-FFF2-40B4-BE49-F238E27FC236}">
                <a16:creationId xmlns:a16="http://schemas.microsoft.com/office/drawing/2014/main" id="{D1E27F9E-DCAB-4B01-D7D6-E8D26EEFAA07}"/>
              </a:ext>
            </a:extLst>
          </p:cNvPr>
          <p:cNvSpPr/>
          <p:nvPr/>
        </p:nvSpPr>
        <p:spPr>
          <a:xfrm flipV="1">
            <a:off x="841033" y="1035688"/>
            <a:ext cx="68519" cy="106312"/>
          </a:xfrm>
          <a:custGeom>
            <a:avLst/>
            <a:gdLst>
              <a:gd name="connsiteX0" fmla="*/ 879 w 24957"/>
              <a:gd name="connsiteY0" fmla="*/ -730 h 39928"/>
              <a:gd name="connsiteX1" fmla="*/ 879 w 24957"/>
              <a:gd name="connsiteY1" fmla="*/ 1598 h 39928"/>
              <a:gd name="connsiteX2" fmla="*/ 6314 w 24957"/>
              <a:gd name="connsiteY2" fmla="*/ 2149 h 39928"/>
              <a:gd name="connsiteX3" fmla="*/ 7625 w 24957"/>
              <a:gd name="connsiteY3" fmla="*/ 2698 h 39928"/>
              <a:gd name="connsiteX4" fmla="*/ 8245 w 24957"/>
              <a:gd name="connsiteY4" fmla="*/ 4256 h 39928"/>
              <a:gd name="connsiteX5" fmla="*/ 8626 w 24957"/>
              <a:gd name="connsiteY5" fmla="*/ 14318 h 39928"/>
              <a:gd name="connsiteX6" fmla="*/ 8626 w 24957"/>
              <a:gd name="connsiteY6" fmla="*/ 21262 h 39928"/>
              <a:gd name="connsiteX7" fmla="*/ 8531 w 24957"/>
              <a:gd name="connsiteY7" fmla="*/ 29032 h 39928"/>
              <a:gd name="connsiteX8" fmla="*/ 8460 w 24957"/>
              <a:gd name="connsiteY8" fmla="*/ 31567 h 39928"/>
              <a:gd name="connsiteX9" fmla="*/ 8269 w 24957"/>
              <a:gd name="connsiteY9" fmla="*/ 32712 h 39928"/>
              <a:gd name="connsiteX10" fmla="*/ 7864 w 24957"/>
              <a:gd name="connsiteY10" fmla="*/ 32994 h 39928"/>
              <a:gd name="connsiteX11" fmla="*/ 6552 w 24957"/>
              <a:gd name="connsiteY11" fmla="*/ 32500 h 39928"/>
              <a:gd name="connsiteX12" fmla="*/ -623 w 24957"/>
              <a:gd name="connsiteY12" fmla="*/ 29201 h 39928"/>
              <a:gd name="connsiteX13" fmla="*/ -980 w 24957"/>
              <a:gd name="connsiteY13" fmla="*/ 29397 h 39928"/>
              <a:gd name="connsiteX14" fmla="*/ -1266 w 24957"/>
              <a:gd name="connsiteY14" fmla="*/ 31260 h 39928"/>
              <a:gd name="connsiteX15" fmla="*/ -1576 w 24957"/>
              <a:gd name="connsiteY15" fmla="*/ 33039 h 39928"/>
              <a:gd name="connsiteX16" fmla="*/ -1528 w 24957"/>
              <a:gd name="connsiteY16" fmla="*/ 33235 h 39928"/>
              <a:gd name="connsiteX17" fmla="*/ 6672 w 24957"/>
              <a:gd name="connsiteY17" fmla="*/ 35713 h 39928"/>
              <a:gd name="connsiteX18" fmla="*/ 16207 w 24957"/>
              <a:gd name="connsiteY18" fmla="*/ 39198 h 39928"/>
              <a:gd name="connsiteX19" fmla="*/ 16850 w 24957"/>
              <a:gd name="connsiteY19" fmla="*/ 38743 h 39928"/>
              <a:gd name="connsiteX20" fmla="*/ 16731 w 24957"/>
              <a:gd name="connsiteY20" fmla="*/ 36021 h 39928"/>
              <a:gd name="connsiteX21" fmla="*/ 16517 w 24957"/>
              <a:gd name="connsiteY21" fmla="*/ 33142 h 39928"/>
              <a:gd name="connsiteX22" fmla="*/ 16302 w 24957"/>
              <a:gd name="connsiteY22" fmla="*/ 20236 h 39928"/>
              <a:gd name="connsiteX23" fmla="*/ 16302 w 24957"/>
              <a:gd name="connsiteY23" fmla="*/ 15940 h 39928"/>
              <a:gd name="connsiteX24" fmla="*/ 16326 w 24957"/>
              <a:gd name="connsiteY24" fmla="*/ 7238 h 39928"/>
              <a:gd name="connsiteX25" fmla="*/ 16731 w 24957"/>
              <a:gd name="connsiteY25" fmla="*/ 2867 h 39928"/>
              <a:gd name="connsiteX26" fmla="*/ 17279 w 24957"/>
              <a:gd name="connsiteY26" fmla="*/ 2297 h 39928"/>
              <a:gd name="connsiteX27" fmla="*/ 21475 w 24957"/>
              <a:gd name="connsiteY27" fmla="*/ 1749 h 39928"/>
              <a:gd name="connsiteX28" fmla="*/ 23382 w 24957"/>
              <a:gd name="connsiteY28" fmla="*/ 1598 h 39928"/>
              <a:gd name="connsiteX29" fmla="*/ 23382 w 24957"/>
              <a:gd name="connsiteY29" fmla="*/ -730 h 39928"/>
              <a:gd name="connsiteX30" fmla="*/ 13203 w 24957"/>
              <a:gd name="connsiteY30" fmla="*/ -451 h 39928"/>
              <a:gd name="connsiteX31" fmla="*/ 879 w 24957"/>
              <a:gd name="connsiteY31" fmla="*/ -730 h 39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57" h="39928">
                <a:moveTo>
                  <a:pt x="879" y="-730"/>
                </a:moveTo>
                <a:lnTo>
                  <a:pt x="879" y="1598"/>
                </a:lnTo>
                <a:lnTo>
                  <a:pt x="6314" y="2149"/>
                </a:lnTo>
                <a:lnTo>
                  <a:pt x="7625" y="2698"/>
                </a:lnTo>
                <a:lnTo>
                  <a:pt x="8245" y="4256"/>
                </a:lnTo>
                <a:cubicBezTo>
                  <a:pt x="8483" y="5756"/>
                  <a:pt x="8626" y="9120"/>
                  <a:pt x="8626" y="14318"/>
                </a:cubicBezTo>
                <a:lnTo>
                  <a:pt x="8626" y="21262"/>
                </a:lnTo>
                <a:cubicBezTo>
                  <a:pt x="8626" y="23693"/>
                  <a:pt x="8555" y="26245"/>
                  <a:pt x="8531" y="29032"/>
                </a:cubicBezTo>
                <a:lnTo>
                  <a:pt x="8460" y="31567"/>
                </a:lnTo>
                <a:lnTo>
                  <a:pt x="8269" y="32712"/>
                </a:lnTo>
                <a:lnTo>
                  <a:pt x="7864" y="32994"/>
                </a:lnTo>
                <a:lnTo>
                  <a:pt x="6552" y="32500"/>
                </a:lnTo>
                <a:cubicBezTo>
                  <a:pt x="2834" y="30849"/>
                  <a:pt x="355" y="29704"/>
                  <a:pt x="-623" y="29201"/>
                </a:cubicBezTo>
                <a:lnTo>
                  <a:pt x="-980" y="29397"/>
                </a:lnTo>
                <a:lnTo>
                  <a:pt x="-1266" y="31260"/>
                </a:lnTo>
                <a:lnTo>
                  <a:pt x="-1576" y="33039"/>
                </a:lnTo>
                <a:lnTo>
                  <a:pt x="-1528" y="33235"/>
                </a:lnTo>
                <a:cubicBezTo>
                  <a:pt x="1904" y="34187"/>
                  <a:pt x="4669" y="35052"/>
                  <a:pt x="6672" y="35713"/>
                </a:cubicBezTo>
                <a:cubicBezTo>
                  <a:pt x="8746" y="36403"/>
                  <a:pt x="11916" y="37550"/>
                  <a:pt x="16207" y="39198"/>
                </a:cubicBezTo>
                <a:lnTo>
                  <a:pt x="16850" y="38743"/>
                </a:lnTo>
                <a:lnTo>
                  <a:pt x="16731" y="36021"/>
                </a:lnTo>
                <a:lnTo>
                  <a:pt x="16517" y="33142"/>
                </a:lnTo>
                <a:cubicBezTo>
                  <a:pt x="16445" y="31474"/>
                  <a:pt x="16373" y="27149"/>
                  <a:pt x="16302" y="20236"/>
                </a:cubicBezTo>
                <a:lnTo>
                  <a:pt x="16302" y="15940"/>
                </a:lnTo>
                <a:cubicBezTo>
                  <a:pt x="16302" y="11737"/>
                  <a:pt x="16302" y="8857"/>
                  <a:pt x="16326" y="7238"/>
                </a:cubicBezTo>
                <a:cubicBezTo>
                  <a:pt x="16373" y="4731"/>
                  <a:pt x="16517" y="3294"/>
                  <a:pt x="16731" y="2867"/>
                </a:cubicBezTo>
                <a:lnTo>
                  <a:pt x="17279" y="2297"/>
                </a:lnTo>
                <a:cubicBezTo>
                  <a:pt x="17756" y="2028"/>
                  <a:pt x="19186" y="1870"/>
                  <a:pt x="21475" y="1749"/>
                </a:cubicBezTo>
                <a:lnTo>
                  <a:pt x="23382" y="1598"/>
                </a:lnTo>
                <a:lnTo>
                  <a:pt x="23382" y="-730"/>
                </a:lnTo>
                <a:cubicBezTo>
                  <a:pt x="19186" y="-572"/>
                  <a:pt x="15777" y="-451"/>
                  <a:pt x="13203" y="-451"/>
                </a:cubicBezTo>
                <a:cubicBezTo>
                  <a:pt x="11391" y="-451"/>
                  <a:pt x="7268" y="-572"/>
                  <a:pt x="879" y="-730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6" name="Vrije vorm 2085">
            <a:extLst>
              <a:ext uri="{FF2B5EF4-FFF2-40B4-BE49-F238E27FC236}">
                <a16:creationId xmlns:a16="http://schemas.microsoft.com/office/drawing/2014/main" id="{820F7064-1C38-87DB-0422-12D893E7B60E}"/>
              </a:ext>
            </a:extLst>
          </p:cNvPr>
          <p:cNvSpPr/>
          <p:nvPr/>
        </p:nvSpPr>
        <p:spPr>
          <a:xfrm flipV="1">
            <a:off x="916490" y="1035688"/>
            <a:ext cx="68453" cy="106312"/>
          </a:xfrm>
          <a:custGeom>
            <a:avLst/>
            <a:gdLst>
              <a:gd name="connsiteX0" fmla="*/ 845 w 24933"/>
              <a:gd name="connsiteY0" fmla="*/ -730 h 39928"/>
              <a:gd name="connsiteX1" fmla="*/ 845 w 24933"/>
              <a:gd name="connsiteY1" fmla="*/ 1598 h 39928"/>
              <a:gd name="connsiteX2" fmla="*/ 6352 w 24933"/>
              <a:gd name="connsiteY2" fmla="*/ 2149 h 39928"/>
              <a:gd name="connsiteX3" fmla="*/ 7639 w 24933"/>
              <a:gd name="connsiteY3" fmla="*/ 2698 h 39928"/>
              <a:gd name="connsiteX4" fmla="*/ 8235 w 24933"/>
              <a:gd name="connsiteY4" fmla="*/ 4256 h 39928"/>
              <a:gd name="connsiteX5" fmla="*/ 8592 w 24933"/>
              <a:gd name="connsiteY5" fmla="*/ 14318 h 39928"/>
              <a:gd name="connsiteX6" fmla="*/ 8592 w 24933"/>
              <a:gd name="connsiteY6" fmla="*/ 21262 h 39928"/>
              <a:gd name="connsiteX7" fmla="*/ 8545 w 24933"/>
              <a:gd name="connsiteY7" fmla="*/ 29032 h 39928"/>
              <a:gd name="connsiteX8" fmla="*/ 8473 w 24933"/>
              <a:gd name="connsiteY8" fmla="*/ 31567 h 39928"/>
              <a:gd name="connsiteX9" fmla="*/ 8306 w 24933"/>
              <a:gd name="connsiteY9" fmla="*/ 32712 h 39928"/>
              <a:gd name="connsiteX10" fmla="*/ 7853 w 24933"/>
              <a:gd name="connsiteY10" fmla="*/ 32994 h 39928"/>
              <a:gd name="connsiteX11" fmla="*/ 6590 w 24933"/>
              <a:gd name="connsiteY11" fmla="*/ 32500 h 39928"/>
              <a:gd name="connsiteX12" fmla="*/ -633 w 24933"/>
              <a:gd name="connsiteY12" fmla="*/ 29201 h 39928"/>
              <a:gd name="connsiteX13" fmla="*/ -990 w 24933"/>
              <a:gd name="connsiteY13" fmla="*/ 29397 h 39928"/>
              <a:gd name="connsiteX14" fmla="*/ -1300 w 24933"/>
              <a:gd name="connsiteY14" fmla="*/ 31260 h 39928"/>
              <a:gd name="connsiteX15" fmla="*/ -1586 w 24933"/>
              <a:gd name="connsiteY15" fmla="*/ 33039 h 39928"/>
              <a:gd name="connsiteX16" fmla="*/ -1538 w 24933"/>
              <a:gd name="connsiteY16" fmla="*/ 33235 h 39928"/>
              <a:gd name="connsiteX17" fmla="*/ 6661 w 24933"/>
              <a:gd name="connsiteY17" fmla="*/ 35713 h 39928"/>
              <a:gd name="connsiteX18" fmla="*/ 16268 w 24933"/>
              <a:gd name="connsiteY18" fmla="*/ 39198 h 39928"/>
              <a:gd name="connsiteX19" fmla="*/ 16864 w 24933"/>
              <a:gd name="connsiteY19" fmla="*/ 38743 h 39928"/>
              <a:gd name="connsiteX20" fmla="*/ 16673 w 24933"/>
              <a:gd name="connsiteY20" fmla="*/ 36021 h 39928"/>
              <a:gd name="connsiteX21" fmla="*/ 16530 w 24933"/>
              <a:gd name="connsiteY21" fmla="*/ 33142 h 39928"/>
              <a:gd name="connsiteX22" fmla="*/ 16268 w 24933"/>
              <a:gd name="connsiteY22" fmla="*/ 20236 h 39928"/>
              <a:gd name="connsiteX23" fmla="*/ 16268 w 24933"/>
              <a:gd name="connsiteY23" fmla="*/ 15940 h 39928"/>
              <a:gd name="connsiteX24" fmla="*/ 16363 w 24933"/>
              <a:gd name="connsiteY24" fmla="*/ 7238 h 39928"/>
              <a:gd name="connsiteX25" fmla="*/ 16721 w 24933"/>
              <a:gd name="connsiteY25" fmla="*/ 2867 h 39928"/>
              <a:gd name="connsiteX26" fmla="*/ 17317 w 24933"/>
              <a:gd name="connsiteY26" fmla="*/ 2297 h 39928"/>
              <a:gd name="connsiteX27" fmla="*/ 21488 w 24933"/>
              <a:gd name="connsiteY27" fmla="*/ 1749 h 39928"/>
              <a:gd name="connsiteX28" fmla="*/ 23348 w 24933"/>
              <a:gd name="connsiteY28" fmla="*/ 1598 h 39928"/>
              <a:gd name="connsiteX29" fmla="*/ 23348 w 24933"/>
              <a:gd name="connsiteY29" fmla="*/ -730 h 39928"/>
              <a:gd name="connsiteX30" fmla="*/ 13145 w 24933"/>
              <a:gd name="connsiteY30" fmla="*/ -451 h 39928"/>
              <a:gd name="connsiteX31" fmla="*/ 845 w 24933"/>
              <a:gd name="connsiteY31" fmla="*/ -730 h 39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4933" h="39928">
                <a:moveTo>
                  <a:pt x="845" y="-730"/>
                </a:moveTo>
                <a:lnTo>
                  <a:pt x="845" y="1598"/>
                </a:lnTo>
                <a:lnTo>
                  <a:pt x="6352" y="2149"/>
                </a:lnTo>
                <a:lnTo>
                  <a:pt x="7639" y="2698"/>
                </a:lnTo>
                <a:lnTo>
                  <a:pt x="8235" y="4256"/>
                </a:lnTo>
                <a:cubicBezTo>
                  <a:pt x="8473" y="5756"/>
                  <a:pt x="8592" y="9120"/>
                  <a:pt x="8592" y="14318"/>
                </a:cubicBezTo>
                <a:lnTo>
                  <a:pt x="8592" y="21262"/>
                </a:lnTo>
                <a:cubicBezTo>
                  <a:pt x="8592" y="23693"/>
                  <a:pt x="8592" y="26245"/>
                  <a:pt x="8545" y="29032"/>
                </a:cubicBezTo>
                <a:lnTo>
                  <a:pt x="8473" y="31567"/>
                </a:lnTo>
                <a:lnTo>
                  <a:pt x="8306" y="32712"/>
                </a:lnTo>
                <a:lnTo>
                  <a:pt x="7853" y="32994"/>
                </a:lnTo>
                <a:lnTo>
                  <a:pt x="6590" y="32500"/>
                </a:lnTo>
                <a:cubicBezTo>
                  <a:pt x="2776" y="30849"/>
                  <a:pt x="416" y="29704"/>
                  <a:pt x="-633" y="29201"/>
                </a:cubicBezTo>
                <a:lnTo>
                  <a:pt x="-990" y="29397"/>
                </a:lnTo>
                <a:lnTo>
                  <a:pt x="-1300" y="31260"/>
                </a:lnTo>
                <a:lnTo>
                  <a:pt x="-1586" y="33039"/>
                </a:lnTo>
                <a:lnTo>
                  <a:pt x="-1538" y="33235"/>
                </a:lnTo>
                <a:cubicBezTo>
                  <a:pt x="1870" y="34187"/>
                  <a:pt x="4635" y="35052"/>
                  <a:pt x="6661" y="35713"/>
                </a:cubicBezTo>
                <a:cubicBezTo>
                  <a:pt x="8712" y="36403"/>
                  <a:pt x="11906" y="37550"/>
                  <a:pt x="16268" y="39198"/>
                </a:cubicBezTo>
                <a:lnTo>
                  <a:pt x="16864" y="38743"/>
                </a:lnTo>
                <a:lnTo>
                  <a:pt x="16673" y="36021"/>
                </a:lnTo>
                <a:lnTo>
                  <a:pt x="16530" y="33142"/>
                </a:lnTo>
                <a:cubicBezTo>
                  <a:pt x="16459" y="31474"/>
                  <a:pt x="16363" y="27149"/>
                  <a:pt x="16268" y="20236"/>
                </a:cubicBezTo>
                <a:lnTo>
                  <a:pt x="16268" y="15940"/>
                </a:lnTo>
                <a:cubicBezTo>
                  <a:pt x="16268" y="11737"/>
                  <a:pt x="16292" y="8857"/>
                  <a:pt x="16363" y="7238"/>
                </a:cubicBezTo>
                <a:cubicBezTo>
                  <a:pt x="16411" y="4731"/>
                  <a:pt x="16530" y="3294"/>
                  <a:pt x="16721" y="2867"/>
                </a:cubicBezTo>
                <a:lnTo>
                  <a:pt x="17317" y="2297"/>
                </a:lnTo>
                <a:cubicBezTo>
                  <a:pt x="17770" y="2028"/>
                  <a:pt x="19152" y="1870"/>
                  <a:pt x="21488" y="1749"/>
                </a:cubicBezTo>
                <a:lnTo>
                  <a:pt x="23348" y="1598"/>
                </a:lnTo>
                <a:lnTo>
                  <a:pt x="23348" y="-730"/>
                </a:lnTo>
                <a:cubicBezTo>
                  <a:pt x="19176" y="-572"/>
                  <a:pt x="15767" y="-451"/>
                  <a:pt x="13145" y="-451"/>
                </a:cubicBezTo>
                <a:cubicBezTo>
                  <a:pt x="11381" y="-451"/>
                  <a:pt x="7305" y="-572"/>
                  <a:pt x="845" y="-730"/>
                </a:cubicBezTo>
              </a:path>
            </a:pathLst>
          </a:custGeom>
          <a:solidFill>
            <a:srgbClr val="5F94D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7" name="Vrije vorm 2086">
            <a:extLst>
              <a:ext uri="{FF2B5EF4-FFF2-40B4-BE49-F238E27FC236}">
                <a16:creationId xmlns:a16="http://schemas.microsoft.com/office/drawing/2014/main" id="{F33328B1-3AC8-836E-0D25-75ABA55BE2E5}"/>
              </a:ext>
            </a:extLst>
          </p:cNvPr>
          <p:cNvSpPr/>
          <p:nvPr/>
        </p:nvSpPr>
        <p:spPr>
          <a:xfrm flipV="1">
            <a:off x="1149280" y="1181278"/>
            <a:ext cx="98689" cy="302518"/>
          </a:xfrm>
          <a:custGeom>
            <a:avLst/>
            <a:gdLst>
              <a:gd name="connsiteX0" fmla="*/ 8321 w 35946"/>
              <a:gd name="connsiteY0" fmla="*/ -686 h 113618"/>
              <a:gd name="connsiteX1" fmla="*/ 5913 w 35946"/>
              <a:gd name="connsiteY1" fmla="*/ 68307 h 113618"/>
              <a:gd name="connsiteX2" fmla="*/ 5699 w 35946"/>
              <a:gd name="connsiteY2" fmla="*/ 90420 h 113618"/>
              <a:gd name="connsiteX3" fmla="*/ 5913 w 35946"/>
              <a:gd name="connsiteY3" fmla="*/ 72818 h 113618"/>
              <a:gd name="connsiteX4" fmla="*/ 8536 w 35946"/>
              <a:gd name="connsiteY4" fmla="*/ -593 h 113618"/>
              <a:gd name="connsiteX5" fmla="*/ 8321 w 35946"/>
              <a:gd name="connsiteY5" fmla="*/ -686 h 113618"/>
              <a:gd name="connsiteX6" fmla="*/ 22313 w 35946"/>
              <a:gd name="connsiteY6" fmla="*/ 320 h 113618"/>
              <a:gd name="connsiteX7" fmla="*/ 22147 w 35946"/>
              <a:gd name="connsiteY7" fmla="*/ 339 h 113618"/>
              <a:gd name="connsiteX8" fmla="*/ 24507 w 35946"/>
              <a:gd name="connsiteY8" fmla="*/ 65251 h 113618"/>
              <a:gd name="connsiteX9" fmla="*/ 24888 w 35946"/>
              <a:gd name="connsiteY9" fmla="*/ 83142 h 113618"/>
              <a:gd name="connsiteX10" fmla="*/ 24912 w 35946"/>
              <a:gd name="connsiteY10" fmla="*/ 78323 h 113618"/>
              <a:gd name="connsiteX11" fmla="*/ 24507 w 35946"/>
              <a:gd name="connsiteY11" fmla="*/ 60695 h 113618"/>
              <a:gd name="connsiteX12" fmla="*/ 22313 w 35946"/>
              <a:gd name="connsiteY12" fmla="*/ 320 h 113618"/>
              <a:gd name="connsiteX13" fmla="*/ -1619 w 35946"/>
              <a:gd name="connsiteY13" fmla="*/ 105804 h 113618"/>
              <a:gd name="connsiteX14" fmla="*/ -856 w 35946"/>
              <a:gd name="connsiteY14" fmla="*/ 107286 h 113618"/>
              <a:gd name="connsiteX15" fmla="*/ -618 w 35946"/>
              <a:gd name="connsiteY15" fmla="*/ 107286 h 113618"/>
              <a:gd name="connsiteX16" fmla="*/ -570 w 35946"/>
              <a:gd name="connsiteY16" fmla="*/ 107546 h 113618"/>
              <a:gd name="connsiteX17" fmla="*/ -356 w 35946"/>
              <a:gd name="connsiteY17" fmla="*/ 108218 h 113618"/>
              <a:gd name="connsiteX18" fmla="*/ 979 w 35946"/>
              <a:gd name="connsiteY18" fmla="*/ 110501 h 113618"/>
              <a:gd name="connsiteX19" fmla="*/ 1194 w 35946"/>
              <a:gd name="connsiteY19" fmla="*/ 110528 h 113618"/>
              <a:gd name="connsiteX20" fmla="*/ 6295 w 35946"/>
              <a:gd name="connsiteY20" fmla="*/ 110761 h 113618"/>
              <a:gd name="connsiteX21" fmla="*/ 5937 w 35946"/>
              <a:gd name="connsiteY21" fmla="*/ 106234 h 113618"/>
              <a:gd name="connsiteX22" fmla="*/ 1194 w 35946"/>
              <a:gd name="connsiteY22" fmla="*/ 106000 h 113618"/>
              <a:gd name="connsiteX23" fmla="*/ -1619 w 35946"/>
              <a:gd name="connsiteY23" fmla="*/ 105804 h 113618"/>
              <a:gd name="connsiteX24" fmla="*/ 26199 w 35946"/>
              <a:gd name="connsiteY24" fmla="*/ 108357 h 113618"/>
              <a:gd name="connsiteX25" fmla="*/ 24816 w 35946"/>
              <a:gd name="connsiteY25" fmla="*/ 108450 h 113618"/>
              <a:gd name="connsiteX26" fmla="*/ 24816 w 35946"/>
              <a:gd name="connsiteY26" fmla="*/ 108693 h 113618"/>
              <a:gd name="connsiteX27" fmla="*/ 24507 w 35946"/>
              <a:gd name="connsiteY27" fmla="*/ 112932 h 113618"/>
              <a:gd name="connsiteX28" fmla="*/ 26199 w 35946"/>
              <a:gd name="connsiteY28" fmla="*/ 112839 h 113618"/>
              <a:gd name="connsiteX29" fmla="*/ 31658 w 35946"/>
              <a:gd name="connsiteY29" fmla="*/ 112868 h 113618"/>
              <a:gd name="connsiteX30" fmla="*/ 32087 w 35946"/>
              <a:gd name="connsiteY30" fmla="*/ 112913 h 113618"/>
              <a:gd name="connsiteX31" fmla="*/ 32635 w 35946"/>
              <a:gd name="connsiteY31" fmla="*/ 111890 h 113618"/>
              <a:gd name="connsiteX32" fmla="*/ 34328 w 35946"/>
              <a:gd name="connsiteY32" fmla="*/ 108526 h 113618"/>
              <a:gd name="connsiteX33" fmla="*/ 31658 w 35946"/>
              <a:gd name="connsiteY33" fmla="*/ 108385 h 113618"/>
              <a:gd name="connsiteX34" fmla="*/ 26199 w 35946"/>
              <a:gd name="connsiteY34" fmla="*/ 108357 h 11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35946" h="113618">
                <a:moveTo>
                  <a:pt x="8321" y="-686"/>
                </a:moveTo>
                <a:cubicBezTo>
                  <a:pt x="7320" y="22126"/>
                  <a:pt x="6033" y="61747"/>
                  <a:pt x="5913" y="68307"/>
                </a:cubicBezTo>
                <a:cubicBezTo>
                  <a:pt x="5866" y="72119"/>
                  <a:pt x="5675" y="81661"/>
                  <a:pt x="5699" y="90420"/>
                </a:cubicBezTo>
                <a:cubicBezTo>
                  <a:pt x="5723" y="83094"/>
                  <a:pt x="5866" y="75986"/>
                  <a:pt x="5913" y="72818"/>
                </a:cubicBezTo>
                <a:cubicBezTo>
                  <a:pt x="6057" y="65819"/>
                  <a:pt x="7511" y="21072"/>
                  <a:pt x="8536" y="-593"/>
                </a:cubicBezTo>
                <a:cubicBezTo>
                  <a:pt x="8464" y="-639"/>
                  <a:pt x="8393" y="-658"/>
                  <a:pt x="8321" y="-686"/>
                </a:cubicBezTo>
                <a:moveTo>
                  <a:pt x="22313" y="320"/>
                </a:moveTo>
                <a:cubicBezTo>
                  <a:pt x="22266" y="320"/>
                  <a:pt x="22218" y="339"/>
                  <a:pt x="22147" y="339"/>
                </a:cubicBezTo>
                <a:cubicBezTo>
                  <a:pt x="22885" y="20952"/>
                  <a:pt x="24292" y="60955"/>
                  <a:pt x="24507" y="65251"/>
                </a:cubicBezTo>
                <a:cubicBezTo>
                  <a:pt x="24697" y="68262"/>
                  <a:pt x="24816" y="75742"/>
                  <a:pt x="24888" y="83142"/>
                </a:cubicBezTo>
                <a:cubicBezTo>
                  <a:pt x="24888" y="80831"/>
                  <a:pt x="24888" y="79042"/>
                  <a:pt x="24912" y="78323"/>
                </a:cubicBezTo>
                <a:cubicBezTo>
                  <a:pt x="25007" y="72481"/>
                  <a:pt x="24864" y="66565"/>
                  <a:pt x="24507" y="60695"/>
                </a:cubicBezTo>
                <a:cubicBezTo>
                  <a:pt x="24316" y="56735"/>
                  <a:pt x="23076" y="21744"/>
                  <a:pt x="22313" y="320"/>
                </a:cubicBezTo>
                <a:moveTo>
                  <a:pt x="-1619" y="105804"/>
                </a:moveTo>
                <a:lnTo>
                  <a:pt x="-856" y="107286"/>
                </a:lnTo>
                <a:lnTo>
                  <a:pt x="-618" y="107286"/>
                </a:lnTo>
                <a:lnTo>
                  <a:pt x="-570" y="107546"/>
                </a:lnTo>
                <a:lnTo>
                  <a:pt x="-356" y="108218"/>
                </a:lnTo>
                <a:cubicBezTo>
                  <a:pt x="73" y="108982"/>
                  <a:pt x="526" y="109736"/>
                  <a:pt x="979" y="110501"/>
                </a:cubicBezTo>
                <a:lnTo>
                  <a:pt x="1194" y="110528"/>
                </a:lnTo>
                <a:lnTo>
                  <a:pt x="6295" y="110761"/>
                </a:lnTo>
                <a:cubicBezTo>
                  <a:pt x="6152" y="109671"/>
                  <a:pt x="6033" y="108116"/>
                  <a:pt x="5937" y="106234"/>
                </a:cubicBezTo>
                <a:lnTo>
                  <a:pt x="1194" y="106000"/>
                </a:lnTo>
                <a:lnTo>
                  <a:pt x="-1619" y="105804"/>
                </a:lnTo>
                <a:moveTo>
                  <a:pt x="26199" y="108357"/>
                </a:moveTo>
                <a:lnTo>
                  <a:pt x="24816" y="108450"/>
                </a:lnTo>
                <a:cubicBezTo>
                  <a:pt x="24816" y="108526"/>
                  <a:pt x="24816" y="108619"/>
                  <a:pt x="24816" y="108693"/>
                </a:cubicBezTo>
                <a:lnTo>
                  <a:pt x="24507" y="112932"/>
                </a:lnTo>
                <a:lnTo>
                  <a:pt x="26199" y="112839"/>
                </a:lnTo>
                <a:lnTo>
                  <a:pt x="31658" y="112868"/>
                </a:lnTo>
                <a:lnTo>
                  <a:pt x="32087" y="112913"/>
                </a:lnTo>
                <a:cubicBezTo>
                  <a:pt x="32278" y="112550"/>
                  <a:pt x="32444" y="112224"/>
                  <a:pt x="32635" y="111890"/>
                </a:cubicBezTo>
                <a:lnTo>
                  <a:pt x="34328" y="108526"/>
                </a:lnTo>
                <a:lnTo>
                  <a:pt x="31658" y="108385"/>
                </a:lnTo>
                <a:lnTo>
                  <a:pt x="26199" y="108357"/>
                </a:lnTo>
              </a:path>
            </a:pathLst>
          </a:custGeom>
          <a:solidFill>
            <a:srgbClr val="E6C75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89" name="Vrije vorm 2088">
            <a:extLst>
              <a:ext uri="{FF2B5EF4-FFF2-40B4-BE49-F238E27FC236}">
                <a16:creationId xmlns:a16="http://schemas.microsoft.com/office/drawing/2014/main" id="{7E411D24-9681-C449-50A4-D723B1BFF2FA}"/>
              </a:ext>
            </a:extLst>
          </p:cNvPr>
          <p:cNvSpPr/>
          <p:nvPr/>
        </p:nvSpPr>
        <p:spPr>
          <a:xfrm rot="12801010" flipV="1">
            <a:off x="1056521" y="1464453"/>
            <a:ext cx="83114" cy="387052"/>
          </a:xfrm>
          <a:custGeom>
            <a:avLst/>
            <a:gdLst>
              <a:gd name="connsiteX0" fmla="*/ 27796 w 30273"/>
              <a:gd name="connsiteY0" fmla="*/ 125267 h 145367"/>
              <a:gd name="connsiteX1" fmla="*/ 24125 w 30273"/>
              <a:gd name="connsiteY1" fmla="*/ 124764 h 145367"/>
              <a:gd name="connsiteX2" fmla="*/ 21360 w 30273"/>
              <a:gd name="connsiteY2" fmla="*/ 123953 h 145367"/>
              <a:gd name="connsiteX3" fmla="*/ 20645 w 30273"/>
              <a:gd name="connsiteY3" fmla="*/ 118633 h 145367"/>
              <a:gd name="connsiteX4" fmla="*/ 20025 w 30273"/>
              <a:gd name="connsiteY4" fmla="*/ 113237 h 145367"/>
              <a:gd name="connsiteX5" fmla="*/ 18023 w 30273"/>
              <a:gd name="connsiteY5" fmla="*/ 783 h 145367"/>
              <a:gd name="connsiteX6" fmla="*/ 17689 w 30273"/>
              <a:gd name="connsiteY6" fmla="*/ -689 h 145367"/>
              <a:gd name="connsiteX7" fmla="*/ 15139 w 30273"/>
              <a:gd name="connsiteY7" fmla="*/ 29 h 145367"/>
              <a:gd name="connsiteX8" fmla="*/ 9775 w 30273"/>
              <a:gd name="connsiteY8" fmla="*/ -167 h 145367"/>
              <a:gd name="connsiteX9" fmla="*/ 7845 w 30273"/>
              <a:gd name="connsiteY9" fmla="*/ 430 h 145367"/>
              <a:gd name="connsiteX10" fmla="*/ 5675 w 30273"/>
              <a:gd name="connsiteY10" fmla="*/ 82040 h 145367"/>
              <a:gd name="connsiteX11" fmla="*/ 4960 w 30273"/>
              <a:gd name="connsiteY11" fmla="*/ 112500 h 145367"/>
              <a:gd name="connsiteX12" fmla="*/ 4770 w 30273"/>
              <a:gd name="connsiteY12" fmla="*/ 118633 h 145367"/>
              <a:gd name="connsiteX13" fmla="*/ 4746 w 30273"/>
              <a:gd name="connsiteY13" fmla="*/ 120990 h 145367"/>
              <a:gd name="connsiteX14" fmla="*/ 4841 w 30273"/>
              <a:gd name="connsiteY14" fmla="*/ 120990 h 145367"/>
              <a:gd name="connsiteX15" fmla="*/ 4817 w 30273"/>
              <a:gd name="connsiteY15" fmla="*/ 122760 h 145367"/>
              <a:gd name="connsiteX16" fmla="*/ 1980 w 30273"/>
              <a:gd name="connsiteY16" fmla="*/ 122638 h 145367"/>
              <a:gd name="connsiteX17" fmla="*/ -1595 w 30273"/>
              <a:gd name="connsiteY17" fmla="*/ 122183 h 145367"/>
              <a:gd name="connsiteX18" fmla="*/ -1619 w 30273"/>
              <a:gd name="connsiteY18" fmla="*/ 122183 h 145367"/>
              <a:gd name="connsiteX19" fmla="*/ 5961 w 30273"/>
              <a:gd name="connsiteY19" fmla="*/ 133729 h 145367"/>
              <a:gd name="connsiteX20" fmla="*/ 10228 w 30273"/>
              <a:gd name="connsiteY20" fmla="*/ 140055 h 145367"/>
              <a:gd name="connsiteX21" fmla="*/ 13756 w 30273"/>
              <a:gd name="connsiteY21" fmla="*/ 144678 h 145367"/>
              <a:gd name="connsiteX22" fmla="*/ 19263 w 30273"/>
              <a:gd name="connsiteY22" fmla="*/ 138359 h 145367"/>
              <a:gd name="connsiteX23" fmla="*/ 28655 w 30273"/>
              <a:gd name="connsiteY23" fmla="*/ 125379 h 145367"/>
              <a:gd name="connsiteX24" fmla="*/ 27796 w 30273"/>
              <a:gd name="connsiteY24" fmla="*/ 125267 h 145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0273" h="145367">
                <a:moveTo>
                  <a:pt x="27796" y="125267"/>
                </a:moveTo>
                <a:lnTo>
                  <a:pt x="24125" y="124764"/>
                </a:lnTo>
                <a:lnTo>
                  <a:pt x="21360" y="123953"/>
                </a:lnTo>
                <a:lnTo>
                  <a:pt x="20645" y="118633"/>
                </a:lnTo>
                <a:lnTo>
                  <a:pt x="20025" y="113237"/>
                </a:lnTo>
                <a:cubicBezTo>
                  <a:pt x="19572" y="107347"/>
                  <a:pt x="18404" y="15413"/>
                  <a:pt x="18023" y="783"/>
                </a:cubicBezTo>
                <a:lnTo>
                  <a:pt x="17689" y="-689"/>
                </a:lnTo>
                <a:lnTo>
                  <a:pt x="15139" y="29"/>
                </a:lnTo>
                <a:lnTo>
                  <a:pt x="9775" y="-167"/>
                </a:lnTo>
                <a:lnTo>
                  <a:pt x="7845" y="430"/>
                </a:lnTo>
                <a:cubicBezTo>
                  <a:pt x="7845" y="9786"/>
                  <a:pt x="6009" y="73857"/>
                  <a:pt x="5675" y="82040"/>
                </a:cubicBezTo>
                <a:cubicBezTo>
                  <a:pt x="5509" y="86522"/>
                  <a:pt x="5365" y="108085"/>
                  <a:pt x="4960" y="112500"/>
                </a:cubicBezTo>
                <a:lnTo>
                  <a:pt x="4770" y="118633"/>
                </a:lnTo>
                <a:lnTo>
                  <a:pt x="4746" y="120990"/>
                </a:lnTo>
                <a:lnTo>
                  <a:pt x="4841" y="120990"/>
                </a:lnTo>
                <a:lnTo>
                  <a:pt x="4817" y="122760"/>
                </a:lnTo>
                <a:lnTo>
                  <a:pt x="1980" y="122638"/>
                </a:lnTo>
                <a:lnTo>
                  <a:pt x="-1595" y="122183"/>
                </a:lnTo>
                <a:lnTo>
                  <a:pt x="-1619" y="122183"/>
                </a:lnTo>
                <a:cubicBezTo>
                  <a:pt x="1480" y="125527"/>
                  <a:pt x="3578" y="129888"/>
                  <a:pt x="5961" y="133729"/>
                </a:cubicBezTo>
                <a:lnTo>
                  <a:pt x="10228" y="140055"/>
                </a:lnTo>
                <a:lnTo>
                  <a:pt x="13756" y="144678"/>
                </a:lnTo>
                <a:cubicBezTo>
                  <a:pt x="15258" y="142460"/>
                  <a:pt x="17499" y="140456"/>
                  <a:pt x="19263" y="138359"/>
                </a:cubicBezTo>
                <a:cubicBezTo>
                  <a:pt x="22671" y="134258"/>
                  <a:pt x="25174" y="129385"/>
                  <a:pt x="28655" y="125379"/>
                </a:cubicBezTo>
                <a:lnTo>
                  <a:pt x="27796" y="125267"/>
                </a:lnTo>
              </a:path>
            </a:pathLst>
          </a:custGeom>
          <a:solidFill>
            <a:srgbClr val="4376C4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90" name="Vrije vorm 2089">
            <a:extLst>
              <a:ext uri="{FF2B5EF4-FFF2-40B4-BE49-F238E27FC236}">
                <a16:creationId xmlns:a16="http://schemas.microsoft.com/office/drawing/2014/main" id="{F0366AF0-CD57-41E9-C190-CDA8F07C97B0}"/>
              </a:ext>
            </a:extLst>
          </p:cNvPr>
          <p:cNvSpPr/>
          <p:nvPr/>
        </p:nvSpPr>
        <p:spPr>
          <a:xfrm flipV="1">
            <a:off x="1198951" y="1123662"/>
            <a:ext cx="12695" cy="356558"/>
          </a:xfrm>
          <a:custGeom>
            <a:avLst/>
            <a:gdLst>
              <a:gd name="connsiteX0" fmla="*/ 2885 w 4624"/>
              <a:gd name="connsiteY0" fmla="*/ -692 h 133914"/>
              <a:gd name="connsiteX1" fmla="*/ 2838 w 4624"/>
              <a:gd name="connsiteY1" fmla="*/ -692 h 133914"/>
              <a:gd name="connsiteX2" fmla="*/ 2981 w 4624"/>
              <a:gd name="connsiteY2" fmla="*/ 7490 h 133914"/>
              <a:gd name="connsiteX3" fmla="*/ 3004 w 4624"/>
              <a:gd name="connsiteY3" fmla="*/ 7490 h 133914"/>
              <a:gd name="connsiteX4" fmla="*/ 2885 w 4624"/>
              <a:gd name="connsiteY4" fmla="*/ -692 h 133914"/>
              <a:gd name="connsiteX5" fmla="*/ -1143 w 4624"/>
              <a:gd name="connsiteY5" fmla="*/ 132559 h 133914"/>
              <a:gd name="connsiteX6" fmla="*/ -1620 w 4624"/>
              <a:gd name="connsiteY6" fmla="*/ 133223 h 133914"/>
              <a:gd name="connsiteX7" fmla="*/ -1143 w 4624"/>
              <a:gd name="connsiteY7" fmla="*/ 132559 h 133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24" h="133914">
                <a:moveTo>
                  <a:pt x="2885" y="-692"/>
                </a:moveTo>
                <a:cubicBezTo>
                  <a:pt x="2862" y="-692"/>
                  <a:pt x="2862" y="-692"/>
                  <a:pt x="2838" y="-692"/>
                </a:cubicBezTo>
                <a:cubicBezTo>
                  <a:pt x="2885" y="1758"/>
                  <a:pt x="2933" y="4508"/>
                  <a:pt x="2981" y="7490"/>
                </a:cubicBezTo>
                <a:cubicBezTo>
                  <a:pt x="2981" y="7490"/>
                  <a:pt x="2981" y="7490"/>
                  <a:pt x="3004" y="7490"/>
                </a:cubicBezTo>
                <a:cubicBezTo>
                  <a:pt x="2957" y="4525"/>
                  <a:pt x="2909" y="1758"/>
                  <a:pt x="2885" y="-692"/>
                </a:cubicBezTo>
                <a:moveTo>
                  <a:pt x="-1143" y="132559"/>
                </a:moveTo>
                <a:cubicBezTo>
                  <a:pt x="-1310" y="132774"/>
                  <a:pt x="-1453" y="133008"/>
                  <a:pt x="-1620" y="133223"/>
                </a:cubicBezTo>
                <a:lnTo>
                  <a:pt x="-1143" y="132559"/>
                </a:lnTo>
              </a:path>
            </a:pathLst>
          </a:custGeom>
          <a:solidFill>
            <a:srgbClr val="2947A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94" name="Vrije vorm 2093">
            <a:extLst>
              <a:ext uri="{FF2B5EF4-FFF2-40B4-BE49-F238E27FC236}">
                <a16:creationId xmlns:a16="http://schemas.microsoft.com/office/drawing/2014/main" id="{C1301822-6F57-3D35-0391-FFDD49545237}"/>
              </a:ext>
            </a:extLst>
          </p:cNvPr>
          <p:cNvSpPr/>
          <p:nvPr/>
        </p:nvSpPr>
        <p:spPr>
          <a:xfrm flipV="1">
            <a:off x="9245080" y="4182570"/>
            <a:ext cx="1862167" cy="700090"/>
          </a:xfrm>
          <a:custGeom>
            <a:avLst/>
            <a:gdLst>
              <a:gd name="connsiteX0" fmla="*/ -2808 w 678265"/>
              <a:gd name="connsiteY0" fmla="*/ -115 h 262936"/>
              <a:gd name="connsiteX1" fmla="*/ 675458 w 678265"/>
              <a:gd name="connsiteY1" fmla="*/ -115 h 262936"/>
              <a:gd name="connsiteX2" fmla="*/ 675458 w 678265"/>
              <a:gd name="connsiteY2" fmla="*/ 262821 h 262936"/>
              <a:gd name="connsiteX3" fmla="*/ -2808 w 678265"/>
              <a:gd name="connsiteY3" fmla="*/ 262821 h 262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8265" h="262936">
                <a:moveTo>
                  <a:pt x="-2808" y="-115"/>
                </a:moveTo>
                <a:lnTo>
                  <a:pt x="675458" y="-115"/>
                </a:lnTo>
                <a:lnTo>
                  <a:pt x="675458" y="262821"/>
                </a:lnTo>
                <a:lnTo>
                  <a:pt x="-2808" y="262821"/>
                </a:lnTo>
                <a:close/>
              </a:path>
            </a:pathLst>
          </a:custGeom>
          <a:solidFill>
            <a:srgbClr val="9B9880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95" name="Vrije vorm 2094">
            <a:extLst>
              <a:ext uri="{FF2B5EF4-FFF2-40B4-BE49-F238E27FC236}">
                <a16:creationId xmlns:a16="http://schemas.microsoft.com/office/drawing/2014/main" id="{35E64D7B-1B45-0E24-117F-078F42036DA4}"/>
              </a:ext>
            </a:extLst>
          </p:cNvPr>
          <p:cNvSpPr/>
          <p:nvPr/>
        </p:nvSpPr>
        <p:spPr>
          <a:xfrm flipV="1">
            <a:off x="9140106" y="749492"/>
            <a:ext cx="2063804" cy="4133168"/>
          </a:xfrm>
          <a:custGeom>
            <a:avLst/>
            <a:gdLst>
              <a:gd name="connsiteX0" fmla="*/ 748901 w 751708"/>
              <a:gd name="connsiteY0" fmla="*/ 1551892 h 1552313"/>
              <a:gd name="connsiteX1" fmla="*/ -2807 w 751708"/>
              <a:gd name="connsiteY1" fmla="*/ 1551892 h 1552313"/>
              <a:gd name="connsiteX2" fmla="*/ -2807 w 751708"/>
              <a:gd name="connsiteY2" fmla="*/ -422 h 1552313"/>
              <a:gd name="connsiteX3" fmla="*/ 35428 w 751708"/>
              <a:gd name="connsiteY3" fmla="*/ -422 h 1552313"/>
              <a:gd name="connsiteX4" fmla="*/ 35428 w 751708"/>
              <a:gd name="connsiteY4" fmla="*/ 1504499 h 1552313"/>
              <a:gd name="connsiteX5" fmla="*/ 710714 w 751708"/>
              <a:gd name="connsiteY5" fmla="*/ 1504499 h 1552313"/>
              <a:gd name="connsiteX6" fmla="*/ 710714 w 751708"/>
              <a:gd name="connsiteY6" fmla="*/ -422 h 1552313"/>
              <a:gd name="connsiteX7" fmla="*/ 748901 w 751708"/>
              <a:gd name="connsiteY7" fmla="*/ -422 h 1552313"/>
              <a:gd name="connsiteX8" fmla="*/ 748901 w 751708"/>
              <a:gd name="connsiteY8" fmla="*/ 1551892 h 1552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51708" h="1552313">
                <a:moveTo>
                  <a:pt x="748901" y="1551892"/>
                </a:moveTo>
                <a:lnTo>
                  <a:pt x="-2807" y="1551892"/>
                </a:lnTo>
                <a:lnTo>
                  <a:pt x="-2807" y="-422"/>
                </a:lnTo>
                <a:lnTo>
                  <a:pt x="35428" y="-422"/>
                </a:lnTo>
                <a:lnTo>
                  <a:pt x="35428" y="1504499"/>
                </a:lnTo>
                <a:lnTo>
                  <a:pt x="710714" y="1504499"/>
                </a:lnTo>
                <a:lnTo>
                  <a:pt x="710714" y="-422"/>
                </a:lnTo>
                <a:lnTo>
                  <a:pt x="748901" y="-422"/>
                </a:lnTo>
                <a:lnTo>
                  <a:pt x="748901" y="1551892"/>
                </a:lnTo>
              </a:path>
            </a:pathLst>
          </a:custGeom>
          <a:solidFill>
            <a:srgbClr val="B5462D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96" name="Vrije vorm 2095">
            <a:extLst>
              <a:ext uri="{FF2B5EF4-FFF2-40B4-BE49-F238E27FC236}">
                <a16:creationId xmlns:a16="http://schemas.microsoft.com/office/drawing/2014/main" id="{A200D144-45B6-C137-975C-14524629A9BB}"/>
              </a:ext>
            </a:extLst>
          </p:cNvPr>
          <p:cNvSpPr/>
          <p:nvPr/>
        </p:nvSpPr>
        <p:spPr>
          <a:xfrm flipV="1">
            <a:off x="11099068" y="749492"/>
            <a:ext cx="104842" cy="4133168"/>
          </a:xfrm>
          <a:custGeom>
            <a:avLst/>
            <a:gdLst>
              <a:gd name="connsiteX0" fmla="*/ -2937 w 38187"/>
              <a:gd name="connsiteY0" fmla="*/ 1504499 h 1552313"/>
              <a:gd name="connsiteX1" fmla="*/ -2937 w 38187"/>
              <a:gd name="connsiteY1" fmla="*/ -422 h 1552313"/>
              <a:gd name="connsiteX2" fmla="*/ 35250 w 38187"/>
              <a:gd name="connsiteY2" fmla="*/ -422 h 1552313"/>
              <a:gd name="connsiteX3" fmla="*/ 35250 w 38187"/>
              <a:gd name="connsiteY3" fmla="*/ 1551892 h 1552313"/>
              <a:gd name="connsiteX4" fmla="*/ -2937 w 38187"/>
              <a:gd name="connsiteY4" fmla="*/ 1504499 h 1552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187" h="1552313">
                <a:moveTo>
                  <a:pt x="-2937" y="1504499"/>
                </a:moveTo>
                <a:lnTo>
                  <a:pt x="-2937" y="-422"/>
                </a:lnTo>
                <a:lnTo>
                  <a:pt x="35250" y="-422"/>
                </a:lnTo>
                <a:lnTo>
                  <a:pt x="35250" y="1551892"/>
                </a:lnTo>
                <a:lnTo>
                  <a:pt x="-2937" y="1504499"/>
                </a:lnTo>
              </a:path>
            </a:pathLst>
          </a:custGeom>
          <a:solidFill>
            <a:srgbClr val="80342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97" name="Vrije vorm 2096">
            <a:extLst>
              <a:ext uri="{FF2B5EF4-FFF2-40B4-BE49-F238E27FC236}">
                <a16:creationId xmlns:a16="http://schemas.microsoft.com/office/drawing/2014/main" id="{DB795E31-E749-9880-5622-DED2EEE70D6B}"/>
              </a:ext>
            </a:extLst>
          </p:cNvPr>
          <p:cNvSpPr/>
          <p:nvPr/>
        </p:nvSpPr>
        <p:spPr>
          <a:xfrm flipV="1">
            <a:off x="11099068" y="867617"/>
            <a:ext cx="21728" cy="4015040"/>
          </a:xfrm>
          <a:custGeom>
            <a:avLst/>
            <a:gdLst>
              <a:gd name="connsiteX0" fmla="*/ 4983 w 7914"/>
              <a:gd name="connsiteY0" fmla="*/ -411 h 1507947"/>
              <a:gd name="connsiteX1" fmla="*/ -2932 w 7914"/>
              <a:gd name="connsiteY1" fmla="*/ -411 h 1507947"/>
              <a:gd name="connsiteX2" fmla="*/ -2932 w 7914"/>
              <a:gd name="connsiteY2" fmla="*/ 1504510 h 1507947"/>
              <a:gd name="connsiteX3" fmla="*/ 48 w 7914"/>
              <a:gd name="connsiteY3" fmla="*/ 1507537 h 1507947"/>
              <a:gd name="connsiteX4" fmla="*/ 4983 w 7914"/>
              <a:gd name="connsiteY4" fmla="*/ 737498 h 1507947"/>
              <a:gd name="connsiteX5" fmla="*/ 4983 w 7914"/>
              <a:gd name="connsiteY5" fmla="*/ -411 h 1507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14" h="1507947">
                <a:moveTo>
                  <a:pt x="4983" y="-411"/>
                </a:moveTo>
                <a:lnTo>
                  <a:pt x="-2932" y="-411"/>
                </a:lnTo>
                <a:lnTo>
                  <a:pt x="-2932" y="1504510"/>
                </a:lnTo>
                <a:lnTo>
                  <a:pt x="48" y="1507537"/>
                </a:lnTo>
                <a:lnTo>
                  <a:pt x="4983" y="737498"/>
                </a:lnTo>
                <a:lnTo>
                  <a:pt x="4983" y="-411"/>
                </a:lnTo>
              </a:path>
            </a:pathLst>
          </a:custGeom>
          <a:solidFill>
            <a:srgbClr val="581F1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98" name="Vrije vorm 2097">
            <a:extLst>
              <a:ext uri="{FF2B5EF4-FFF2-40B4-BE49-F238E27FC236}">
                <a16:creationId xmlns:a16="http://schemas.microsoft.com/office/drawing/2014/main" id="{20337B47-8BE3-C173-D9B7-2DFD21665BA1}"/>
              </a:ext>
            </a:extLst>
          </p:cNvPr>
          <p:cNvSpPr/>
          <p:nvPr/>
        </p:nvSpPr>
        <p:spPr>
          <a:xfrm flipV="1">
            <a:off x="9140106" y="749492"/>
            <a:ext cx="104974" cy="4133168"/>
          </a:xfrm>
          <a:custGeom>
            <a:avLst/>
            <a:gdLst>
              <a:gd name="connsiteX0" fmla="*/ -2678 w 38235"/>
              <a:gd name="connsiteY0" fmla="*/ 1551892 h 1552313"/>
              <a:gd name="connsiteX1" fmla="*/ -2678 w 38235"/>
              <a:gd name="connsiteY1" fmla="*/ -422 h 1552313"/>
              <a:gd name="connsiteX2" fmla="*/ 35557 w 38235"/>
              <a:gd name="connsiteY2" fmla="*/ -422 h 1552313"/>
              <a:gd name="connsiteX3" fmla="*/ 35557 w 38235"/>
              <a:gd name="connsiteY3" fmla="*/ 1504499 h 1552313"/>
              <a:gd name="connsiteX4" fmla="*/ -2678 w 38235"/>
              <a:gd name="connsiteY4" fmla="*/ 1551892 h 1552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235" h="1552313">
                <a:moveTo>
                  <a:pt x="-2678" y="1551892"/>
                </a:moveTo>
                <a:lnTo>
                  <a:pt x="-2678" y="-422"/>
                </a:lnTo>
                <a:lnTo>
                  <a:pt x="35557" y="-422"/>
                </a:lnTo>
                <a:lnTo>
                  <a:pt x="35557" y="1504499"/>
                </a:lnTo>
                <a:lnTo>
                  <a:pt x="-2678" y="1551892"/>
                </a:lnTo>
              </a:path>
            </a:pathLst>
          </a:custGeom>
          <a:solidFill>
            <a:srgbClr val="B5462D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099" name="Vrije vorm 2098">
            <a:extLst>
              <a:ext uri="{FF2B5EF4-FFF2-40B4-BE49-F238E27FC236}">
                <a16:creationId xmlns:a16="http://schemas.microsoft.com/office/drawing/2014/main" id="{9507B5F9-6E0B-040C-6020-25ED8166D6A6}"/>
              </a:ext>
            </a:extLst>
          </p:cNvPr>
          <p:cNvSpPr/>
          <p:nvPr/>
        </p:nvSpPr>
        <p:spPr>
          <a:xfrm flipV="1">
            <a:off x="9140106" y="749492"/>
            <a:ext cx="2063804" cy="126185"/>
          </a:xfrm>
          <a:custGeom>
            <a:avLst/>
            <a:gdLst>
              <a:gd name="connsiteX0" fmla="*/ 35428 w 751708"/>
              <a:gd name="connsiteY0" fmla="*/ -779 h 47392"/>
              <a:gd name="connsiteX1" fmla="*/ 710714 w 751708"/>
              <a:gd name="connsiteY1" fmla="*/ -779 h 47392"/>
              <a:gd name="connsiteX2" fmla="*/ 748901 w 751708"/>
              <a:gd name="connsiteY2" fmla="*/ 46613 h 47392"/>
              <a:gd name="connsiteX3" fmla="*/ -2807 w 751708"/>
              <a:gd name="connsiteY3" fmla="*/ 46613 h 47392"/>
              <a:gd name="connsiteX4" fmla="*/ 35428 w 751708"/>
              <a:gd name="connsiteY4" fmla="*/ -779 h 47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1708" h="47392">
                <a:moveTo>
                  <a:pt x="35428" y="-779"/>
                </a:moveTo>
                <a:lnTo>
                  <a:pt x="710714" y="-779"/>
                </a:lnTo>
                <a:lnTo>
                  <a:pt x="748901" y="46613"/>
                </a:lnTo>
                <a:lnTo>
                  <a:pt x="-2807" y="46613"/>
                </a:lnTo>
                <a:lnTo>
                  <a:pt x="35428" y="-779"/>
                </a:lnTo>
              </a:path>
            </a:pathLst>
          </a:custGeom>
          <a:solidFill>
            <a:srgbClr val="A24027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00" name="Vrije vorm 2099">
            <a:extLst>
              <a:ext uri="{FF2B5EF4-FFF2-40B4-BE49-F238E27FC236}">
                <a16:creationId xmlns:a16="http://schemas.microsoft.com/office/drawing/2014/main" id="{A24757EE-75E5-2183-77D2-BEE81C45BF86}"/>
              </a:ext>
            </a:extLst>
          </p:cNvPr>
          <p:cNvSpPr/>
          <p:nvPr/>
        </p:nvSpPr>
        <p:spPr>
          <a:xfrm flipV="1">
            <a:off x="11099068" y="749492"/>
            <a:ext cx="104842" cy="126185"/>
          </a:xfrm>
          <a:custGeom>
            <a:avLst/>
            <a:gdLst>
              <a:gd name="connsiteX0" fmla="*/ 35250 w 38187"/>
              <a:gd name="connsiteY0" fmla="*/ 46613 h 47392"/>
              <a:gd name="connsiteX1" fmla="*/ -2937 w 38187"/>
              <a:gd name="connsiteY1" fmla="*/ -779 h 47392"/>
              <a:gd name="connsiteX2" fmla="*/ 34988 w 38187"/>
              <a:gd name="connsiteY2" fmla="*/ 37498 h 47392"/>
              <a:gd name="connsiteX3" fmla="*/ 35250 w 38187"/>
              <a:gd name="connsiteY3" fmla="*/ 46613 h 47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187" h="47392">
                <a:moveTo>
                  <a:pt x="35250" y="46613"/>
                </a:moveTo>
                <a:lnTo>
                  <a:pt x="-2937" y="-779"/>
                </a:lnTo>
                <a:lnTo>
                  <a:pt x="34988" y="37498"/>
                </a:lnTo>
                <a:lnTo>
                  <a:pt x="35250" y="46613"/>
                </a:lnTo>
              </a:path>
            </a:pathLst>
          </a:custGeom>
          <a:solidFill>
            <a:srgbClr val="CE4B30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01" name="Vrije vorm 2100">
            <a:extLst>
              <a:ext uri="{FF2B5EF4-FFF2-40B4-BE49-F238E27FC236}">
                <a16:creationId xmlns:a16="http://schemas.microsoft.com/office/drawing/2014/main" id="{529345E5-9E13-E3D7-5CE2-F219A1575111}"/>
              </a:ext>
            </a:extLst>
          </p:cNvPr>
          <p:cNvSpPr/>
          <p:nvPr/>
        </p:nvSpPr>
        <p:spPr>
          <a:xfrm flipV="1">
            <a:off x="9144032" y="749492"/>
            <a:ext cx="105037" cy="126185"/>
          </a:xfrm>
          <a:custGeom>
            <a:avLst/>
            <a:gdLst>
              <a:gd name="connsiteX0" fmla="*/ -2678 w 38258"/>
              <a:gd name="connsiteY0" fmla="*/ 46613 h 47392"/>
              <a:gd name="connsiteX1" fmla="*/ 35581 w 38258"/>
              <a:gd name="connsiteY1" fmla="*/ -779 h 47392"/>
              <a:gd name="connsiteX2" fmla="*/ -2392 w 38258"/>
              <a:gd name="connsiteY2" fmla="*/ 37498 h 47392"/>
              <a:gd name="connsiteX3" fmla="*/ -2678 w 38258"/>
              <a:gd name="connsiteY3" fmla="*/ 46613 h 47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258" h="47392">
                <a:moveTo>
                  <a:pt x="-2678" y="46613"/>
                </a:moveTo>
                <a:lnTo>
                  <a:pt x="35581" y="-779"/>
                </a:lnTo>
                <a:lnTo>
                  <a:pt x="-2392" y="37498"/>
                </a:lnTo>
                <a:lnTo>
                  <a:pt x="-2678" y="46613"/>
                </a:lnTo>
              </a:path>
            </a:pathLst>
          </a:custGeom>
          <a:solidFill>
            <a:srgbClr val="CE4B30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02" name="Vrije vorm 2101">
            <a:extLst>
              <a:ext uri="{FF2B5EF4-FFF2-40B4-BE49-F238E27FC236}">
                <a16:creationId xmlns:a16="http://schemas.microsoft.com/office/drawing/2014/main" id="{EECC6D17-A73E-96B4-6870-AF1E1A9C9EDB}"/>
              </a:ext>
            </a:extLst>
          </p:cNvPr>
          <p:cNvSpPr/>
          <p:nvPr/>
        </p:nvSpPr>
        <p:spPr>
          <a:xfrm flipV="1">
            <a:off x="9211179" y="838592"/>
            <a:ext cx="33901" cy="4044068"/>
          </a:xfrm>
          <a:custGeom>
            <a:avLst/>
            <a:gdLst>
              <a:gd name="connsiteX0" fmla="*/ 9666 w 12348"/>
              <a:gd name="connsiteY0" fmla="*/ -414 h 1518849"/>
              <a:gd name="connsiteX1" fmla="*/ 9666 w 12348"/>
              <a:gd name="connsiteY1" fmla="*/ -414 h 1518849"/>
              <a:gd name="connsiteX2" fmla="*/ -2682 w 12348"/>
              <a:gd name="connsiteY2" fmla="*/ 1518436 h 1518849"/>
              <a:gd name="connsiteX3" fmla="*/ 3349 w 12348"/>
              <a:gd name="connsiteY3" fmla="*/ 1512324 h 1518849"/>
              <a:gd name="connsiteX4" fmla="*/ 9666 w 12348"/>
              <a:gd name="connsiteY4" fmla="*/ 1504507 h 1518849"/>
              <a:gd name="connsiteX5" fmla="*/ 9666 w 12348"/>
              <a:gd name="connsiteY5" fmla="*/ 262522 h 1518849"/>
              <a:gd name="connsiteX6" fmla="*/ 9666 w 12348"/>
              <a:gd name="connsiteY6" fmla="*/ -414 h 1518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348" h="1518849">
                <a:moveTo>
                  <a:pt x="9666" y="-414"/>
                </a:moveTo>
                <a:lnTo>
                  <a:pt x="9666" y="-414"/>
                </a:lnTo>
                <a:lnTo>
                  <a:pt x="-2682" y="1518436"/>
                </a:lnTo>
                <a:lnTo>
                  <a:pt x="3349" y="1512324"/>
                </a:lnTo>
                <a:lnTo>
                  <a:pt x="9666" y="1504507"/>
                </a:lnTo>
                <a:lnTo>
                  <a:pt x="9666" y="262522"/>
                </a:lnTo>
                <a:lnTo>
                  <a:pt x="9666" y="-414"/>
                </a:lnTo>
              </a:path>
            </a:pathLst>
          </a:custGeom>
          <a:solidFill>
            <a:srgbClr val="E26A4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03" name="Vrije vorm 2102">
            <a:extLst>
              <a:ext uri="{FF2B5EF4-FFF2-40B4-BE49-F238E27FC236}">
                <a16:creationId xmlns:a16="http://schemas.microsoft.com/office/drawing/2014/main" id="{019F28BC-0E98-18D0-3B6A-C8DDD9504337}"/>
              </a:ext>
            </a:extLst>
          </p:cNvPr>
          <p:cNvSpPr/>
          <p:nvPr/>
        </p:nvSpPr>
        <p:spPr>
          <a:xfrm flipV="1">
            <a:off x="9216873" y="836952"/>
            <a:ext cx="801699" cy="38725"/>
          </a:xfrm>
          <a:custGeom>
            <a:avLst/>
            <a:gdLst>
              <a:gd name="connsiteX0" fmla="*/ 289273 w 292006"/>
              <a:gd name="connsiteY0" fmla="*/ -771 h 14544"/>
              <a:gd name="connsiteX1" fmla="*/ 8994 w 292006"/>
              <a:gd name="connsiteY1" fmla="*/ -771 h 14544"/>
              <a:gd name="connsiteX2" fmla="*/ -2734 w 292006"/>
              <a:gd name="connsiteY2" fmla="*/ 13773 h 14544"/>
              <a:gd name="connsiteX3" fmla="*/ 289249 w 292006"/>
              <a:gd name="connsiteY3" fmla="*/ 7521 h 14544"/>
              <a:gd name="connsiteX4" fmla="*/ 289273 w 292006"/>
              <a:gd name="connsiteY4" fmla="*/ -771 h 14544"/>
              <a:gd name="connsiteX5" fmla="*/ 8994 w 292006"/>
              <a:gd name="connsiteY5" fmla="*/ -771 h 14544"/>
              <a:gd name="connsiteX6" fmla="*/ 7540 w 292006"/>
              <a:gd name="connsiteY6" fmla="*/ -771 h 14544"/>
              <a:gd name="connsiteX7" fmla="*/ 1223 w 292006"/>
              <a:gd name="connsiteY7" fmla="*/ 7046 h 14544"/>
              <a:gd name="connsiteX8" fmla="*/ 8994 w 292006"/>
              <a:gd name="connsiteY8" fmla="*/ -771 h 14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2006" h="14544">
                <a:moveTo>
                  <a:pt x="289273" y="-771"/>
                </a:moveTo>
                <a:lnTo>
                  <a:pt x="8994" y="-771"/>
                </a:lnTo>
                <a:lnTo>
                  <a:pt x="-2734" y="13773"/>
                </a:lnTo>
                <a:lnTo>
                  <a:pt x="289249" y="7521"/>
                </a:lnTo>
                <a:lnTo>
                  <a:pt x="289273" y="-771"/>
                </a:lnTo>
                <a:moveTo>
                  <a:pt x="8994" y="-771"/>
                </a:moveTo>
                <a:lnTo>
                  <a:pt x="7540" y="-771"/>
                </a:lnTo>
                <a:lnTo>
                  <a:pt x="1223" y="7046"/>
                </a:lnTo>
                <a:lnTo>
                  <a:pt x="8994" y="-771"/>
                </a:lnTo>
              </a:path>
            </a:pathLst>
          </a:custGeom>
          <a:solidFill>
            <a:srgbClr val="DB653E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04" name="Vrije vorm 2103">
            <a:extLst>
              <a:ext uri="{FF2B5EF4-FFF2-40B4-BE49-F238E27FC236}">
                <a16:creationId xmlns:a16="http://schemas.microsoft.com/office/drawing/2014/main" id="{AFF25504-EBA8-EE27-12F0-E12FC90415B0}"/>
              </a:ext>
            </a:extLst>
          </p:cNvPr>
          <p:cNvSpPr/>
          <p:nvPr/>
        </p:nvSpPr>
        <p:spPr>
          <a:xfrm flipV="1">
            <a:off x="9211179" y="836824"/>
            <a:ext cx="37890" cy="38852"/>
          </a:xfrm>
          <a:custGeom>
            <a:avLst/>
            <a:gdLst>
              <a:gd name="connsiteX0" fmla="*/ 11119 w 13801"/>
              <a:gd name="connsiteY0" fmla="*/ -771 h 14592"/>
              <a:gd name="connsiteX1" fmla="*/ 11119 w 13801"/>
              <a:gd name="connsiteY1" fmla="*/ -771 h 14592"/>
              <a:gd name="connsiteX2" fmla="*/ 11119 w 13801"/>
              <a:gd name="connsiteY2" fmla="*/ -771 h 14592"/>
              <a:gd name="connsiteX3" fmla="*/ 3348 w 13801"/>
              <a:gd name="connsiteY3" fmla="*/ 7046 h 14592"/>
              <a:gd name="connsiteX4" fmla="*/ -2683 w 13801"/>
              <a:gd name="connsiteY4" fmla="*/ 13157 h 14592"/>
              <a:gd name="connsiteX5" fmla="*/ -2683 w 13801"/>
              <a:gd name="connsiteY5" fmla="*/ 13821 h 14592"/>
              <a:gd name="connsiteX6" fmla="*/ -608 w 13801"/>
              <a:gd name="connsiteY6" fmla="*/ 13773 h 14592"/>
              <a:gd name="connsiteX7" fmla="*/ 11119 w 13801"/>
              <a:gd name="connsiteY7" fmla="*/ -771 h 14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01" h="14592">
                <a:moveTo>
                  <a:pt x="11119" y="-771"/>
                </a:moveTo>
                <a:lnTo>
                  <a:pt x="11119" y="-771"/>
                </a:lnTo>
                <a:moveTo>
                  <a:pt x="11119" y="-771"/>
                </a:moveTo>
                <a:lnTo>
                  <a:pt x="3348" y="7046"/>
                </a:lnTo>
                <a:lnTo>
                  <a:pt x="-2683" y="13157"/>
                </a:lnTo>
                <a:lnTo>
                  <a:pt x="-2683" y="13821"/>
                </a:lnTo>
                <a:lnTo>
                  <a:pt x="-608" y="13773"/>
                </a:lnTo>
                <a:lnTo>
                  <a:pt x="11119" y="-771"/>
                </a:lnTo>
              </a:path>
            </a:pathLst>
          </a:custGeom>
          <a:solidFill>
            <a:srgbClr val="EB704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24" name="Vrije vorm 2123">
            <a:extLst>
              <a:ext uri="{FF2B5EF4-FFF2-40B4-BE49-F238E27FC236}">
                <a16:creationId xmlns:a16="http://schemas.microsoft.com/office/drawing/2014/main" id="{BFD615BA-D719-C7C2-C406-D0FBA3667716}"/>
              </a:ext>
            </a:extLst>
          </p:cNvPr>
          <p:cNvSpPr/>
          <p:nvPr/>
        </p:nvSpPr>
        <p:spPr>
          <a:xfrm flipV="1">
            <a:off x="10341218" y="3043606"/>
            <a:ext cx="8964" cy="23817"/>
          </a:xfrm>
          <a:custGeom>
            <a:avLst/>
            <a:gdLst>
              <a:gd name="connsiteX0" fmla="*/ -2830 w 3265"/>
              <a:gd name="connsiteY0" fmla="*/ -379 h 8945"/>
              <a:gd name="connsiteX1" fmla="*/ -2830 w 3265"/>
              <a:gd name="connsiteY1" fmla="*/ 7822 h 8945"/>
              <a:gd name="connsiteX2" fmla="*/ 435 w 3265"/>
              <a:gd name="connsiteY2" fmla="*/ 8567 h 8945"/>
              <a:gd name="connsiteX3" fmla="*/ 435 w 3265"/>
              <a:gd name="connsiteY3" fmla="*/ 191 h 8945"/>
              <a:gd name="connsiteX4" fmla="*/ -2830 w 3265"/>
              <a:gd name="connsiteY4" fmla="*/ -379 h 8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5" h="8945">
                <a:moveTo>
                  <a:pt x="-2830" y="-379"/>
                </a:moveTo>
                <a:lnTo>
                  <a:pt x="-2830" y="7822"/>
                </a:lnTo>
                <a:cubicBezTo>
                  <a:pt x="-1734" y="8063"/>
                  <a:pt x="-637" y="8326"/>
                  <a:pt x="435" y="8567"/>
                </a:cubicBezTo>
                <a:lnTo>
                  <a:pt x="435" y="191"/>
                </a:lnTo>
                <a:cubicBezTo>
                  <a:pt x="-637" y="3"/>
                  <a:pt x="-1734" y="-193"/>
                  <a:pt x="-2830" y="-379"/>
                </a:cubicBezTo>
              </a:path>
            </a:pathLst>
          </a:custGeom>
          <a:solidFill>
            <a:srgbClr val="321B1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29" name="Vrije vorm 2128">
            <a:extLst>
              <a:ext uri="{FF2B5EF4-FFF2-40B4-BE49-F238E27FC236}">
                <a16:creationId xmlns:a16="http://schemas.microsoft.com/office/drawing/2014/main" id="{F39D52EC-EEB2-A9C5-8961-B0C58D704518}"/>
              </a:ext>
            </a:extLst>
          </p:cNvPr>
          <p:cNvSpPr/>
          <p:nvPr/>
        </p:nvSpPr>
        <p:spPr>
          <a:xfrm flipV="1">
            <a:off x="10452605" y="2991973"/>
            <a:ext cx="49084" cy="120"/>
          </a:xfrm>
          <a:custGeom>
            <a:avLst/>
            <a:gdLst>
              <a:gd name="connsiteX0" fmla="*/ -2844 w 17878"/>
              <a:gd name="connsiteY0" fmla="*/ -390 h 45"/>
              <a:gd name="connsiteX1" fmla="*/ -2844 w 17878"/>
              <a:gd name="connsiteY1" fmla="*/ -374 h 45"/>
              <a:gd name="connsiteX2" fmla="*/ -2844 w 17878"/>
              <a:gd name="connsiteY2" fmla="*/ -345 h 45"/>
              <a:gd name="connsiteX3" fmla="*/ -2844 w 17878"/>
              <a:gd name="connsiteY3" fmla="*/ -390 h 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878" h="45">
                <a:moveTo>
                  <a:pt x="-2844" y="-390"/>
                </a:moveTo>
                <a:lnTo>
                  <a:pt x="-2844" y="-374"/>
                </a:lnTo>
                <a:cubicBezTo>
                  <a:pt x="-2844" y="-374"/>
                  <a:pt x="-2844" y="-374"/>
                  <a:pt x="-2844" y="-345"/>
                </a:cubicBezTo>
                <a:cubicBezTo>
                  <a:pt x="-2844" y="-374"/>
                  <a:pt x="-2844" y="-390"/>
                  <a:pt x="-2844" y="-390"/>
                </a:cubicBezTo>
              </a:path>
            </a:pathLst>
          </a:custGeom>
          <a:solidFill>
            <a:srgbClr val="EEF0F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0" name="Vrije vorm 2129">
            <a:extLst>
              <a:ext uri="{FF2B5EF4-FFF2-40B4-BE49-F238E27FC236}">
                <a16:creationId xmlns:a16="http://schemas.microsoft.com/office/drawing/2014/main" id="{8CABD668-840A-2CE8-A0DC-2F297DBAC3BD}"/>
              </a:ext>
            </a:extLst>
          </p:cNvPr>
          <p:cNvSpPr/>
          <p:nvPr/>
        </p:nvSpPr>
        <p:spPr>
          <a:xfrm flipV="1">
            <a:off x="10291676" y="2930813"/>
            <a:ext cx="161108" cy="61234"/>
          </a:xfrm>
          <a:custGeom>
            <a:avLst/>
            <a:gdLst>
              <a:gd name="connsiteX0" fmla="*/ 55782 w 58681"/>
              <a:gd name="connsiteY0" fmla="*/ -396 h 22998"/>
              <a:gd name="connsiteX1" fmla="*/ 48702 w 58681"/>
              <a:gd name="connsiteY1" fmla="*/ 19771 h 22998"/>
              <a:gd name="connsiteX2" fmla="*/ -2834 w 58681"/>
              <a:gd name="connsiteY2" fmla="*/ 9771 h 22998"/>
              <a:gd name="connsiteX3" fmla="*/ 48416 w 58681"/>
              <a:gd name="connsiteY3" fmla="*/ 22603 h 22998"/>
              <a:gd name="connsiteX4" fmla="*/ 55782 w 58681"/>
              <a:gd name="connsiteY4" fmla="*/ -367 h 22998"/>
              <a:gd name="connsiteX5" fmla="*/ 55782 w 58681"/>
              <a:gd name="connsiteY5" fmla="*/ -396 h 22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681" h="22998">
                <a:moveTo>
                  <a:pt x="55782" y="-396"/>
                </a:moveTo>
                <a:cubicBezTo>
                  <a:pt x="55663" y="15212"/>
                  <a:pt x="48702" y="19771"/>
                  <a:pt x="48702" y="19771"/>
                </a:cubicBezTo>
                <a:cubicBezTo>
                  <a:pt x="28322" y="15978"/>
                  <a:pt x="18048" y="13946"/>
                  <a:pt x="-2834" y="9771"/>
                </a:cubicBezTo>
                <a:cubicBezTo>
                  <a:pt x="17952" y="15110"/>
                  <a:pt x="28155" y="17710"/>
                  <a:pt x="48416" y="22603"/>
                </a:cubicBezTo>
                <a:cubicBezTo>
                  <a:pt x="56879" y="21625"/>
                  <a:pt x="55830" y="630"/>
                  <a:pt x="55782" y="-367"/>
                </a:cubicBezTo>
                <a:cubicBezTo>
                  <a:pt x="55782" y="-396"/>
                  <a:pt x="55782" y="-396"/>
                  <a:pt x="55782" y="-396"/>
                </a:cubicBezTo>
              </a:path>
            </a:pathLst>
          </a:custGeom>
          <a:solidFill>
            <a:srgbClr val="F4F6F7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1" name="Vrije vorm 2130">
            <a:extLst>
              <a:ext uri="{FF2B5EF4-FFF2-40B4-BE49-F238E27FC236}">
                <a16:creationId xmlns:a16="http://schemas.microsoft.com/office/drawing/2014/main" id="{74406C91-2FD7-AB3D-5974-64EBF1A726F8}"/>
              </a:ext>
            </a:extLst>
          </p:cNvPr>
          <p:cNvSpPr/>
          <p:nvPr/>
        </p:nvSpPr>
        <p:spPr>
          <a:xfrm flipV="1">
            <a:off x="11088273" y="1626633"/>
            <a:ext cx="20091" cy="297627"/>
          </a:xfrm>
          <a:custGeom>
            <a:avLst/>
            <a:gdLst>
              <a:gd name="connsiteX0" fmla="*/ 4388 w 7318"/>
              <a:gd name="connsiteY0" fmla="*/ 771 h 111781"/>
              <a:gd name="connsiteX1" fmla="*/ 789 w 7318"/>
              <a:gd name="connsiteY1" fmla="*/ -607 h 111781"/>
              <a:gd name="connsiteX2" fmla="*/ -2906 w 7318"/>
              <a:gd name="connsiteY2" fmla="*/ 4824 h 111781"/>
              <a:gd name="connsiteX3" fmla="*/ -2930 w 7318"/>
              <a:gd name="connsiteY3" fmla="*/ 109860 h 111781"/>
              <a:gd name="connsiteX4" fmla="*/ 741 w 7318"/>
              <a:gd name="connsiteY4" fmla="*/ 111174 h 111781"/>
              <a:gd name="connsiteX5" fmla="*/ 4388 w 7318"/>
              <a:gd name="connsiteY5" fmla="*/ 105611 h 111781"/>
              <a:gd name="connsiteX6" fmla="*/ 4388 w 7318"/>
              <a:gd name="connsiteY6" fmla="*/ 771 h 111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8" h="111781">
                <a:moveTo>
                  <a:pt x="4388" y="771"/>
                </a:moveTo>
                <a:lnTo>
                  <a:pt x="789" y="-607"/>
                </a:lnTo>
                <a:lnTo>
                  <a:pt x="-2906" y="4824"/>
                </a:lnTo>
                <a:cubicBezTo>
                  <a:pt x="-2906" y="39870"/>
                  <a:pt x="-2906" y="74860"/>
                  <a:pt x="-2930" y="109860"/>
                </a:cubicBezTo>
                <a:lnTo>
                  <a:pt x="741" y="111174"/>
                </a:lnTo>
                <a:lnTo>
                  <a:pt x="4388" y="105611"/>
                </a:lnTo>
                <a:cubicBezTo>
                  <a:pt x="4388" y="70669"/>
                  <a:pt x="4388" y="35743"/>
                  <a:pt x="4388" y="771"/>
                </a:cubicBezTo>
              </a:path>
            </a:pathLst>
          </a:custGeom>
          <a:solidFill>
            <a:srgbClr val="7F818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2" name="Vrije vorm 2131">
            <a:extLst>
              <a:ext uri="{FF2B5EF4-FFF2-40B4-BE49-F238E27FC236}">
                <a16:creationId xmlns:a16="http://schemas.microsoft.com/office/drawing/2014/main" id="{917EB69B-050D-E59A-B0AE-FEC9F179AF69}"/>
              </a:ext>
            </a:extLst>
          </p:cNvPr>
          <p:cNvSpPr/>
          <p:nvPr/>
        </p:nvSpPr>
        <p:spPr>
          <a:xfrm flipV="1">
            <a:off x="11097564" y="1626308"/>
            <a:ext cx="10798" cy="297951"/>
          </a:xfrm>
          <a:custGeom>
            <a:avLst/>
            <a:gdLst>
              <a:gd name="connsiteX0" fmla="*/ -2644 w 3933"/>
              <a:gd name="connsiteY0" fmla="*/ 111174 h 111903"/>
              <a:gd name="connsiteX1" fmla="*/ -2931 w 3933"/>
              <a:gd name="connsiteY1" fmla="*/ 111296 h 111903"/>
              <a:gd name="connsiteX2" fmla="*/ -2907 w 3933"/>
              <a:gd name="connsiteY2" fmla="*/ -421 h 111903"/>
              <a:gd name="connsiteX3" fmla="*/ -2597 w 3933"/>
              <a:gd name="connsiteY3" fmla="*/ -607 h 111903"/>
              <a:gd name="connsiteX4" fmla="*/ 1003 w 3933"/>
              <a:gd name="connsiteY4" fmla="*/ 771 h 111903"/>
              <a:gd name="connsiteX5" fmla="*/ 1003 w 3933"/>
              <a:gd name="connsiteY5" fmla="*/ 105611 h 111903"/>
              <a:gd name="connsiteX6" fmla="*/ -2644 w 3933"/>
              <a:gd name="connsiteY6" fmla="*/ 111174 h 111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33" h="111903">
                <a:moveTo>
                  <a:pt x="-2644" y="111174"/>
                </a:moveTo>
                <a:lnTo>
                  <a:pt x="-2931" y="111296"/>
                </a:lnTo>
                <a:cubicBezTo>
                  <a:pt x="-2931" y="74032"/>
                  <a:pt x="-2931" y="36814"/>
                  <a:pt x="-2907" y="-421"/>
                </a:cubicBezTo>
                <a:lnTo>
                  <a:pt x="-2597" y="-607"/>
                </a:lnTo>
                <a:lnTo>
                  <a:pt x="1003" y="771"/>
                </a:lnTo>
                <a:cubicBezTo>
                  <a:pt x="1003" y="35743"/>
                  <a:pt x="1003" y="70669"/>
                  <a:pt x="1003" y="105611"/>
                </a:cubicBezTo>
                <a:lnTo>
                  <a:pt x="-2644" y="111174"/>
                </a:lnTo>
              </a:path>
            </a:pathLst>
          </a:custGeom>
          <a:solidFill>
            <a:srgbClr val="4F505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3" name="Vrije vorm 2132">
            <a:extLst>
              <a:ext uri="{FF2B5EF4-FFF2-40B4-BE49-F238E27FC236}">
                <a16:creationId xmlns:a16="http://schemas.microsoft.com/office/drawing/2014/main" id="{1F1E2580-A6EC-EAEC-43EA-E90CDCD05D1E}"/>
              </a:ext>
            </a:extLst>
          </p:cNvPr>
          <p:cNvSpPr/>
          <p:nvPr/>
        </p:nvSpPr>
        <p:spPr>
          <a:xfrm flipV="1">
            <a:off x="11088273" y="3756271"/>
            <a:ext cx="20091" cy="297677"/>
          </a:xfrm>
          <a:custGeom>
            <a:avLst/>
            <a:gdLst>
              <a:gd name="connsiteX0" fmla="*/ 4388 w 7318"/>
              <a:gd name="connsiteY0" fmla="*/ 1199 h 111800"/>
              <a:gd name="connsiteX1" fmla="*/ 789 w 7318"/>
              <a:gd name="connsiteY1" fmla="*/ -227 h 111800"/>
              <a:gd name="connsiteX2" fmla="*/ -2906 w 7318"/>
              <a:gd name="connsiteY2" fmla="*/ 5233 h 111800"/>
              <a:gd name="connsiteX3" fmla="*/ -2930 w 7318"/>
              <a:gd name="connsiteY3" fmla="*/ 110269 h 111800"/>
              <a:gd name="connsiteX4" fmla="*/ 741 w 7318"/>
              <a:gd name="connsiteY4" fmla="*/ 111573 h 111800"/>
              <a:gd name="connsiteX5" fmla="*/ 4388 w 7318"/>
              <a:gd name="connsiteY5" fmla="*/ 105972 h 111800"/>
              <a:gd name="connsiteX6" fmla="*/ 4388 w 7318"/>
              <a:gd name="connsiteY6" fmla="*/ 1199 h 11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8" h="111800">
                <a:moveTo>
                  <a:pt x="4388" y="1199"/>
                </a:moveTo>
                <a:lnTo>
                  <a:pt x="789" y="-227"/>
                </a:lnTo>
                <a:lnTo>
                  <a:pt x="-2906" y="5233"/>
                </a:lnTo>
                <a:cubicBezTo>
                  <a:pt x="-2906" y="40278"/>
                  <a:pt x="-2906" y="75269"/>
                  <a:pt x="-2930" y="110269"/>
                </a:cubicBezTo>
                <a:lnTo>
                  <a:pt x="741" y="111573"/>
                </a:lnTo>
                <a:lnTo>
                  <a:pt x="4388" y="105972"/>
                </a:lnTo>
                <a:cubicBezTo>
                  <a:pt x="4388" y="71077"/>
                  <a:pt x="4388" y="36151"/>
                  <a:pt x="4388" y="1199"/>
                </a:cubicBezTo>
              </a:path>
            </a:pathLst>
          </a:custGeom>
          <a:solidFill>
            <a:srgbClr val="7F818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4" name="Vrije vorm 2133">
            <a:extLst>
              <a:ext uri="{FF2B5EF4-FFF2-40B4-BE49-F238E27FC236}">
                <a16:creationId xmlns:a16="http://schemas.microsoft.com/office/drawing/2014/main" id="{AF8EEFAA-B4D8-E584-E000-51868B40305D}"/>
              </a:ext>
            </a:extLst>
          </p:cNvPr>
          <p:cNvSpPr/>
          <p:nvPr/>
        </p:nvSpPr>
        <p:spPr>
          <a:xfrm flipV="1">
            <a:off x="11097564" y="3756000"/>
            <a:ext cx="10798" cy="297951"/>
          </a:xfrm>
          <a:custGeom>
            <a:avLst/>
            <a:gdLst>
              <a:gd name="connsiteX0" fmla="*/ -2644 w 3933"/>
              <a:gd name="connsiteY0" fmla="*/ 111573 h 111903"/>
              <a:gd name="connsiteX1" fmla="*/ -2931 w 3933"/>
              <a:gd name="connsiteY1" fmla="*/ 111676 h 111903"/>
              <a:gd name="connsiteX2" fmla="*/ -2907 w 3933"/>
              <a:gd name="connsiteY2" fmla="*/ -13 h 111903"/>
              <a:gd name="connsiteX3" fmla="*/ -2597 w 3933"/>
              <a:gd name="connsiteY3" fmla="*/ -227 h 111903"/>
              <a:gd name="connsiteX4" fmla="*/ 1003 w 3933"/>
              <a:gd name="connsiteY4" fmla="*/ 1199 h 111903"/>
              <a:gd name="connsiteX5" fmla="*/ 1003 w 3933"/>
              <a:gd name="connsiteY5" fmla="*/ 105972 h 111903"/>
              <a:gd name="connsiteX6" fmla="*/ -2644 w 3933"/>
              <a:gd name="connsiteY6" fmla="*/ 111573 h 111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33" h="111903">
                <a:moveTo>
                  <a:pt x="-2644" y="111573"/>
                </a:moveTo>
                <a:lnTo>
                  <a:pt x="-2931" y="111676"/>
                </a:lnTo>
                <a:cubicBezTo>
                  <a:pt x="-2931" y="74460"/>
                  <a:pt x="-2931" y="37222"/>
                  <a:pt x="-2907" y="-13"/>
                </a:cubicBezTo>
                <a:lnTo>
                  <a:pt x="-2597" y="-227"/>
                </a:lnTo>
                <a:lnTo>
                  <a:pt x="1003" y="1199"/>
                </a:lnTo>
                <a:cubicBezTo>
                  <a:pt x="1003" y="36151"/>
                  <a:pt x="1003" y="71077"/>
                  <a:pt x="1003" y="105972"/>
                </a:cubicBezTo>
                <a:lnTo>
                  <a:pt x="-2644" y="111573"/>
                </a:lnTo>
              </a:path>
            </a:pathLst>
          </a:custGeom>
          <a:solidFill>
            <a:srgbClr val="4F505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5" name="Vrije vorm 2134">
            <a:extLst>
              <a:ext uri="{FF2B5EF4-FFF2-40B4-BE49-F238E27FC236}">
                <a16:creationId xmlns:a16="http://schemas.microsoft.com/office/drawing/2014/main" id="{8DDB959F-A894-8DF9-49FA-E72041908336}"/>
              </a:ext>
            </a:extLst>
          </p:cNvPr>
          <p:cNvSpPr/>
          <p:nvPr/>
        </p:nvSpPr>
        <p:spPr>
          <a:xfrm flipV="1">
            <a:off x="2216621" y="827298"/>
            <a:ext cx="6317529" cy="2861562"/>
          </a:xfrm>
          <a:custGeom>
            <a:avLst/>
            <a:gdLst>
              <a:gd name="connsiteX0" fmla="*/ 1253886 w 2301060"/>
              <a:gd name="connsiteY0" fmla="*/ -521 h 1074730"/>
              <a:gd name="connsiteX1" fmla="*/ 833468 w 2301060"/>
              <a:gd name="connsiteY1" fmla="*/ 38076 h 1074730"/>
              <a:gd name="connsiteX2" fmla="*/ 315555 w 2301060"/>
              <a:gd name="connsiteY2" fmla="*/ 193944 h 1074730"/>
              <a:gd name="connsiteX3" fmla="*/ -2172 w 2301060"/>
              <a:gd name="connsiteY3" fmla="*/ 375809 h 1074730"/>
              <a:gd name="connsiteX4" fmla="*/ -2172 w 2301060"/>
              <a:gd name="connsiteY4" fmla="*/ 1074210 h 1074730"/>
              <a:gd name="connsiteX5" fmla="*/ 2298889 w 2301060"/>
              <a:gd name="connsiteY5" fmla="*/ 1074210 h 1074730"/>
              <a:gd name="connsiteX6" fmla="*/ 2298889 w 2301060"/>
              <a:gd name="connsiteY6" fmla="*/ 233872 h 1074730"/>
              <a:gd name="connsiteX7" fmla="*/ 1378769 w 2301060"/>
              <a:gd name="connsiteY7" fmla="*/ 2816 h 1074730"/>
              <a:gd name="connsiteX8" fmla="*/ 1253886 w 2301060"/>
              <a:gd name="connsiteY8" fmla="*/ -521 h 1074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1060" h="1074730">
                <a:moveTo>
                  <a:pt x="1253886" y="-521"/>
                </a:moveTo>
                <a:cubicBezTo>
                  <a:pt x="1112483" y="-521"/>
                  <a:pt x="971343" y="12310"/>
                  <a:pt x="833468" y="38076"/>
                </a:cubicBezTo>
                <a:cubicBezTo>
                  <a:pt x="654235" y="71537"/>
                  <a:pt x="475479" y="120926"/>
                  <a:pt x="315555" y="193944"/>
                </a:cubicBezTo>
                <a:cubicBezTo>
                  <a:pt x="202256" y="245678"/>
                  <a:pt x="96180" y="307133"/>
                  <a:pt x="-2172" y="375809"/>
                </a:cubicBezTo>
                <a:lnTo>
                  <a:pt x="-2172" y="1074210"/>
                </a:lnTo>
                <a:lnTo>
                  <a:pt x="2298889" y="1074210"/>
                </a:lnTo>
                <a:lnTo>
                  <a:pt x="2298889" y="233872"/>
                </a:lnTo>
                <a:cubicBezTo>
                  <a:pt x="2013771" y="112241"/>
                  <a:pt x="1703267" y="20232"/>
                  <a:pt x="1378769" y="2816"/>
                </a:cubicBezTo>
                <a:cubicBezTo>
                  <a:pt x="1337173" y="598"/>
                  <a:pt x="1295506" y="-521"/>
                  <a:pt x="1253886" y="-521"/>
                </a:cubicBezTo>
              </a:path>
            </a:pathLst>
          </a:custGeom>
          <a:solidFill>
            <a:srgbClr val="9BB692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6" name="Vrije vorm 2135">
            <a:extLst>
              <a:ext uri="{FF2B5EF4-FFF2-40B4-BE49-F238E27FC236}">
                <a16:creationId xmlns:a16="http://schemas.microsoft.com/office/drawing/2014/main" id="{F53C5B60-113D-0EDD-FF00-DC331D963539}"/>
              </a:ext>
            </a:extLst>
          </p:cNvPr>
          <p:cNvSpPr/>
          <p:nvPr/>
        </p:nvSpPr>
        <p:spPr>
          <a:xfrm flipV="1">
            <a:off x="2216621" y="2686851"/>
            <a:ext cx="6317529" cy="1349759"/>
          </a:xfrm>
          <a:custGeom>
            <a:avLst/>
            <a:gdLst>
              <a:gd name="connsiteX0" fmla="*/ 2298889 w 2301060"/>
              <a:gd name="connsiteY0" fmla="*/ -324 h 506935"/>
              <a:gd name="connsiteX1" fmla="*/ -2172 w 2301060"/>
              <a:gd name="connsiteY1" fmla="*/ -324 h 506935"/>
              <a:gd name="connsiteX2" fmla="*/ -2172 w 2301060"/>
              <a:gd name="connsiteY2" fmla="*/ 506612 h 506935"/>
              <a:gd name="connsiteX3" fmla="*/ 315555 w 2301060"/>
              <a:gd name="connsiteY3" fmla="*/ 324747 h 506935"/>
              <a:gd name="connsiteX4" fmla="*/ 833468 w 2301060"/>
              <a:gd name="connsiteY4" fmla="*/ 168879 h 506935"/>
              <a:gd name="connsiteX5" fmla="*/ 1253886 w 2301060"/>
              <a:gd name="connsiteY5" fmla="*/ 130281 h 506935"/>
              <a:gd name="connsiteX6" fmla="*/ 1378769 w 2301060"/>
              <a:gd name="connsiteY6" fmla="*/ 133619 h 506935"/>
              <a:gd name="connsiteX7" fmla="*/ 2298889 w 2301060"/>
              <a:gd name="connsiteY7" fmla="*/ 364675 h 506935"/>
              <a:gd name="connsiteX8" fmla="*/ 2298889 w 2301060"/>
              <a:gd name="connsiteY8" fmla="*/ -324 h 506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1060" h="506935">
                <a:moveTo>
                  <a:pt x="2298889" y="-324"/>
                </a:moveTo>
                <a:lnTo>
                  <a:pt x="-2172" y="-324"/>
                </a:lnTo>
                <a:lnTo>
                  <a:pt x="-2172" y="506612"/>
                </a:lnTo>
                <a:cubicBezTo>
                  <a:pt x="96180" y="437936"/>
                  <a:pt x="202256" y="376481"/>
                  <a:pt x="315555" y="324747"/>
                </a:cubicBezTo>
                <a:cubicBezTo>
                  <a:pt x="475479" y="251729"/>
                  <a:pt x="654235" y="202340"/>
                  <a:pt x="833468" y="168879"/>
                </a:cubicBezTo>
                <a:cubicBezTo>
                  <a:pt x="971343" y="143113"/>
                  <a:pt x="1112483" y="130281"/>
                  <a:pt x="1253886" y="130281"/>
                </a:cubicBezTo>
                <a:cubicBezTo>
                  <a:pt x="1295506" y="130281"/>
                  <a:pt x="1337173" y="131400"/>
                  <a:pt x="1378769" y="133619"/>
                </a:cubicBezTo>
                <a:cubicBezTo>
                  <a:pt x="1703267" y="151035"/>
                  <a:pt x="2013771" y="243044"/>
                  <a:pt x="2298889" y="364675"/>
                </a:cubicBezTo>
                <a:lnTo>
                  <a:pt x="2298889" y="-324"/>
                </a:lnTo>
              </a:path>
            </a:pathLst>
          </a:custGeom>
          <a:solidFill>
            <a:srgbClr val="79A78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7" name="Vrije vorm 2136">
            <a:extLst>
              <a:ext uri="{FF2B5EF4-FFF2-40B4-BE49-F238E27FC236}">
                <a16:creationId xmlns:a16="http://schemas.microsoft.com/office/drawing/2014/main" id="{85AE0BEA-FA06-C80B-BE67-1A0FAF38DFD7}"/>
              </a:ext>
            </a:extLst>
          </p:cNvPr>
          <p:cNvSpPr/>
          <p:nvPr/>
        </p:nvSpPr>
        <p:spPr>
          <a:xfrm flipV="1">
            <a:off x="2174082" y="774949"/>
            <a:ext cx="6317529" cy="3209261"/>
          </a:xfrm>
          <a:custGeom>
            <a:avLst/>
            <a:gdLst>
              <a:gd name="connsiteX0" fmla="*/ 2298894 w 2301060"/>
              <a:gd name="connsiteY0" fmla="*/ -500 h 1205317"/>
              <a:gd name="connsiteX1" fmla="*/ -2166 w 2301060"/>
              <a:gd name="connsiteY1" fmla="*/ -500 h 1205317"/>
              <a:gd name="connsiteX2" fmla="*/ -2166 w 2301060"/>
              <a:gd name="connsiteY2" fmla="*/ 1204818 h 1205317"/>
              <a:gd name="connsiteX3" fmla="*/ 2298894 w 2301060"/>
              <a:gd name="connsiteY3" fmla="*/ 1204818 h 1205317"/>
              <a:gd name="connsiteX4" fmla="*/ 2298894 w 2301060"/>
              <a:gd name="connsiteY4" fmla="*/ -500 h 1205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1060" h="1205317">
                <a:moveTo>
                  <a:pt x="2298894" y="-500"/>
                </a:moveTo>
                <a:lnTo>
                  <a:pt x="-2166" y="-500"/>
                </a:lnTo>
                <a:lnTo>
                  <a:pt x="-2166" y="1204818"/>
                </a:lnTo>
                <a:lnTo>
                  <a:pt x="2298894" y="1204818"/>
                </a:lnTo>
                <a:lnTo>
                  <a:pt x="2298894" y="-500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8" name="Vrije vorm 2137">
            <a:extLst>
              <a:ext uri="{FF2B5EF4-FFF2-40B4-BE49-F238E27FC236}">
                <a16:creationId xmlns:a16="http://schemas.microsoft.com/office/drawing/2014/main" id="{57A243A5-F611-7ABB-4DFC-903C4056027D}"/>
              </a:ext>
            </a:extLst>
          </p:cNvPr>
          <p:cNvSpPr/>
          <p:nvPr/>
        </p:nvSpPr>
        <p:spPr>
          <a:xfrm flipV="1">
            <a:off x="2267994" y="900913"/>
            <a:ext cx="6129573" cy="2957351"/>
          </a:xfrm>
          <a:custGeom>
            <a:avLst/>
            <a:gdLst>
              <a:gd name="connsiteX0" fmla="*/ 2230434 w 2232600"/>
              <a:gd name="connsiteY0" fmla="*/ -500 h 1110706"/>
              <a:gd name="connsiteX1" fmla="*/ -2166 w 2232600"/>
              <a:gd name="connsiteY1" fmla="*/ -500 h 1110706"/>
              <a:gd name="connsiteX2" fmla="*/ -2166 w 2232600"/>
              <a:gd name="connsiteY2" fmla="*/ 1110207 h 1110706"/>
              <a:gd name="connsiteX3" fmla="*/ 2230434 w 2232600"/>
              <a:gd name="connsiteY3" fmla="*/ 1110207 h 1110706"/>
              <a:gd name="connsiteX4" fmla="*/ 2230434 w 2232600"/>
              <a:gd name="connsiteY4" fmla="*/ -500 h 1110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32600" h="1110706">
                <a:moveTo>
                  <a:pt x="2230434" y="-500"/>
                </a:moveTo>
                <a:lnTo>
                  <a:pt x="-2166" y="-500"/>
                </a:lnTo>
                <a:lnTo>
                  <a:pt x="-2166" y="1110207"/>
                </a:lnTo>
                <a:lnTo>
                  <a:pt x="2230434" y="1110207"/>
                </a:lnTo>
                <a:lnTo>
                  <a:pt x="2230434" y="-500"/>
                </a:lnTo>
              </a:path>
            </a:pathLst>
          </a:custGeom>
          <a:solidFill>
            <a:srgbClr val="1A2518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39" name="Vrije vorm 2138">
            <a:extLst>
              <a:ext uri="{FF2B5EF4-FFF2-40B4-BE49-F238E27FC236}">
                <a16:creationId xmlns:a16="http://schemas.microsoft.com/office/drawing/2014/main" id="{6AB2EF83-69C6-6641-BF40-0D90858FE471}"/>
              </a:ext>
            </a:extLst>
          </p:cNvPr>
          <p:cNvSpPr/>
          <p:nvPr/>
        </p:nvSpPr>
        <p:spPr>
          <a:xfrm flipV="1">
            <a:off x="2305297" y="934704"/>
            <a:ext cx="6054899" cy="2877391"/>
          </a:xfrm>
          <a:custGeom>
            <a:avLst/>
            <a:gdLst>
              <a:gd name="connsiteX0" fmla="*/ 2203235 w 2205401"/>
              <a:gd name="connsiteY0" fmla="*/ -501 h 1080675"/>
              <a:gd name="connsiteX1" fmla="*/ -2166 w 2205401"/>
              <a:gd name="connsiteY1" fmla="*/ -501 h 1080675"/>
              <a:gd name="connsiteX2" fmla="*/ -2166 w 2205401"/>
              <a:gd name="connsiteY2" fmla="*/ 1080175 h 1080675"/>
              <a:gd name="connsiteX3" fmla="*/ 2203235 w 2205401"/>
              <a:gd name="connsiteY3" fmla="*/ 1080175 h 1080675"/>
              <a:gd name="connsiteX4" fmla="*/ 2203235 w 2205401"/>
              <a:gd name="connsiteY4" fmla="*/ -501 h 1080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5401" h="1080675">
                <a:moveTo>
                  <a:pt x="2203235" y="-501"/>
                </a:moveTo>
                <a:lnTo>
                  <a:pt x="-2166" y="-501"/>
                </a:lnTo>
                <a:lnTo>
                  <a:pt x="-2166" y="1080175"/>
                </a:lnTo>
                <a:lnTo>
                  <a:pt x="2203235" y="1080175"/>
                </a:lnTo>
                <a:lnTo>
                  <a:pt x="2203235" y="-501"/>
                </a:lnTo>
              </a:path>
            </a:pathLst>
          </a:custGeom>
          <a:solidFill>
            <a:srgbClr val="36363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40" name="Vrije vorm 2139">
            <a:extLst>
              <a:ext uri="{FF2B5EF4-FFF2-40B4-BE49-F238E27FC236}">
                <a16:creationId xmlns:a16="http://schemas.microsoft.com/office/drawing/2014/main" id="{0499BFFE-9302-8A6D-01CF-24117075B1D0}"/>
              </a:ext>
            </a:extLst>
          </p:cNvPr>
          <p:cNvSpPr/>
          <p:nvPr/>
        </p:nvSpPr>
        <p:spPr>
          <a:xfrm flipV="1">
            <a:off x="2318360" y="934704"/>
            <a:ext cx="6054899" cy="1669162"/>
          </a:xfrm>
          <a:custGeom>
            <a:avLst/>
            <a:gdLst>
              <a:gd name="connsiteX0" fmla="*/ 100620 w 2205401"/>
              <a:gd name="connsiteY0" fmla="*/ 296064 h 626895"/>
              <a:gd name="connsiteX1" fmla="*/ 262999 w 2205401"/>
              <a:gd name="connsiteY1" fmla="*/ 146971 h 626895"/>
              <a:gd name="connsiteX2" fmla="*/ 639557 w 2205401"/>
              <a:gd name="connsiteY2" fmla="*/ 4726 h 626895"/>
              <a:gd name="connsiteX3" fmla="*/ 1520988 w 2205401"/>
              <a:gd name="connsiteY3" fmla="*/ 30034 h 626895"/>
              <a:gd name="connsiteX4" fmla="*/ 1895806 w 2205401"/>
              <a:gd name="connsiteY4" fmla="*/ 160976 h 626895"/>
              <a:gd name="connsiteX5" fmla="*/ 2072393 w 2205401"/>
              <a:gd name="connsiteY5" fmla="*/ 269683 h 626895"/>
              <a:gd name="connsiteX6" fmla="*/ 2203235 w 2205401"/>
              <a:gd name="connsiteY6" fmla="*/ 367349 h 626895"/>
              <a:gd name="connsiteX7" fmla="*/ 2203235 w 2205401"/>
              <a:gd name="connsiteY7" fmla="*/ 626287 h 626895"/>
              <a:gd name="connsiteX8" fmla="*/ -2166 w 2205401"/>
              <a:gd name="connsiteY8" fmla="*/ 626287 h 626895"/>
              <a:gd name="connsiteX9" fmla="*/ -2166 w 2205401"/>
              <a:gd name="connsiteY9" fmla="*/ 425336 h 626895"/>
              <a:gd name="connsiteX10" fmla="*/ 100620 w 2205401"/>
              <a:gd name="connsiteY10" fmla="*/ 296064 h 626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05401" h="626895">
                <a:moveTo>
                  <a:pt x="100620" y="296064"/>
                </a:moveTo>
                <a:cubicBezTo>
                  <a:pt x="151727" y="240434"/>
                  <a:pt x="205933" y="190057"/>
                  <a:pt x="262999" y="146971"/>
                </a:cubicBezTo>
                <a:cubicBezTo>
                  <a:pt x="378325" y="59974"/>
                  <a:pt x="509263" y="18106"/>
                  <a:pt x="639557" y="4726"/>
                </a:cubicBezTo>
                <a:cubicBezTo>
                  <a:pt x="769637" y="-8609"/>
                  <a:pt x="1392124" y="4251"/>
                  <a:pt x="1520988" y="30034"/>
                </a:cubicBezTo>
                <a:cubicBezTo>
                  <a:pt x="1648661" y="55604"/>
                  <a:pt x="1775475" y="95561"/>
                  <a:pt x="1895806" y="160976"/>
                </a:cubicBezTo>
                <a:cubicBezTo>
                  <a:pt x="1955590" y="193533"/>
                  <a:pt x="2014492" y="231104"/>
                  <a:pt x="2072393" y="269683"/>
                </a:cubicBezTo>
                <a:cubicBezTo>
                  <a:pt x="2117016" y="299427"/>
                  <a:pt x="2161091" y="331250"/>
                  <a:pt x="2203235" y="367349"/>
                </a:cubicBezTo>
                <a:lnTo>
                  <a:pt x="2203235" y="626287"/>
                </a:lnTo>
                <a:lnTo>
                  <a:pt x="-2166" y="626287"/>
                </a:lnTo>
                <a:lnTo>
                  <a:pt x="-2166" y="425336"/>
                </a:lnTo>
                <a:cubicBezTo>
                  <a:pt x="29442" y="378437"/>
                  <a:pt x="64030" y="335909"/>
                  <a:pt x="100620" y="296064"/>
                </a:cubicBezTo>
              </a:path>
            </a:pathLst>
          </a:custGeom>
          <a:solidFill>
            <a:srgbClr val="4F5051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47" name="Vrije vorm 2146">
            <a:extLst>
              <a:ext uri="{FF2B5EF4-FFF2-40B4-BE49-F238E27FC236}">
                <a16:creationId xmlns:a16="http://schemas.microsoft.com/office/drawing/2014/main" id="{78CEE4A0-97F4-F923-178A-647E7E9F67BA}"/>
              </a:ext>
            </a:extLst>
          </p:cNvPr>
          <p:cNvSpPr/>
          <p:nvPr/>
        </p:nvSpPr>
        <p:spPr>
          <a:xfrm flipV="1">
            <a:off x="4097639" y="5536993"/>
            <a:ext cx="45940" cy="85994"/>
          </a:xfrm>
          <a:custGeom>
            <a:avLst/>
            <a:gdLst>
              <a:gd name="connsiteX0" fmla="*/ -2006 w 16733"/>
              <a:gd name="connsiteY0" fmla="*/ 71 h 32297"/>
              <a:gd name="connsiteX1" fmla="*/ -2006 w 16733"/>
              <a:gd name="connsiteY1" fmla="*/ 71 h 32297"/>
              <a:gd name="connsiteX2" fmla="*/ 14728 w 16733"/>
              <a:gd name="connsiteY2" fmla="*/ 32369 h 32297"/>
              <a:gd name="connsiteX3" fmla="*/ -1982 w 16733"/>
              <a:gd name="connsiteY3" fmla="*/ 71 h 32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33" h="32297">
                <a:moveTo>
                  <a:pt x="-2006" y="71"/>
                </a:moveTo>
                <a:lnTo>
                  <a:pt x="-2006" y="71"/>
                </a:lnTo>
                <a:lnTo>
                  <a:pt x="14728" y="32369"/>
                </a:lnTo>
                <a:lnTo>
                  <a:pt x="-1982" y="71"/>
                </a:lnTo>
              </a:path>
            </a:pathLst>
          </a:custGeom>
          <a:solidFill>
            <a:srgbClr val="B7B6B5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3" name="Vrije vorm 2152">
            <a:extLst>
              <a:ext uri="{FF2B5EF4-FFF2-40B4-BE49-F238E27FC236}">
                <a16:creationId xmlns:a16="http://schemas.microsoft.com/office/drawing/2014/main" id="{014E90CB-E3C6-CCE4-7FED-269048D2F942}"/>
              </a:ext>
            </a:extLst>
          </p:cNvPr>
          <p:cNvSpPr/>
          <p:nvPr/>
        </p:nvSpPr>
        <p:spPr>
          <a:xfrm flipV="1">
            <a:off x="1400915" y="5530891"/>
            <a:ext cx="90771" cy="112167"/>
          </a:xfrm>
          <a:custGeom>
            <a:avLst/>
            <a:gdLst>
              <a:gd name="connsiteX0" fmla="*/ -1628 w 33062"/>
              <a:gd name="connsiteY0" fmla="*/ 73 h 42127"/>
              <a:gd name="connsiteX1" fmla="*/ -1652 w 33062"/>
              <a:gd name="connsiteY1" fmla="*/ 73 h 42127"/>
              <a:gd name="connsiteX2" fmla="*/ 31410 w 33062"/>
              <a:gd name="connsiteY2" fmla="*/ 42200 h 42127"/>
              <a:gd name="connsiteX3" fmla="*/ -1628 w 33062"/>
              <a:gd name="connsiteY3" fmla="*/ 73 h 42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62" h="42127">
                <a:moveTo>
                  <a:pt x="-1628" y="73"/>
                </a:moveTo>
                <a:lnTo>
                  <a:pt x="-1652" y="73"/>
                </a:lnTo>
                <a:lnTo>
                  <a:pt x="31410" y="42200"/>
                </a:lnTo>
                <a:lnTo>
                  <a:pt x="-1628" y="73"/>
                </a:lnTo>
              </a:path>
            </a:pathLst>
          </a:custGeom>
          <a:solidFill>
            <a:srgbClr val="4FA8C6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6" name="Vrije vorm 2155">
            <a:extLst>
              <a:ext uri="{FF2B5EF4-FFF2-40B4-BE49-F238E27FC236}">
                <a16:creationId xmlns:a16="http://schemas.microsoft.com/office/drawing/2014/main" id="{C7C12700-92C2-63D4-4CEA-2E52D6730430}"/>
              </a:ext>
            </a:extLst>
          </p:cNvPr>
          <p:cNvSpPr/>
          <p:nvPr/>
        </p:nvSpPr>
        <p:spPr>
          <a:xfrm flipV="1">
            <a:off x="972383" y="6173219"/>
            <a:ext cx="2469565" cy="1219254"/>
          </a:xfrm>
          <a:custGeom>
            <a:avLst/>
            <a:gdLst>
              <a:gd name="connsiteX0" fmla="*/ -1753 w 899500"/>
              <a:gd name="connsiteY0" fmla="*/ 286 h 457921"/>
              <a:gd name="connsiteX1" fmla="*/ 897748 w 899500"/>
              <a:gd name="connsiteY1" fmla="*/ 286 h 457921"/>
              <a:gd name="connsiteX2" fmla="*/ 897748 w 899500"/>
              <a:gd name="connsiteY2" fmla="*/ 458208 h 457921"/>
              <a:gd name="connsiteX3" fmla="*/ -1753 w 899500"/>
              <a:gd name="connsiteY3" fmla="*/ 458208 h 45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500" h="457921">
                <a:moveTo>
                  <a:pt x="-1753" y="286"/>
                </a:moveTo>
                <a:lnTo>
                  <a:pt x="897748" y="286"/>
                </a:lnTo>
                <a:lnTo>
                  <a:pt x="897748" y="458208"/>
                </a:lnTo>
                <a:lnTo>
                  <a:pt x="-1753" y="458208"/>
                </a:lnTo>
                <a:close/>
              </a:path>
            </a:pathLst>
          </a:custGeom>
          <a:solidFill>
            <a:srgbClr val="C6C5C3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7" name="Vrije vorm 2156">
            <a:extLst>
              <a:ext uri="{FF2B5EF4-FFF2-40B4-BE49-F238E27FC236}">
                <a16:creationId xmlns:a16="http://schemas.microsoft.com/office/drawing/2014/main" id="{F6629D60-9320-8DDA-707B-1041AA41263D}"/>
              </a:ext>
            </a:extLst>
          </p:cNvPr>
          <p:cNvSpPr/>
          <p:nvPr/>
        </p:nvSpPr>
        <p:spPr>
          <a:xfrm flipV="1">
            <a:off x="972383" y="6173221"/>
            <a:ext cx="2469565" cy="552907"/>
          </a:xfrm>
          <a:custGeom>
            <a:avLst/>
            <a:gdLst>
              <a:gd name="connsiteX0" fmla="*/ 897748 w 899500"/>
              <a:gd name="connsiteY0" fmla="*/ 227 h 207658"/>
              <a:gd name="connsiteX1" fmla="*/ 453039 w 899500"/>
              <a:gd name="connsiteY1" fmla="*/ 227 h 207658"/>
              <a:gd name="connsiteX2" fmla="*/ 276572 w 899500"/>
              <a:gd name="connsiteY2" fmla="*/ 82936 h 207658"/>
              <a:gd name="connsiteX3" fmla="*/ 127159 w 899500"/>
              <a:gd name="connsiteY3" fmla="*/ 119576 h 207658"/>
              <a:gd name="connsiteX4" fmla="*/ 14028 w 899500"/>
              <a:gd name="connsiteY4" fmla="*/ 130954 h 207658"/>
              <a:gd name="connsiteX5" fmla="*/ -1753 w 899500"/>
              <a:gd name="connsiteY5" fmla="*/ 130665 h 207658"/>
              <a:gd name="connsiteX6" fmla="*/ -1753 w 899500"/>
              <a:gd name="connsiteY6" fmla="*/ 207886 h 207658"/>
              <a:gd name="connsiteX7" fmla="*/ 897748 w 899500"/>
              <a:gd name="connsiteY7" fmla="*/ 207886 h 207658"/>
              <a:gd name="connsiteX8" fmla="*/ 897748 w 899500"/>
              <a:gd name="connsiteY8" fmla="*/ 227 h 207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9500" h="207658">
                <a:moveTo>
                  <a:pt x="897748" y="227"/>
                </a:moveTo>
                <a:lnTo>
                  <a:pt x="453039" y="227"/>
                </a:lnTo>
                <a:cubicBezTo>
                  <a:pt x="398213" y="35273"/>
                  <a:pt x="338382" y="62389"/>
                  <a:pt x="276572" y="82936"/>
                </a:cubicBezTo>
                <a:cubicBezTo>
                  <a:pt x="227848" y="99103"/>
                  <a:pt x="177718" y="110602"/>
                  <a:pt x="127159" y="119576"/>
                </a:cubicBezTo>
                <a:cubicBezTo>
                  <a:pt x="89759" y="126201"/>
                  <a:pt x="51929" y="130954"/>
                  <a:pt x="14028" y="130954"/>
                </a:cubicBezTo>
                <a:cubicBezTo>
                  <a:pt x="8783" y="130954"/>
                  <a:pt x="3515" y="130860"/>
                  <a:pt x="-1753" y="130665"/>
                </a:cubicBezTo>
                <a:lnTo>
                  <a:pt x="-1753" y="207886"/>
                </a:lnTo>
                <a:lnTo>
                  <a:pt x="897748" y="207886"/>
                </a:lnTo>
                <a:lnTo>
                  <a:pt x="897748" y="227"/>
                </a:lnTo>
              </a:path>
            </a:pathLst>
          </a:custGeom>
          <a:solidFill>
            <a:srgbClr val="AEAEA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8" name="Vrije vorm 2157">
            <a:extLst>
              <a:ext uri="{FF2B5EF4-FFF2-40B4-BE49-F238E27FC236}">
                <a16:creationId xmlns:a16="http://schemas.microsoft.com/office/drawing/2014/main" id="{3F6BA65B-891D-963E-3B6F-8EA4EE71DA8B}"/>
              </a:ext>
            </a:extLst>
          </p:cNvPr>
          <p:cNvSpPr/>
          <p:nvPr/>
        </p:nvSpPr>
        <p:spPr>
          <a:xfrm flipV="1">
            <a:off x="972383" y="6173221"/>
            <a:ext cx="2469565" cy="103087"/>
          </a:xfrm>
          <a:custGeom>
            <a:avLst/>
            <a:gdLst>
              <a:gd name="connsiteX0" fmla="*/ 897748 w 899500"/>
              <a:gd name="connsiteY0" fmla="*/ 38904 h 38717"/>
              <a:gd name="connsiteX1" fmla="*/ 897748 w 899500"/>
              <a:gd name="connsiteY1" fmla="*/ 187 h 38717"/>
              <a:gd name="connsiteX2" fmla="*/ -1753 w 899500"/>
              <a:gd name="connsiteY2" fmla="*/ 187 h 38717"/>
              <a:gd name="connsiteX3" fmla="*/ -1753 w 899500"/>
              <a:gd name="connsiteY3" fmla="*/ 38904 h 38717"/>
              <a:gd name="connsiteX4" fmla="*/ 897748 w 899500"/>
              <a:gd name="connsiteY4" fmla="*/ 38904 h 38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500" h="38717">
                <a:moveTo>
                  <a:pt x="897748" y="38904"/>
                </a:moveTo>
                <a:lnTo>
                  <a:pt x="897748" y="187"/>
                </a:lnTo>
                <a:lnTo>
                  <a:pt x="-1753" y="187"/>
                </a:lnTo>
                <a:lnTo>
                  <a:pt x="-1753" y="38904"/>
                </a:lnTo>
                <a:lnTo>
                  <a:pt x="897748" y="38904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236" name="Vrije vorm 2235">
            <a:extLst>
              <a:ext uri="{FF2B5EF4-FFF2-40B4-BE49-F238E27FC236}">
                <a16:creationId xmlns:a16="http://schemas.microsoft.com/office/drawing/2014/main" id="{CD70660F-2E15-AC58-D896-6490AE69F183}"/>
              </a:ext>
            </a:extLst>
          </p:cNvPr>
          <p:cNvSpPr/>
          <p:nvPr/>
        </p:nvSpPr>
        <p:spPr>
          <a:xfrm flipV="1">
            <a:off x="3167161" y="5864346"/>
            <a:ext cx="34273" cy="41440"/>
          </a:xfrm>
          <a:custGeom>
            <a:avLst/>
            <a:gdLst>
              <a:gd name="connsiteX0" fmla="*/ 25318 w 34273"/>
              <a:gd name="connsiteY0" fmla="*/ 41738 h 41440"/>
              <a:gd name="connsiteX1" fmla="*/ 13836 w 34273"/>
              <a:gd name="connsiteY1" fmla="*/ 26687 h 41440"/>
              <a:gd name="connsiteX2" fmla="*/ 9017 w 34273"/>
              <a:gd name="connsiteY2" fmla="*/ 29183 h 41440"/>
              <a:gd name="connsiteX3" fmla="*/ 2198 w 34273"/>
              <a:gd name="connsiteY3" fmla="*/ 34023 h 41440"/>
              <a:gd name="connsiteX4" fmla="*/ -3284 w 34273"/>
              <a:gd name="connsiteY4" fmla="*/ 27083 h 41440"/>
              <a:gd name="connsiteX5" fmla="*/ 3659 w 34273"/>
              <a:gd name="connsiteY5" fmla="*/ 21600 h 41440"/>
              <a:gd name="connsiteX6" fmla="*/ 5555 w 34273"/>
              <a:gd name="connsiteY6" fmla="*/ 22151 h 41440"/>
              <a:gd name="connsiteX7" fmla="*/ 10229 w 34273"/>
              <a:gd name="connsiteY7" fmla="*/ 19719 h 41440"/>
              <a:gd name="connsiteX8" fmla="*/ 4644 w 34273"/>
              <a:gd name="connsiteY8" fmla="*/ 1654 h 41440"/>
              <a:gd name="connsiteX9" fmla="*/ 12374 w 34273"/>
              <a:gd name="connsiteY9" fmla="*/ 298 h 41440"/>
              <a:gd name="connsiteX10" fmla="*/ 30945 w 34273"/>
              <a:gd name="connsiteY10" fmla="*/ 36260 h 41440"/>
              <a:gd name="connsiteX11" fmla="*/ 25318 w 34273"/>
              <a:gd name="connsiteY11" fmla="*/ 41738 h 4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4273" h="41440">
                <a:moveTo>
                  <a:pt x="25318" y="41738"/>
                </a:moveTo>
                <a:cubicBezTo>
                  <a:pt x="20851" y="37162"/>
                  <a:pt x="17007" y="32104"/>
                  <a:pt x="13836" y="26687"/>
                </a:cubicBezTo>
                <a:lnTo>
                  <a:pt x="9017" y="29183"/>
                </a:lnTo>
                <a:cubicBezTo>
                  <a:pt x="8333" y="32270"/>
                  <a:pt x="5410" y="34394"/>
                  <a:pt x="2198" y="34023"/>
                </a:cubicBezTo>
                <a:cubicBezTo>
                  <a:pt x="-1233" y="33618"/>
                  <a:pt x="-3688" y="30510"/>
                  <a:pt x="-3284" y="27083"/>
                </a:cubicBezTo>
                <a:cubicBezTo>
                  <a:pt x="-2880" y="23652"/>
                  <a:pt x="229" y="21200"/>
                  <a:pt x="3659" y="21600"/>
                </a:cubicBezTo>
                <a:lnTo>
                  <a:pt x="5555" y="22151"/>
                </a:lnTo>
                <a:lnTo>
                  <a:pt x="10229" y="19719"/>
                </a:lnTo>
                <a:cubicBezTo>
                  <a:pt x="7628" y="13978"/>
                  <a:pt x="5752" y="7929"/>
                  <a:pt x="4644" y="1654"/>
                </a:cubicBezTo>
                <a:lnTo>
                  <a:pt x="12374" y="298"/>
                </a:lnTo>
                <a:cubicBezTo>
                  <a:pt x="14768" y="13824"/>
                  <a:pt x="21183" y="26254"/>
                  <a:pt x="30945" y="36260"/>
                </a:cubicBezTo>
                <a:lnTo>
                  <a:pt x="25318" y="41738"/>
                </a:lnTo>
              </a:path>
            </a:pathLst>
          </a:custGeom>
          <a:solidFill>
            <a:srgbClr val="1E222C"/>
          </a:solidFill>
          <a:ln w="10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237" name="Vrije vorm 2236">
            <a:extLst>
              <a:ext uri="{FF2B5EF4-FFF2-40B4-BE49-F238E27FC236}">
                <a16:creationId xmlns:a16="http://schemas.microsoft.com/office/drawing/2014/main" id="{BD4EF1E3-5D6D-8AD4-C94B-625AFAE5AEAD}"/>
              </a:ext>
            </a:extLst>
          </p:cNvPr>
          <p:cNvSpPr/>
          <p:nvPr/>
        </p:nvSpPr>
        <p:spPr>
          <a:xfrm flipV="1">
            <a:off x="3218254" y="5820945"/>
            <a:ext cx="51380" cy="34377"/>
          </a:xfrm>
          <a:custGeom>
            <a:avLst/>
            <a:gdLst>
              <a:gd name="connsiteX0" fmla="*/ 31059 w 51380"/>
              <a:gd name="connsiteY0" fmla="*/ 15079 h 34377"/>
              <a:gd name="connsiteX1" fmla="*/ 25774 w 51380"/>
              <a:gd name="connsiteY1" fmla="*/ 14893 h 34377"/>
              <a:gd name="connsiteX2" fmla="*/ 25017 w 51380"/>
              <a:gd name="connsiteY2" fmla="*/ 21375 h 34377"/>
              <a:gd name="connsiteX3" fmla="*/ 27764 w 51380"/>
              <a:gd name="connsiteY3" fmla="*/ 28055 h 34377"/>
              <a:gd name="connsiteX4" fmla="*/ 19515 w 51380"/>
              <a:gd name="connsiteY4" fmla="*/ 34573 h 34377"/>
              <a:gd name="connsiteX5" fmla="*/ 13017 w 51380"/>
              <a:gd name="connsiteY5" fmla="*/ 26327 h 34377"/>
              <a:gd name="connsiteX6" fmla="*/ 17214 w 51380"/>
              <a:gd name="connsiteY6" fmla="*/ 20485 h 34377"/>
              <a:gd name="connsiteX7" fmla="*/ 17970 w 51380"/>
              <a:gd name="connsiteY7" fmla="*/ 14024 h 34377"/>
              <a:gd name="connsiteX8" fmla="*/ -3378 w 51380"/>
              <a:gd name="connsiteY8" fmla="*/ 7331 h 34377"/>
              <a:gd name="connsiteX9" fmla="*/ 21 w 51380"/>
              <a:gd name="connsiteY9" fmla="*/ 247 h 34377"/>
              <a:gd name="connsiteX10" fmla="*/ 31059 w 51380"/>
              <a:gd name="connsiteY10" fmla="*/ 7218 h 34377"/>
              <a:gd name="connsiteX11" fmla="*/ 46334 w 51380"/>
              <a:gd name="connsiteY11" fmla="*/ 5591 h 34377"/>
              <a:gd name="connsiteX12" fmla="*/ 48003 w 51380"/>
              <a:gd name="connsiteY12" fmla="*/ 13267 h 34377"/>
              <a:gd name="connsiteX13" fmla="*/ 31059 w 51380"/>
              <a:gd name="connsiteY13" fmla="*/ 15079 h 34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1380" h="34377">
                <a:moveTo>
                  <a:pt x="31059" y="15079"/>
                </a:moveTo>
                <a:cubicBezTo>
                  <a:pt x="29287" y="15079"/>
                  <a:pt x="27525" y="15007"/>
                  <a:pt x="25774" y="14893"/>
                </a:cubicBezTo>
                <a:lnTo>
                  <a:pt x="25017" y="21375"/>
                </a:lnTo>
                <a:cubicBezTo>
                  <a:pt x="26955" y="22929"/>
                  <a:pt x="28085" y="25418"/>
                  <a:pt x="27764" y="28055"/>
                </a:cubicBezTo>
                <a:cubicBezTo>
                  <a:pt x="27277" y="32130"/>
                  <a:pt x="23598" y="35051"/>
                  <a:pt x="19515" y="34573"/>
                </a:cubicBezTo>
                <a:cubicBezTo>
                  <a:pt x="15452" y="34084"/>
                  <a:pt x="12540" y="30398"/>
                  <a:pt x="13017" y="26327"/>
                </a:cubicBezTo>
                <a:cubicBezTo>
                  <a:pt x="13328" y="23697"/>
                  <a:pt x="14975" y="21553"/>
                  <a:pt x="17214" y="20485"/>
                </a:cubicBezTo>
                <a:lnTo>
                  <a:pt x="17970" y="14024"/>
                </a:lnTo>
                <a:cubicBezTo>
                  <a:pt x="10571" y="12821"/>
                  <a:pt x="3431" y="10584"/>
                  <a:pt x="-3378" y="7331"/>
                </a:cubicBezTo>
                <a:lnTo>
                  <a:pt x="21" y="247"/>
                </a:lnTo>
                <a:cubicBezTo>
                  <a:pt x="9690" y="4887"/>
                  <a:pt x="20136" y="7218"/>
                  <a:pt x="31059" y="7218"/>
                </a:cubicBezTo>
                <a:cubicBezTo>
                  <a:pt x="36199" y="7218"/>
                  <a:pt x="41350" y="6668"/>
                  <a:pt x="46334" y="5591"/>
                </a:cubicBezTo>
                <a:lnTo>
                  <a:pt x="48003" y="13267"/>
                </a:lnTo>
                <a:cubicBezTo>
                  <a:pt x="42459" y="14457"/>
                  <a:pt x="36759" y="15079"/>
                  <a:pt x="31059" y="15079"/>
                </a:cubicBezTo>
              </a:path>
            </a:pathLst>
          </a:custGeom>
          <a:solidFill>
            <a:srgbClr val="1E222C"/>
          </a:solidFill>
          <a:ln w="1036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243" name="Vrije vorm 2242">
            <a:extLst>
              <a:ext uri="{FF2B5EF4-FFF2-40B4-BE49-F238E27FC236}">
                <a16:creationId xmlns:a16="http://schemas.microsoft.com/office/drawing/2014/main" id="{005BBBC1-AE59-BF78-285B-F890CA9A18AC}"/>
              </a:ext>
            </a:extLst>
          </p:cNvPr>
          <p:cNvSpPr/>
          <p:nvPr/>
        </p:nvSpPr>
        <p:spPr>
          <a:xfrm rot="19456463" flipV="1">
            <a:off x="1079806" y="1253071"/>
            <a:ext cx="83114" cy="288000"/>
          </a:xfrm>
          <a:custGeom>
            <a:avLst/>
            <a:gdLst>
              <a:gd name="connsiteX0" fmla="*/ 27796 w 30273"/>
              <a:gd name="connsiteY0" fmla="*/ 125267 h 145367"/>
              <a:gd name="connsiteX1" fmla="*/ 24125 w 30273"/>
              <a:gd name="connsiteY1" fmla="*/ 124764 h 145367"/>
              <a:gd name="connsiteX2" fmla="*/ 21360 w 30273"/>
              <a:gd name="connsiteY2" fmla="*/ 123953 h 145367"/>
              <a:gd name="connsiteX3" fmla="*/ 20645 w 30273"/>
              <a:gd name="connsiteY3" fmla="*/ 118633 h 145367"/>
              <a:gd name="connsiteX4" fmla="*/ 20025 w 30273"/>
              <a:gd name="connsiteY4" fmla="*/ 113237 h 145367"/>
              <a:gd name="connsiteX5" fmla="*/ 18023 w 30273"/>
              <a:gd name="connsiteY5" fmla="*/ 783 h 145367"/>
              <a:gd name="connsiteX6" fmla="*/ 17689 w 30273"/>
              <a:gd name="connsiteY6" fmla="*/ -689 h 145367"/>
              <a:gd name="connsiteX7" fmla="*/ 15139 w 30273"/>
              <a:gd name="connsiteY7" fmla="*/ 29 h 145367"/>
              <a:gd name="connsiteX8" fmla="*/ 9775 w 30273"/>
              <a:gd name="connsiteY8" fmla="*/ -167 h 145367"/>
              <a:gd name="connsiteX9" fmla="*/ 7845 w 30273"/>
              <a:gd name="connsiteY9" fmla="*/ 430 h 145367"/>
              <a:gd name="connsiteX10" fmla="*/ 5675 w 30273"/>
              <a:gd name="connsiteY10" fmla="*/ 82040 h 145367"/>
              <a:gd name="connsiteX11" fmla="*/ 4960 w 30273"/>
              <a:gd name="connsiteY11" fmla="*/ 112500 h 145367"/>
              <a:gd name="connsiteX12" fmla="*/ 4770 w 30273"/>
              <a:gd name="connsiteY12" fmla="*/ 118633 h 145367"/>
              <a:gd name="connsiteX13" fmla="*/ 4746 w 30273"/>
              <a:gd name="connsiteY13" fmla="*/ 120990 h 145367"/>
              <a:gd name="connsiteX14" fmla="*/ 4841 w 30273"/>
              <a:gd name="connsiteY14" fmla="*/ 120990 h 145367"/>
              <a:gd name="connsiteX15" fmla="*/ 4817 w 30273"/>
              <a:gd name="connsiteY15" fmla="*/ 122760 h 145367"/>
              <a:gd name="connsiteX16" fmla="*/ 1980 w 30273"/>
              <a:gd name="connsiteY16" fmla="*/ 122638 h 145367"/>
              <a:gd name="connsiteX17" fmla="*/ -1595 w 30273"/>
              <a:gd name="connsiteY17" fmla="*/ 122183 h 145367"/>
              <a:gd name="connsiteX18" fmla="*/ -1619 w 30273"/>
              <a:gd name="connsiteY18" fmla="*/ 122183 h 145367"/>
              <a:gd name="connsiteX19" fmla="*/ 5961 w 30273"/>
              <a:gd name="connsiteY19" fmla="*/ 133729 h 145367"/>
              <a:gd name="connsiteX20" fmla="*/ 10228 w 30273"/>
              <a:gd name="connsiteY20" fmla="*/ 140055 h 145367"/>
              <a:gd name="connsiteX21" fmla="*/ 13756 w 30273"/>
              <a:gd name="connsiteY21" fmla="*/ 144678 h 145367"/>
              <a:gd name="connsiteX22" fmla="*/ 19263 w 30273"/>
              <a:gd name="connsiteY22" fmla="*/ 138359 h 145367"/>
              <a:gd name="connsiteX23" fmla="*/ 28655 w 30273"/>
              <a:gd name="connsiteY23" fmla="*/ 125379 h 145367"/>
              <a:gd name="connsiteX24" fmla="*/ 27796 w 30273"/>
              <a:gd name="connsiteY24" fmla="*/ 125267 h 145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0273" h="145367">
                <a:moveTo>
                  <a:pt x="27796" y="125267"/>
                </a:moveTo>
                <a:lnTo>
                  <a:pt x="24125" y="124764"/>
                </a:lnTo>
                <a:lnTo>
                  <a:pt x="21360" y="123953"/>
                </a:lnTo>
                <a:lnTo>
                  <a:pt x="20645" y="118633"/>
                </a:lnTo>
                <a:lnTo>
                  <a:pt x="20025" y="113237"/>
                </a:lnTo>
                <a:cubicBezTo>
                  <a:pt x="19572" y="107347"/>
                  <a:pt x="18404" y="15413"/>
                  <a:pt x="18023" y="783"/>
                </a:cubicBezTo>
                <a:lnTo>
                  <a:pt x="17689" y="-689"/>
                </a:lnTo>
                <a:lnTo>
                  <a:pt x="15139" y="29"/>
                </a:lnTo>
                <a:lnTo>
                  <a:pt x="9775" y="-167"/>
                </a:lnTo>
                <a:lnTo>
                  <a:pt x="7845" y="430"/>
                </a:lnTo>
                <a:cubicBezTo>
                  <a:pt x="7845" y="9786"/>
                  <a:pt x="6009" y="73857"/>
                  <a:pt x="5675" y="82040"/>
                </a:cubicBezTo>
                <a:cubicBezTo>
                  <a:pt x="5509" y="86522"/>
                  <a:pt x="5365" y="108085"/>
                  <a:pt x="4960" y="112500"/>
                </a:cubicBezTo>
                <a:lnTo>
                  <a:pt x="4770" y="118633"/>
                </a:lnTo>
                <a:lnTo>
                  <a:pt x="4746" y="120990"/>
                </a:lnTo>
                <a:lnTo>
                  <a:pt x="4841" y="120990"/>
                </a:lnTo>
                <a:lnTo>
                  <a:pt x="4817" y="122760"/>
                </a:lnTo>
                <a:lnTo>
                  <a:pt x="1980" y="122638"/>
                </a:lnTo>
                <a:lnTo>
                  <a:pt x="-1595" y="122183"/>
                </a:lnTo>
                <a:lnTo>
                  <a:pt x="-1619" y="122183"/>
                </a:lnTo>
                <a:cubicBezTo>
                  <a:pt x="1480" y="125527"/>
                  <a:pt x="3578" y="129888"/>
                  <a:pt x="5961" y="133729"/>
                </a:cubicBezTo>
                <a:lnTo>
                  <a:pt x="10228" y="140055"/>
                </a:lnTo>
                <a:lnTo>
                  <a:pt x="13756" y="144678"/>
                </a:lnTo>
                <a:cubicBezTo>
                  <a:pt x="15258" y="142460"/>
                  <a:pt x="17499" y="140456"/>
                  <a:pt x="19263" y="138359"/>
                </a:cubicBezTo>
                <a:cubicBezTo>
                  <a:pt x="22671" y="134258"/>
                  <a:pt x="25174" y="129385"/>
                  <a:pt x="28655" y="125379"/>
                </a:cubicBezTo>
                <a:lnTo>
                  <a:pt x="27796" y="125267"/>
                </a:lnTo>
              </a:path>
            </a:pathLst>
          </a:custGeom>
          <a:solidFill>
            <a:srgbClr val="4376C4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42" name="Vrije vorm 2141">
            <a:extLst>
              <a:ext uri="{FF2B5EF4-FFF2-40B4-BE49-F238E27FC236}">
                <a16:creationId xmlns:a16="http://schemas.microsoft.com/office/drawing/2014/main" id="{022B0275-1427-0AAC-2D4E-D3BD670AFF62}"/>
              </a:ext>
            </a:extLst>
          </p:cNvPr>
          <p:cNvSpPr/>
          <p:nvPr/>
        </p:nvSpPr>
        <p:spPr>
          <a:xfrm flipV="1">
            <a:off x="3412758" y="4213954"/>
            <a:ext cx="4175319" cy="515543"/>
          </a:xfrm>
          <a:custGeom>
            <a:avLst/>
            <a:gdLst>
              <a:gd name="connsiteX0" fmla="*/ 1518606 w 1520794"/>
              <a:gd name="connsiteY0" fmla="*/ -126 h 193625"/>
              <a:gd name="connsiteX1" fmla="*/ 784228 w 1520794"/>
              <a:gd name="connsiteY1" fmla="*/ -126 h 193625"/>
              <a:gd name="connsiteX2" fmla="*/ -2189 w 1520794"/>
              <a:gd name="connsiteY2" fmla="*/ 164854 h 193625"/>
              <a:gd name="connsiteX3" fmla="*/ 12615 w 1520794"/>
              <a:gd name="connsiteY3" fmla="*/ 193499 h 193625"/>
              <a:gd name="connsiteX4" fmla="*/ 1419801 w 1520794"/>
              <a:gd name="connsiteY4" fmla="*/ 193499 h 193625"/>
              <a:gd name="connsiteX5" fmla="*/ 1518606 w 1520794"/>
              <a:gd name="connsiteY5" fmla="*/ -126 h 193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0794" h="193625">
                <a:moveTo>
                  <a:pt x="1518606" y="-126"/>
                </a:moveTo>
                <a:lnTo>
                  <a:pt x="784228" y="-126"/>
                </a:lnTo>
                <a:cubicBezTo>
                  <a:pt x="591932" y="140541"/>
                  <a:pt x="232871" y="160773"/>
                  <a:pt x="-2189" y="164854"/>
                </a:cubicBezTo>
                <a:lnTo>
                  <a:pt x="12615" y="193499"/>
                </a:lnTo>
                <a:lnTo>
                  <a:pt x="1419801" y="193499"/>
                </a:lnTo>
                <a:lnTo>
                  <a:pt x="1518606" y="-126"/>
                </a:lnTo>
              </a:path>
            </a:pathLst>
          </a:custGeom>
          <a:solidFill>
            <a:srgbClr val="DEDED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45" name="Vrije vorm 2144">
            <a:extLst>
              <a:ext uri="{FF2B5EF4-FFF2-40B4-BE49-F238E27FC236}">
                <a16:creationId xmlns:a16="http://schemas.microsoft.com/office/drawing/2014/main" id="{82E166B5-1696-7401-F5CC-48B7D8435B2A}"/>
              </a:ext>
            </a:extLst>
          </p:cNvPr>
          <p:cNvSpPr/>
          <p:nvPr/>
        </p:nvSpPr>
        <p:spPr>
          <a:xfrm flipV="1">
            <a:off x="3178137" y="4729497"/>
            <a:ext cx="4409940" cy="111602"/>
          </a:xfrm>
          <a:custGeom>
            <a:avLst/>
            <a:gdLst>
              <a:gd name="connsiteX0" fmla="*/ -2173 w 1606251"/>
              <a:gd name="connsiteY0" fmla="*/ 41845 h 41915"/>
              <a:gd name="connsiteX1" fmla="*/ -2173 w 1606251"/>
              <a:gd name="connsiteY1" fmla="*/ -70 h 41915"/>
              <a:gd name="connsiteX2" fmla="*/ 1604078 w 1606251"/>
              <a:gd name="connsiteY2" fmla="*/ -70 h 41915"/>
              <a:gd name="connsiteX3" fmla="*/ 1604078 w 1606251"/>
              <a:gd name="connsiteY3" fmla="*/ 41845 h 41915"/>
              <a:gd name="connsiteX4" fmla="*/ -2173 w 1606251"/>
              <a:gd name="connsiteY4" fmla="*/ 41845 h 41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6251" h="41915">
                <a:moveTo>
                  <a:pt x="-2173" y="41845"/>
                </a:moveTo>
                <a:lnTo>
                  <a:pt x="-2173" y="-70"/>
                </a:lnTo>
                <a:lnTo>
                  <a:pt x="1604078" y="-70"/>
                </a:lnTo>
                <a:lnTo>
                  <a:pt x="1604078" y="41845"/>
                </a:lnTo>
                <a:lnTo>
                  <a:pt x="-2173" y="41845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2EFBBB98-5B12-6A37-F1EC-49A9B4DBA27E}"/>
              </a:ext>
            </a:extLst>
          </p:cNvPr>
          <p:cNvGrpSpPr/>
          <p:nvPr/>
        </p:nvGrpSpPr>
        <p:grpSpPr>
          <a:xfrm>
            <a:off x="2446127" y="1701022"/>
            <a:ext cx="1695611" cy="3321415"/>
            <a:chOff x="1399932" y="1747503"/>
            <a:chExt cx="1695611" cy="3321415"/>
          </a:xfrm>
        </p:grpSpPr>
        <p:grpSp>
          <p:nvGrpSpPr>
            <p:cNvPr id="8" name="Groep 7">
              <a:extLst>
                <a:ext uri="{FF2B5EF4-FFF2-40B4-BE49-F238E27FC236}">
                  <a16:creationId xmlns:a16="http://schemas.microsoft.com/office/drawing/2014/main" id="{A4D2FAEE-991F-9E8B-DFF2-B32D850B2CFB}"/>
                </a:ext>
              </a:extLst>
            </p:cNvPr>
            <p:cNvGrpSpPr/>
            <p:nvPr/>
          </p:nvGrpSpPr>
          <p:grpSpPr>
            <a:xfrm>
              <a:off x="1399932" y="1830744"/>
              <a:ext cx="1695611" cy="3238174"/>
              <a:chOff x="1760486" y="809544"/>
              <a:chExt cx="1726760" cy="4063129"/>
            </a:xfrm>
          </p:grpSpPr>
          <p:sp>
            <p:nvSpPr>
              <p:cNvPr id="15" name="Vrije vorm 14">
                <a:extLst>
                  <a:ext uri="{FF2B5EF4-FFF2-40B4-BE49-F238E27FC236}">
                    <a16:creationId xmlns:a16="http://schemas.microsoft.com/office/drawing/2014/main" id="{E36375FE-92CB-A050-3C1D-0E040EBC4326}"/>
                  </a:ext>
                </a:extLst>
              </p:cNvPr>
              <p:cNvSpPr/>
              <p:nvPr/>
            </p:nvSpPr>
            <p:spPr>
              <a:xfrm rot="15594660" flipV="1">
                <a:off x="2903732" y="2031597"/>
                <a:ext cx="388228" cy="475121"/>
              </a:xfrm>
              <a:custGeom>
                <a:avLst/>
                <a:gdLst>
                  <a:gd name="connsiteX0" fmla="*/ -1465 w 315088"/>
                  <a:gd name="connsiteY0" fmla="*/ 475848 h 585408"/>
                  <a:gd name="connsiteX1" fmla="*/ 252474 w 315088"/>
                  <a:gd name="connsiteY1" fmla="*/ -775 h 585408"/>
                  <a:gd name="connsiteX2" fmla="*/ 303264 w 315088"/>
                  <a:gd name="connsiteY2" fmla="*/ 106399 h 585408"/>
                  <a:gd name="connsiteX3" fmla="*/ 136790 w 315088"/>
                  <a:gd name="connsiteY3" fmla="*/ 583022 h 585408"/>
                  <a:gd name="connsiteX4" fmla="*/ -1465 w 315088"/>
                  <a:gd name="connsiteY4" fmla="*/ 475848 h 585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5088" h="585408">
                    <a:moveTo>
                      <a:pt x="-1465" y="475848"/>
                    </a:moveTo>
                    <a:cubicBezTo>
                      <a:pt x="-1465" y="475848"/>
                      <a:pt x="215799" y="-34615"/>
                      <a:pt x="252474" y="-775"/>
                    </a:cubicBezTo>
                    <a:cubicBezTo>
                      <a:pt x="289160" y="33075"/>
                      <a:pt x="334302" y="18978"/>
                      <a:pt x="303264" y="106399"/>
                    </a:cubicBezTo>
                    <a:cubicBezTo>
                      <a:pt x="272226" y="193831"/>
                      <a:pt x="136790" y="583022"/>
                      <a:pt x="136790" y="583022"/>
                    </a:cubicBezTo>
                    <a:lnTo>
                      <a:pt x="-1465" y="475848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6" name="Vrije vorm 15">
                <a:extLst>
                  <a:ext uri="{FF2B5EF4-FFF2-40B4-BE49-F238E27FC236}">
                    <a16:creationId xmlns:a16="http://schemas.microsoft.com/office/drawing/2014/main" id="{CF4387ED-11B2-CDEB-2AE3-D0037B556A83}"/>
                  </a:ext>
                </a:extLst>
              </p:cNvPr>
              <p:cNvSpPr/>
              <p:nvPr/>
            </p:nvSpPr>
            <p:spPr>
              <a:xfrm flipV="1">
                <a:off x="1793418" y="2327996"/>
                <a:ext cx="435941" cy="436134"/>
              </a:xfrm>
              <a:custGeom>
                <a:avLst/>
                <a:gdLst>
                  <a:gd name="connsiteX0" fmla="*/ -567 w 435941"/>
                  <a:gd name="connsiteY0" fmla="*/ 363435 h 436134"/>
                  <a:gd name="connsiteX1" fmla="*/ 433257 w 435941"/>
                  <a:gd name="connsiteY1" fmla="*/ -2492 h 436134"/>
                  <a:gd name="connsiteX2" fmla="*/ 435375 w 435941"/>
                  <a:gd name="connsiteY2" fmla="*/ 99037 h 436134"/>
                  <a:gd name="connsiteX3" fmla="*/ 206822 w 435941"/>
                  <a:gd name="connsiteY3" fmla="*/ 359209 h 436134"/>
                  <a:gd name="connsiteX4" fmla="*/ -567 w 435941"/>
                  <a:gd name="connsiteY4" fmla="*/ 363435 h 43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5941" h="436134">
                    <a:moveTo>
                      <a:pt x="-567" y="363435"/>
                    </a:moveTo>
                    <a:cubicBezTo>
                      <a:pt x="-567" y="363435"/>
                      <a:pt x="217404" y="56735"/>
                      <a:pt x="433257" y="-2492"/>
                    </a:cubicBezTo>
                    <a:lnTo>
                      <a:pt x="435375" y="99037"/>
                    </a:lnTo>
                    <a:cubicBezTo>
                      <a:pt x="435375" y="99037"/>
                      <a:pt x="316865" y="194217"/>
                      <a:pt x="206822" y="359209"/>
                    </a:cubicBezTo>
                    <a:cubicBezTo>
                      <a:pt x="96778" y="524181"/>
                      <a:pt x="-567" y="363435"/>
                      <a:pt x="-567" y="363435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7" name="Vrije vorm 16">
                <a:extLst>
                  <a:ext uri="{FF2B5EF4-FFF2-40B4-BE49-F238E27FC236}">
                    <a16:creationId xmlns:a16="http://schemas.microsoft.com/office/drawing/2014/main" id="{606D1BFD-28F4-561F-7312-CB11D9F046AB}"/>
                  </a:ext>
                </a:extLst>
              </p:cNvPr>
              <p:cNvSpPr/>
              <p:nvPr/>
            </p:nvSpPr>
            <p:spPr>
              <a:xfrm flipV="1">
                <a:off x="2123683" y="4519894"/>
                <a:ext cx="127451" cy="249822"/>
              </a:xfrm>
              <a:custGeom>
                <a:avLst/>
                <a:gdLst>
                  <a:gd name="connsiteX0" fmla="*/ 126737 w 127451"/>
                  <a:gd name="connsiteY0" fmla="*/ 229480 h 249822"/>
                  <a:gd name="connsiteX1" fmla="*/ 88498 w 127451"/>
                  <a:gd name="connsiteY1" fmla="*/ -196 h 249822"/>
                  <a:gd name="connsiteX2" fmla="*/ -714 w 127451"/>
                  <a:gd name="connsiteY2" fmla="*/ -196 h 249822"/>
                  <a:gd name="connsiteX3" fmla="*/ 29120 w 127451"/>
                  <a:gd name="connsiteY3" fmla="*/ 249627 h 249822"/>
                  <a:gd name="connsiteX4" fmla="*/ 126737 w 127451"/>
                  <a:gd name="connsiteY4" fmla="*/ 229480 h 249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51" h="249822">
                    <a:moveTo>
                      <a:pt x="126737" y="229480"/>
                    </a:moveTo>
                    <a:lnTo>
                      <a:pt x="88498" y="-196"/>
                    </a:lnTo>
                    <a:lnTo>
                      <a:pt x="-714" y="-196"/>
                    </a:lnTo>
                    <a:lnTo>
                      <a:pt x="29120" y="249627"/>
                    </a:lnTo>
                    <a:lnTo>
                      <a:pt x="126737" y="22948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8" name="Vrije vorm 17">
                <a:extLst>
                  <a:ext uri="{FF2B5EF4-FFF2-40B4-BE49-F238E27FC236}">
                    <a16:creationId xmlns:a16="http://schemas.microsoft.com/office/drawing/2014/main" id="{7339D987-7176-8179-C1C2-EC339077CB2E}"/>
                  </a:ext>
                </a:extLst>
              </p:cNvPr>
              <p:cNvSpPr/>
              <p:nvPr/>
            </p:nvSpPr>
            <p:spPr>
              <a:xfrm flipV="1">
                <a:off x="1826858" y="4660864"/>
                <a:ext cx="424276" cy="211809"/>
              </a:xfrm>
              <a:custGeom>
                <a:avLst/>
                <a:gdLst>
                  <a:gd name="connsiteX0" fmla="*/ 269198 w 424276"/>
                  <a:gd name="connsiteY0" fmla="*/ 211747 h 211809"/>
                  <a:gd name="connsiteX1" fmla="*/ 141079 w 424276"/>
                  <a:gd name="connsiteY1" fmla="*/ 122397 h 211809"/>
                  <a:gd name="connsiteX2" fmla="*/ -269 w 424276"/>
                  <a:gd name="connsiteY2" fmla="*/ 23166 h 211809"/>
                  <a:gd name="connsiteX3" fmla="*/ 301223 w 424276"/>
                  <a:gd name="connsiteY3" fmla="*/ 29466 h 211809"/>
                  <a:gd name="connsiteX4" fmla="*/ 301223 w 424276"/>
                  <a:gd name="connsiteY4" fmla="*/ 9806 h 211809"/>
                  <a:gd name="connsiteX5" fmla="*/ 423687 w 424276"/>
                  <a:gd name="connsiteY5" fmla="*/ 15172 h 211809"/>
                  <a:gd name="connsiteX6" fmla="*/ 423687 w 424276"/>
                  <a:gd name="connsiteY6" fmla="*/ 177784 h 211809"/>
                  <a:gd name="connsiteX7" fmla="*/ 321949 w 424276"/>
                  <a:gd name="connsiteY7" fmla="*/ 170646 h 211809"/>
                  <a:gd name="connsiteX8" fmla="*/ 329486 w 424276"/>
                  <a:gd name="connsiteY8" fmla="*/ 186730 h 211809"/>
                  <a:gd name="connsiteX9" fmla="*/ 269198 w 424276"/>
                  <a:gd name="connsiteY9" fmla="*/ 211747 h 211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24276" h="211809">
                    <a:moveTo>
                      <a:pt x="269198" y="211747"/>
                    </a:moveTo>
                    <a:cubicBezTo>
                      <a:pt x="269198" y="211747"/>
                      <a:pt x="218329" y="145621"/>
                      <a:pt x="141079" y="122397"/>
                    </a:cubicBezTo>
                    <a:cubicBezTo>
                      <a:pt x="63837" y="99157"/>
                      <a:pt x="-5920" y="69624"/>
                      <a:pt x="-269" y="23166"/>
                    </a:cubicBezTo>
                    <a:cubicBezTo>
                      <a:pt x="-269" y="23166"/>
                      <a:pt x="114705" y="-33074"/>
                      <a:pt x="301223" y="29466"/>
                    </a:cubicBezTo>
                    <a:lnTo>
                      <a:pt x="301223" y="9806"/>
                    </a:lnTo>
                    <a:lnTo>
                      <a:pt x="423687" y="15172"/>
                    </a:lnTo>
                    <a:lnTo>
                      <a:pt x="423687" y="177784"/>
                    </a:lnTo>
                    <a:lnTo>
                      <a:pt x="321949" y="170646"/>
                    </a:lnTo>
                    <a:lnTo>
                      <a:pt x="329486" y="186730"/>
                    </a:lnTo>
                    <a:lnTo>
                      <a:pt x="269198" y="211747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9" name="Vrije vorm 18">
                <a:extLst>
                  <a:ext uri="{FF2B5EF4-FFF2-40B4-BE49-F238E27FC236}">
                    <a16:creationId xmlns:a16="http://schemas.microsoft.com/office/drawing/2014/main" id="{5365114B-8B1A-B9A9-96E9-FB57276B4289}"/>
                  </a:ext>
                </a:extLst>
              </p:cNvPr>
              <p:cNvSpPr/>
              <p:nvPr/>
            </p:nvSpPr>
            <p:spPr>
              <a:xfrm flipV="1">
                <a:off x="1826964" y="4824160"/>
                <a:ext cx="424170" cy="48513"/>
              </a:xfrm>
              <a:custGeom>
                <a:avLst/>
                <a:gdLst>
                  <a:gd name="connsiteX0" fmla="*/ 219952 w 424170"/>
                  <a:gd name="connsiteY0" fmla="*/ 27298 h 48513"/>
                  <a:gd name="connsiteX1" fmla="*/ 585 w 424170"/>
                  <a:gd name="connsiteY1" fmla="*/ 35358 h 48513"/>
                  <a:gd name="connsiteX2" fmla="*/ -375 w 424170"/>
                  <a:gd name="connsiteY2" fmla="*/ 23255 h 48513"/>
                  <a:gd name="connsiteX3" fmla="*/ 301117 w 424170"/>
                  <a:gd name="connsiteY3" fmla="*/ 29555 h 48513"/>
                  <a:gd name="connsiteX4" fmla="*/ 301117 w 424170"/>
                  <a:gd name="connsiteY4" fmla="*/ 9896 h 48513"/>
                  <a:gd name="connsiteX5" fmla="*/ 423581 w 424170"/>
                  <a:gd name="connsiteY5" fmla="*/ 15261 h 48513"/>
                  <a:gd name="connsiteX6" fmla="*/ 423581 w 424170"/>
                  <a:gd name="connsiteY6" fmla="*/ 47702 h 48513"/>
                  <a:gd name="connsiteX7" fmla="*/ 219952 w 424170"/>
                  <a:gd name="connsiteY7" fmla="*/ 27298 h 4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4170" h="48513">
                    <a:moveTo>
                      <a:pt x="219952" y="27298"/>
                    </a:moveTo>
                    <a:cubicBezTo>
                      <a:pt x="52794" y="-15655"/>
                      <a:pt x="10352" y="32032"/>
                      <a:pt x="585" y="35358"/>
                    </a:cubicBezTo>
                    <a:cubicBezTo>
                      <a:pt x="-488" y="31327"/>
                      <a:pt x="-873" y="27286"/>
                      <a:pt x="-375" y="23255"/>
                    </a:cubicBezTo>
                    <a:cubicBezTo>
                      <a:pt x="-375" y="23255"/>
                      <a:pt x="114600" y="-32984"/>
                      <a:pt x="301117" y="29555"/>
                    </a:cubicBezTo>
                    <a:lnTo>
                      <a:pt x="301117" y="9896"/>
                    </a:lnTo>
                    <a:lnTo>
                      <a:pt x="423581" y="15261"/>
                    </a:lnTo>
                    <a:lnTo>
                      <a:pt x="423581" y="47702"/>
                    </a:lnTo>
                    <a:cubicBezTo>
                      <a:pt x="379865" y="45060"/>
                      <a:pt x="343205" y="58983"/>
                      <a:pt x="219952" y="2729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0" name="Vrije vorm 19">
                <a:extLst>
                  <a:ext uri="{FF2B5EF4-FFF2-40B4-BE49-F238E27FC236}">
                    <a16:creationId xmlns:a16="http://schemas.microsoft.com/office/drawing/2014/main" id="{1C8CC4F6-7C59-2C7C-A875-237AA9E75645}"/>
                  </a:ext>
                </a:extLst>
              </p:cNvPr>
              <p:cNvSpPr/>
              <p:nvPr/>
            </p:nvSpPr>
            <p:spPr>
              <a:xfrm flipV="1">
                <a:off x="2052156" y="4694841"/>
                <a:ext cx="66822" cy="60746"/>
              </a:xfrm>
              <a:custGeom>
                <a:avLst/>
                <a:gdLst>
                  <a:gd name="connsiteX0" fmla="*/ 60819 w 66822"/>
                  <a:gd name="connsiteY0" fmla="*/ -108 h 60746"/>
                  <a:gd name="connsiteX1" fmla="*/ 56353 w 66822"/>
                  <a:gd name="connsiteY1" fmla="*/ 2271 h 60746"/>
                  <a:gd name="connsiteX2" fmla="*/ 2926 w 66822"/>
                  <a:gd name="connsiteY2" fmla="*/ 50209 h 60746"/>
                  <a:gd name="connsiteX3" fmla="*/ -308 w 66822"/>
                  <a:gd name="connsiteY3" fmla="*/ 57099 h 60746"/>
                  <a:gd name="connsiteX4" fmla="*/ 6574 w 66822"/>
                  <a:gd name="connsiteY4" fmla="*/ 60328 h 60746"/>
                  <a:gd name="connsiteX5" fmla="*/ 65279 w 66822"/>
                  <a:gd name="connsiteY5" fmla="*/ 8251 h 60746"/>
                  <a:gd name="connsiteX6" fmla="*/ 63810 w 66822"/>
                  <a:gd name="connsiteY6" fmla="*/ 803 h 60746"/>
                  <a:gd name="connsiteX7" fmla="*/ 60819 w 66822"/>
                  <a:gd name="connsiteY7" fmla="*/ -108 h 6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2" h="60746">
                    <a:moveTo>
                      <a:pt x="60819" y="-108"/>
                    </a:moveTo>
                    <a:cubicBezTo>
                      <a:pt x="59086" y="-108"/>
                      <a:pt x="57394" y="718"/>
                      <a:pt x="56353" y="2271"/>
                    </a:cubicBezTo>
                    <a:cubicBezTo>
                      <a:pt x="31246" y="39686"/>
                      <a:pt x="3210" y="50116"/>
                      <a:pt x="2926" y="50209"/>
                    </a:cubicBezTo>
                    <a:cubicBezTo>
                      <a:pt x="129" y="51224"/>
                      <a:pt x="-1316" y="54300"/>
                      <a:pt x="-308" y="57099"/>
                    </a:cubicBezTo>
                    <a:cubicBezTo>
                      <a:pt x="704" y="59884"/>
                      <a:pt x="3784" y="61312"/>
                      <a:pt x="6574" y="60328"/>
                    </a:cubicBezTo>
                    <a:cubicBezTo>
                      <a:pt x="7853" y="59863"/>
                      <a:pt x="38230" y="48562"/>
                      <a:pt x="65279" y="8251"/>
                    </a:cubicBezTo>
                    <a:cubicBezTo>
                      <a:pt x="66935" y="5783"/>
                      <a:pt x="66279" y="2449"/>
                      <a:pt x="63810" y="803"/>
                    </a:cubicBezTo>
                    <a:cubicBezTo>
                      <a:pt x="62891" y="171"/>
                      <a:pt x="61851" y="-108"/>
                      <a:pt x="60819" y="-1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1" name="Vrije vorm 20">
                <a:extLst>
                  <a:ext uri="{FF2B5EF4-FFF2-40B4-BE49-F238E27FC236}">
                    <a16:creationId xmlns:a16="http://schemas.microsoft.com/office/drawing/2014/main" id="{B1F59124-E2D0-F6CD-91DF-B7D716387484}"/>
                  </a:ext>
                </a:extLst>
              </p:cNvPr>
              <p:cNvSpPr/>
              <p:nvPr/>
            </p:nvSpPr>
            <p:spPr>
              <a:xfrm flipV="1">
                <a:off x="2024123" y="4707419"/>
                <a:ext cx="66821" cy="60755"/>
              </a:xfrm>
              <a:custGeom>
                <a:avLst/>
                <a:gdLst>
                  <a:gd name="connsiteX0" fmla="*/ 60846 w 66821"/>
                  <a:gd name="connsiteY0" fmla="*/ -94 h 60755"/>
                  <a:gd name="connsiteX1" fmla="*/ 56376 w 66821"/>
                  <a:gd name="connsiteY1" fmla="*/ 2289 h 60755"/>
                  <a:gd name="connsiteX2" fmla="*/ 2950 w 66821"/>
                  <a:gd name="connsiteY2" fmla="*/ 50235 h 60755"/>
                  <a:gd name="connsiteX3" fmla="*/ -285 w 66821"/>
                  <a:gd name="connsiteY3" fmla="*/ 57114 h 60755"/>
                  <a:gd name="connsiteX4" fmla="*/ 6597 w 66821"/>
                  <a:gd name="connsiteY4" fmla="*/ 60347 h 60755"/>
                  <a:gd name="connsiteX5" fmla="*/ 65303 w 66821"/>
                  <a:gd name="connsiteY5" fmla="*/ 8266 h 60755"/>
                  <a:gd name="connsiteX6" fmla="*/ 63834 w 66821"/>
                  <a:gd name="connsiteY6" fmla="*/ 808 h 60755"/>
                  <a:gd name="connsiteX7" fmla="*/ 60846 w 66821"/>
                  <a:gd name="connsiteY7" fmla="*/ -94 h 60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1" h="60755">
                    <a:moveTo>
                      <a:pt x="60846" y="-94"/>
                    </a:moveTo>
                    <a:cubicBezTo>
                      <a:pt x="59117" y="-94"/>
                      <a:pt x="57417" y="736"/>
                      <a:pt x="56376" y="2289"/>
                    </a:cubicBezTo>
                    <a:cubicBezTo>
                      <a:pt x="31271" y="39692"/>
                      <a:pt x="3229" y="50135"/>
                      <a:pt x="2950" y="50235"/>
                    </a:cubicBezTo>
                    <a:cubicBezTo>
                      <a:pt x="156" y="51243"/>
                      <a:pt x="-1293" y="54319"/>
                      <a:pt x="-285" y="57114"/>
                    </a:cubicBezTo>
                    <a:cubicBezTo>
                      <a:pt x="723" y="59902"/>
                      <a:pt x="3812" y="61342"/>
                      <a:pt x="6597" y="60347"/>
                    </a:cubicBezTo>
                    <a:cubicBezTo>
                      <a:pt x="7876" y="59882"/>
                      <a:pt x="38257" y="48581"/>
                      <a:pt x="65303" y="8266"/>
                    </a:cubicBezTo>
                    <a:cubicBezTo>
                      <a:pt x="66958" y="5810"/>
                      <a:pt x="66302" y="2467"/>
                      <a:pt x="63834" y="808"/>
                    </a:cubicBezTo>
                    <a:cubicBezTo>
                      <a:pt x="62915" y="198"/>
                      <a:pt x="61874" y="-94"/>
                      <a:pt x="60846" y="-94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2" name="Vrije vorm 21">
                <a:extLst>
                  <a:ext uri="{FF2B5EF4-FFF2-40B4-BE49-F238E27FC236}">
                    <a16:creationId xmlns:a16="http://schemas.microsoft.com/office/drawing/2014/main" id="{1981E26C-25AE-7DA6-5F9A-D24143D84485}"/>
                  </a:ext>
                </a:extLst>
              </p:cNvPr>
              <p:cNvSpPr/>
              <p:nvPr/>
            </p:nvSpPr>
            <p:spPr>
              <a:xfrm flipV="1">
                <a:off x="1996103" y="4719841"/>
                <a:ext cx="66805" cy="60751"/>
              </a:xfrm>
              <a:custGeom>
                <a:avLst/>
                <a:gdLst>
                  <a:gd name="connsiteX0" fmla="*/ 60853 w 66805"/>
                  <a:gd name="connsiteY0" fmla="*/ -80 h 60751"/>
                  <a:gd name="connsiteX1" fmla="*/ 56384 w 66805"/>
                  <a:gd name="connsiteY1" fmla="*/ 2291 h 60751"/>
                  <a:gd name="connsiteX2" fmla="*/ 2944 w 66805"/>
                  <a:gd name="connsiteY2" fmla="*/ 50249 h 60751"/>
                  <a:gd name="connsiteX3" fmla="*/ -258 w 66805"/>
                  <a:gd name="connsiteY3" fmla="*/ 57128 h 60751"/>
                  <a:gd name="connsiteX4" fmla="*/ 6608 w 66805"/>
                  <a:gd name="connsiteY4" fmla="*/ 60356 h 60751"/>
                  <a:gd name="connsiteX5" fmla="*/ 65314 w 66805"/>
                  <a:gd name="connsiteY5" fmla="*/ 8287 h 60751"/>
                  <a:gd name="connsiteX6" fmla="*/ 63844 w 66805"/>
                  <a:gd name="connsiteY6" fmla="*/ 830 h 60751"/>
                  <a:gd name="connsiteX7" fmla="*/ 60853 w 66805"/>
                  <a:gd name="connsiteY7" fmla="*/ -80 h 60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05" h="60751">
                    <a:moveTo>
                      <a:pt x="60853" y="-80"/>
                    </a:moveTo>
                    <a:cubicBezTo>
                      <a:pt x="59120" y="-80"/>
                      <a:pt x="57420" y="749"/>
                      <a:pt x="56384" y="2291"/>
                    </a:cubicBezTo>
                    <a:cubicBezTo>
                      <a:pt x="31443" y="39466"/>
                      <a:pt x="3232" y="50143"/>
                      <a:pt x="2944" y="50249"/>
                    </a:cubicBezTo>
                    <a:cubicBezTo>
                      <a:pt x="167" y="51264"/>
                      <a:pt x="-1270" y="54352"/>
                      <a:pt x="-258" y="57128"/>
                    </a:cubicBezTo>
                    <a:cubicBezTo>
                      <a:pt x="759" y="59911"/>
                      <a:pt x="3838" y="61352"/>
                      <a:pt x="6608" y="60356"/>
                    </a:cubicBezTo>
                    <a:cubicBezTo>
                      <a:pt x="7887" y="59891"/>
                      <a:pt x="38268" y="48590"/>
                      <a:pt x="65314" y="8287"/>
                    </a:cubicBezTo>
                    <a:cubicBezTo>
                      <a:pt x="66966" y="5811"/>
                      <a:pt x="66306" y="2477"/>
                      <a:pt x="63844" y="830"/>
                    </a:cubicBezTo>
                    <a:cubicBezTo>
                      <a:pt x="62925" y="211"/>
                      <a:pt x="61881" y="-80"/>
                      <a:pt x="60853" y="-80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" name="Vrije vorm 22">
                <a:extLst>
                  <a:ext uri="{FF2B5EF4-FFF2-40B4-BE49-F238E27FC236}">
                    <a16:creationId xmlns:a16="http://schemas.microsoft.com/office/drawing/2014/main" id="{5ED6EB47-77B9-2F35-0321-AB27C5EA0FA9}"/>
                  </a:ext>
                </a:extLst>
              </p:cNvPr>
              <p:cNvSpPr/>
              <p:nvPr/>
            </p:nvSpPr>
            <p:spPr>
              <a:xfrm flipV="1">
                <a:off x="2667810" y="4519894"/>
                <a:ext cx="127435" cy="249822"/>
              </a:xfrm>
              <a:custGeom>
                <a:avLst/>
                <a:gdLst>
                  <a:gd name="connsiteX0" fmla="*/ -1169 w 127435"/>
                  <a:gd name="connsiteY0" fmla="*/ 229480 h 249822"/>
                  <a:gd name="connsiteX1" fmla="*/ 37050 w 127435"/>
                  <a:gd name="connsiteY1" fmla="*/ -196 h 249822"/>
                  <a:gd name="connsiteX2" fmla="*/ 126267 w 127435"/>
                  <a:gd name="connsiteY2" fmla="*/ -196 h 249822"/>
                  <a:gd name="connsiteX3" fmla="*/ 96431 w 127435"/>
                  <a:gd name="connsiteY3" fmla="*/ 249627 h 249822"/>
                  <a:gd name="connsiteX4" fmla="*/ -1169 w 127435"/>
                  <a:gd name="connsiteY4" fmla="*/ 229480 h 249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35" h="249822">
                    <a:moveTo>
                      <a:pt x="-1169" y="229480"/>
                    </a:moveTo>
                    <a:lnTo>
                      <a:pt x="37050" y="-196"/>
                    </a:lnTo>
                    <a:lnTo>
                      <a:pt x="126267" y="-196"/>
                    </a:lnTo>
                    <a:lnTo>
                      <a:pt x="96431" y="249627"/>
                    </a:lnTo>
                    <a:lnTo>
                      <a:pt x="-1169" y="22948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4" name="Vrije vorm 23">
                <a:extLst>
                  <a:ext uri="{FF2B5EF4-FFF2-40B4-BE49-F238E27FC236}">
                    <a16:creationId xmlns:a16="http://schemas.microsoft.com/office/drawing/2014/main" id="{7A7D61BC-4989-E0B6-9002-3AA3406E3EFA}"/>
                  </a:ext>
                </a:extLst>
              </p:cNvPr>
              <p:cNvSpPr/>
              <p:nvPr/>
            </p:nvSpPr>
            <p:spPr>
              <a:xfrm flipV="1">
                <a:off x="2667810" y="4660864"/>
                <a:ext cx="432703" cy="211809"/>
              </a:xfrm>
              <a:custGeom>
                <a:avLst/>
                <a:gdLst>
                  <a:gd name="connsiteX0" fmla="*/ 153187 w 432703"/>
                  <a:gd name="connsiteY0" fmla="*/ 211747 h 211809"/>
                  <a:gd name="connsiteX1" fmla="*/ 281297 w 432703"/>
                  <a:gd name="connsiteY1" fmla="*/ 122397 h 211809"/>
                  <a:gd name="connsiteX2" fmla="*/ 431117 w 432703"/>
                  <a:gd name="connsiteY2" fmla="*/ 23166 h 211809"/>
                  <a:gd name="connsiteX3" fmla="*/ 121154 w 432703"/>
                  <a:gd name="connsiteY3" fmla="*/ 29466 h 211809"/>
                  <a:gd name="connsiteX4" fmla="*/ 121154 w 432703"/>
                  <a:gd name="connsiteY4" fmla="*/ 9806 h 211809"/>
                  <a:gd name="connsiteX5" fmla="*/ -1297 w 432703"/>
                  <a:gd name="connsiteY5" fmla="*/ 15172 h 211809"/>
                  <a:gd name="connsiteX6" fmla="*/ -1297 w 432703"/>
                  <a:gd name="connsiteY6" fmla="*/ 177784 h 211809"/>
                  <a:gd name="connsiteX7" fmla="*/ 100428 w 432703"/>
                  <a:gd name="connsiteY7" fmla="*/ 170646 h 211809"/>
                  <a:gd name="connsiteX8" fmla="*/ 92894 w 432703"/>
                  <a:gd name="connsiteY8" fmla="*/ 186730 h 211809"/>
                  <a:gd name="connsiteX9" fmla="*/ 153187 w 432703"/>
                  <a:gd name="connsiteY9" fmla="*/ 211747 h 211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2703" h="211809">
                    <a:moveTo>
                      <a:pt x="153187" y="211747"/>
                    </a:moveTo>
                    <a:cubicBezTo>
                      <a:pt x="153187" y="211747"/>
                      <a:pt x="204049" y="145621"/>
                      <a:pt x="281297" y="122397"/>
                    </a:cubicBezTo>
                    <a:cubicBezTo>
                      <a:pt x="358544" y="99157"/>
                      <a:pt x="436775" y="69624"/>
                      <a:pt x="431117" y="23166"/>
                    </a:cubicBezTo>
                    <a:cubicBezTo>
                      <a:pt x="431117" y="23166"/>
                      <a:pt x="307671" y="-33074"/>
                      <a:pt x="121154" y="29466"/>
                    </a:cubicBezTo>
                    <a:lnTo>
                      <a:pt x="121154" y="9806"/>
                    </a:lnTo>
                    <a:lnTo>
                      <a:pt x="-1297" y="15172"/>
                    </a:lnTo>
                    <a:lnTo>
                      <a:pt x="-1297" y="177784"/>
                    </a:lnTo>
                    <a:lnTo>
                      <a:pt x="100428" y="170646"/>
                    </a:lnTo>
                    <a:lnTo>
                      <a:pt x="92894" y="186730"/>
                    </a:lnTo>
                    <a:lnTo>
                      <a:pt x="153187" y="211747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5" name="Vrije vorm 24">
                <a:extLst>
                  <a:ext uri="{FF2B5EF4-FFF2-40B4-BE49-F238E27FC236}">
                    <a16:creationId xmlns:a16="http://schemas.microsoft.com/office/drawing/2014/main" id="{44B83F90-2B77-983B-48A4-3E9E484D23CF}"/>
                  </a:ext>
                </a:extLst>
              </p:cNvPr>
              <p:cNvSpPr/>
              <p:nvPr/>
            </p:nvSpPr>
            <p:spPr>
              <a:xfrm flipV="1">
                <a:off x="2667800" y="4816546"/>
                <a:ext cx="432632" cy="56127"/>
              </a:xfrm>
              <a:custGeom>
                <a:avLst/>
                <a:gdLst>
                  <a:gd name="connsiteX0" fmla="*/ 227729 w 432632"/>
                  <a:gd name="connsiteY0" fmla="*/ 18842 h 56127"/>
                  <a:gd name="connsiteX1" fmla="*/ 430164 w 432632"/>
                  <a:gd name="connsiteY1" fmla="*/ 35354 h 56127"/>
                  <a:gd name="connsiteX2" fmla="*/ 431127 w 432632"/>
                  <a:gd name="connsiteY2" fmla="*/ 23251 h 56127"/>
                  <a:gd name="connsiteX3" fmla="*/ 121165 w 432632"/>
                  <a:gd name="connsiteY3" fmla="*/ 29551 h 56127"/>
                  <a:gd name="connsiteX4" fmla="*/ 121165 w 432632"/>
                  <a:gd name="connsiteY4" fmla="*/ 9892 h 56127"/>
                  <a:gd name="connsiteX5" fmla="*/ -1297 w 432632"/>
                  <a:gd name="connsiteY5" fmla="*/ 15257 h 56127"/>
                  <a:gd name="connsiteX6" fmla="*/ -1297 w 432632"/>
                  <a:gd name="connsiteY6" fmla="*/ 56150 h 56127"/>
                  <a:gd name="connsiteX7" fmla="*/ 227729 w 432632"/>
                  <a:gd name="connsiteY7" fmla="*/ 18842 h 56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2632" h="56127">
                    <a:moveTo>
                      <a:pt x="227729" y="18842"/>
                    </a:moveTo>
                    <a:cubicBezTo>
                      <a:pt x="345072" y="395"/>
                      <a:pt x="420391" y="32028"/>
                      <a:pt x="430164" y="35354"/>
                    </a:cubicBezTo>
                    <a:cubicBezTo>
                      <a:pt x="431231" y="31323"/>
                      <a:pt x="431614" y="27282"/>
                      <a:pt x="431127" y="23251"/>
                    </a:cubicBezTo>
                    <a:cubicBezTo>
                      <a:pt x="431127" y="23251"/>
                      <a:pt x="307681" y="-32988"/>
                      <a:pt x="121165" y="29551"/>
                    </a:cubicBezTo>
                    <a:lnTo>
                      <a:pt x="121165" y="9892"/>
                    </a:lnTo>
                    <a:lnTo>
                      <a:pt x="-1297" y="15257"/>
                    </a:lnTo>
                    <a:lnTo>
                      <a:pt x="-1297" y="56150"/>
                    </a:lnTo>
                    <a:cubicBezTo>
                      <a:pt x="42415" y="53508"/>
                      <a:pt x="115071" y="36551"/>
                      <a:pt x="227729" y="18842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6" name="Vrije vorm 25">
                <a:extLst>
                  <a:ext uri="{FF2B5EF4-FFF2-40B4-BE49-F238E27FC236}">
                    <a16:creationId xmlns:a16="http://schemas.microsoft.com/office/drawing/2014/main" id="{F2A4E6AB-AF6F-B438-153D-AEF941C80B18}"/>
                  </a:ext>
                </a:extLst>
              </p:cNvPr>
              <p:cNvSpPr/>
              <p:nvPr/>
            </p:nvSpPr>
            <p:spPr>
              <a:xfrm flipV="1">
                <a:off x="2799960" y="4694841"/>
                <a:ext cx="66820" cy="60746"/>
              </a:xfrm>
              <a:custGeom>
                <a:avLst/>
                <a:gdLst>
                  <a:gd name="connsiteX0" fmla="*/ 4115 w 66820"/>
                  <a:gd name="connsiteY0" fmla="*/ -108 h 60746"/>
                  <a:gd name="connsiteX1" fmla="*/ 8582 w 66820"/>
                  <a:gd name="connsiteY1" fmla="*/ 2271 h 60746"/>
                  <a:gd name="connsiteX2" fmla="*/ 62004 w 66820"/>
                  <a:gd name="connsiteY2" fmla="*/ 50209 h 60746"/>
                  <a:gd name="connsiteX3" fmla="*/ 65248 w 66820"/>
                  <a:gd name="connsiteY3" fmla="*/ 57099 h 60746"/>
                  <a:gd name="connsiteX4" fmla="*/ 58366 w 66820"/>
                  <a:gd name="connsiteY4" fmla="*/ 60328 h 60746"/>
                  <a:gd name="connsiteX5" fmla="*/ -341 w 66820"/>
                  <a:gd name="connsiteY5" fmla="*/ 8251 h 60746"/>
                  <a:gd name="connsiteX6" fmla="*/ 1131 w 66820"/>
                  <a:gd name="connsiteY6" fmla="*/ 803 h 60746"/>
                  <a:gd name="connsiteX7" fmla="*/ 4115 w 66820"/>
                  <a:gd name="connsiteY7" fmla="*/ -108 h 6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0" h="60746">
                    <a:moveTo>
                      <a:pt x="4115" y="-108"/>
                    </a:moveTo>
                    <a:cubicBezTo>
                      <a:pt x="5856" y="-108"/>
                      <a:pt x="7546" y="718"/>
                      <a:pt x="8582" y="2271"/>
                    </a:cubicBezTo>
                    <a:cubicBezTo>
                      <a:pt x="33692" y="39686"/>
                      <a:pt x="61734" y="50116"/>
                      <a:pt x="62004" y="50209"/>
                    </a:cubicBezTo>
                    <a:cubicBezTo>
                      <a:pt x="64802" y="51224"/>
                      <a:pt x="66253" y="54300"/>
                      <a:pt x="65248" y="57099"/>
                    </a:cubicBezTo>
                    <a:cubicBezTo>
                      <a:pt x="64232" y="59884"/>
                      <a:pt x="61144" y="61312"/>
                      <a:pt x="58366" y="60328"/>
                    </a:cubicBezTo>
                    <a:cubicBezTo>
                      <a:pt x="57081" y="59863"/>
                      <a:pt x="26707" y="48562"/>
                      <a:pt x="-341" y="8251"/>
                    </a:cubicBezTo>
                    <a:cubicBezTo>
                      <a:pt x="-1999" y="5783"/>
                      <a:pt x="-1336" y="2449"/>
                      <a:pt x="1131" y="803"/>
                    </a:cubicBezTo>
                    <a:cubicBezTo>
                      <a:pt x="2043" y="171"/>
                      <a:pt x="3089" y="-108"/>
                      <a:pt x="4115" y="-1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7" name="Vrije vorm 26">
                <a:extLst>
                  <a:ext uri="{FF2B5EF4-FFF2-40B4-BE49-F238E27FC236}">
                    <a16:creationId xmlns:a16="http://schemas.microsoft.com/office/drawing/2014/main" id="{745236E2-4AB4-14B2-53D4-1567F3282DCC}"/>
                  </a:ext>
                </a:extLst>
              </p:cNvPr>
              <p:cNvSpPr/>
              <p:nvPr/>
            </p:nvSpPr>
            <p:spPr>
              <a:xfrm flipV="1">
                <a:off x="2827990" y="4707419"/>
                <a:ext cx="66823" cy="60755"/>
              </a:xfrm>
              <a:custGeom>
                <a:avLst/>
                <a:gdLst>
                  <a:gd name="connsiteX0" fmla="*/ 4094 w 66823"/>
                  <a:gd name="connsiteY0" fmla="*/ -94 h 60755"/>
                  <a:gd name="connsiteX1" fmla="*/ 8561 w 66823"/>
                  <a:gd name="connsiteY1" fmla="*/ 2289 h 60755"/>
                  <a:gd name="connsiteX2" fmla="*/ 61993 w 66823"/>
                  <a:gd name="connsiteY2" fmla="*/ 50235 h 60755"/>
                  <a:gd name="connsiteX3" fmla="*/ 65227 w 66823"/>
                  <a:gd name="connsiteY3" fmla="*/ 57114 h 60755"/>
                  <a:gd name="connsiteX4" fmla="*/ 58346 w 66823"/>
                  <a:gd name="connsiteY4" fmla="*/ 60347 h 60755"/>
                  <a:gd name="connsiteX5" fmla="*/ -372 w 66823"/>
                  <a:gd name="connsiteY5" fmla="*/ 8266 h 60755"/>
                  <a:gd name="connsiteX6" fmla="*/ 1110 w 66823"/>
                  <a:gd name="connsiteY6" fmla="*/ 808 h 60755"/>
                  <a:gd name="connsiteX7" fmla="*/ 4094 w 66823"/>
                  <a:gd name="connsiteY7" fmla="*/ -94 h 60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3" h="60755">
                    <a:moveTo>
                      <a:pt x="4094" y="-94"/>
                    </a:moveTo>
                    <a:cubicBezTo>
                      <a:pt x="5825" y="-94"/>
                      <a:pt x="7525" y="736"/>
                      <a:pt x="8561" y="2289"/>
                    </a:cubicBezTo>
                    <a:cubicBezTo>
                      <a:pt x="33671" y="39692"/>
                      <a:pt x="61714" y="50135"/>
                      <a:pt x="61993" y="50235"/>
                    </a:cubicBezTo>
                    <a:cubicBezTo>
                      <a:pt x="64781" y="51243"/>
                      <a:pt x="66232" y="54319"/>
                      <a:pt x="65227" y="57114"/>
                    </a:cubicBezTo>
                    <a:cubicBezTo>
                      <a:pt x="64211" y="59902"/>
                      <a:pt x="61133" y="61342"/>
                      <a:pt x="58346" y="60347"/>
                    </a:cubicBezTo>
                    <a:cubicBezTo>
                      <a:pt x="57061" y="59882"/>
                      <a:pt x="26686" y="48581"/>
                      <a:pt x="-372" y="8266"/>
                    </a:cubicBezTo>
                    <a:cubicBezTo>
                      <a:pt x="-2020" y="5810"/>
                      <a:pt x="-1357" y="2467"/>
                      <a:pt x="1110" y="808"/>
                    </a:cubicBezTo>
                    <a:cubicBezTo>
                      <a:pt x="2022" y="198"/>
                      <a:pt x="3068" y="-94"/>
                      <a:pt x="4094" y="-94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8" name="Vrije vorm 27">
                <a:extLst>
                  <a:ext uri="{FF2B5EF4-FFF2-40B4-BE49-F238E27FC236}">
                    <a16:creationId xmlns:a16="http://schemas.microsoft.com/office/drawing/2014/main" id="{982E7536-011D-0969-7829-63FA96469EC4}"/>
                  </a:ext>
                </a:extLst>
              </p:cNvPr>
              <p:cNvSpPr/>
              <p:nvPr/>
            </p:nvSpPr>
            <p:spPr>
              <a:xfrm flipV="1">
                <a:off x="2856024" y="4719841"/>
                <a:ext cx="66812" cy="60751"/>
              </a:xfrm>
              <a:custGeom>
                <a:avLst/>
                <a:gdLst>
                  <a:gd name="connsiteX0" fmla="*/ 4068 w 66812"/>
                  <a:gd name="connsiteY0" fmla="*/ -80 h 60751"/>
                  <a:gd name="connsiteX1" fmla="*/ 8545 w 66812"/>
                  <a:gd name="connsiteY1" fmla="*/ 2291 h 60751"/>
                  <a:gd name="connsiteX2" fmla="*/ 61978 w 66812"/>
                  <a:gd name="connsiteY2" fmla="*/ 50249 h 60751"/>
                  <a:gd name="connsiteX3" fmla="*/ 65190 w 66812"/>
                  <a:gd name="connsiteY3" fmla="*/ 57128 h 60751"/>
                  <a:gd name="connsiteX4" fmla="*/ 58320 w 66812"/>
                  <a:gd name="connsiteY4" fmla="*/ 60356 h 60751"/>
                  <a:gd name="connsiteX5" fmla="*/ -388 w 66812"/>
                  <a:gd name="connsiteY5" fmla="*/ 8287 h 60751"/>
                  <a:gd name="connsiteX6" fmla="*/ 1084 w 66812"/>
                  <a:gd name="connsiteY6" fmla="*/ 830 h 60751"/>
                  <a:gd name="connsiteX7" fmla="*/ 4068 w 66812"/>
                  <a:gd name="connsiteY7" fmla="*/ -80 h 60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12" h="60751">
                    <a:moveTo>
                      <a:pt x="4068" y="-80"/>
                    </a:moveTo>
                    <a:cubicBezTo>
                      <a:pt x="5809" y="-80"/>
                      <a:pt x="7509" y="749"/>
                      <a:pt x="8545" y="2291"/>
                    </a:cubicBezTo>
                    <a:cubicBezTo>
                      <a:pt x="33489" y="39466"/>
                      <a:pt x="61698" y="50143"/>
                      <a:pt x="61978" y="50249"/>
                    </a:cubicBezTo>
                    <a:cubicBezTo>
                      <a:pt x="64766" y="51264"/>
                      <a:pt x="66196" y="54352"/>
                      <a:pt x="65190" y="57128"/>
                    </a:cubicBezTo>
                    <a:cubicBezTo>
                      <a:pt x="64164" y="59911"/>
                      <a:pt x="61087" y="61352"/>
                      <a:pt x="58320" y="60356"/>
                    </a:cubicBezTo>
                    <a:cubicBezTo>
                      <a:pt x="57035" y="59891"/>
                      <a:pt x="26660" y="48590"/>
                      <a:pt x="-388" y="8287"/>
                    </a:cubicBezTo>
                    <a:cubicBezTo>
                      <a:pt x="-2046" y="5811"/>
                      <a:pt x="-1383" y="2477"/>
                      <a:pt x="1084" y="830"/>
                    </a:cubicBezTo>
                    <a:cubicBezTo>
                      <a:pt x="1996" y="211"/>
                      <a:pt x="3042" y="-80"/>
                      <a:pt x="4068" y="-80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9" name="Vrije vorm 28">
                <a:extLst>
                  <a:ext uri="{FF2B5EF4-FFF2-40B4-BE49-F238E27FC236}">
                    <a16:creationId xmlns:a16="http://schemas.microsoft.com/office/drawing/2014/main" id="{D6C772A8-5A92-4CBC-BC9E-99857BB70203}"/>
                  </a:ext>
                </a:extLst>
              </p:cNvPr>
              <p:cNvSpPr/>
              <p:nvPr/>
            </p:nvSpPr>
            <p:spPr>
              <a:xfrm flipV="1">
                <a:off x="2086870" y="2668940"/>
                <a:ext cx="756201" cy="2017911"/>
              </a:xfrm>
              <a:custGeom>
                <a:avLst/>
                <a:gdLst>
                  <a:gd name="connsiteX0" fmla="*/ 185064 w 756201"/>
                  <a:gd name="connsiteY0" fmla="*/ 1980643 h 2017911"/>
                  <a:gd name="connsiteX1" fmla="*/ 92164 w 756201"/>
                  <a:gd name="connsiteY1" fmla="*/ 871643 h 2017911"/>
                  <a:gd name="connsiteX2" fmla="*/ -946 w 756201"/>
                  <a:gd name="connsiteY2" fmla="*/ 59412 h 2017911"/>
                  <a:gd name="connsiteX3" fmla="*/ 213498 w 756201"/>
                  <a:gd name="connsiteY3" fmla="*/ 25583 h 2017911"/>
                  <a:gd name="connsiteX4" fmla="*/ 340470 w 756201"/>
                  <a:gd name="connsiteY4" fmla="*/ 820879 h 2017911"/>
                  <a:gd name="connsiteX5" fmla="*/ 442049 w 756201"/>
                  <a:gd name="connsiteY5" fmla="*/ 1576702 h 2017911"/>
                  <a:gd name="connsiteX6" fmla="*/ 498477 w 756201"/>
                  <a:gd name="connsiteY6" fmla="*/ 1576702 h 2017911"/>
                  <a:gd name="connsiteX7" fmla="*/ 546448 w 756201"/>
                  <a:gd name="connsiteY7" fmla="*/ 25583 h 2017911"/>
                  <a:gd name="connsiteX8" fmla="*/ 755256 w 756201"/>
                  <a:gd name="connsiteY8" fmla="*/ 19938 h 2017911"/>
                  <a:gd name="connsiteX9" fmla="*/ 738322 w 756201"/>
                  <a:gd name="connsiteY9" fmla="*/ 2016658 h 2017911"/>
                  <a:gd name="connsiteX10" fmla="*/ 185064 w 756201"/>
                  <a:gd name="connsiteY10" fmla="*/ 1980643 h 2017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56201" h="2017911">
                    <a:moveTo>
                      <a:pt x="185064" y="1980643"/>
                    </a:moveTo>
                    <a:lnTo>
                      <a:pt x="92164" y="871643"/>
                    </a:lnTo>
                    <a:lnTo>
                      <a:pt x="-946" y="59412"/>
                    </a:lnTo>
                    <a:cubicBezTo>
                      <a:pt x="-946" y="59412"/>
                      <a:pt x="44194" y="-2622"/>
                      <a:pt x="213498" y="25583"/>
                    </a:cubicBezTo>
                    <a:lnTo>
                      <a:pt x="340470" y="820879"/>
                    </a:lnTo>
                    <a:lnTo>
                      <a:pt x="442049" y="1576702"/>
                    </a:lnTo>
                    <a:lnTo>
                      <a:pt x="498477" y="1576702"/>
                    </a:lnTo>
                    <a:lnTo>
                      <a:pt x="546448" y="25583"/>
                    </a:lnTo>
                    <a:cubicBezTo>
                      <a:pt x="546448" y="25583"/>
                      <a:pt x="619809" y="-30839"/>
                      <a:pt x="755256" y="19938"/>
                    </a:cubicBezTo>
                    <a:lnTo>
                      <a:pt x="738322" y="2016658"/>
                    </a:lnTo>
                    <a:lnTo>
                      <a:pt x="185064" y="1980643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0" name="Vrije vorm 29">
                <a:extLst>
                  <a:ext uri="{FF2B5EF4-FFF2-40B4-BE49-F238E27FC236}">
                    <a16:creationId xmlns:a16="http://schemas.microsoft.com/office/drawing/2014/main" id="{CD6BEF3A-3576-14B0-0DB5-8A6E7C2A2902}"/>
                  </a:ext>
                </a:extLst>
              </p:cNvPr>
              <p:cNvSpPr/>
              <p:nvPr/>
            </p:nvSpPr>
            <p:spPr>
              <a:xfrm flipV="1">
                <a:off x="2388719" y="1514055"/>
                <a:ext cx="197584" cy="409254"/>
              </a:xfrm>
              <a:custGeom>
                <a:avLst/>
                <a:gdLst>
                  <a:gd name="connsiteX0" fmla="*/ 196619 w 197584"/>
                  <a:gd name="connsiteY0" fmla="*/ 311600 h 409254"/>
                  <a:gd name="connsiteX1" fmla="*/ 189013 w 197584"/>
                  <a:gd name="connsiteY1" fmla="*/ -3397 h 409254"/>
                  <a:gd name="connsiteX2" fmla="*/ -965 w 197584"/>
                  <a:gd name="connsiteY2" fmla="*/ 81487 h 409254"/>
                  <a:gd name="connsiteX3" fmla="*/ 5014 w 197584"/>
                  <a:gd name="connsiteY3" fmla="*/ 405857 h 409254"/>
                  <a:gd name="connsiteX4" fmla="*/ 196619 w 197584"/>
                  <a:gd name="connsiteY4" fmla="*/ 311600 h 409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7584" h="409254">
                    <a:moveTo>
                      <a:pt x="196619" y="311600"/>
                    </a:moveTo>
                    <a:lnTo>
                      <a:pt x="189013" y="-3397"/>
                    </a:lnTo>
                    <a:lnTo>
                      <a:pt x="-965" y="81487"/>
                    </a:lnTo>
                    <a:lnTo>
                      <a:pt x="5014" y="405857"/>
                    </a:lnTo>
                    <a:lnTo>
                      <a:pt x="196619" y="311600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1" name="Vrije vorm 30">
                <a:extLst>
                  <a:ext uri="{FF2B5EF4-FFF2-40B4-BE49-F238E27FC236}">
                    <a16:creationId xmlns:a16="http://schemas.microsoft.com/office/drawing/2014/main" id="{53004C08-117E-9DA6-5D60-BEB9B3037C29}"/>
                  </a:ext>
                </a:extLst>
              </p:cNvPr>
              <p:cNvSpPr/>
              <p:nvPr/>
            </p:nvSpPr>
            <p:spPr>
              <a:xfrm flipV="1">
                <a:off x="2016242" y="1723460"/>
                <a:ext cx="878925" cy="1022375"/>
              </a:xfrm>
              <a:custGeom>
                <a:avLst/>
                <a:gdLst>
                  <a:gd name="connsiteX0" fmla="*/ 875044 w 878925"/>
                  <a:gd name="connsiteY0" fmla="*/ 901190 h 1022375"/>
                  <a:gd name="connsiteX1" fmla="*/ 820244 w 878925"/>
                  <a:gd name="connsiteY1" fmla="*/ 51492 h 1022375"/>
                  <a:gd name="connsiteX2" fmla="*/ 458134 w 878925"/>
                  <a:gd name="connsiteY2" fmla="*/ -1934 h 1022375"/>
                  <a:gd name="connsiteX3" fmla="*/ 255700 w 878925"/>
                  <a:gd name="connsiteY3" fmla="*/ 38048 h 1022375"/>
                  <a:gd name="connsiteX4" fmla="*/ -938 w 878925"/>
                  <a:gd name="connsiteY4" fmla="*/ 989823 h 1022375"/>
                  <a:gd name="connsiteX5" fmla="*/ 383177 w 878925"/>
                  <a:gd name="connsiteY5" fmla="*/ 1019540 h 1022375"/>
                  <a:gd name="connsiteX6" fmla="*/ 494229 w 878925"/>
                  <a:gd name="connsiteY6" fmla="*/ 916685 h 1022375"/>
                  <a:gd name="connsiteX7" fmla="*/ 583942 w 878925"/>
                  <a:gd name="connsiteY7" fmla="*/ 1012424 h 1022375"/>
                  <a:gd name="connsiteX8" fmla="*/ 877987 w 878925"/>
                  <a:gd name="connsiteY8" fmla="*/ 978067 h 1022375"/>
                  <a:gd name="connsiteX9" fmla="*/ 875044 w 878925"/>
                  <a:gd name="connsiteY9" fmla="*/ 901190 h 1022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78925" h="1022375">
                    <a:moveTo>
                      <a:pt x="875044" y="901190"/>
                    </a:moveTo>
                    <a:cubicBezTo>
                      <a:pt x="875044" y="901190"/>
                      <a:pt x="856722" y="337570"/>
                      <a:pt x="820244" y="51492"/>
                    </a:cubicBezTo>
                    <a:cubicBezTo>
                      <a:pt x="820244" y="51492"/>
                      <a:pt x="680589" y="-10998"/>
                      <a:pt x="458134" y="-1934"/>
                    </a:cubicBezTo>
                    <a:cubicBezTo>
                      <a:pt x="300982" y="4467"/>
                      <a:pt x="255700" y="38048"/>
                      <a:pt x="255700" y="38048"/>
                    </a:cubicBezTo>
                    <a:lnTo>
                      <a:pt x="-938" y="989823"/>
                    </a:lnTo>
                    <a:cubicBezTo>
                      <a:pt x="-938" y="989823"/>
                      <a:pt x="143689" y="1019820"/>
                      <a:pt x="383177" y="1019540"/>
                    </a:cubicBezTo>
                    <a:lnTo>
                      <a:pt x="494229" y="916685"/>
                    </a:lnTo>
                    <a:cubicBezTo>
                      <a:pt x="494229" y="916685"/>
                      <a:pt x="524385" y="996535"/>
                      <a:pt x="583942" y="1012424"/>
                    </a:cubicBezTo>
                    <a:cubicBezTo>
                      <a:pt x="674216" y="1006209"/>
                      <a:pt x="772770" y="995396"/>
                      <a:pt x="877987" y="978067"/>
                    </a:cubicBezTo>
                    <a:lnTo>
                      <a:pt x="875044" y="901190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" name="Vrije vorm 31">
                <a:extLst>
                  <a:ext uri="{FF2B5EF4-FFF2-40B4-BE49-F238E27FC236}">
                    <a16:creationId xmlns:a16="http://schemas.microsoft.com/office/drawing/2014/main" id="{3E2C291B-8EC6-3A84-6EC9-3AEB813C519B}"/>
                  </a:ext>
                </a:extLst>
              </p:cNvPr>
              <p:cNvSpPr/>
              <p:nvPr/>
            </p:nvSpPr>
            <p:spPr>
              <a:xfrm flipV="1">
                <a:off x="1793803" y="1753180"/>
                <a:ext cx="417056" cy="649249"/>
              </a:xfrm>
              <a:custGeom>
                <a:avLst/>
                <a:gdLst>
                  <a:gd name="connsiteX0" fmla="*/ 206445 w 417056"/>
                  <a:gd name="connsiteY0" fmla="*/ -3004 h 649249"/>
                  <a:gd name="connsiteX1" fmla="*/ 416497 w 417056"/>
                  <a:gd name="connsiteY1" fmla="*/ 581922 h 649249"/>
                  <a:gd name="connsiteX2" fmla="*/ 221880 w 417056"/>
                  <a:gd name="connsiteY2" fmla="*/ 646245 h 649249"/>
                  <a:gd name="connsiteX3" fmla="*/ -559 w 417056"/>
                  <a:gd name="connsiteY3" fmla="*/ 14935 h 649249"/>
                  <a:gd name="connsiteX4" fmla="*/ 206445 w 417056"/>
                  <a:gd name="connsiteY4" fmla="*/ -3004 h 649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7056" h="649249">
                    <a:moveTo>
                      <a:pt x="206445" y="-3004"/>
                    </a:moveTo>
                    <a:lnTo>
                      <a:pt x="416497" y="581922"/>
                    </a:lnTo>
                    <a:lnTo>
                      <a:pt x="221880" y="646245"/>
                    </a:lnTo>
                    <a:lnTo>
                      <a:pt x="-559" y="14935"/>
                    </a:lnTo>
                    <a:lnTo>
                      <a:pt x="206445" y="-3004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" name="Vrije vorm 32">
                <a:extLst>
                  <a:ext uri="{FF2B5EF4-FFF2-40B4-BE49-F238E27FC236}">
                    <a16:creationId xmlns:a16="http://schemas.microsoft.com/office/drawing/2014/main" id="{E991C99B-72B7-4F65-36F2-BB23D8430302}"/>
                  </a:ext>
                </a:extLst>
              </p:cNvPr>
              <p:cNvSpPr/>
              <p:nvPr/>
            </p:nvSpPr>
            <p:spPr>
              <a:xfrm flipV="1">
                <a:off x="2754633" y="2720901"/>
                <a:ext cx="85841" cy="80839"/>
              </a:xfrm>
              <a:custGeom>
                <a:avLst/>
                <a:gdLst>
                  <a:gd name="connsiteX0" fmla="*/ -1224 w 85841"/>
                  <a:gd name="connsiteY0" fmla="*/ 53645 h 80839"/>
                  <a:gd name="connsiteX1" fmla="*/ 70282 w 85841"/>
                  <a:gd name="connsiteY1" fmla="*/ 77655 h 80839"/>
                  <a:gd name="connsiteX2" fmla="*/ 84033 w 85841"/>
                  <a:gd name="connsiteY2" fmla="*/ 54391 h 80839"/>
                  <a:gd name="connsiteX3" fmla="*/ 70292 w 85841"/>
                  <a:gd name="connsiteY3" fmla="*/ 21442 h 80839"/>
                  <a:gd name="connsiteX4" fmla="*/ 9367 w 85841"/>
                  <a:gd name="connsiteY4" fmla="*/ -2257 h 80839"/>
                  <a:gd name="connsiteX5" fmla="*/ -1224 w 85841"/>
                  <a:gd name="connsiteY5" fmla="*/ 53645 h 80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841" h="80839">
                    <a:moveTo>
                      <a:pt x="-1224" y="53645"/>
                    </a:moveTo>
                    <a:cubicBezTo>
                      <a:pt x="46581" y="63921"/>
                      <a:pt x="69753" y="77490"/>
                      <a:pt x="70282" y="77655"/>
                    </a:cubicBezTo>
                    <a:cubicBezTo>
                      <a:pt x="84272" y="82296"/>
                      <a:pt x="82458" y="68737"/>
                      <a:pt x="84033" y="54391"/>
                    </a:cubicBezTo>
                    <a:cubicBezTo>
                      <a:pt x="86116" y="35457"/>
                      <a:pt x="82873" y="25327"/>
                      <a:pt x="70292" y="21442"/>
                    </a:cubicBezTo>
                    <a:cubicBezTo>
                      <a:pt x="67991" y="20738"/>
                      <a:pt x="56954" y="9179"/>
                      <a:pt x="9367" y="-2257"/>
                    </a:cubicBezTo>
                    <a:cubicBezTo>
                      <a:pt x="5812" y="16377"/>
                      <a:pt x="2268" y="35011"/>
                      <a:pt x="-1224" y="53645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" name="Vrije vorm 33">
                <a:extLst>
                  <a:ext uri="{FF2B5EF4-FFF2-40B4-BE49-F238E27FC236}">
                    <a16:creationId xmlns:a16="http://schemas.microsoft.com/office/drawing/2014/main" id="{2E6F9ADD-CE94-6F3B-2044-C534B9D29D25}"/>
                  </a:ext>
                </a:extLst>
              </p:cNvPr>
              <p:cNvSpPr/>
              <p:nvPr/>
            </p:nvSpPr>
            <p:spPr>
              <a:xfrm flipV="1">
                <a:off x="2405041" y="2753316"/>
                <a:ext cx="314822" cy="71602"/>
              </a:xfrm>
              <a:custGeom>
                <a:avLst/>
                <a:gdLst>
                  <a:gd name="connsiteX0" fmla="*/ 5988 w 314822"/>
                  <a:gd name="connsiteY0" fmla="*/ 61618 h 71602"/>
                  <a:gd name="connsiteX1" fmla="*/ 180359 w 314822"/>
                  <a:gd name="connsiteY1" fmla="*/ 57019 h 71602"/>
                  <a:gd name="connsiteX2" fmla="*/ 309132 w 314822"/>
                  <a:gd name="connsiteY2" fmla="*/ 69376 h 71602"/>
                  <a:gd name="connsiteX3" fmla="*/ 313795 w 314822"/>
                  <a:gd name="connsiteY3" fmla="*/ 11495 h 71602"/>
                  <a:gd name="connsiteX4" fmla="*/ 181540 w 314822"/>
                  <a:gd name="connsiteY4" fmla="*/ -1804 h 71602"/>
                  <a:gd name="connsiteX5" fmla="*/ 121341 w 314822"/>
                  <a:gd name="connsiteY5" fmla="*/ -1991 h 71602"/>
                  <a:gd name="connsiteX6" fmla="*/ -1028 w 314822"/>
                  <a:gd name="connsiteY6" fmla="*/ 5602 h 71602"/>
                  <a:gd name="connsiteX7" fmla="*/ 5988 w 314822"/>
                  <a:gd name="connsiteY7" fmla="*/ 61618 h 71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4822" h="71602">
                    <a:moveTo>
                      <a:pt x="5988" y="61618"/>
                    </a:moveTo>
                    <a:cubicBezTo>
                      <a:pt x="59151" y="56563"/>
                      <a:pt x="117330" y="55527"/>
                      <a:pt x="180359" y="57019"/>
                    </a:cubicBezTo>
                    <a:cubicBezTo>
                      <a:pt x="228952" y="58168"/>
                      <a:pt x="272539" y="63213"/>
                      <a:pt x="309132" y="69376"/>
                    </a:cubicBezTo>
                    <a:cubicBezTo>
                      <a:pt x="307961" y="49965"/>
                      <a:pt x="310531" y="30699"/>
                      <a:pt x="313795" y="11495"/>
                    </a:cubicBezTo>
                    <a:cubicBezTo>
                      <a:pt x="276519" y="4783"/>
                      <a:pt x="231988" y="-624"/>
                      <a:pt x="181540" y="-1804"/>
                    </a:cubicBezTo>
                    <a:cubicBezTo>
                      <a:pt x="161011" y="-2302"/>
                      <a:pt x="140937" y="-2353"/>
                      <a:pt x="121341" y="-1991"/>
                    </a:cubicBezTo>
                    <a:cubicBezTo>
                      <a:pt x="77432" y="-1183"/>
                      <a:pt x="36964" y="1220"/>
                      <a:pt x="-1028" y="5602"/>
                    </a:cubicBezTo>
                    <a:cubicBezTo>
                      <a:pt x="3138" y="23987"/>
                      <a:pt x="5625" y="42631"/>
                      <a:pt x="5988" y="6161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" name="Vrije vorm 34">
                <a:extLst>
                  <a:ext uri="{FF2B5EF4-FFF2-40B4-BE49-F238E27FC236}">
                    <a16:creationId xmlns:a16="http://schemas.microsoft.com/office/drawing/2014/main" id="{B7E2994D-F2E2-8B3F-9DA7-A2DED1DB9052}"/>
                  </a:ext>
                </a:extLst>
              </p:cNvPr>
              <p:cNvSpPr/>
              <p:nvPr/>
            </p:nvSpPr>
            <p:spPr>
              <a:xfrm flipV="1">
                <a:off x="2254503" y="2733145"/>
                <a:ext cx="122702" cy="79294"/>
              </a:xfrm>
              <a:custGeom>
                <a:avLst/>
                <a:gdLst>
                  <a:gd name="connsiteX0" fmla="*/ 862 w 122702"/>
                  <a:gd name="connsiteY0" fmla="*/ 53938 h 79294"/>
                  <a:gd name="connsiteX1" fmla="*/ 19249 w 122702"/>
                  <a:gd name="connsiteY1" fmla="*/ 76042 h 79294"/>
                  <a:gd name="connsiteX2" fmla="*/ 121881 w 122702"/>
                  <a:gd name="connsiteY2" fmla="*/ 53006 h 79294"/>
                  <a:gd name="connsiteX3" fmla="*/ 115145 w 122702"/>
                  <a:gd name="connsiteY3" fmla="*/ -2244 h 79294"/>
                  <a:gd name="connsiteX4" fmla="*/ 7431 w 122702"/>
                  <a:gd name="connsiteY4" fmla="*/ 24759 h 79294"/>
                  <a:gd name="connsiteX5" fmla="*/ 862 w 122702"/>
                  <a:gd name="connsiteY5" fmla="*/ 53938 h 79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2702" h="79294">
                    <a:moveTo>
                      <a:pt x="862" y="53938"/>
                    </a:moveTo>
                    <a:cubicBezTo>
                      <a:pt x="3554" y="68149"/>
                      <a:pt x="5263" y="80765"/>
                      <a:pt x="19249" y="76042"/>
                    </a:cubicBezTo>
                    <a:cubicBezTo>
                      <a:pt x="50565" y="65528"/>
                      <a:pt x="84836" y="58071"/>
                      <a:pt x="121881" y="53006"/>
                    </a:cubicBezTo>
                    <a:cubicBezTo>
                      <a:pt x="120638" y="34475"/>
                      <a:pt x="117912" y="16110"/>
                      <a:pt x="115145" y="-2244"/>
                    </a:cubicBezTo>
                    <a:cubicBezTo>
                      <a:pt x="76683" y="3857"/>
                      <a:pt x="40878" y="12454"/>
                      <a:pt x="7431" y="24759"/>
                    </a:cubicBezTo>
                    <a:cubicBezTo>
                      <a:pt x="-2304" y="28333"/>
                      <a:pt x="-1855" y="39561"/>
                      <a:pt x="862" y="5393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6" name="Vrije vorm 35">
                <a:extLst>
                  <a:ext uri="{FF2B5EF4-FFF2-40B4-BE49-F238E27FC236}">
                    <a16:creationId xmlns:a16="http://schemas.microsoft.com/office/drawing/2014/main" id="{5A849470-A07E-C985-A589-49BE9C9FCD6D}"/>
                  </a:ext>
                </a:extLst>
              </p:cNvPr>
              <p:cNvSpPr/>
              <p:nvPr/>
            </p:nvSpPr>
            <p:spPr>
              <a:xfrm flipV="1">
                <a:off x="2497989" y="2756465"/>
                <a:ext cx="124938" cy="76214"/>
              </a:xfrm>
              <a:custGeom>
                <a:avLst/>
                <a:gdLst>
                  <a:gd name="connsiteX0" fmla="*/ 21079 w 124938"/>
                  <a:gd name="connsiteY0" fmla="*/ 60529 h 76214"/>
                  <a:gd name="connsiteX1" fmla="*/ 102730 w 124938"/>
                  <a:gd name="connsiteY1" fmla="*/ 61067 h 76214"/>
                  <a:gd name="connsiteX2" fmla="*/ 101880 w 124938"/>
                  <a:gd name="connsiteY2" fmla="*/ 14839 h 76214"/>
                  <a:gd name="connsiteX3" fmla="*/ 20156 w 124938"/>
                  <a:gd name="connsiteY3" fmla="*/ 10707 h 76214"/>
                  <a:gd name="connsiteX4" fmla="*/ 373 w 124938"/>
                  <a:gd name="connsiteY4" fmla="*/ 73165 h 76214"/>
                  <a:gd name="connsiteX5" fmla="*/ -1026 w 124938"/>
                  <a:gd name="connsiteY5" fmla="*/ -2220 h 76214"/>
                  <a:gd name="connsiteX6" fmla="*/ 122617 w 124938"/>
                  <a:gd name="connsiteY6" fmla="*/ 4036 h 76214"/>
                  <a:gd name="connsiteX7" fmla="*/ 123912 w 124938"/>
                  <a:gd name="connsiteY7" fmla="*/ 73994 h 76214"/>
                  <a:gd name="connsiteX8" fmla="*/ 373 w 124938"/>
                  <a:gd name="connsiteY8" fmla="*/ 73165 h 76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4938" h="76214">
                    <a:moveTo>
                      <a:pt x="21079" y="60529"/>
                    </a:moveTo>
                    <a:lnTo>
                      <a:pt x="102730" y="61067"/>
                    </a:lnTo>
                    <a:lnTo>
                      <a:pt x="101880" y="14839"/>
                    </a:lnTo>
                    <a:lnTo>
                      <a:pt x="20156" y="10707"/>
                    </a:lnTo>
                    <a:close/>
                    <a:moveTo>
                      <a:pt x="373" y="73165"/>
                    </a:moveTo>
                    <a:lnTo>
                      <a:pt x="-1026" y="-2220"/>
                    </a:lnTo>
                    <a:lnTo>
                      <a:pt x="122617" y="4036"/>
                    </a:lnTo>
                    <a:lnTo>
                      <a:pt x="123912" y="73994"/>
                    </a:lnTo>
                    <a:lnTo>
                      <a:pt x="373" y="73165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7" name="Vrije vorm 36">
                <a:extLst>
                  <a:ext uri="{FF2B5EF4-FFF2-40B4-BE49-F238E27FC236}">
                    <a16:creationId xmlns:a16="http://schemas.microsoft.com/office/drawing/2014/main" id="{B3ABB6DC-46E4-330B-1895-2173D842851D}"/>
                  </a:ext>
                </a:extLst>
              </p:cNvPr>
              <p:cNvSpPr/>
              <p:nvPr/>
            </p:nvSpPr>
            <p:spPr>
              <a:xfrm flipV="1">
                <a:off x="2418700" y="1726218"/>
                <a:ext cx="92708" cy="100099"/>
              </a:xfrm>
              <a:custGeom>
                <a:avLst/>
                <a:gdLst>
                  <a:gd name="connsiteX0" fmla="*/ 91763 w 92708"/>
                  <a:gd name="connsiteY0" fmla="*/ -3334 h 100099"/>
                  <a:gd name="connsiteX1" fmla="*/ 62943 w 92708"/>
                  <a:gd name="connsiteY1" fmla="*/ 96765 h 100099"/>
                  <a:gd name="connsiteX2" fmla="*/ -946 w 92708"/>
                  <a:gd name="connsiteY2" fmla="*/ 67514 h 100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708" h="100099">
                    <a:moveTo>
                      <a:pt x="91763" y="-3334"/>
                    </a:moveTo>
                    <a:lnTo>
                      <a:pt x="62943" y="96765"/>
                    </a:lnTo>
                    <a:lnTo>
                      <a:pt x="-946" y="67514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8" name="Vrije vorm 37">
                <a:extLst>
                  <a:ext uri="{FF2B5EF4-FFF2-40B4-BE49-F238E27FC236}">
                    <a16:creationId xmlns:a16="http://schemas.microsoft.com/office/drawing/2014/main" id="{9223F7D4-DA4E-6F50-0B8A-C103C066B466}"/>
                  </a:ext>
                </a:extLst>
              </p:cNvPr>
              <p:cNvSpPr/>
              <p:nvPr/>
            </p:nvSpPr>
            <p:spPr>
              <a:xfrm flipV="1">
                <a:off x="2511409" y="1734918"/>
                <a:ext cx="52302" cy="91398"/>
              </a:xfrm>
              <a:custGeom>
                <a:avLst/>
                <a:gdLst>
                  <a:gd name="connsiteX0" fmla="*/ 7211 w 52302"/>
                  <a:gd name="connsiteY0" fmla="*/ 88069 h 91398"/>
                  <a:gd name="connsiteX1" fmla="*/ -1007 w 52302"/>
                  <a:gd name="connsiteY1" fmla="*/ -3330 h 91398"/>
                  <a:gd name="connsiteX2" fmla="*/ 51296 w 52302"/>
                  <a:gd name="connsiteY2" fmla="*/ 61377 h 91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302" h="91398">
                    <a:moveTo>
                      <a:pt x="7211" y="88069"/>
                    </a:moveTo>
                    <a:lnTo>
                      <a:pt x="-1007" y="-3330"/>
                    </a:lnTo>
                    <a:lnTo>
                      <a:pt x="51296" y="61377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9" name="Vrije vorm 38">
                <a:extLst>
                  <a:ext uri="{FF2B5EF4-FFF2-40B4-BE49-F238E27FC236}">
                    <a16:creationId xmlns:a16="http://schemas.microsoft.com/office/drawing/2014/main" id="{32CBD6DD-6AEF-B9CD-83C8-9A04ECBEDDE5}"/>
                  </a:ext>
                </a:extLst>
              </p:cNvPr>
              <p:cNvSpPr/>
              <p:nvPr/>
            </p:nvSpPr>
            <p:spPr>
              <a:xfrm flipV="1">
                <a:off x="2519627" y="1665924"/>
                <a:ext cx="144172" cy="168472"/>
              </a:xfrm>
              <a:custGeom>
                <a:avLst/>
                <a:gdLst>
                  <a:gd name="connsiteX0" fmla="*/ 143120 w 144172"/>
                  <a:gd name="connsiteY0" fmla="*/ 102154 h 168472"/>
                  <a:gd name="connsiteX1" fmla="*/ 64878 w 144172"/>
                  <a:gd name="connsiteY1" fmla="*/ -3363 h 168472"/>
                  <a:gd name="connsiteX2" fmla="*/ -1052 w 144172"/>
                  <a:gd name="connsiteY2" fmla="*/ 96115 h 168472"/>
                  <a:gd name="connsiteX3" fmla="*/ 102621 w 144172"/>
                  <a:gd name="connsiteY3" fmla="*/ 165110 h 168472"/>
                  <a:gd name="connsiteX4" fmla="*/ 143120 w 144172"/>
                  <a:gd name="connsiteY4" fmla="*/ 102154 h 168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172" h="168472">
                    <a:moveTo>
                      <a:pt x="143120" y="102154"/>
                    </a:moveTo>
                    <a:lnTo>
                      <a:pt x="64878" y="-3363"/>
                    </a:lnTo>
                    <a:lnTo>
                      <a:pt x="-1052" y="96115"/>
                    </a:lnTo>
                    <a:lnTo>
                      <a:pt x="102621" y="165110"/>
                    </a:lnTo>
                    <a:lnTo>
                      <a:pt x="143120" y="102154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0" name="Vrije vorm 39">
                <a:extLst>
                  <a:ext uri="{FF2B5EF4-FFF2-40B4-BE49-F238E27FC236}">
                    <a16:creationId xmlns:a16="http://schemas.microsoft.com/office/drawing/2014/main" id="{05CD8B9E-93A4-1DEE-D107-DA4227BDCFBE}"/>
                  </a:ext>
                </a:extLst>
              </p:cNvPr>
              <p:cNvSpPr/>
              <p:nvPr/>
            </p:nvSpPr>
            <p:spPr>
              <a:xfrm flipV="1">
                <a:off x="2328137" y="1652013"/>
                <a:ext cx="154451" cy="176572"/>
              </a:xfrm>
              <a:custGeom>
                <a:avLst/>
                <a:gdLst>
                  <a:gd name="connsiteX0" fmla="*/ -896 w 154451"/>
                  <a:gd name="connsiteY0" fmla="*/ 110357 h 176572"/>
                  <a:gd name="connsiteX1" fmla="*/ 98496 w 154451"/>
                  <a:gd name="connsiteY1" fmla="*/ -3374 h 176572"/>
                  <a:gd name="connsiteX2" fmla="*/ 153555 w 154451"/>
                  <a:gd name="connsiteY2" fmla="*/ 98994 h 176572"/>
                  <a:gd name="connsiteX3" fmla="*/ 38994 w 154451"/>
                  <a:gd name="connsiteY3" fmla="*/ 173199 h 176572"/>
                  <a:gd name="connsiteX4" fmla="*/ -896 w 154451"/>
                  <a:gd name="connsiteY4" fmla="*/ 110357 h 176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451" h="176572">
                    <a:moveTo>
                      <a:pt x="-896" y="110357"/>
                    </a:moveTo>
                    <a:lnTo>
                      <a:pt x="98496" y="-3374"/>
                    </a:lnTo>
                    <a:lnTo>
                      <a:pt x="153555" y="98994"/>
                    </a:lnTo>
                    <a:lnTo>
                      <a:pt x="38994" y="173199"/>
                    </a:lnTo>
                    <a:lnTo>
                      <a:pt x="-896" y="110357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1" name="Vrije vorm 40">
                <a:extLst>
                  <a:ext uri="{FF2B5EF4-FFF2-40B4-BE49-F238E27FC236}">
                    <a16:creationId xmlns:a16="http://schemas.microsoft.com/office/drawing/2014/main" id="{C2095F36-A642-EB20-C262-EEFD8AB7BB5E}"/>
                  </a:ext>
                </a:extLst>
              </p:cNvPr>
              <p:cNvSpPr/>
              <p:nvPr/>
            </p:nvSpPr>
            <p:spPr>
              <a:xfrm flipV="1">
                <a:off x="1760486" y="2293877"/>
                <a:ext cx="278413" cy="142401"/>
              </a:xfrm>
              <a:custGeom>
                <a:avLst/>
                <a:gdLst>
                  <a:gd name="connsiteX0" fmla="*/ 277940 w 278413"/>
                  <a:gd name="connsiteY0" fmla="*/ 98839 h 142401"/>
                  <a:gd name="connsiteX1" fmla="*/ 38105 w 278413"/>
                  <a:gd name="connsiteY1" fmla="*/ 139712 h 142401"/>
                  <a:gd name="connsiteX2" fmla="*/ -474 w 278413"/>
                  <a:gd name="connsiteY2" fmla="*/ 41870 h 142401"/>
                  <a:gd name="connsiteX3" fmla="*/ 261011 w 278413"/>
                  <a:gd name="connsiteY3" fmla="*/ -2690 h 142401"/>
                  <a:gd name="connsiteX4" fmla="*/ 277940 w 278413"/>
                  <a:gd name="connsiteY4" fmla="*/ 98839 h 142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413" h="142401">
                    <a:moveTo>
                      <a:pt x="277940" y="98839"/>
                    </a:moveTo>
                    <a:lnTo>
                      <a:pt x="38105" y="139712"/>
                    </a:lnTo>
                    <a:lnTo>
                      <a:pt x="-474" y="41870"/>
                    </a:lnTo>
                    <a:lnTo>
                      <a:pt x="261011" y="-2690"/>
                    </a:lnTo>
                    <a:lnTo>
                      <a:pt x="277940" y="988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2" name="Vrije vorm 41">
                <a:extLst>
                  <a:ext uri="{FF2B5EF4-FFF2-40B4-BE49-F238E27FC236}">
                    <a16:creationId xmlns:a16="http://schemas.microsoft.com/office/drawing/2014/main" id="{D1190243-8EC3-F62B-3067-534EE6680D47}"/>
                  </a:ext>
                </a:extLst>
              </p:cNvPr>
              <p:cNvSpPr/>
              <p:nvPr/>
            </p:nvSpPr>
            <p:spPr>
              <a:xfrm flipV="1">
                <a:off x="2159552" y="809544"/>
                <a:ext cx="598842" cy="835969"/>
              </a:xfrm>
              <a:custGeom>
                <a:avLst/>
                <a:gdLst>
                  <a:gd name="connsiteX0" fmla="*/ 267575 w 598842"/>
                  <a:gd name="connsiteY0" fmla="*/ 817833 h 835969"/>
                  <a:gd name="connsiteX1" fmla="*/ 91920 w 598842"/>
                  <a:gd name="connsiteY1" fmla="*/ 652757 h 835969"/>
                  <a:gd name="connsiteX2" fmla="*/ 101094 w 598842"/>
                  <a:gd name="connsiteY2" fmla="*/ 443132 h 835969"/>
                  <a:gd name="connsiteX3" fmla="*/ 27159 w 598842"/>
                  <a:gd name="connsiteY3" fmla="*/ 463289 h 835969"/>
                  <a:gd name="connsiteX4" fmla="*/ 104513 w 598842"/>
                  <a:gd name="connsiteY4" fmla="*/ 260303 h 835969"/>
                  <a:gd name="connsiteX5" fmla="*/ 120759 w 598842"/>
                  <a:gd name="connsiteY5" fmla="*/ 149639 h 835969"/>
                  <a:gd name="connsiteX6" fmla="*/ 364574 w 598842"/>
                  <a:gd name="connsiteY6" fmla="*/ -2334 h 835969"/>
                  <a:gd name="connsiteX7" fmla="*/ 595279 w 598842"/>
                  <a:gd name="connsiteY7" fmla="*/ 173223 h 835969"/>
                  <a:gd name="connsiteX8" fmla="*/ 597901 w 598842"/>
                  <a:gd name="connsiteY8" fmla="*/ 686815 h 835969"/>
                  <a:gd name="connsiteX9" fmla="*/ 267575 w 598842"/>
                  <a:gd name="connsiteY9" fmla="*/ 817833 h 83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8842" h="835969">
                    <a:moveTo>
                      <a:pt x="267575" y="817833"/>
                    </a:moveTo>
                    <a:cubicBezTo>
                      <a:pt x="87087" y="776701"/>
                      <a:pt x="91920" y="652757"/>
                      <a:pt x="91920" y="652757"/>
                    </a:cubicBezTo>
                    <a:cubicBezTo>
                      <a:pt x="91920" y="652757"/>
                      <a:pt x="97531" y="557091"/>
                      <a:pt x="101094" y="443132"/>
                    </a:cubicBezTo>
                    <a:cubicBezTo>
                      <a:pt x="84399" y="466096"/>
                      <a:pt x="56143" y="475688"/>
                      <a:pt x="27159" y="463289"/>
                    </a:cubicBezTo>
                    <a:cubicBezTo>
                      <a:pt x="-34284" y="437011"/>
                      <a:pt x="11107" y="243575"/>
                      <a:pt x="104513" y="260303"/>
                    </a:cubicBezTo>
                    <a:cubicBezTo>
                      <a:pt x="108537" y="206286"/>
                      <a:pt x="113821" y="164202"/>
                      <a:pt x="120759" y="149639"/>
                    </a:cubicBezTo>
                    <a:cubicBezTo>
                      <a:pt x="146974" y="94617"/>
                      <a:pt x="262321" y="10769"/>
                      <a:pt x="364574" y="-2334"/>
                    </a:cubicBezTo>
                    <a:cubicBezTo>
                      <a:pt x="466817" y="-15437"/>
                      <a:pt x="595279" y="52688"/>
                      <a:pt x="595279" y="173223"/>
                    </a:cubicBezTo>
                    <a:cubicBezTo>
                      <a:pt x="595279" y="293770"/>
                      <a:pt x="597901" y="686815"/>
                      <a:pt x="597901" y="686815"/>
                    </a:cubicBezTo>
                    <a:cubicBezTo>
                      <a:pt x="597901" y="686815"/>
                      <a:pt x="566438" y="885968"/>
                      <a:pt x="267575" y="817833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3" name="Vrije vorm 42">
                <a:extLst>
                  <a:ext uri="{FF2B5EF4-FFF2-40B4-BE49-F238E27FC236}">
                    <a16:creationId xmlns:a16="http://schemas.microsoft.com/office/drawing/2014/main" id="{70F5135B-0A5D-57FC-A392-21C4AAC213B1}"/>
                  </a:ext>
                </a:extLst>
              </p:cNvPr>
              <p:cNvSpPr/>
              <p:nvPr/>
            </p:nvSpPr>
            <p:spPr>
              <a:xfrm flipV="1">
                <a:off x="2594542" y="1172251"/>
                <a:ext cx="94470" cy="227969"/>
              </a:xfrm>
              <a:custGeom>
                <a:avLst/>
                <a:gdLst>
                  <a:gd name="connsiteX0" fmla="*/ -1094 w 94470"/>
                  <a:gd name="connsiteY0" fmla="*/ 224099 h 227969"/>
                  <a:gd name="connsiteX1" fmla="*/ 18492 w 94470"/>
                  <a:gd name="connsiteY1" fmla="*/ 174712 h 227969"/>
                  <a:gd name="connsiteX2" fmla="*/ 28213 w 94470"/>
                  <a:gd name="connsiteY2" fmla="*/ 150205 h 227969"/>
                  <a:gd name="connsiteX3" fmla="*/ 38317 w 94470"/>
                  <a:gd name="connsiteY3" fmla="*/ 125998 h 227969"/>
                  <a:gd name="connsiteX4" fmla="*/ 48908 w 94470"/>
                  <a:gd name="connsiteY4" fmla="*/ 102112 h 227969"/>
                  <a:gd name="connsiteX5" fmla="*/ 60525 w 94470"/>
                  <a:gd name="connsiteY5" fmla="*/ 78942 h 227969"/>
                  <a:gd name="connsiteX6" fmla="*/ 66826 w 94470"/>
                  <a:gd name="connsiteY6" fmla="*/ 67693 h 227969"/>
                  <a:gd name="connsiteX7" fmla="*/ 73562 w 94470"/>
                  <a:gd name="connsiteY7" fmla="*/ 56807 h 227969"/>
                  <a:gd name="connsiteX8" fmla="*/ 80910 w 94470"/>
                  <a:gd name="connsiteY8" fmla="*/ 46428 h 227969"/>
                  <a:gd name="connsiteX9" fmla="*/ 89107 w 94470"/>
                  <a:gd name="connsiteY9" fmla="*/ 36909 h 227969"/>
                  <a:gd name="connsiteX10" fmla="*/ 93377 w 94470"/>
                  <a:gd name="connsiteY10" fmla="*/ 31947 h 227969"/>
                  <a:gd name="connsiteX11" fmla="*/ 89055 w 94470"/>
                  <a:gd name="connsiteY11" fmla="*/ 28664 h 227969"/>
                  <a:gd name="connsiteX12" fmla="*/ 43468 w 94470"/>
                  <a:gd name="connsiteY12" fmla="*/ -3871 h 227969"/>
                  <a:gd name="connsiteX13" fmla="*/ 81780 w 94470"/>
                  <a:gd name="connsiteY13" fmla="*/ 36961 h 227969"/>
                  <a:gd name="connsiteX14" fmla="*/ 81728 w 94470"/>
                  <a:gd name="connsiteY14" fmla="*/ 28716 h 227969"/>
                  <a:gd name="connsiteX15" fmla="*/ 71469 w 94470"/>
                  <a:gd name="connsiteY15" fmla="*/ 38245 h 227969"/>
                  <a:gd name="connsiteX16" fmla="*/ 62484 w 94470"/>
                  <a:gd name="connsiteY16" fmla="*/ 48779 h 227969"/>
                  <a:gd name="connsiteX17" fmla="*/ 54504 w 94470"/>
                  <a:gd name="connsiteY17" fmla="*/ 59935 h 227969"/>
                  <a:gd name="connsiteX18" fmla="*/ 47292 w 94470"/>
                  <a:gd name="connsiteY18" fmla="*/ 71505 h 227969"/>
                  <a:gd name="connsiteX19" fmla="*/ 34680 w 94470"/>
                  <a:gd name="connsiteY19" fmla="*/ 95494 h 227969"/>
                  <a:gd name="connsiteX20" fmla="*/ 24306 w 94470"/>
                  <a:gd name="connsiteY20" fmla="*/ 120343 h 227969"/>
                  <a:gd name="connsiteX21" fmla="*/ 8305 w 94470"/>
                  <a:gd name="connsiteY21" fmla="*/ 171459 h 227969"/>
                  <a:gd name="connsiteX22" fmla="*/ -1094 w 94470"/>
                  <a:gd name="connsiteY22" fmla="*/ 224099 h 227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4470" h="227969">
                    <a:moveTo>
                      <a:pt x="-1094" y="224099"/>
                    </a:moveTo>
                    <a:cubicBezTo>
                      <a:pt x="5652" y="207567"/>
                      <a:pt x="11963" y="191067"/>
                      <a:pt x="18492" y="174712"/>
                    </a:cubicBezTo>
                    <a:cubicBezTo>
                      <a:pt x="21601" y="166477"/>
                      <a:pt x="24969" y="158356"/>
                      <a:pt x="28213" y="150205"/>
                    </a:cubicBezTo>
                    <a:cubicBezTo>
                      <a:pt x="31509" y="142094"/>
                      <a:pt x="34783" y="133963"/>
                      <a:pt x="38317" y="125998"/>
                    </a:cubicBezTo>
                    <a:cubicBezTo>
                      <a:pt x="41571" y="117888"/>
                      <a:pt x="45291" y="110026"/>
                      <a:pt x="48908" y="102112"/>
                    </a:cubicBezTo>
                    <a:cubicBezTo>
                      <a:pt x="52732" y="94354"/>
                      <a:pt x="56235" y="86379"/>
                      <a:pt x="60525" y="78942"/>
                    </a:cubicBezTo>
                    <a:cubicBezTo>
                      <a:pt x="62629" y="75171"/>
                      <a:pt x="64546" y="71297"/>
                      <a:pt x="66826" y="67693"/>
                    </a:cubicBezTo>
                    <a:cubicBezTo>
                      <a:pt x="69085" y="64088"/>
                      <a:pt x="71096" y="60225"/>
                      <a:pt x="73562" y="56807"/>
                    </a:cubicBezTo>
                    <a:lnTo>
                      <a:pt x="80910" y="46428"/>
                    </a:lnTo>
                    <a:lnTo>
                      <a:pt x="89107" y="36909"/>
                    </a:lnTo>
                    <a:lnTo>
                      <a:pt x="93377" y="31947"/>
                    </a:lnTo>
                    <a:lnTo>
                      <a:pt x="89055" y="28664"/>
                    </a:lnTo>
                    <a:cubicBezTo>
                      <a:pt x="74236" y="17384"/>
                      <a:pt x="59271" y="6280"/>
                      <a:pt x="43468" y="-3871"/>
                    </a:cubicBezTo>
                    <a:cubicBezTo>
                      <a:pt x="55634" y="10424"/>
                      <a:pt x="68640" y="23775"/>
                      <a:pt x="81780" y="36961"/>
                    </a:cubicBezTo>
                    <a:lnTo>
                      <a:pt x="81728" y="28716"/>
                    </a:lnTo>
                    <a:lnTo>
                      <a:pt x="71469" y="38245"/>
                    </a:lnTo>
                    <a:cubicBezTo>
                      <a:pt x="68339" y="41643"/>
                      <a:pt x="65427" y="45206"/>
                      <a:pt x="62484" y="48779"/>
                    </a:cubicBezTo>
                    <a:cubicBezTo>
                      <a:pt x="59541" y="52342"/>
                      <a:pt x="57188" y="56216"/>
                      <a:pt x="54504" y="59935"/>
                    </a:cubicBezTo>
                    <a:cubicBezTo>
                      <a:pt x="51768" y="63633"/>
                      <a:pt x="49520" y="67548"/>
                      <a:pt x="47292" y="71505"/>
                    </a:cubicBezTo>
                    <a:cubicBezTo>
                      <a:pt x="42607" y="79315"/>
                      <a:pt x="38701" y="87415"/>
                      <a:pt x="34680" y="95494"/>
                    </a:cubicBezTo>
                    <a:cubicBezTo>
                      <a:pt x="31115" y="103749"/>
                      <a:pt x="27467" y="111963"/>
                      <a:pt x="24306" y="120343"/>
                    </a:cubicBezTo>
                    <a:cubicBezTo>
                      <a:pt x="17974" y="137102"/>
                      <a:pt x="12627" y="154161"/>
                      <a:pt x="8305" y="171459"/>
                    </a:cubicBezTo>
                    <a:cubicBezTo>
                      <a:pt x="4160" y="188809"/>
                      <a:pt x="585" y="206283"/>
                      <a:pt x="-1094" y="224099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4" name="Vrije vorm 43">
                <a:extLst>
                  <a:ext uri="{FF2B5EF4-FFF2-40B4-BE49-F238E27FC236}">
                    <a16:creationId xmlns:a16="http://schemas.microsoft.com/office/drawing/2014/main" id="{9086D760-2331-4873-AA75-20A83F74EA47}"/>
                  </a:ext>
                </a:extLst>
              </p:cNvPr>
              <p:cNvSpPr/>
              <p:nvPr/>
            </p:nvSpPr>
            <p:spPr>
              <a:xfrm flipV="1">
                <a:off x="2432794" y="1141716"/>
                <a:ext cx="52292" cy="95138"/>
              </a:xfrm>
              <a:custGeom>
                <a:avLst/>
                <a:gdLst>
                  <a:gd name="connsiteX0" fmla="*/ 51351 w 52292"/>
                  <a:gd name="connsiteY0" fmla="*/ 43598 h 95138"/>
                  <a:gd name="connsiteX1" fmla="*/ 25205 w 52292"/>
                  <a:gd name="connsiteY1" fmla="*/ -3977 h 95138"/>
                  <a:gd name="connsiteX2" fmla="*/ -941 w 52292"/>
                  <a:gd name="connsiteY2" fmla="*/ 43598 h 95138"/>
                  <a:gd name="connsiteX3" fmla="*/ 25205 w 52292"/>
                  <a:gd name="connsiteY3" fmla="*/ 91162 h 95138"/>
                  <a:gd name="connsiteX4" fmla="*/ 51351 w 52292"/>
                  <a:gd name="connsiteY4" fmla="*/ 43598 h 95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292" h="95138">
                    <a:moveTo>
                      <a:pt x="51351" y="43598"/>
                    </a:moveTo>
                    <a:cubicBezTo>
                      <a:pt x="51351" y="17319"/>
                      <a:pt x="39641" y="-3977"/>
                      <a:pt x="25205" y="-3977"/>
                    </a:cubicBezTo>
                    <a:cubicBezTo>
                      <a:pt x="10769" y="-3977"/>
                      <a:pt x="-941" y="17319"/>
                      <a:pt x="-941" y="43598"/>
                    </a:cubicBezTo>
                    <a:cubicBezTo>
                      <a:pt x="-941" y="69876"/>
                      <a:pt x="10769" y="91162"/>
                      <a:pt x="25205" y="91162"/>
                    </a:cubicBezTo>
                    <a:cubicBezTo>
                      <a:pt x="39641" y="91162"/>
                      <a:pt x="51351" y="69876"/>
                      <a:pt x="51351" y="43598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5" name="Vrije vorm 44">
                <a:extLst>
                  <a:ext uri="{FF2B5EF4-FFF2-40B4-BE49-F238E27FC236}">
                    <a16:creationId xmlns:a16="http://schemas.microsoft.com/office/drawing/2014/main" id="{A07C85CE-2782-2B63-03AF-4F70EEBD868E}"/>
                  </a:ext>
                </a:extLst>
              </p:cNvPr>
              <p:cNvSpPr/>
              <p:nvPr/>
            </p:nvSpPr>
            <p:spPr>
              <a:xfrm flipV="1">
                <a:off x="2653011" y="1152188"/>
                <a:ext cx="52292" cy="95148"/>
              </a:xfrm>
              <a:custGeom>
                <a:avLst/>
                <a:gdLst>
                  <a:gd name="connsiteX0" fmla="*/ 51167 w 52292"/>
                  <a:gd name="connsiteY0" fmla="*/ 43609 h 95148"/>
                  <a:gd name="connsiteX1" fmla="*/ 25021 w 52292"/>
                  <a:gd name="connsiteY1" fmla="*/ -3965 h 95148"/>
                  <a:gd name="connsiteX2" fmla="*/ -1125 w 52292"/>
                  <a:gd name="connsiteY2" fmla="*/ 43609 h 95148"/>
                  <a:gd name="connsiteX3" fmla="*/ 25021 w 52292"/>
                  <a:gd name="connsiteY3" fmla="*/ 91183 h 95148"/>
                  <a:gd name="connsiteX4" fmla="*/ 51167 w 52292"/>
                  <a:gd name="connsiteY4" fmla="*/ 43609 h 95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292" h="95148">
                    <a:moveTo>
                      <a:pt x="51167" y="43609"/>
                    </a:moveTo>
                    <a:cubicBezTo>
                      <a:pt x="51167" y="17331"/>
                      <a:pt x="39467" y="-3965"/>
                      <a:pt x="25021" y="-3965"/>
                    </a:cubicBezTo>
                    <a:cubicBezTo>
                      <a:pt x="10585" y="-3965"/>
                      <a:pt x="-1125" y="17331"/>
                      <a:pt x="-1125" y="43609"/>
                    </a:cubicBezTo>
                    <a:cubicBezTo>
                      <a:pt x="-1125" y="69877"/>
                      <a:pt x="10585" y="91183"/>
                      <a:pt x="25021" y="91183"/>
                    </a:cubicBezTo>
                    <a:cubicBezTo>
                      <a:pt x="39467" y="91183"/>
                      <a:pt x="51167" y="69877"/>
                      <a:pt x="51167" y="43609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6" name="Vrije vorm 45">
                <a:extLst>
                  <a:ext uri="{FF2B5EF4-FFF2-40B4-BE49-F238E27FC236}">
                    <a16:creationId xmlns:a16="http://schemas.microsoft.com/office/drawing/2014/main" id="{08D2D76E-51A0-9FE0-5892-14A79CDAA48F}"/>
                  </a:ext>
                </a:extLst>
              </p:cNvPr>
              <p:cNvSpPr/>
              <p:nvPr/>
            </p:nvSpPr>
            <p:spPr>
              <a:xfrm flipV="1">
                <a:off x="2386118" y="1044630"/>
                <a:ext cx="141571" cy="56875"/>
              </a:xfrm>
              <a:custGeom>
                <a:avLst/>
                <a:gdLst>
                  <a:gd name="connsiteX0" fmla="*/ 140632 w 141571"/>
                  <a:gd name="connsiteY0" fmla="*/ 16861 h 56875"/>
                  <a:gd name="connsiteX1" fmla="*/ 133129 w 141571"/>
                  <a:gd name="connsiteY1" fmla="*/ 17327 h 56875"/>
                  <a:gd name="connsiteX2" fmla="*/ 114651 w 141571"/>
                  <a:gd name="connsiteY2" fmla="*/ 18922 h 56875"/>
                  <a:gd name="connsiteX3" fmla="*/ 90402 w 141571"/>
                  <a:gd name="connsiteY3" fmla="*/ 20942 h 56875"/>
                  <a:gd name="connsiteX4" fmla="*/ 83956 w 141571"/>
                  <a:gd name="connsiteY4" fmla="*/ 21398 h 56875"/>
                  <a:gd name="connsiteX5" fmla="*/ 77499 w 141571"/>
                  <a:gd name="connsiteY5" fmla="*/ 21511 h 56875"/>
                  <a:gd name="connsiteX6" fmla="*/ 64722 w 141571"/>
                  <a:gd name="connsiteY6" fmla="*/ 21388 h 56875"/>
                  <a:gd name="connsiteX7" fmla="*/ 52545 w 141571"/>
                  <a:gd name="connsiteY7" fmla="*/ 20031 h 56875"/>
                  <a:gd name="connsiteX8" fmla="*/ 41114 w 141571"/>
                  <a:gd name="connsiteY8" fmla="*/ 17472 h 56875"/>
                  <a:gd name="connsiteX9" fmla="*/ 35570 w 141571"/>
                  <a:gd name="connsiteY9" fmla="*/ 15970 h 56875"/>
                  <a:gd name="connsiteX10" fmla="*/ 30471 w 141571"/>
                  <a:gd name="connsiteY10" fmla="*/ 13764 h 56875"/>
                  <a:gd name="connsiteX11" fmla="*/ 20751 w 141571"/>
                  <a:gd name="connsiteY11" fmla="*/ 9175 h 56875"/>
                  <a:gd name="connsiteX12" fmla="*/ 12097 w 141571"/>
                  <a:gd name="connsiteY12" fmla="*/ 4442 h 56875"/>
                  <a:gd name="connsiteX13" fmla="*/ 5537 w 141571"/>
                  <a:gd name="connsiteY13" fmla="*/ -116 h 56875"/>
                  <a:gd name="connsiteX14" fmla="*/ -939 w 141571"/>
                  <a:gd name="connsiteY14" fmla="*/ -4104 h 56875"/>
                  <a:gd name="connsiteX15" fmla="*/ 325 w 141571"/>
                  <a:gd name="connsiteY15" fmla="*/ 3354 h 56875"/>
                  <a:gd name="connsiteX16" fmla="*/ 2657 w 141571"/>
                  <a:gd name="connsiteY16" fmla="*/ 11910 h 56875"/>
                  <a:gd name="connsiteX17" fmla="*/ 7994 w 141571"/>
                  <a:gd name="connsiteY17" fmla="*/ 22195 h 56875"/>
                  <a:gd name="connsiteX18" fmla="*/ 11755 w 141571"/>
                  <a:gd name="connsiteY18" fmla="*/ 27861 h 56875"/>
                  <a:gd name="connsiteX19" fmla="*/ 16854 w 141571"/>
                  <a:gd name="connsiteY19" fmla="*/ 33133 h 56875"/>
                  <a:gd name="connsiteX20" fmla="*/ 22647 w 141571"/>
                  <a:gd name="connsiteY20" fmla="*/ 38499 h 56875"/>
                  <a:gd name="connsiteX21" fmla="*/ 29653 w 141571"/>
                  <a:gd name="connsiteY21" fmla="*/ 42891 h 56875"/>
                  <a:gd name="connsiteX22" fmla="*/ 45602 w 141571"/>
                  <a:gd name="connsiteY22" fmla="*/ 49727 h 56875"/>
                  <a:gd name="connsiteX23" fmla="*/ 63012 w 141571"/>
                  <a:gd name="connsiteY23" fmla="*/ 52772 h 56875"/>
                  <a:gd name="connsiteX24" fmla="*/ 80173 w 141571"/>
                  <a:gd name="connsiteY24" fmla="*/ 51850 h 56875"/>
                  <a:gd name="connsiteX25" fmla="*/ 95956 w 141571"/>
                  <a:gd name="connsiteY25" fmla="*/ 48183 h 56875"/>
                  <a:gd name="connsiteX26" fmla="*/ 121077 w 141571"/>
                  <a:gd name="connsiteY26" fmla="*/ 35878 h 56875"/>
                  <a:gd name="connsiteX27" fmla="*/ 135927 w 141571"/>
                  <a:gd name="connsiteY27" fmla="*/ 22879 h 56875"/>
                  <a:gd name="connsiteX28" fmla="*/ 140632 w 141571"/>
                  <a:gd name="connsiteY28" fmla="*/ 16861 h 56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41571" h="56875">
                    <a:moveTo>
                      <a:pt x="140632" y="16861"/>
                    </a:moveTo>
                    <a:cubicBezTo>
                      <a:pt x="140632" y="16861"/>
                      <a:pt x="137761" y="16985"/>
                      <a:pt x="133129" y="17327"/>
                    </a:cubicBezTo>
                    <a:cubicBezTo>
                      <a:pt x="128673" y="17710"/>
                      <a:pt x="122299" y="18259"/>
                      <a:pt x="114651" y="18922"/>
                    </a:cubicBezTo>
                    <a:cubicBezTo>
                      <a:pt x="107252" y="19533"/>
                      <a:pt x="98951" y="20486"/>
                      <a:pt x="90402" y="20942"/>
                    </a:cubicBezTo>
                    <a:cubicBezTo>
                      <a:pt x="88287" y="21097"/>
                      <a:pt x="86132" y="21253"/>
                      <a:pt x="83956" y="21398"/>
                    </a:cubicBezTo>
                    <a:cubicBezTo>
                      <a:pt x="81810" y="21377"/>
                      <a:pt x="79655" y="21388"/>
                      <a:pt x="77499" y="21511"/>
                    </a:cubicBezTo>
                    <a:cubicBezTo>
                      <a:pt x="73147" y="21885"/>
                      <a:pt x="68991" y="21253"/>
                      <a:pt x="64722" y="21388"/>
                    </a:cubicBezTo>
                    <a:cubicBezTo>
                      <a:pt x="60670" y="20838"/>
                      <a:pt x="56421" y="20828"/>
                      <a:pt x="52545" y="20031"/>
                    </a:cubicBezTo>
                    <a:cubicBezTo>
                      <a:pt x="48711" y="19109"/>
                      <a:pt x="44627" y="18901"/>
                      <a:pt x="41114" y="17472"/>
                    </a:cubicBezTo>
                    <a:cubicBezTo>
                      <a:pt x="39270" y="16965"/>
                      <a:pt x="37466" y="16364"/>
                      <a:pt x="35570" y="15970"/>
                    </a:cubicBezTo>
                    <a:cubicBezTo>
                      <a:pt x="33798" y="15349"/>
                      <a:pt x="32212" y="14417"/>
                      <a:pt x="30471" y="13764"/>
                    </a:cubicBezTo>
                    <a:cubicBezTo>
                      <a:pt x="26989" y="12459"/>
                      <a:pt x="23569" y="11102"/>
                      <a:pt x="20751" y="9175"/>
                    </a:cubicBezTo>
                    <a:cubicBezTo>
                      <a:pt x="17828" y="7394"/>
                      <a:pt x="14595" y="6099"/>
                      <a:pt x="12097" y="4442"/>
                    </a:cubicBezTo>
                    <a:cubicBezTo>
                      <a:pt x="9786" y="2629"/>
                      <a:pt x="7434" y="1169"/>
                      <a:pt x="5537" y="-116"/>
                    </a:cubicBezTo>
                    <a:cubicBezTo>
                      <a:pt x="1682" y="-2664"/>
                      <a:pt x="-939" y="-4104"/>
                      <a:pt x="-939" y="-4104"/>
                    </a:cubicBezTo>
                    <a:cubicBezTo>
                      <a:pt x="-939" y="-4104"/>
                      <a:pt x="-753" y="-1379"/>
                      <a:pt x="325" y="3354"/>
                    </a:cubicBezTo>
                    <a:cubicBezTo>
                      <a:pt x="884" y="5705"/>
                      <a:pt x="1537" y="8668"/>
                      <a:pt x="2657" y="11910"/>
                    </a:cubicBezTo>
                    <a:cubicBezTo>
                      <a:pt x="3807" y="15141"/>
                      <a:pt x="5807" y="18456"/>
                      <a:pt x="7994" y="22195"/>
                    </a:cubicBezTo>
                    <a:cubicBezTo>
                      <a:pt x="9154" y="24019"/>
                      <a:pt x="10263" y="26049"/>
                      <a:pt x="11755" y="27861"/>
                    </a:cubicBezTo>
                    <a:cubicBezTo>
                      <a:pt x="13393" y="29560"/>
                      <a:pt x="15103" y="31321"/>
                      <a:pt x="16854" y="33133"/>
                    </a:cubicBezTo>
                    <a:cubicBezTo>
                      <a:pt x="18657" y="34925"/>
                      <a:pt x="20564" y="36790"/>
                      <a:pt x="22647" y="38499"/>
                    </a:cubicBezTo>
                    <a:cubicBezTo>
                      <a:pt x="24844" y="40021"/>
                      <a:pt x="27238" y="41399"/>
                      <a:pt x="29653" y="42891"/>
                    </a:cubicBezTo>
                    <a:cubicBezTo>
                      <a:pt x="34420" y="46122"/>
                      <a:pt x="39943" y="47914"/>
                      <a:pt x="45602" y="49727"/>
                    </a:cubicBezTo>
                    <a:cubicBezTo>
                      <a:pt x="51229" y="51664"/>
                      <a:pt x="57157" y="51944"/>
                      <a:pt x="63012" y="52772"/>
                    </a:cubicBezTo>
                    <a:cubicBezTo>
                      <a:pt x="68763" y="52555"/>
                      <a:pt x="74722" y="53031"/>
                      <a:pt x="80173" y="51850"/>
                    </a:cubicBezTo>
                    <a:cubicBezTo>
                      <a:pt x="85728" y="51115"/>
                      <a:pt x="91054" y="49903"/>
                      <a:pt x="95956" y="48183"/>
                    </a:cubicBezTo>
                    <a:cubicBezTo>
                      <a:pt x="105915" y="45087"/>
                      <a:pt x="114351" y="40436"/>
                      <a:pt x="121077" y="35878"/>
                    </a:cubicBezTo>
                    <a:cubicBezTo>
                      <a:pt x="127740" y="31134"/>
                      <a:pt x="132756" y="26535"/>
                      <a:pt x="135927" y="22879"/>
                    </a:cubicBezTo>
                    <a:cubicBezTo>
                      <a:pt x="139181" y="19316"/>
                      <a:pt x="140632" y="16861"/>
                      <a:pt x="140632" y="16861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7" name="Vrije vorm 46">
                <a:extLst>
                  <a:ext uri="{FF2B5EF4-FFF2-40B4-BE49-F238E27FC236}">
                    <a16:creationId xmlns:a16="http://schemas.microsoft.com/office/drawing/2014/main" id="{6B1AE073-01A3-28C9-8E66-19C6D2EE747D}"/>
                  </a:ext>
                </a:extLst>
              </p:cNvPr>
              <p:cNvSpPr/>
              <p:nvPr/>
            </p:nvSpPr>
            <p:spPr>
              <a:xfrm flipV="1">
                <a:off x="2635176" y="1046384"/>
                <a:ext cx="112751" cy="55122"/>
              </a:xfrm>
              <a:custGeom>
                <a:avLst/>
                <a:gdLst>
                  <a:gd name="connsiteX0" fmla="*/ -1136 w 112751"/>
                  <a:gd name="connsiteY0" fmla="*/ 16862 h 55122"/>
                  <a:gd name="connsiteX1" fmla="*/ 2212 w 112751"/>
                  <a:gd name="connsiteY1" fmla="*/ 22434 h 55122"/>
                  <a:gd name="connsiteX2" fmla="*/ 13621 w 112751"/>
                  <a:gd name="connsiteY2" fmla="*/ 34760 h 55122"/>
                  <a:gd name="connsiteX3" fmla="*/ 34451 w 112751"/>
                  <a:gd name="connsiteY3" fmla="*/ 46807 h 55122"/>
                  <a:gd name="connsiteX4" fmla="*/ 63448 w 112751"/>
                  <a:gd name="connsiteY4" fmla="*/ 50764 h 55122"/>
                  <a:gd name="connsiteX5" fmla="*/ 78723 w 112751"/>
                  <a:gd name="connsiteY5" fmla="*/ 46869 h 55122"/>
                  <a:gd name="connsiteX6" fmla="*/ 91874 w 112751"/>
                  <a:gd name="connsiteY6" fmla="*/ 39194 h 55122"/>
                  <a:gd name="connsiteX7" fmla="*/ 101387 w 112751"/>
                  <a:gd name="connsiteY7" fmla="*/ 29219 h 55122"/>
                  <a:gd name="connsiteX8" fmla="*/ 107201 w 112751"/>
                  <a:gd name="connsiteY8" fmla="*/ 18892 h 55122"/>
                  <a:gd name="connsiteX9" fmla="*/ 110268 w 112751"/>
                  <a:gd name="connsiteY9" fmla="*/ 9674 h 55122"/>
                  <a:gd name="connsiteX10" fmla="*/ 111315 w 112751"/>
                  <a:gd name="connsiteY10" fmla="*/ 2299 h 55122"/>
                  <a:gd name="connsiteX11" fmla="*/ 111595 w 112751"/>
                  <a:gd name="connsiteY11" fmla="*/ -4103 h 55122"/>
                  <a:gd name="connsiteX12" fmla="*/ 106372 w 112751"/>
                  <a:gd name="connsiteY12" fmla="*/ -280 h 55122"/>
                  <a:gd name="connsiteX13" fmla="*/ 101097 w 112751"/>
                  <a:gd name="connsiteY13" fmla="*/ 4080 h 55122"/>
                  <a:gd name="connsiteX14" fmla="*/ 94299 w 112751"/>
                  <a:gd name="connsiteY14" fmla="*/ 8990 h 55122"/>
                  <a:gd name="connsiteX15" fmla="*/ 86713 w 112751"/>
                  <a:gd name="connsiteY15" fmla="*/ 14014 h 55122"/>
                  <a:gd name="connsiteX16" fmla="*/ 78464 w 112751"/>
                  <a:gd name="connsiteY16" fmla="*/ 18229 h 55122"/>
                  <a:gd name="connsiteX17" fmla="*/ 74215 w 112751"/>
                  <a:gd name="connsiteY17" fmla="*/ 19979 h 55122"/>
                  <a:gd name="connsiteX18" fmla="*/ 69759 w 112751"/>
                  <a:gd name="connsiteY18" fmla="*/ 21160 h 55122"/>
                  <a:gd name="connsiteX19" fmla="*/ 60546 w 112751"/>
                  <a:gd name="connsiteY19" fmla="*/ 22869 h 55122"/>
                  <a:gd name="connsiteX20" fmla="*/ 50680 w 112751"/>
                  <a:gd name="connsiteY20" fmla="*/ 23336 h 55122"/>
                  <a:gd name="connsiteX21" fmla="*/ 40400 w 112751"/>
                  <a:gd name="connsiteY21" fmla="*/ 22714 h 55122"/>
                  <a:gd name="connsiteX22" fmla="*/ 20575 w 112751"/>
                  <a:gd name="connsiteY22" fmla="*/ 20145 h 55122"/>
                  <a:gd name="connsiteX23" fmla="*/ 5175 w 112751"/>
                  <a:gd name="connsiteY23" fmla="*/ 17742 h 55122"/>
                  <a:gd name="connsiteX24" fmla="*/ -1136 w 112751"/>
                  <a:gd name="connsiteY24" fmla="*/ 16862 h 5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12751" h="55122">
                    <a:moveTo>
                      <a:pt x="-1136" y="16862"/>
                    </a:moveTo>
                    <a:cubicBezTo>
                      <a:pt x="-1136" y="16862"/>
                      <a:pt x="-193" y="19099"/>
                      <a:pt x="2212" y="22434"/>
                    </a:cubicBezTo>
                    <a:cubicBezTo>
                      <a:pt x="4523" y="25842"/>
                      <a:pt x="8336" y="30193"/>
                      <a:pt x="13621" y="34760"/>
                    </a:cubicBezTo>
                    <a:cubicBezTo>
                      <a:pt x="19010" y="39121"/>
                      <a:pt x="25891" y="43761"/>
                      <a:pt x="34451" y="46807"/>
                    </a:cubicBezTo>
                    <a:cubicBezTo>
                      <a:pt x="42825" y="50153"/>
                      <a:pt x="53053" y="51665"/>
                      <a:pt x="63448" y="50764"/>
                    </a:cubicBezTo>
                    <a:cubicBezTo>
                      <a:pt x="68660" y="49935"/>
                      <a:pt x="73904" y="49210"/>
                      <a:pt x="78723" y="46869"/>
                    </a:cubicBezTo>
                    <a:cubicBezTo>
                      <a:pt x="83749" y="45222"/>
                      <a:pt x="87977" y="42198"/>
                      <a:pt x="91874" y="39194"/>
                    </a:cubicBezTo>
                    <a:cubicBezTo>
                      <a:pt x="96060" y="36521"/>
                      <a:pt x="98579" y="32461"/>
                      <a:pt x="101387" y="29219"/>
                    </a:cubicBezTo>
                    <a:cubicBezTo>
                      <a:pt x="104289" y="25987"/>
                      <a:pt x="105646" y="22145"/>
                      <a:pt x="107201" y="18892"/>
                    </a:cubicBezTo>
                    <a:cubicBezTo>
                      <a:pt x="108600" y="15567"/>
                      <a:pt x="109926" y="12615"/>
                      <a:pt x="110268" y="9674"/>
                    </a:cubicBezTo>
                    <a:cubicBezTo>
                      <a:pt x="110859" y="6867"/>
                      <a:pt x="111087" y="4329"/>
                      <a:pt x="111315" y="2299"/>
                    </a:cubicBezTo>
                    <a:cubicBezTo>
                      <a:pt x="111730" y="-1762"/>
                      <a:pt x="111595" y="-4103"/>
                      <a:pt x="111595" y="-4103"/>
                    </a:cubicBezTo>
                    <a:cubicBezTo>
                      <a:pt x="111595" y="-4103"/>
                      <a:pt x="109460" y="-2715"/>
                      <a:pt x="106372" y="-280"/>
                    </a:cubicBezTo>
                    <a:cubicBezTo>
                      <a:pt x="104838" y="952"/>
                      <a:pt x="102942" y="2361"/>
                      <a:pt x="101097" y="4080"/>
                    </a:cubicBezTo>
                    <a:cubicBezTo>
                      <a:pt x="99325" y="5893"/>
                      <a:pt x="96641" y="7239"/>
                      <a:pt x="94299" y="8990"/>
                    </a:cubicBezTo>
                    <a:cubicBezTo>
                      <a:pt x="91822" y="10606"/>
                      <a:pt x="89646" y="12812"/>
                      <a:pt x="86713" y="14014"/>
                    </a:cubicBezTo>
                    <a:cubicBezTo>
                      <a:pt x="83884" y="15308"/>
                      <a:pt x="81531" y="17463"/>
                      <a:pt x="78464" y="18229"/>
                    </a:cubicBezTo>
                    <a:cubicBezTo>
                      <a:pt x="76992" y="18726"/>
                      <a:pt x="75603" y="19358"/>
                      <a:pt x="74215" y="19979"/>
                    </a:cubicBezTo>
                    <a:cubicBezTo>
                      <a:pt x="72826" y="20632"/>
                      <a:pt x="71189" y="20663"/>
                      <a:pt x="69759" y="21160"/>
                    </a:cubicBezTo>
                    <a:cubicBezTo>
                      <a:pt x="66878" y="22175"/>
                      <a:pt x="63686" y="22404"/>
                      <a:pt x="60546" y="22869"/>
                    </a:cubicBezTo>
                    <a:cubicBezTo>
                      <a:pt x="57375" y="23274"/>
                      <a:pt x="54027" y="23253"/>
                      <a:pt x="50680" y="23336"/>
                    </a:cubicBezTo>
                    <a:cubicBezTo>
                      <a:pt x="47271" y="23097"/>
                      <a:pt x="43851" y="23201"/>
                      <a:pt x="40400" y="22714"/>
                    </a:cubicBezTo>
                    <a:cubicBezTo>
                      <a:pt x="33498" y="22217"/>
                      <a:pt x="26700" y="20995"/>
                      <a:pt x="20575" y="20145"/>
                    </a:cubicBezTo>
                    <a:cubicBezTo>
                      <a:pt x="14202" y="19151"/>
                      <a:pt x="8896" y="18323"/>
                      <a:pt x="5175" y="17742"/>
                    </a:cubicBezTo>
                    <a:cubicBezTo>
                      <a:pt x="1154" y="17183"/>
                      <a:pt x="-1136" y="16862"/>
                      <a:pt x="-1136" y="16862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8" name="Vrije vorm 47">
                <a:extLst>
                  <a:ext uri="{FF2B5EF4-FFF2-40B4-BE49-F238E27FC236}">
                    <a16:creationId xmlns:a16="http://schemas.microsoft.com/office/drawing/2014/main" id="{5218781C-5403-3F2B-FDB3-55B6CDE48DB2}"/>
                  </a:ext>
                </a:extLst>
              </p:cNvPr>
              <p:cNvSpPr/>
              <p:nvPr/>
            </p:nvSpPr>
            <p:spPr>
              <a:xfrm flipV="1">
                <a:off x="2424130" y="1425111"/>
                <a:ext cx="249058" cy="60672"/>
              </a:xfrm>
              <a:custGeom>
                <a:avLst/>
                <a:gdLst>
                  <a:gd name="connsiteX0" fmla="*/ -1016 w 249058"/>
                  <a:gd name="connsiteY0" fmla="*/ 56987 h 60672"/>
                  <a:gd name="connsiteX1" fmla="*/ 248042 w 249058"/>
                  <a:gd name="connsiteY1" fmla="*/ 43884 h 60672"/>
                  <a:gd name="connsiteX2" fmla="*/ -1016 w 249058"/>
                  <a:gd name="connsiteY2" fmla="*/ 56987 h 60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9058" h="60672">
                    <a:moveTo>
                      <a:pt x="-1016" y="56987"/>
                    </a:moveTo>
                    <a:lnTo>
                      <a:pt x="248042" y="43884"/>
                    </a:lnTo>
                    <a:cubicBezTo>
                      <a:pt x="248042" y="43884"/>
                      <a:pt x="187749" y="-71410"/>
                      <a:pt x="-1016" y="56987"/>
                    </a:cubicBezTo>
                  </a:path>
                </a:pathLst>
              </a:custGeom>
              <a:solidFill>
                <a:srgbClr val="FFFFF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49" name="Vrije vorm 48">
                <a:extLst>
                  <a:ext uri="{FF2B5EF4-FFF2-40B4-BE49-F238E27FC236}">
                    <a16:creationId xmlns:a16="http://schemas.microsoft.com/office/drawing/2014/main" id="{7EE1BF41-133E-5AF8-69E2-7395F5D02B1F}"/>
                  </a:ext>
                </a:extLst>
              </p:cNvPr>
              <p:cNvSpPr/>
              <p:nvPr/>
            </p:nvSpPr>
            <p:spPr>
              <a:xfrm flipV="1">
                <a:off x="2181014" y="1208559"/>
                <a:ext cx="76642" cy="142201"/>
              </a:xfrm>
              <a:custGeom>
                <a:avLst/>
                <a:gdLst>
                  <a:gd name="connsiteX0" fmla="*/ 14224 w 76642"/>
                  <a:gd name="connsiteY0" fmla="*/ 135292 h 142201"/>
                  <a:gd name="connsiteX1" fmla="*/ 75902 w 76642"/>
                  <a:gd name="connsiteY1" fmla="*/ 44929 h 142201"/>
                  <a:gd name="connsiteX2" fmla="*/ 59858 w 76642"/>
                  <a:gd name="connsiteY2" fmla="*/ -3226 h 142201"/>
                  <a:gd name="connsiteX3" fmla="*/ 14224 w 76642"/>
                  <a:gd name="connsiteY3" fmla="*/ 135292 h 142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642" h="142201">
                    <a:moveTo>
                      <a:pt x="14224" y="135292"/>
                    </a:moveTo>
                    <a:cubicBezTo>
                      <a:pt x="46249" y="151512"/>
                      <a:pt x="74590" y="99950"/>
                      <a:pt x="75902" y="44929"/>
                    </a:cubicBezTo>
                    <a:cubicBezTo>
                      <a:pt x="49686" y="48854"/>
                      <a:pt x="45253" y="18350"/>
                      <a:pt x="59858" y="-3226"/>
                    </a:cubicBezTo>
                    <a:cubicBezTo>
                      <a:pt x="7832" y="-14257"/>
                      <a:pt x="-19760" y="118097"/>
                      <a:pt x="14224" y="13529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0" name="Vrije vorm 49">
                <a:extLst>
                  <a:ext uri="{FF2B5EF4-FFF2-40B4-BE49-F238E27FC236}">
                    <a16:creationId xmlns:a16="http://schemas.microsoft.com/office/drawing/2014/main" id="{240C822A-9A15-99CE-E896-DA2B0046A103}"/>
                  </a:ext>
                </a:extLst>
              </p:cNvPr>
              <p:cNvSpPr/>
              <p:nvPr/>
            </p:nvSpPr>
            <p:spPr>
              <a:xfrm flipV="1">
                <a:off x="2182806" y="2497769"/>
                <a:ext cx="154403" cy="269745"/>
              </a:xfrm>
              <a:custGeom>
                <a:avLst/>
                <a:gdLst>
                  <a:gd name="connsiteX0" fmla="*/ -775 w 154403"/>
                  <a:gd name="connsiteY0" fmla="*/ 17911 h 269745"/>
                  <a:gd name="connsiteX1" fmla="*/ 79641 w 154403"/>
                  <a:gd name="connsiteY1" fmla="*/ 130016 h 269745"/>
                  <a:gd name="connsiteX2" fmla="*/ 92336 w 154403"/>
                  <a:gd name="connsiteY2" fmla="*/ 174431 h 269745"/>
                  <a:gd name="connsiteX3" fmla="*/ 79641 w 154403"/>
                  <a:gd name="connsiteY3" fmla="*/ 204044 h 269745"/>
                  <a:gd name="connsiteX4" fmla="*/ 22502 w 154403"/>
                  <a:gd name="connsiteY4" fmla="*/ 201931 h 269745"/>
                  <a:gd name="connsiteX5" fmla="*/ 3455 w 154403"/>
                  <a:gd name="connsiteY5" fmla="*/ 79251 h 269745"/>
                  <a:gd name="connsiteX6" fmla="*/ -775 w 154403"/>
                  <a:gd name="connsiteY6" fmla="*/ 17911 h 269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403" h="269745">
                    <a:moveTo>
                      <a:pt x="-775" y="17911"/>
                    </a:moveTo>
                    <a:cubicBezTo>
                      <a:pt x="-775" y="17911"/>
                      <a:pt x="121963" y="-73043"/>
                      <a:pt x="79641" y="130016"/>
                    </a:cubicBezTo>
                    <a:cubicBezTo>
                      <a:pt x="79641" y="130016"/>
                      <a:pt x="229896" y="172318"/>
                      <a:pt x="92336" y="174431"/>
                    </a:cubicBezTo>
                    <a:cubicBezTo>
                      <a:pt x="92336" y="174431"/>
                      <a:pt x="238352" y="244233"/>
                      <a:pt x="79641" y="204044"/>
                    </a:cubicBezTo>
                    <a:cubicBezTo>
                      <a:pt x="79641" y="204044"/>
                      <a:pt x="189687" y="347875"/>
                      <a:pt x="22502" y="201931"/>
                    </a:cubicBezTo>
                    <a:cubicBezTo>
                      <a:pt x="22502" y="201931"/>
                      <a:pt x="-10652" y="168786"/>
                      <a:pt x="3455" y="79251"/>
                    </a:cubicBezTo>
                    <a:lnTo>
                      <a:pt x="-775" y="17911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1" name="Vrije vorm 50">
                <a:extLst>
                  <a:ext uri="{FF2B5EF4-FFF2-40B4-BE49-F238E27FC236}">
                    <a16:creationId xmlns:a16="http://schemas.microsoft.com/office/drawing/2014/main" id="{60D0DF26-FE2E-E27F-F298-91E79CFA26A1}"/>
                  </a:ext>
                </a:extLst>
              </p:cNvPr>
              <p:cNvSpPr/>
              <p:nvPr/>
            </p:nvSpPr>
            <p:spPr>
              <a:xfrm flipV="1">
                <a:off x="2843072" y="1764936"/>
                <a:ext cx="245482" cy="692494"/>
              </a:xfrm>
              <a:custGeom>
                <a:avLst/>
                <a:gdLst>
                  <a:gd name="connsiteX0" fmla="*/ 50730 w 245482"/>
                  <a:gd name="connsiteY0" fmla="*/ 689526 h 692494"/>
                  <a:gd name="connsiteX1" fmla="*/ 244118 w 245482"/>
                  <a:gd name="connsiteY1" fmla="*/ 56259 h 692494"/>
                  <a:gd name="connsiteX2" fmla="*/ 83281 w 245482"/>
                  <a:gd name="connsiteY2" fmla="*/ -2968 h 692494"/>
                  <a:gd name="connsiteX3" fmla="*/ -1365 w 245482"/>
                  <a:gd name="connsiteY3" fmla="*/ 208553 h 692494"/>
                  <a:gd name="connsiteX4" fmla="*/ 50730 w 245482"/>
                  <a:gd name="connsiteY4" fmla="*/ 689526 h 692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482" h="692494">
                    <a:moveTo>
                      <a:pt x="50730" y="689526"/>
                    </a:moveTo>
                    <a:lnTo>
                      <a:pt x="244118" y="56259"/>
                    </a:lnTo>
                    <a:lnTo>
                      <a:pt x="83281" y="-2968"/>
                    </a:lnTo>
                    <a:lnTo>
                      <a:pt x="-1365" y="208553"/>
                    </a:lnTo>
                    <a:lnTo>
                      <a:pt x="50730" y="689526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2" name="Vrije vorm 51">
                <a:extLst>
                  <a:ext uri="{FF2B5EF4-FFF2-40B4-BE49-F238E27FC236}">
                    <a16:creationId xmlns:a16="http://schemas.microsoft.com/office/drawing/2014/main" id="{BC27F630-3DF3-2072-3F11-1C5101DE6E7E}"/>
                  </a:ext>
                </a:extLst>
              </p:cNvPr>
              <p:cNvSpPr/>
              <p:nvPr/>
            </p:nvSpPr>
            <p:spPr>
              <a:xfrm flipV="1">
                <a:off x="2897707" y="2335703"/>
                <a:ext cx="225616" cy="167592"/>
              </a:xfrm>
              <a:custGeom>
                <a:avLst/>
                <a:gdLst>
                  <a:gd name="connsiteX0" fmla="*/ 186710 w 225616"/>
                  <a:gd name="connsiteY0" fmla="*/ 164962 h 167592"/>
                  <a:gd name="connsiteX1" fmla="*/ -1402 w 225616"/>
                  <a:gd name="connsiteY1" fmla="*/ 87349 h 167592"/>
                  <a:gd name="connsiteX2" fmla="*/ 38568 w 225616"/>
                  <a:gd name="connsiteY2" fmla="*/ -2631 h 167592"/>
                  <a:gd name="connsiteX3" fmla="*/ 224214 w 225616"/>
                  <a:gd name="connsiteY3" fmla="*/ 79415 h 167592"/>
                  <a:gd name="connsiteX4" fmla="*/ 186710 w 225616"/>
                  <a:gd name="connsiteY4" fmla="*/ 164962 h 16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616" h="167592">
                    <a:moveTo>
                      <a:pt x="186710" y="164962"/>
                    </a:moveTo>
                    <a:lnTo>
                      <a:pt x="-1402" y="87349"/>
                    </a:lnTo>
                    <a:lnTo>
                      <a:pt x="38568" y="-2631"/>
                    </a:lnTo>
                    <a:lnTo>
                      <a:pt x="224214" y="79415"/>
                    </a:lnTo>
                    <a:lnTo>
                      <a:pt x="186710" y="164962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53" name="Vrije vorm 52">
                <a:extLst>
                  <a:ext uri="{FF2B5EF4-FFF2-40B4-BE49-F238E27FC236}">
                    <a16:creationId xmlns:a16="http://schemas.microsoft.com/office/drawing/2014/main" id="{3C821E09-578E-8207-3E0B-F626E1F6975C}"/>
                  </a:ext>
                </a:extLst>
              </p:cNvPr>
              <p:cNvSpPr/>
              <p:nvPr/>
            </p:nvSpPr>
            <p:spPr>
              <a:xfrm rot="15671137" flipV="1">
                <a:off x="3173249" y="1799886"/>
                <a:ext cx="369917" cy="258077"/>
              </a:xfrm>
              <a:custGeom>
                <a:avLst/>
                <a:gdLst>
                  <a:gd name="connsiteX0" fmla="*/ 2564 w 300227"/>
                  <a:gd name="connsiteY0" fmla="*/ 257593 h 317983"/>
                  <a:gd name="connsiteX1" fmla="*/ 104962 w 300227"/>
                  <a:gd name="connsiteY1" fmla="*/ 315815 h 317983"/>
                  <a:gd name="connsiteX2" fmla="*/ 216833 w 300227"/>
                  <a:gd name="connsiteY2" fmla="*/ 273306 h 317983"/>
                  <a:gd name="connsiteX3" fmla="*/ 298494 w 300227"/>
                  <a:gd name="connsiteY3" fmla="*/ 221329 h 317983"/>
                  <a:gd name="connsiteX4" fmla="*/ 219579 w 300227"/>
                  <a:gd name="connsiteY4" fmla="*/ 216461 h 317983"/>
                  <a:gd name="connsiteX5" fmla="*/ 189878 w 300227"/>
                  <a:gd name="connsiteY5" fmla="*/ 223111 h 317983"/>
                  <a:gd name="connsiteX6" fmla="*/ 257674 w 300227"/>
                  <a:gd name="connsiteY6" fmla="*/ 123394 h 317983"/>
                  <a:gd name="connsiteX7" fmla="*/ 274597 w 300227"/>
                  <a:gd name="connsiteY7" fmla="*/ 62759 h 317983"/>
                  <a:gd name="connsiteX8" fmla="*/ 175338 w 300227"/>
                  <a:gd name="connsiteY8" fmla="*/ 151050 h 317983"/>
                  <a:gd name="connsiteX9" fmla="*/ 240740 w 300227"/>
                  <a:gd name="connsiteY9" fmla="*/ 19048 h 317983"/>
                  <a:gd name="connsiteX10" fmla="*/ 127512 w 300227"/>
                  <a:gd name="connsiteY10" fmla="*/ 128211 h 317983"/>
                  <a:gd name="connsiteX11" fmla="*/ 174468 w 300227"/>
                  <a:gd name="connsiteY11" fmla="*/ 3791 h 317983"/>
                  <a:gd name="connsiteX12" fmla="*/ 74266 w 300227"/>
                  <a:gd name="connsiteY12" fmla="*/ 123394 h 317983"/>
                  <a:gd name="connsiteX13" fmla="*/ 84142 w 300227"/>
                  <a:gd name="connsiteY13" fmla="*/ 31736 h 317983"/>
                  <a:gd name="connsiteX14" fmla="*/ 46047 w 300227"/>
                  <a:gd name="connsiteY14" fmla="*/ 83909 h 317983"/>
                  <a:gd name="connsiteX15" fmla="*/ 22305 w 300227"/>
                  <a:gd name="connsiteY15" fmla="*/ 151941 h 317983"/>
                  <a:gd name="connsiteX16" fmla="*/ 2564 w 300227"/>
                  <a:gd name="connsiteY16" fmla="*/ 257593 h 317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00227" h="317983">
                    <a:moveTo>
                      <a:pt x="2564" y="257593"/>
                    </a:moveTo>
                    <a:cubicBezTo>
                      <a:pt x="2564" y="257593"/>
                      <a:pt x="58038" y="319109"/>
                      <a:pt x="104962" y="315815"/>
                    </a:cubicBezTo>
                    <a:cubicBezTo>
                      <a:pt x="151887" y="312511"/>
                      <a:pt x="187080" y="307891"/>
                      <a:pt x="216833" y="273306"/>
                    </a:cubicBezTo>
                    <a:cubicBezTo>
                      <a:pt x="246575" y="238710"/>
                      <a:pt x="301541" y="233386"/>
                      <a:pt x="298494" y="221329"/>
                    </a:cubicBezTo>
                    <a:cubicBezTo>
                      <a:pt x="295448" y="209262"/>
                      <a:pt x="289364" y="171051"/>
                      <a:pt x="219579" y="216461"/>
                    </a:cubicBezTo>
                    <a:cubicBezTo>
                      <a:pt x="219579" y="216461"/>
                      <a:pt x="193277" y="241776"/>
                      <a:pt x="189878" y="223111"/>
                    </a:cubicBezTo>
                    <a:cubicBezTo>
                      <a:pt x="187132" y="207998"/>
                      <a:pt x="220988" y="174159"/>
                      <a:pt x="257674" y="123394"/>
                    </a:cubicBezTo>
                    <a:cubicBezTo>
                      <a:pt x="307738" y="54110"/>
                      <a:pt x="289510" y="59703"/>
                      <a:pt x="274597" y="62759"/>
                    </a:cubicBezTo>
                    <a:cubicBezTo>
                      <a:pt x="259695" y="65814"/>
                      <a:pt x="198417" y="136083"/>
                      <a:pt x="175338" y="151050"/>
                    </a:cubicBezTo>
                    <a:cubicBezTo>
                      <a:pt x="157338" y="162724"/>
                      <a:pt x="256088" y="32679"/>
                      <a:pt x="240740" y="19048"/>
                    </a:cubicBezTo>
                    <a:cubicBezTo>
                      <a:pt x="215340" y="-3522"/>
                      <a:pt x="128062" y="147321"/>
                      <a:pt x="127512" y="128211"/>
                    </a:cubicBezTo>
                    <a:cubicBezTo>
                      <a:pt x="126963" y="109111"/>
                      <a:pt x="181359" y="16251"/>
                      <a:pt x="174468" y="3791"/>
                    </a:cubicBezTo>
                    <a:cubicBezTo>
                      <a:pt x="153275" y="-34544"/>
                      <a:pt x="83407" y="128874"/>
                      <a:pt x="74266" y="123394"/>
                    </a:cubicBezTo>
                    <a:cubicBezTo>
                      <a:pt x="67209" y="119158"/>
                      <a:pt x="98413" y="43089"/>
                      <a:pt x="84142" y="31736"/>
                    </a:cubicBezTo>
                    <a:cubicBezTo>
                      <a:pt x="69862" y="20384"/>
                      <a:pt x="54887" y="59848"/>
                      <a:pt x="46047" y="83909"/>
                    </a:cubicBezTo>
                    <a:cubicBezTo>
                      <a:pt x="35705" y="112052"/>
                      <a:pt x="33466" y="125611"/>
                      <a:pt x="22305" y="151941"/>
                    </a:cubicBezTo>
                    <a:cubicBezTo>
                      <a:pt x="11134" y="178271"/>
                      <a:pt x="-10774" y="218926"/>
                      <a:pt x="2564" y="257593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0E7E941E-6C58-6322-344D-74904E48D127}"/>
                </a:ext>
              </a:extLst>
            </p:cNvPr>
            <p:cNvGrpSpPr/>
            <p:nvPr/>
          </p:nvGrpSpPr>
          <p:grpSpPr>
            <a:xfrm>
              <a:off x="1937255" y="2063426"/>
              <a:ext cx="449164" cy="153635"/>
              <a:chOff x="1937255" y="2063426"/>
              <a:chExt cx="449164" cy="153635"/>
            </a:xfrm>
          </p:grpSpPr>
          <p:sp>
            <p:nvSpPr>
              <p:cNvPr id="11" name="Vrije vorm 10">
                <a:extLst>
                  <a:ext uri="{FF2B5EF4-FFF2-40B4-BE49-F238E27FC236}">
                    <a16:creationId xmlns:a16="http://schemas.microsoft.com/office/drawing/2014/main" id="{D9B8B791-D934-8CB1-3093-4F2041DB3F38}"/>
                  </a:ext>
                </a:extLst>
              </p:cNvPr>
              <p:cNvSpPr/>
              <p:nvPr/>
            </p:nvSpPr>
            <p:spPr>
              <a:xfrm flipV="1">
                <a:off x="2037505" y="2063426"/>
                <a:ext cx="144000" cy="144000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" name="Vrije vorm 11">
                <a:extLst>
                  <a:ext uri="{FF2B5EF4-FFF2-40B4-BE49-F238E27FC236}">
                    <a16:creationId xmlns:a16="http://schemas.microsoft.com/office/drawing/2014/main" id="{E2BCC4F5-2437-46ED-1FC0-D0718CE2923E}"/>
                  </a:ext>
                </a:extLst>
              </p:cNvPr>
              <p:cNvSpPr/>
              <p:nvPr/>
            </p:nvSpPr>
            <p:spPr>
              <a:xfrm flipV="1">
                <a:off x="2242419" y="2073061"/>
                <a:ext cx="144000" cy="144000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" name="Vrije vorm 12">
                <a:extLst>
                  <a:ext uri="{FF2B5EF4-FFF2-40B4-BE49-F238E27FC236}">
                    <a16:creationId xmlns:a16="http://schemas.microsoft.com/office/drawing/2014/main" id="{978C0C44-74BB-A47E-7340-F1A8379024C5}"/>
                  </a:ext>
                </a:extLst>
              </p:cNvPr>
              <p:cNvSpPr/>
              <p:nvPr/>
            </p:nvSpPr>
            <p:spPr>
              <a:xfrm flipV="1">
                <a:off x="1937255" y="2113770"/>
                <a:ext cx="104773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" name="Vrije vorm 13">
                <a:extLst>
                  <a:ext uri="{FF2B5EF4-FFF2-40B4-BE49-F238E27FC236}">
                    <a16:creationId xmlns:a16="http://schemas.microsoft.com/office/drawing/2014/main" id="{D8F687E0-4EB9-D566-65C4-8423CBA73AD6}"/>
                  </a:ext>
                </a:extLst>
              </p:cNvPr>
              <p:cNvSpPr/>
              <p:nvPr/>
            </p:nvSpPr>
            <p:spPr>
              <a:xfrm flipV="1">
                <a:off x="2175060" y="2124470"/>
                <a:ext cx="72000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10" name="Vrije vorm 9">
              <a:extLst>
                <a:ext uri="{FF2B5EF4-FFF2-40B4-BE49-F238E27FC236}">
                  <a16:creationId xmlns:a16="http://schemas.microsoft.com/office/drawing/2014/main" id="{1A74A2CD-6447-1B71-D91F-4DE775553868}"/>
                </a:ext>
              </a:extLst>
            </p:cNvPr>
            <p:cNvSpPr/>
            <p:nvPr/>
          </p:nvSpPr>
          <p:spPr>
            <a:xfrm flipV="1">
              <a:off x="1801711" y="1747503"/>
              <a:ext cx="634548" cy="421057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sp>
        <p:nvSpPr>
          <p:cNvPr id="2269" name="Rechthoek 2268">
            <a:extLst>
              <a:ext uri="{FF2B5EF4-FFF2-40B4-BE49-F238E27FC236}">
                <a16:creationId xmlns:a16="http://schemas.microsoft.com/office/drawing/2014/main" id="{415F288E-E0BC-F508-6805-3E51120F1A77}"/>
              </a:ext>
            </a:extLst>
          </p:cNvPr>
          <p:cNvSpPr/>
          <p:nvPr/>
        </p:nvSpPr>
        <p:spPr>
          <a:xfrm>
            <a:off x="9228129" y="891511"/>
            <a:ext cx="1860144" cy="3976389"/>
          </a:xfrm>
          <a:prstGeom prst="rect">
            <a:avLst/>
          </a:prstGeom>
          <a:solidFill>
            <a:srgbClr val="A24027"/>
          </a:solidFill>
          <a:ln>
            <a:noFill/>
          </a:ln>
          <a:scene3d>
            <a:camera prst="orthographicFront"/>
            <a:lightRig rig="threePt" dir="t"/>
          </a:scene3d>
          <a:sp3d>
            <a:bevelT prst="slop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dirty="0"/>
          </a:p>
        </p:txBody>
      </p:sp>
      <p:sp>
        <p:nvSpPr>
          <p:cNvPr id="2272" name="Rechthoek 2271">
            <a:extLst>
              <a:ext uri="{FF2B5EF4-FFF2-40B4-BE49-F238E27FC236}">
                <a16:creationId xmlns:a16="http://schemas.microsoft.com/office/drawing/2014/main" id="{D556E1C5-4E57-E5BB-7599-A1ED8BFF1D89}"/>
              </a:ext>
            </a:extLst>
          </p:cNvPr>
          <p:cNvSpPr/>
          <p:nvPr/>
        </p:nvSpPr>
        <p:spPr>
          <a:xfrm>
            <a:off x="9436608" y="2848224"/>
            <a:ext cx="146304" cy="3716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scene3d>
            <a:camera prst="perspective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274" name="Afgeronde rechthoek 2273">
            <a:extLst>
              <a:ext uri="{FF2B5EF4-FFF2-40B4-BE49-F238E27FC236}">
                <a16:creationId xmlns:a16="http://schemas.microsoft.com/office/drawing/2014/main" id="{FD80196E-A594-75E9-FE23-38EA3B103F57}"/>
              </a:ext>
            </a:extLst>
          </p:cNvPr>
          <p:cNvSpPr/>
          <p:nvPr/>
        </p:nvSpPr>
        <p:spPr>
          <a:xfrm>
            <a:off x="9504720" y="3030555"/>
            <a:ext cx="194241" cy="72000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scene3d>
            <a:camera prst="perspectiveLef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143" name="Vrije vorm 2142">
            <a:extLst>
              <a:ext uri="{FF2B5EF4-FFF2-40B4-BE49-F238E27FC236}">
                <a16:creationId xmlns:a16="http://schemas.microsoft.com/office/drawing/2014/main" id="{10021203-AF09-32C6-9D5B-826E5BB6E56D}"/>
              </a:ext>
            </a:extLst>
          </p:cNvPr>
          <p:cNvSpPr/>
          <p:nvPr/>
        </p:nvSpPr>
        <p:spPr>
          <a:xfrm flipV="1">
            <a:off x="3178137" y="4729505"/>
            <a:ext cx="4409940" cy="1128695"/>
          </a:xfrm>
          <a:custGeom>
            <a:avLst/>
            <a:gdLst>
              <a:gd name="connsiteX0" fmla="*/ -2173 w 1606251"/>
              <a:gd name="connsiteY0" fmla="*/ 20 h 423909"/>
              <a:gd name="connsiteX1" fmla="*/ 1604078 w 1606251"/>
              <a:gd name="connsiteY1" fmla="*/ 20 h 423909"/>
              <a:gd name="connsiteX2" fmla="*/ 1604078 w 1606251"/>
              <a:gd name="connsiteY2" fmla="*/ 423930 h 423909"/>
              <a:gd name="connsiteX3" fmla="*/ -2173 w 1606251"/>
              <a:gd name="connsiteY3" fmla="*/ 423930 h 423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51" h="423909">
                <a:moveTo>
                  <a:pt x="-2173" y="20"/>
                </a:moveTo>
                <a:lnTo>
                  <a:pt x="1604078" y="20"/>
                </a:lnTo>
                <a:lnTo>
                  <a:pt x="1604078" y="423930"/>
                </a:lnTo>
                <a:lnTo>
                  <a:pt x="-2173" y="423930"/>
                </a:lnTo>
                <a:close/>
              </a:path>
            </a:pathLst>
          </a:custGeom>
          <a:solidFill>
            <a:srgbClr val="C6C5C3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grpSp>
        <p:nvGrpSpPr>
          <p:cNvPr id="2257" name="Groep 2256">
            <a:extLst>
              <a:ext uri="{FF2B5EF4-FFF2-40B4-BE49-F238E27FC236}">
                <a16:creationId xmlns:a16="http://schemas.microsoft.com/office/drawing/2014/main" id="{65CB1A53-C069-E223-4B26-BF707F67F70E}"/>
              </a:ext>
            </a:extLst>
          </p:cNvPr>
          <p:cNvGrpSpPr/>
          <p:nvPr/>
        </p:nvGrpSpPr>
        <p:grpSpPr>
          <a:xfrm>
            <a:off x="5011431" y="3581790"/>
            <a:ext cx="1010574" cy="1925513"/>
            <a:chOff x="4998690" y="3606506"/>
            <a:chExt cx="1010574" cy="1925513"/>
          </a:xfrm>
        </p:grpSpPr>
        <p:sp>
          <p:nvSpPr>
            <p:cNvPr id="2250" name="Vrije vorm 2249">
              <a:extLst>
                <a:ext uri="{FF2B5EF4-FFF2-40B4-BE49-F238E27FC236}">
                  <a16:creationId xmlns:a16="http://schemas.microsoft.com/office/drawing/2014/main" id="{D63C4C7B-1E4F-CB73-95BF-6A1D066C81E3}"/>
                </a:ext>
              </a:extLst>
            </p:cNvPr>
            <p:cNvSpPr/>
            <p:nvPr/>
          </p:nvSpPr>
          <p:spPr>
            <a:xfrm flipV="1">
              <a:off x="5453091" y="4848801"/>
              <a:ext cx="101756" cy="560046"/>
            </a:xfrm>
            <a:custGeom>
              <a:avLst/>
              <a:gdLst>
                <a:gd name="connsiteX0" fmla="*/ 98770 w 101756"/>
                <a:gd name="connsiteY0" fmla="*/ 558208 h 560046"/>
                <a:gd name="connsiteX1" fmla="*/ 84251 w 101756"/>
                <a:gd name="connsiteY1" fmla="*/ 449469 h 560046"/>
                <a:gd name="connsiteX2" fmla="*/ 84251 w 101756"/>
                <a:gd name="connsiteY2" fmla="*/ 106929 h 560046"/>
                <a:gd name="connsiteX3" fmla="*/ 98770 w 101756"/>
                <a:gd name="connsiteY3" fmla="*/ -1839 h 560046"/>
                <a:gd name="connsiteX4" fmla="*/ -2987 w 101756"/>
                <a:gd name="connsiteY4" fmla="*/ -1839 h 560046"/>
                <a:gd name="connsiteX5" fmla="*/ 11575 w 101756"/>
                <a:gd name="connsiteY5" fmla="*/ 106929 h 560046"/>
                <a:gd name="connsiteX6" fmla="*/ 11575 w 101756"/>
                <a:gd name="connsiteY6" fmla="*/ 449469 h 560046"/>
                <a:gd name="connsiteX7" fmla="*/ -2987 w 101756"/>
                <a:gd name="connsiteY7" fmla="*/ 558208 h 560046"/>
                <a:gd name="connsiteX8" fmla="*/ 98770 w 101756"/>
                <a:gd name="connsiteY8" fmla="*/ 558208 h 5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756" h="560046">
                  <a:moveTo>
                    <a:pt x="98770" y="558208"/>
                  </a:moveTo>
                  <a:lnTo>
                    <a:pt x="84251" y="449469"/>
                  </a:lnTo>
                  <a:lnTo>
                    <a:pt x="84251" y="106929"/>
                  </a:lnTo>
                  <a:lnTo>
                    <a:pt x="98770" y="-1839"/>
                  </a:lnTo>
                  <a:lnTo>
                    <a:pt x="-2987" y="-1839"/>
                  </a:lnTo>
                  <a:lnTo>
                    <a:pt x="11575" y="106929"/>
                  </a:lnTo>
                  <a:lnTo>
                    <a:pt x="11575" y="449469"/>
                  </a:lnTo>
                  <a:lnTo>
                    <a:pt x="-2987" y="558208"/>
                  </a:lnTo>
                  <a:lnTo>
                    <a:pt x="98770" y="558208"/>
                  </a:lnTo>
                </a:path>
              </a:pathLst>
            </a:custGeom>
            <a:solidFill>
              <a:srgbClr val="393536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51" name="Vrije vorm 2250">
              <a:extLst>
                <a:ext uri="{FF2B5EF4-FFF2-40B4-BE49-F238E27FC236}">
                  <a16:creationId xmlns:a16="http://schemas.microsoft.com/office/drawing/2014/main" id="{0BB27E62-DFDA-FB5D-5959-0577C5D800D4}"/>
                </a:ext>
              </a:extLst>
            </p:cNvPr>
            <p:cNvSpPr/>
            <p:nvPr/>
          </p:nvSpPr>
          <p:spPr>
            <a:xfrm flipV="1">
              <a:off x="5191315" y="4316304"/>
              <a:ext cx="128427" cy="442630"/>
            </a:xfrm>
            <a:custGeom>
              <a:avLst/>
              <a:gdLst>
                <a:gd name="connsiteX0" fmla="*/ -2235 w 128427"/>
                <a:gd name="connsiteY0" fmla="*/ -4178 h 442630"/>
                <a:gd name="connsiteX1" fmla="*/ 126193 w 128427"/>
                <a:gd name="connsiteY1" fmla="*/ -4178 h 442630"/>
                <a:gd name="connsiteX2" fmla="*/ 126193 w 128427"/>
                <a:gd name="connsiteY2" fmla="*/ 438452 h 442630"/>
                <a:gd name="connsiteX3" fmla="*/ -2235 w 128427"/>
                <a:gd name="connsiteY3" fmla="*/ 438452 h 442630"/>
                <a:gd name="connsiteX4" fmla="*/ -2235 w 128427"/>
                <a:gd name="connsiteY4" fmla="*/ -4178 h 44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27" h="442630">
                  <a:moveTo>
                    <a:pt x="-2235" y="-4178"/>
                  </a:moveTo>
                  <a:lnTo>
                    <a:pt x="126193" y="-4178"/>
                  </a:lnTo>
                  <a:lnTo>
                    <a:pt x="126193" y="438452"/>
                  </a:lnTo>
                  <a:lnTo>
                    <a:pt x="-2235" y="438452"/>
                  </a:lnTo>
                  <a:lnTo>
                    <a:pt x="-2235" y="-4178"/>
                  </a:lnTo>
                </a:path>
              </a:pathLst>
            </a:custGeom>
            <a:solidFill>
              <a:srgbClr val="393536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52" name="Vrije vorm 2251">
              <a:extLst>
                <a:ext uri="{FF2B5EF4-FFF2-40B4-BE49-F238E27FC236}">
                  <a16:creationId xmlns:a16="http://schemas.microsoft.com/office/drawing/2014/main" id="{F5B6A6AE-04DB-D7FE-4818-54C9CEC48419}"/>
                </a:ext>
              </a:extLst>
            </p:cNvPr>
            <p:cNvSpPr/>
            <p:nvPr/>
          </p:nvSpPr>
          <p:spPr>
            <a:xfrm flipV="1">
              <a:off x="5041142" y="3606506"/>
              <a:ext cx="650970" cy="871689"/>
            </a:xfrm>
            <a:custGeom>
              <a:avLst/>
              <a:gdLst>
                <a:gd name="connsiteX0" fmla="*/ -2571 w 650970"/>
                <a:gd name="connsiteY0" fmla="*/ 96644 h 871689"/>
                <a:gd name="connsiteX1" fmla="*/ 100125 w 650970"/>
                <a:gd name="connsiteY1" fmla="*/ -6138 h 871689"/>
                <a:gd name="connsiteX2" fmla="*/ 545644 w 650970"/>
                <a:gd name="connsiteY2" fmla="*/ -6138 h 871689"/>
                <a:gd name="connsiteX3" fmla="*/ 648399 w 650970"/>
                <a:gd name="connsiteY3" fmla="*/ 96644 h 871689"/>
                <a:gd name="connsiteX4" fmla="*/ 648399 w 650970"/>
                <a:gd name="connsiteY4" fmla="*/ 762803 h 871689"/>
                <a:gd name="connsiteX5" fmla="*/ 545644 w 650970"/>
                <a:gd name="connsiteY5" fmla="*/ 865551 h 871689"/>
                <a:gd name="connsiteX6" fmla="*/ 100125 w 650970"/>
                <a:gd name="connsiteY6" fmla="*/ 865551 h 871689"/>
                <a:gd name="connsiteX7" fmla="*/ -2571 w 650970"/>
                <a:gd name="connsiteY7" fmla="*/ 762803 h 871689"/>
                <a:gd name="connsiteX8" fmla="*/ -2571 w 650970"/>
                <a:gd name="connsiteY8" fmla="*/ 96644 h 871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0970" h="871689">
                  <a:moveTo>
                    <a:pt x="-2571" y="96644"/>
                  </a:moveTo>
                  <a:cubicBezTo>
                    <a:pt x="-2571" y="39883"/>
                    <a:pt x="43378" y="-6138"/>
                    <a:pt x="100125" y="-6138"/>
                  </a:cubicBezTo>
                  <a:lnTo>
                    <a:pt x="545644" y="-6138"/>
                  </a:lnTo>
                  <a:cubicBezTo>
                    <a:pt x="602436" y="-6138"/>
                    <a:pt x="648399" y="39883"/>
                    <a:pt x="648399" y="96644"/>
                  </a:cubicBezTo>
                  <a:lnTo>
                    <a:pt x="648399" y="762803"/>
                  </a:lnTo>
                  <a:cubicBezTo>
                    <a:pt x="648399" y="819555"/>
                    <a:pt x="602436" y="865551"/>
                    <a:pt x="545644" y="865551"/>
                  </a:cubicBezTo>
                  <a:lnTo>
                    <a:pt x="100125" y="865551"/>
                  </a:lnTo>
                  <a:cubicBezTo>
                    <a:pt x="43378" y="865551"/>
                    <a:pt x="-2571" y="819555"/>
                    <a:pt x="-2571" y="762803"/>
                  </a:cubicBezTo>
                  <a:lnTo>
                    <a:pt x="-2571" y="96644"/>
                  </a:lnTo>
                </a:path>
              </a:pathLst>
            </a:custGeom>
            <a:solidFill>
              <a:srgbClr val="1B3444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53" name="Vrije vorm 2252">
              <a:extLst>
                <a:ext uri="{FF2B5EF4-FFF2-40B4-BE49-F238E27FC236}">
                  <a16:creationId xmlns:a16="http://schemas.microsoft.com/office/drawing/2014/main" id="{3A5876A1-2D4D-DA24-4206-CC62D93F968D}"/>
                </a:ext>
              </a:extLst>
            </p:cNvPr>
            <p:cNvSpPr/>
            <p:nvPr/>
          </p:nvSpPr>
          <p:spPr>
            <a:xfrm flipV="1">
              <a:off x="4998690" y="4722077"/>
              <a:ext cx="1010574" cy="170539"/>
            </a:xfrm>
            <a:custGeom>
              <a:avLst/>
              <a:gdLst>
                <a:gd name="connsiteX0" fmla="*/ -2987 w 1010574"/>
                <a:gd name="connsiteY0" fmla="*/ 82174 h 170539"/>
                <a:gd name="connsiteX1" fmla="*/ 82276 w 1010574"/>
                <a:gd name="connsiteY1" fmla="*/ -3111 h 170539"/>
                <a:gd name="connsiteX2" fmla="*/ 922371 w 1010574"/>
                <a:gd name="connsiteY2" fmla="*/ -3111 h 170539"/>
                <a:gd name="connsiteX3" fmla="*/ 1007588 w 1010574"/>
                <a:gd name="connsiteY3" fmla="*/ 82174 h 170539"/>
                <a:gd name="connsiteX4" fmla="*/ 922371 w 1010574"/>
                <a:gd name="connsiteY4" fmla="*/ 167429 h 170539"/>
                <a:gd name="connsiteX5" fmla="*/ 82276 w 1010574"/>
                <a:gd name="connsiteY5" fmla="*/ 167429 h 170539"/>
                <a:gd name="connsiteX6" fmla="*/ -2987 w 1010574"/>
                <a:gd name="connsiteY6" fmla="*/ 82174 h 170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0574" h="170539">
                  <a:moveTo>
                    <a:pt x="-2987" y="82174"/>
                  </a:moveTo>
                  <a:cubicBezTo>
                    <a:pt x="-2987" y="35064"/>
                    <a:pt x="35182" y="-3111"/>
                    <a:pt x="82276" y="-3111"/>
                  </a:cubicBezTo>
                  <a:lnTo>
                    <a:pt x="922371" y="-3111"/>
                  </a:lnTo>
                  <a:cubicBezTo>
                    <a:pt x="969434" y="-3111"/>
                    <a:pt x="1007588" y="35064"/>
                    <a:pt x="1007588" y="82174"/>
                  </a:cubicBezTo>
                  <a:cubicBezTo>
                    <a:pt x="1007588" y="129283"/>
                    <a:pt x="969434" y="167429"/>
                    <a:pt x="922371" y="167429"/>
                  </a:cubicBezTo>
                  <a:lnTo>
                    <a:pt x="82276" y="167429"/>
                  </a:lnTo>
                  <a:cubicBezTo>
                    <a:pt x="35182" y="167429"/>
                    <a:pt x="-2987" y="129283"/>
                    <a:pt x="-2987" y="82174"/>
                  </a:cubicBezTo>
                </a:path>
              </a:pathLst>
            </a:custGeom>
            <a:solidFill>
              <a:srgbClr val="1B3444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54" name="Vrije vorm 2253">
              <a:extLst>
                <a:ext uri="{FF2B5EF4-FFF2-40B4-BE49-F238E27FC236}">
                  <a16:creationId xmlns:a16="http://schemas.microsoft.com/office/drawing/2014/main" id="{B48ABED4-95C4-AE5D-11F7-39469CE8E2D5}"/>
                </a:ext>
              </a:extLst>
            </p:cNvPr>
            <p:cNvSpPr/>
            <p:nvPr/>
          </p:nvSpPr>
          <p:spPr>
            <a:xfrm flipV="1">
              <a:off x="5125943" y="5383388"/>
              <a:ext cx="756116" cy="50889"/>
            </a:xfrm>
            <a:custGeom>
              <a:avLst/>
              <a:gdLst>
                <a:gd name="connsiteX0" fmla="*/ 753130 w 756116"/>
                <a:gd name="connsiteY0" fmla="*/ -730 h 50889"/>
                <a:gd name="connsiteX1" fmla="*/ 753130 w 756116"/>
                <a:gd name="connsiteY1" fmla="*/ 50160 h 50889"/>
                <a:gd name="connsiteX2" fmla="*/ -2987 w 756116"/>
                <a:gd name="connsiteY2" fmla="*/ 50160 h 50889"/>
                <a:gd name="connsiteX3" fmla="*/ -2987 w 756116"/>
                <a:gd name="connsiteY3" fmla="*/ -730 h 50889"/>
                <a:gd name="connsiteX4" fmla="*/ 753130 w 756116"/>
                <a:gd name="connsiteY4" fmla="*/ -730 h 50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6116" h="50889">
                  <a:moveTo>
                    <a:pt x="753130" y="-730"/>
                  </a:moveTo>
                  <a:lnTo>
                    <a:pt x="753130" y="50160"/>
                  </a:lnTo>
                  <a:lnTo>
                    <a:pt x="-2987" y="50160"/>
                  </a:lnTo>
                  <a:lnTo>
                    <a:pt x="-2987" y="-730"/>
                  </a:lnTo>
                  <a:lnTo>
                    <a:pt x="753130" y="-730"/>
                  </a:lnTo>
                </a:path>
              </a:pathLst>
            </a:custGeom>
            <a:solidFill>
              <a:srgbClr val="393536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55" name="Vrije vorm 2254">
              <a:extLst>
                <a:ext uri="{FF2B5EF4-FFF2-40B4-BE49-F238E27FC236}">
                  <a16:creationId xmlns:a16="http://schemas.microsoft.com/office/drawing/2014/main" id="{A80FF6B9-91A3-B711-E0E3-7B906DA9C201}"/>
                </a:ext>
              </a:extLst>
            </p:cNvPr>
            <p:cNvSpPr/>
            <p:nvPr/>
          </p:nvSpPr>
          <p:spPr>
            <a:xfrm flipV="1">
              <a:off x="5840260" y="5380753"/>
              <a:ext cx="83595" cy="151266"/>
            </a:xfrm>
            <a:custGeom>
              <a:avLst/>
              <a:gdLst>
                <a:gd name="connsiteX0" fmla="*/ -4131 w 83595"/>
                <a:gd name="connsiteY0" fmla="*/ 41269 h 151266"/>
                <a:gd name="connsiteX1" fmla="*/ 37668 w 83595"/>
                <a:gd name="connsiteY1" fmla="*/ -542 h 151266"/>
                <a:gd name="connsiteX2" fmla="*/ 79465 w 83595"/>
                <a:gd name="connsiteY2" fmla="*/ 41269 h 151266"/>
                <a:gd name="connsiteX3" fmla="*/ 79465 w 83595"/>
                <a:gd name="connsiteY3" fmla="*/ 108884 h 151266"/>
                <a:gd name="connsiteX4" fmla="*/ 37668 w 83595"/>
                <a:gd name="connsiteY4" fmla="*/ 150724 h 151266"/>
                <a:gd name="connsiteX5" fmla="*/ -4131 w 83595"/>
                <a:gd name="connsiteY5" fmla="*/ 108884 h 151266"/>
                <a:gd name="connsiteX6" fmla="*/ -4131 w 83595"/>
                <a:gd name="connsiteY6" fmla="*/ 41269 h 15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595" h="151266">
                  <a:moveTo>
                    <a:pt x="-4131" y="41269"/>
                  </a:moveTo>
                  <a:cubicBezTo>
                    <a:pt x="-4131" y="18187"/>
                    <a:pt x="14568" y="-542"/>
                    <a:pt x="37668" y="-542"/>
                  </a:cubicBezTo>
                  <a:cubicBezTo>
                    <a:pt x="60751" y="-542"/>
                    <a:pt x="79465" y="18187"/>
                    <a:pt x="79465" y="41269"/>
                  </a:cubicBezTo>
                  <a:lnTo>
                    <a:pt x="79465" y="108884"/>
                  </a:lnTo>
                  <a:cubicBezTo>
                    <a:pt x="79465" y="131995"/>
                    <a:pt x="60751" y="150724"/>
                    <a:pt x="37668" y="150724"/>
                  </a:cubicBezTo>
                  <a:cubicBezTo>
                    <a:pt x="14568" y="150724"/>
                    <a:pt x="-4131" y="131995"/>
                    <a:pt x="-4131" y="108884"/>
                  </a:cubicBezTo>
                  <a:lnTo>
                    <a:pt x="-4131" y="41269"/>
                  </a:lnTo>
                </a:path>
              </a:pathLst>
            </a:custGeom>
            <a:solidFill>
              <a:srgbClr val="393536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56" name="Vrije vorm 2255">
              <a:extLst>
                <a:ext uri="{FF2B5EF4-FFF2-40B4-BE49-F238E27FC236}">
                  <a16:creationId xmlns:a16="http://schemas.microsoft.com/office/drawing/2014/main" id="{56378C9C-A53F-001F-1DC6-3F74CF3E81CF}"/>
                </a:ext>
              </a:extLst>
            </p:cNvPr>
            <p:cNvSpPr/>
            <p:nvPr/>
          </p:nvSpPr>
          <p:spPr>
            <a:xfrm flipV="1">
              <a:off x="5084115" y="5380753"/>
              <a:ext cx="83624" cy="151266"/>
            </a:xfrm>
            <a:custGeom>
              <a:avLst/>
              <a:gdLst>
                <a:gd name="connsiteX0" fmla="*/ -1842 w 83624"/>
                <a:gd name="connsiteY0" fmla="*/ 41269 h 151266"/>
                <a:gd name="connsiteX1" fmla="*/ 39986 w 83624"/>
                <a:gd name="connsiteY1" fmla="*/ -542 h 151266"/>
                <a:gd name="connsiteX2" fmla="*/ 81782 w 83624"/>
                <a:gd name="connsiteY2" fmla="*/ 41269 h 151266"/>
                <a:gd name="connsiteX3" fmla="*/ 81782 w 83624"/>
                <a:gd name="connsiteY3" fmla="*/ 108884 h 151266"/>
                <a:gd name="connsiteX4" fmla="*/ 39986 w 83624"/>
                <a:gd name="connsiteY4" fmla="*/ 150724 h 151266"/>
                <a:gd name="connsiteX5" fmla="*/ -1842 w 83624"/>
                <a:gd name="connsiteY5" fmla="*/ 108884 h 151266"/>
                <a:gd name="connsiteX6" fmla="*/ -1842 w 83624"/>
                <a:gd name="connsiteY6" fmla="*/ 41269 h 15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624" h="151266">
                  <a:moveTo>
                    <a:pt x="-1842" y="41269"/>
                  </a:moveTo>
                  <a:cubicBezTo>
                    <a:pt x="-1842" y="18187"/>
                    <a:pt x="16885" y="-542"/>
                    <a:pt x="39986" y="-542"/>
                  </a:cubicBezTo>
                  <a:cubicBezTo>
                    <a:pt x="63040" y="-542"/>
                    <a:pt x="81782" y="18187"/>
                    <a:pt x="81782" y="41269"/>
                  </a:cubicBezTo>
                  <a:lnTo>
                    <a:pt x="81782" y="108884"/>
                  </a:lnTo>
                  <a:cubicBezTo>
                    <a:pt x="81782" y="131995"/>
                    <a:pt x="63040" y="150724"/>
                    <a:pt x="39986" y="150724"/>
                  </a:cubicBezTo>
                  <a:cubicBezTo>
                    <a:pt x="16885" y="150724"/>
                    <a:pt x="-1842" y="131995"/>
                    <a:pt x="-1842" y="108884"/>
                  </a:cubicBezTo>
                  <a:lnTo>
                    <a:pt x="-1842" y="41269"/>
                  </a:lnTo>
                </a:path>
              </a:pathLst>
            </a:custGeom>
            <a:solidFill>
              <a:srgbClr val="393536"/>
            </a:solidFill>
            <a:ln w="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sp>
        <p:nvSpPr>
          <p:cNvPr id="2141" name="Vrije vorm 2140">
            <a:extLst>
              <a:ext uri="{FF2B5EF4-FFF2-40B4-BE49-F238E27FC236}">
                <a16:creationId xmlns:a16="http://schemas.microsoft.com/office/drawing/2014/main" id="{23EE14BF-693F-F6D0-C531-FC277689B750}"/>
              </a:ext>
            </a:extLst>
          </p:cNvPr>
          <p:cNvSpPr/>
          <p:nvPr/>
        </p:nvSpPr>
        <p:spPr>
          <a:xfrm flipV="1">
            <a:off x="3178137" y="4213954"/>
            <a:ext cx="4409940" cy="515543"/>
          </a:xfrm>
          <a:custGeom>
            <a:avLst/>
            <a:gdLst>
              <a:gd name="connsiteX0" fmla="*/ 1604078 w 1606251"/>
              <a:gd name="connsiteY0" fmla="*/ -126 h 193625"/>
              <a:gd name="connsiteX1" fmla="*/ 1505273 w 1606251"/>
              <a:gd name="connsiteY1" fmla="*/ 193499 h 193625"/>
              <a:gd name="connsiteX2" fmla="*/ 98087 w 1606251"/>
              <a:gd name="connsiteY2" fmla="*/ 193499 h 193625"/>
              <a:gd name="connsiteX3" fmla="*/ -2173 w 1606251"/>
              <a:gd name="connsiteY3" fmla="*/ -126 h 193625"/>
              <a:gd name="connsiteX4" fmla="*/ 1604078 w 1606251"/>
              <a:gd name="connsiteY4" fmla="*/ -126 h 193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6251" h="193625">
                <a:moveTo>
                  <a:pt x="1604078" y="-126"/>
                </a:moveTo>
                <a:lnTo>
                  <a:pt x="1505273" y="193499"/>
                </a:lnTo>
                <a:lnTo>
                  <a:pt x="98087" y="193499"/>
                </a:lnTo>
                <a:lnTo>
                  <a:pt x="-2173" y="-126"/>
                </a:lnTo>
                <a:lnTo>
                  <a:pt x="1604078" y="-126"/>
                </a:lnTo>
              </a:path>
            </a:pathLst>
          </a:custGeom>
          <a:solidFill>
            <a:srgbClr val="F0F0E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44" name="Vrije vorm 2143">
            <a:extLst>
              <a:ext uri="{FF2B5EF4-FFF2-40B4-BE49-F238E27FC236}">
                <a16:creationId xmlns:a16="http://schemas.microsoft.com/office/drawing/2014/main" id="{978AAFF8-E747-E322-2066-94026F0F24E6}"/>
              </a:ext>
            </a:extLst>
          </p:cNvPr>
          <p:cNvSpPr/>
          <p:nvPr/>
        </p:nvSpPr>
        <p:spPr>
          <a:xfrm flipV="1">
            <a:off x="3178137" y="4729497"/>
            <a:ext cx="4409940" cy="1128700"/>
          </a:xfrm>
          <a:custGeom>
            <a:avLst/>
            <a:gdLst>
              <a:gd name="connsiteX0" fmla="*/ 1480768 w 1606251"/>
              <a:gd name="connsiteY0" fmla="*/ 20 h 423911"/>
              <a:gd name="connsiteX1" fmla="*/ 1480768 w 1606251"/>
              <a:gd name="connsiteY1" fmla="*/ 20 h 423911"/>
              <a:gd name="connsiteX2" fmla="*/ 1448969 w 1606251"/>
              <a:gd name="connsiteY2" fmla="*/ 122950 h 423911"/>
              <a:gd name="connsiteX3" fmla="*/ 1448969 w 1606251"/>
              <a:gd name="connsiteY3" fmla="*/ 20 h 423911"/>
              <a:gd name="connsiteX4" fmla="*/ 1333096 w 1606251"/>
              <a:gd name="connsiteY4" fmla="*/ 20 h 423911"/>
              <a:gd name="connsiteX5" fmla="*/ 1271548 w 1606251"/>
              <a:gd name="connsiteY5" fmla="*/ 120657 h 423911"/>
              <a:gd name="connsiteX6" fmla="*/ 703506 w 1606251"/>
              <a:gd name="connsiteY6" fmla="*/ 120657 h 423911"/>
              <a:gd name="connsiteX7" fmla="*/ 617144 w 1606251"/>
              <a:gd name="connsiteY7" fmla="*/ 162618 h 423911"/>
              <a:gd name="connsiteX8" fmla="*/ 355553 w 1606251"/>
              <a:gd name="connsiteY8" fmla="*/ 272331 h 423911"/>
              <a:gd name="connsiteX9" fmla="*/ 53225 w 1606251"/>
              <a:gd name="connsiteY9" fmla="*/ 325836 h 423911"/>
              <a:gd name="connsiteX10" fmla="*/ -2173 w 1606251"/>
              <a:gd name="connsiteY10" fmla="*/ 323498 h 423911"/>
              <a:gd name="connsiteX11" fmla="*/ -2173 w 1606251"/>
              <a:gd name="connsiteY11" fmla="*/ 423932 h 423911"/>
              <a:gd name="connsiteX12" fmla="*/ 1604078 w 1606251"/>
              <a:gd name="connsiteY12" fmla="*/ 423932 h 423911"/>
              <a:gd name="connsiteX13" fmla="*/ 1604078 w 1606251"/>
              <a:gd name="connsiteY13" fmla="*/ 122950 h 423911"/>
              <a:gd name="connsiteX14" fmla="*/ 1448969 w 1606251"/>
              <a:gd name="connsiteY14" fmla="*/ 122950 h 423911"/>
              <a:gd name="connsiteX15" fmla="*/ 1480768 w 1606251"/>
              <a:gd name="connsiteY15" fmla="*/ 20 h 423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06251" h="423911">
                <a:moveTo>
                  <a:pt x="1480768" y="20"/>
                </a:moveTo>
                <a:lnTo>
                  <a:pt x="1480768" y="20"/>
                </a:lnTo>
                <a:lnTo>
                  <a:pt x="1448969" y="122950"/>
                </a:lnTo>
                <a:lnTo>
                  <a:pt x="1448969" y="20"/>
                </a:lnTo>
                <a:lnTo>
                  <a:pt x="1333096" y="20"/>
                </a:lnTo>
                <a:lnTo>
                  <a:pt x="1271548" y="120657"/>
                </a:lnTo>
                <a:lnTo>
                  <a:pt x="703506" y="120657"/>
                </a:lnTo>
                <a:cubicBezTo>
                  <a:pt x="669800" y="135781"/>
                  <a:pt x="638859" y="149739"/>
                  <a:pt x="617144" y="162618"/>
                </a:cubicBezTo>
                <a:cubicBezTo>
                  <a:pt x="535334" y="211213"/>
                  <a:pt x="446134" y="244347"/>
                  <a:pt x="355553" y="272331"/>
                </a:cubicBezTo>
                <a:cubicBezTo>
                  <a:pt x="257367" y="302673"/>
                  <a:pt x="155630" y="325836"/>
                  <a:pt x="53225" y="325836"/>
                </a:cubicBezTo>
                <a:cubicBezTo>
                  <a:pt x="34775" y="325836"/>
                  <a:pt x="16301" y="325101"/>
                  <a:pt x="-2173" y="323498"/>
                </a:cubicBezTo>
                <a:lnTo>
                  <a:pt x="-2173" y="423932"/>
                </a:lnTo>
                <a:lnTo>
                  <a:pt x="1604078" y="423932"/>
                </a:lnTo>
                <a:lnTo>
                  <a:pt x="1604078" y="122950"/>
                </a:lnTo>
                <a:lnTo>
                  <a:pt x="1448969" y="122950"/>
                </a:lnTo>
                <a:lnTo>
                  <a:pt x="1480768" y="20"/>
                </a:lnTo>
              </a:path>
            </a:pathLst>
          </a:custGeom>
          <a:solidFill>
            <a:srgbClr val="AEAEA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sp>
        <p:nvSpPr>
          <p:cNvPr id="2159" name="Vrije vorm 2158">
            <a:extLst>
              <a:ext uri="{FF2B5EF4-FFF2-40B4-BE49-F238E27FC236}">
                <a16:creationId xmlns:a16="http://schemas.microsoft.com/office/drawing/2014/main" id="{A1E8CE5E-C167-9114-0318-05F10BDA7A5B}"/>
              </a:ext>
            </a:extLst>
          </p:cNvPr>
          <p:cNvSpPr/>
          <p:nvPr/>
        </p:nvSpPr>
        <p:spPr>
          <a:xfrm flipV="1">
            <a:off x="7162230" y="5530891"/>
            <a:ext cx="2640768" cy="642328"/>
          </a:xfrm>
          <a:custGeom>
            <a:avLst/>
            <a:gdLst>
              <a:gd name="connsiteX0" fmla="*/ 959275 w 961858"/>
              <a:gd name="connsiteY0" fmla="*/ 120 h 241242"/>
              <a:gd name="connsiteX1" fmla="*/ 59798 w 961858"/>
              <a:gd name="connsiteY1" fmla="*/ 120 h 241242"/>
              <a:gd name="connsiteX2" fmla="*/ -2584 w 961858"/>
              <a:gd name="connsiteY2" fmla="*/ 241363 h 241242"/>
              <a:gd name="connsiteX3" fmla="*/ 770126 w 961858"/>
              <a:gd name="connsiteY3" fmla="*/ 241363 h 241242"/>
              <a:gd name="connsiteX4" fmla="*/ 959275 w 961858"/>
              <a:gd name="connsiteY4" fmla="*/ 120 h 241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1858" h="241242">
                <a:moveTo>
                  <a:pt x="959275" y="120"/>
                </a:moveTo>
                <a:lnTo>
                  <a:pt x="59798" y="120"/>
                </a:lnTo>
                <a:lnTo>
                  <a:pt x="-2584" y="241363"/>
                </a:lnTo>
                <a:lnTo>
                  <a:pt x="770126" y="241363"/>
                </a:lnTo>
                <a:lnTo>
                  <a:pt x="959275" y="120"/>
                </a:lnTo>
              </a:path>
            </a:pathLst>
          </a:custGeom>
          <a:solidFill>
            <a:srgbClr val="F0F0E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46" name="Vrije vorm 2145">
            <a:extLst>
              <a:ext uri="{FF2B5EF4-FFF2-40B4-BE49-F238E27FC236}">
                <a16:creationId xmlns:a16="http://schemas.microsoft.com/office/drawing/2014/main" id="{5550E091-4533-ECBB-BFAF-50983CAC3D2D}"/>
              </a:ext>
            </a:extLst>
          </p:cNvPr>
          <p:cNvSpPr/>
          <p:nvPr/>
        </p:nvSpPr>
        <p:spPr>
          <a:xfrm flipV="1">
            <a:off x="3832982" y="5536993"/>
            <a:ext cx="3148293" cy="581741"/>
          </a:xfrm>
          <a:custGeom>
            <a:avLst/>
            <a:gdLst>
              <a:gd name="connsiteX0" fmla="*/ 1144540 w 1146716"/>
              <a:gd name="connsiteY0" fmla="*/ 116 h 218487"/>
              <a:gd name="connsiteX1" fmla="*/ 1033029 w 1146716"/>
              <a:gd name="connsiteY1" fmla="*/ 218603 h 218487"/>
              <a:gd name="connsiteX2" fmla="*/ 110955 w 1146716"/>
              <a:gd name="connsiteY2" fmla="*/ 218603 h 218487"/>
              <a:gd name="connsiteX3" fmla="*/ -2176 w 1146716"/>
              <a:gd name="connsiteY3" fmla="*/ 116 h 218487"/>
              <a:gd name="connsiteX4" fmla="*/ 1144540 w 1146716"/>
              <a:gd name="connsiteY4" fmla="*/ 116 h 218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6716" h="218487">
                <a:moveTo>
                  <a:pt x="1144540" y="116"/>
                </a:moveTo>
                <a:lnTo>
                  <a:pt x="1033029" y="218603"/>
                </a:lnTo>
                <a:lnTo>
                  <a:pt x="110955" y="218603"/>
                </a:lnTo>
                <a:lnTo>
                  <a:pt x="-2176" y="116"/>
                </a:lnTo>
                <a:lnTo>
                  <a:pt x="1144540" y="116"/>
                </a:lnTo>
              </a:path>
            </a:pathLst>
          </a:custGeom>
          <a:solidFill>
            <a:srgbClr val="F0F0E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48" name="Vrije vorm 2147">
            <a:extLst>
              <a:ext uri="{FF2B5EF4-FFF2-40B4-BE49-F238E27FC236}">
                <a16:creationId xmlns:a16="http://schemas.microsoft.com/office/drawing/2014/main" id="{7CE5C581-A872-A0B9-A077-FA2A19DBF81A}"/>
              </a:ext>
            </a:extLst>
          </p:cNvPr>
          <p:cNvSpPr/>
          <p:nvPr/>
        </p:nvSpPr>
        <p:spPr>
          <a:xfrm flipV="1">
            <a:off x="4097639" y="5536993"/>
            <a:ext cx="2883634" cy="581741"/>
          </a:xfrm>
          <a:custGeom>
            <a:avLst/>
            <a:gdLst>
              <a:gd name="connsiteX0" fmla="*/ 1048124 w 1050318"/>
              <a:gd name="connsiteY0" fmla="*/ 116 h 218487"/>
              <a:gd name="connsiteX1" fmla="*/ 774306 w 1050318"/>
              <a:gd name="connsiteY1" fmla="*/ 116 h 218487"/>
              <a:gd name="connsiteX2" fmla="*/ -2194 w 1050318"/>
              <a:gd name="connsiteY2" fmla="*/ 186306 h 218487"/>
              <a:gd name="connsiteX3" fmla="*/ 14540 w 1050318"/>
              <a:gd name="connsiteY3" fmla="*/ 218603 h 218487"/>
              <a:gd name="connsiteX4" fmla="*/ 936613 w 1050318"/>
              <a:gd name="connsiteY4" fmla="*/ 218603 h 218487"/>
              <a:gd name="connsiteX5" fmla="*/ 1048124 w 1050318"/>
              <a:gd name="connsiteY5" fmla="*/ 116 h 218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50318" h="218487">
                <a:moveTo>
                  <a:pt x="1048124" y="116"/>
                </a:moveTo>
                <a:lnTo>
                  <a:pt x="774306" y="116"/>
                </a:lnTo>
                <a:cubicBezTo>
                  <a:pt x="557315" y="158854"/>
                  <a:pt x="263068" y="181702"/>
                  <a:pt x="-2194" y="186306"/>
                </a:cubicBezTo>
                <a:lnTo>
                  <a:pt x="14540" y="218603"/>
                </a:lnTo>
                <a:lnTo>
                  <a:pt x="936613" y="218603"/>
                </a:lnTo>
                <a:lnTo>
                  <a:pt x="1048124" y="116"/>
                </a:lnTo>
              </a:path>
            </a:pathLst>
          </a:custGeom>
          <a:solidFill>
            <a:srgbClr val="DEDED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49" name="Vrije vorm 2148">
            <a:extLst>
              <a:ext uri="{FF2B5EF4-FFF2-40B4-BE49-F238E27FC236}">
                <a16:creationId xmlns:a16="http://schemas.microsoft.com/office/drawing/2014/main" id="{CE0EE391-7219-19C8-9354-F1DBDD23D499}"/>
              </a:ext>
            </a:extLst>
          </p:cNvPr>
          <p:cNvSpPr/>
          <p:nvPr/>
        </p:nvSpPr>
        <p:spPr>
          <a:xfrm flipV="1">
            <a:off x="3832982" y="6118734"/>
            <a:ext cx="3148293" cy="1273739"/>
          </a:xfrm>
          <a:custGeom>
            <a:avLst/>
            <a:gdLst>
              <a:gd name="connsiteX0" fmla="*/ -2176 w 1146716"/>
              <a:gd name="connsiteY0" fmla="*/ 281 h 478384"/>
              <a:gd name="connsiteX1" fmla="*/ 1144540 w 1146716"/>
              <a:gd name="connsiteY1" fmla="*/ 281 h 478384"/>
              <a:gd name="connsiteX2" fmla="*/ 1144540 w 1146716"/>
              <a:gd name="connsiteY2" fmla="*/ 478665 h 478384"/>
              <a:gd name="connsiteX3" fmla="*/ -2176 w 1146716"/>
              <a:gd name="connsiteY3" fmla="*/ 478665 h 478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6716" h="478384">
                <a:moveTo>
                  <a:pt x="-2176" y="281"/>
                </a:moveTo>
                <a:lnTo>
                  <a:pt x="1144540" y="281"/>
                </a:lnTo>
                <a:lnTo>
                  <a:pt x="1144540" y="478665"/>
                </a:lnTo>
                <a:lnTo>
                  <a:pt x="-2176" y="478665"/>
                </a:lnTo>
                <a:close/>
              </a:path>
            </a:pathLst>
          </a:custGeom>
          <a:solidFill>
            <a:srgbClr val="C6C5C3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0" name="Vrije vorm 2149">
            <a:extLst>
              <a:ext uri="{FF2B5EF4-FFF2-40B4-BE49-F238E27FC236}">
                <a16:creationId xmlns:a16="http://schemas.microsoft.com/office/drawing/2014/main" id="{6F2C997F-EBF8-D970-C912-4F815C3229B4}"/>
              </a:ext>
            </a:extLst>
          </p:cNvPr>
          <p:cNvSpPr/>
          <p:nvPr/>
        </p:nvSpPr>
        <p:spPr>
          <a:xfrm flipV="1">
            <a:off x="3832982" y="6118737"/>
            <a:ext cx="3148293" cy="607392"/>
          </a:xfrm>
          <a:custGeom>
            <a:avLst/>
            <a:gdLst>
              <a:gd name="connsiteX0" fmla="*/ 1144540 w 1146716"/>
              <a:gd name="connsiteY0" fmla="*/ 222 h 228121"/>
              <a:gd name="connsiteX1" fmla="*/ 562171 w 1146716"/>
              <a:gd name="connsiteY1" fmla="*/ 222 h 228121"/>
              <a:gd name="connsiteX2" fmla="*/ 401508 w 1146716"/>
              <a:gd name="connsiteY2" fmla="*/ 57287 h 228121"/>
              <a:gd name="connsiteX3" fmla="*/ 60325 w 1146716"/>
              <a:gd name="connsiteY3" fmla="*/ 117633 h 228121"/>
              <a:gd name="connsiteX4" fmla="*/ -2176 w 1146716"/>
              <a:gd name="connsiteY4" fmla="*/ 114986 h 228121"/>
              <a:gd name="connsiteX5" fmla="*/ -2176 w 1146716"/>
              <a:gd name="connsiteY5" fmla="*/ 228344 h 228121"/>
              <a:gd name="connsiteX6" fmla="*/ 1144540 w 1146716"/>
              <a:gd name="connsiteY6" fmla="*/ 228344 h 228121"/>
              <a:gd name="connsiteX7" fmla="*/ 1144540 w 1146716"/>
              <a:gd name="connsiteY7" fmla="*/ 222 h 228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6716" h="228121">
                <a:moveTo>
                  <a:pt x="1144540" y="222"/>
                </a:moveTo>
                <a:lnTo>
                  <a:pt x="562171" y="222"/>
                </a:lnTo>
                <a:cubicBezTo>
                  <a:pt x="509729" y="22045"/>
                  <a:pt x="455833" y="40486"/>
                  <a:pt x="401508" y="57287"/>
                </a:cubicBezTo>
                <a:cubicBezTo>
                  <a:pt x="290664" y="91495"/>
                  <a:pt x="175864" y="117633"/>
                  <a:pt x="60325" y="117633"/>
                </a:cubicBezTo>
                <a:cubicBezTo>
                  <a:pt x="39515" y="117633"/>
                  <a:pt x="18681" y="116776"/>
                  <a:pt x="-2176" y="114986"/>
                </a:cubicBezTo>
                <a:lnTo>
                  <a:pt x="-2176" y="228344"/>
                </a:lnTo>
                <a:lnTo>
                  <a:pt x="1144540" y="228344"/>
                </a:lnTo>
                <a:lnTo>
                  <a:pt x="1144540" y="222"/>
                </a:lnTo>
              </a:path>
            </a:pathLst>
          </a:custGeom>
          <a:solidFill>
            <a:srgbClr val="AEAEA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1" name="Vrije vorm 2150">
            <a:extLst>
              <a:ext uri="{FF2B5EF4-FFF2-40B4-BE49-F238E27FC236}">
                <a16:creationId xmlns:a16="http://schemas.microsoft.com/office/drawing/2014/main" id="{7F516094-F1F8-9FF0-EC2B-289F304B7E2E}"/>
              </a:ext>
            </a:extLst>
          </p:cNvPr>
          <p:cNvSpPr/>
          <p:nvPr/>
        </p:nvSpPr>
        <p:spPr>
          <a:xfrm flipV="1">
            <a:off x="3832982" y="6118785"/>
            <a:ext cx="3148293" cy="126012"/>
          </a:xfrm>
          <a:custGeom>
            <a:avLst/>
            <a:gdLst>
              <a:gd name="connsiteX0" fmla="*/ -2176 w 1146716"/>
              <a:gd name="connsiteY0" fmla="*/ 47507 h 47327"/>
              <a:gd name="connsiteX1" fmla="*/ -2176 w 1146716"/>
              <a:gd name="connsiteY1" fmla="*/ 179 h 47327"/>
              <a:gd name="connsiteX2" fmla="*/ 1144540 w 1146716"/>
              <a:gd name="connsiteY2" fmla="*/ 179 h 47327"/>
              <a:gd name="connsiteX3" fmla="*/ 1144540 w 1146716"/>
              <a:gd name="connsiteY3" fmla="*/ 47507 h 47327"/>
              <a:gd name="connsiteX4" fmla="*/ -2176 w 1146716"/>
              <a:gd name="connsiteY4" fmla="*/ 47507 h 47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6716" h="47327">
                <a:moveTo>
                  <a:pt x="-2176" y="47507"/>
                </a:moveTo>
                <a:lnTo>
                  <a:pt x="-2176" y="179"/>
                </a:lnTo>
                <a:lnTo>
                  <a:pt x="1144540" y="179"/>
                </a:lnTo>
                <a:lnTo>
                  <a:pt x="1144540" y="47507"/>
                </a:lnTo>
                <a:lnTo>
                  <a:pt x="-2176" y="47507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2" name="Vrije vorm 2151">
            <a:extLst>
              <a:ext uri="{FF2B5EF4-FFF2-40B4-BE49-F238E27FC236}">
                <a16:creationId xmlns:a16="http://schemas.microsoft.com/office/drawing/2014/main" id="{6009FE84-871E-3C3F-FFDE-7E695FE1B838}"/>
              </a:ext>
            </a:extLst>
          </p:cNvPr>
          <p:cNvSpPr/>
          <p:nvPr/>
        </p:nvSpPr>
        <p:spPr>
          <a:xfrm flipV="1">
            <a:off x="972383" y="5530891"/>
            <a:ext cx="2640768" cy="642328"/>
          </a:xfrm>
          <a:custGeom>
            <a:avLst/>
            <a:gdLst>
              <a:gd name="connsiteX0" fmla="*/ -1764 w 961858"/>
              <a:gd name="connsiteY0" fmla="*/ 120 h 241242"/>
              <a:gd name="connsiteX1" fmla="*/ 897736 w 961858"/>
              <a:gd name="connsiteY1" fmla="*/ 120 h 241242"/>
              <a:gd name="connsiteX2" fmla="*/ 960094 w 961858"/>
              <a:gd name="connsiteY2" fmla="*/ 241363 h 241242"/>
              <a:gd name="connsiteX3" fmla="*/ 187385 w 961858"/>
              <a:gd name="connsiteY3" fmla="*/ 241363 h 241242"/>
              <a:gd name="connsiteX4" fmla="*/ -1764 w 961858"/>
              <a:gd name="connsiteY4" fmla="*/ 120 h 241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1858" h="241242">
                <a:moveTo>
                  <a:pt x="-1764" y="120"/>
                </a:moveTo>
                <a:lnTo>
                  <a:pt x="897736" y="120"/>
                </a:lnTo>
                <a:lnTo>
                  <a:pt x="960094" y="241363"/>
                </a:lnTo>
                <a:lnTo>
                  <a:pt x="187385" y="241363"/>
                </a:lnTo>
                <a:lnTo>
                  <a:pt x="-1764" y="120"/>
                </a:lnTo>
              </a:path>
            </a:pathLst>
          </a:custGeom>
          <a:solidFill>
            <a:srgbClr val="F0F0E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5" name="Vrije vorm 2154">
            <a:extLst>
              <a:ext uri="{FF2B5EF4-FFF2-40B4-BE49-F238E27FC236}">
                <a16:creationId xmlns:a16="http://schemas.microsoft.com/office/drawing/2014/main" id="{492D1FF8-F515-0FF9-41E0-7321E8DAC4AD}"/>
              </a:ext>
            </a:extLst>
          </p:cNvPr>
          <p:cNvSpPr/>
          <p:nvPr/>
        </p:nvSpPr>
        <p:spPr>
          <a:xfrm flipV="1">
            <a:off x="3441948" y="5530891"/>
            <a:ext cx="171203" cy="1861582"/>
          </a:xfrm>
          <a:custGeom>
            <a:avLst/>
            <a:gdLst>
              <a:gd name="connsiteX0" fmla="*/ 60431 w 62358"/>
              <a:gd name="connsiteY0" fmla="*/ 207962 h 699163"/>
              <a:gd name="connsiteX1" fmla="*/ 60431 w 62358"/>
              <a:gd name="connsiteY1" fmla="*/ 699393 h 699163"/>
              <a:gd name="connsiteX2" fmla="*/ -1927 w 62358"/>
              <a:gd name="connsiteY2" fmla="*/ 458150 h 699163"/>
              <a:gd name="connsiteX3" fmla="*/ -1927 w 62358"/>
              <a:gd name="connsiteY3" fmla="*/ 229 h 699163"/>
              <a:gd name="connsiteX4" fmla="*/ 60431 w 62358"/>
              <a:gd name="connsiteY4" fmla="*/ 207962 h 699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358" h="699163">
                <a:moveTo>
                  <a:pt x="60431" y="207962"/>
                </a:moveTo>
                <a:lnTo>
                  <a:pt x="60431" y="699393"/>
                </a:lnTo>
                <a:lnTo>
                  <a:pt x="-1927" y="458150"/>
                </a:lnTo>
                <a:lnTo>
                  <a:pt x="-1927" y="229"/>
                </a:lnTo>
                <a:lnTo>
                  <a:pt x="60431" y="207962"/>
                </a:lnTo>
              </a:path>
            </a:pathLst>
          </a:custGeom>
          <a:solidFill>
            <a:srgbClr val="989997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61" name="Vrije vorm 2160">
            <a:extLst>
              <a:ext uri="{FF2B5EF4-FFF2-40B4-BE49-F238E27FC236}">
                <a16:creationId xmlns:a16="http://schemas.microsoft.com/office/drawing/2014/main" id="{A03DAC86-AAF1-DBCD-6C09-4A5202533ACB}"/>
              </a:ext>
            </a:extLst>
          </p:cNvPr>
          <p:cNvSpPr/>
          <p:nvPr/>
        </p:nvSpPr>
        <p:spPr>
          <a:xfrm flipV="1">
            <a:off x="7162230" y="5530891"/>
            <a:ext cx="171266" cy="1861582"/>
          </a:xfrm>
          <a:custGeom>
            <a:avLst/>
            <a:gdLst>
              <a:gd name="connsiteX0" fmla="*/ -2420 w 62381"/>
              <a:gd name="connsiteY0" fmla="*/ 207962 h 699163"/>
              <a:gd name="connsiteX1" fmla="*/ -2420 w 62381"/>
              <a:gd name="connsiteY1" fmla="*/ 699393 h 699163"/>
              <a:gd name="connsiteX2" fmla="*/ 59962 w 62381"/>
              <a:gd name="connsiteY2" fmla="*/ 458150 h 699163"/>
              <a:gd name="connsiteX3" fmla="*/ 59962 w 62381"/>
              <a:gd name="connsiteY3" fmla="*/ 229 h 699163"/>
              <a:gd name="connsiteX4" fmla="*/ -2420 w 62381"/>
              <a:gd name="connsiteY4" fmla="*/ 207962 h 699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381" h="699163">
                <a:moveTo>
                  <a:pt x="-2420" y="207962"/>
                </a:moveTo>
                <a:lnTo>
                  <a:pt x="-2420" y="699393"/>
                </a:lnTo>
                <a:lnTo>
                  <a:pt x="59962" y="458150"/>
                </a:lnTo>
                <a:lnTo>
                  <a:pt x="59962" y="229"/>
                </a:lnTo>
                <a:lnTo>
                  <a:pt x="-2420" y="207962"/>
                </a:lnTo>
              </a:path>
            </a:pathLst>
          </a:custGeom>
          <a:solidFill>
            <a:srgbClr val="989997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64" name="Vrije vorm 2163">
            <a:extLst>
              <a:ext uri="{FF2B5EF4-FFF2-40B4-BE49-F238E27FC236}">
                <a16:creationId xmlns:a16="http://schemas.microsoft.com/office/drawing/2014/main" id="{B07E061F-8DCC-7C68-F257-A0D8E9C260F9}"/>
              </a:ext>
            </a:extLst>
          </p:cNvPr>
          <p:cNvSpPr/>
          <p:nvPr/>
        </p:nvSpPr>
        <p:spPr>
          <a:xfrm flipV="1">
            <a:off x="7333499" y="6173221"/>
            <a:ext cx="2469499" cy="104999"/>
          </a:xfrm>
          <a:custGeom>
            <a:avLst/>
            <a:gdLst>
              <a:gd name="connsiteX0" fmla="*/ -2595 w 899476"/>
              <a:gd name="connsiteY0" fmla="*/ 39622 h 39435"/>
              <a:gd name="connsiteX1" fmla="*/ -2595 w 899476"/>
              <a:gd name="connsiteY1" fmla="*/ 187 h 39435"/>
              <a:gd name="connsiteX2" fmla="*/ 896881 w 899476"/>
              <a:gd name="connsiteY2" fmla="*/ 187 h 39435"/>
              <a:gd name="connsiteX3" fmla="*/ 896881 w 899476"/>
              <a:gd name="connsiteY3" fmla="*/ 39622 h 39435"/>
              <a:gd name="connsiteX4" fmla="*/ -2595 w 899476"/>
              <a:gd name="connsiteY4" fmla="*/ 39622 h 39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476" h="39435">
                <a:moveTo>
                  <a:pt x="-2595" y="39622"/>
                </a:moveTo>
                <a:lnTo>
                  <a:pt x="-2595" y="187"/>
                </a:lnTo>
                <a:lnTo>
                  <a:pt x="896881" y="187"/>
                </a:lnTo>
                <a:lnTo>
                  <a:pt x="896881" y="39622"/>
                </a:lnTo>
                <a:lnTo>
                  <a:pt x="-2595" y="39622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6" name="Vrije vorm 5">
            <a:extLst>
              <a:ext uri="{FF2B5EF4-FFF2-40B4-BE49-F238E27FC236}">
                <a16:creationId xmlns:a16="http://schemas.microsoft.com/office/drawing/2014/main" id="{51808A4B-0413-217F-6306-5822385A148D}"/>
              </a:ext>
            </a:extLst>
          </p:cNvPr>
          <p:cNvSpPr/>
          <p:nvPr/>
        </p:nvSpPr>
        <p:spPr>
          <a:xfrm flipV="1">
            <a:off x="7333499" y="6173219"/>
            <a:ext cx="2469499" cy="1219254"/>
          </a:xfrm>
          <a:custGeom>
            <a:avLst/>
            <a:gdLst>
              <a:gd name="connsiteX0" fmla="*/ -2595 w 899476"/>
              <a:gd name="connsiteY0" fmla="*/ 286 h 457921"/>
              <a:gd name="connsiteX1" fmla="*/ 896881 w 899476"/>
              <a:gd name="connsiteY1" fmla="*/ 286 h 457921"/>
              <a:gd name="connsiteX2" fmla="*/ 896881 w 899476"/>
              <a:gd name="connsiteY2" fmla="*/ 458208 h 457921"/>
              <a:gd name="connsiteX3" fmla="*/ -2595 w 899476"/>
              <a:gd name="connsiteY3" fmla="*/ 458208 h 45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476" h="457921">
                <a:moveTo>
                  <a:pt x="-2595" y="286"/>
                </a:moveTo>
                <a:lnTo>
                  <a:pt x="896881" y="286"/>
                </a:lnTo>
                <a:lnTo>
                  <a:pt x="896881" y="458208"/>
                </a:lnTo>
                <a:lnTo>
                  <a:pt x="-2595" y="458208"/>
                </a:lnTo>
                <a:close/>
              </a:path>
            </a:pathLst>
          </a:custGeom>
          <a:solidFill>
            <a:srgbClr val="C6C5C3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54" name="Vrije vorm 2153">
            <a:extLst>
              <a:ext uri="{FF2B5EF4-FFF2-40B4-BE49-F238E27FC236}">
                <a16:creationId xmlns:a16="http://schemas.microsoft.com/office/drawing/2014/main" id="{646309D6-66E7-09B6-89BE-A2513E6D35C3}"/>
              </a:ext>
            </a:extLst>
          </p:cNvPr>
          <p:cNvSpPr/>
          <p:nvPr/>
        </p:nvSpPr>
        <p:spPr>
          <a:xfrm flipV="1">
            <a:off x="1400981" y="5530891"/>
            <a:ext cx="2212168" cy="642328"/>
          </a:xfrm>
          <a:custGeom>
            <a:avLst/>
            <a:gdLst>
              <a:gd name="connsiteX0" fmla="*/ 741598 w 805747"/>
              <a:gd name="connsiteY0" fmla="*/ 120 h 241242"/>
              <a:gd name="connsiteX1" fmla="*/ 656760 w 805747"/>
              <a:gd name="connsiteY1" fmla="*/ 120 h 241242"/>
              <a:gd name="connsiteX2" fmla="*/ 416815 w 805747"/>
              <a:gd name="connsiteY2" fmla="*/ 146232 h 241242"/>
              <a:gd name="connsiteX3" fmla="*/ 222803 w 805747"/>
              <a:gd name="connsiteY3" fmla="*/ 185993 h 241242"/>
              <a:gd name="connsiteX4" fmla="*/ 108598 w 805747"/>
              <a:gd name="connsiteY4" fmla="*/ 195609 h 241242"/>
              <a:gd name="connsiteX5" fmla="*/ -1792 w 805747"/>
              <a:gd name="connsiteY5" fmla="*/ 199235 h 241242"/>
              <a:gd name="connsiteX6" fmla="*/ 31246 w 805747"/>
              <a:gd name="connsiteY6" fmla="*/ 241363 h 241242"/>
              <a:gd name="connsiteX7" fmla="*/ 803956 w 805747"/>
              <a:gd name="connsiteY7" fmla="*/ 241363 h 241242"/>
              <a:gd name="connsiteX8" fmla="*/ 772180 w 805747"/>
              <a:gd name="connsiteY8" fmla="*/ 118434 h 241242"/>
              <a:gd name="connsiteX9" fmla="*/ 741598 w 805747"/>
              <a:gd name="connsiteY9" fmla="*/ 120 h 241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05747" h="241242">
                <a:moveTo>
                  <a:pt x="741598" y="120"/>
                </a:moveTo>
                <a:lnTo>
                  <a:pt x="656760" y="120"/>
                </a:lnTo>
                <a:cubicBezTo>
                  <a:pt x="602840" y="76530"/>
                  <a:pt x="504678" y="119729"/>
                  <a:pt x="416815" y="146232"/>
                </a:cubicBezTo>
                <a:cubicBezTo>
                  <a:pt x="353550" y="165316"/>
                  <a:pt x="288236" y="177365"/>
                  <a:pt x="222803" y="185993"/>
                </a:cubicBezTo>
                <a:cubicBezTo>
                  <a:pt x="184854" y="191005"/>
                  <a:pt x="146857" y="194557"/>
                  <a:pt x="108598" y="195609"/>
                </a:cubicBezTo>
                <a:cubicBezTo>
                  <a:pt x="71793" y="196616"/>
                  <a:pt x="34893" y="196346"/>
                  <a:pt x="-1792" y="199235"/>
                </a:cubicBezTo>
                <a:lnTo>
                  <a:pt x="31246" y="241363"/>
                </a:lnTo>
                <a:lnTo>
                  <a:pt x="803956" y="241363"/>
                </a:lnTo>
                <a:lnTo>
                  <a:pt x="772180" y="118434"/>
                </a:lnTo>
                <a:lnTo>
                  <a:pt x="741598" y="120"/>
                </a:lnTo>
              </a:path>
            </a:pathLst>
          </a:custGeom>
          <a:solidFill>
            <a:srgbClr val="DEDED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60" name="Vrije vorm 2159">
            <a:extLst>
              <a:ext uri="{FF2B5EF4-FFF2-40B4-BE49-F238E27FC236}">
                <a16:creationId xmlns:a16="http://schemas.microsoft.com/office/drawing/2014/main" id="{70CF371A-BFC7-3FC9-93EB-B8E311FEA052}"/>
              </a:ext>
            </a:extLst>
          </p:cNvPr>
          <p:cNvSpPr/>
          <p:nvPr/>
        </p:nvSpPr>
        <p:spPr>
          <a:xfrm flipV="1">
            <a:off x="7162230" y="5530891"/>
            <a:ext cx="2640768" cy="642328"/>
          </a:xfrm>
          <a:custGeom>
            <a:avLst/>
            <a:gdLst>
              <a:gd name="connsiteX0" fmla="*/ 959275 w 961858"/>
              <a:gd name="connsiteY0" fmla="*/ 120 h 241242"/>
              <a:gd name="connsiteX1" fmla="*/ 737778 w 961858"/>
              <a:gd name="connsiteY1" fmla="*/ 120 h 241242"/>
              <a:gd name="connsiteX2" fmla="*/ 479692 w 961858"/>
              <a:gd name="connsiteY2" fmla="*/ 155271 h 241242"/>
              <a:gd name="connsiteX3" fmla="*/ 104017 w 961858"/>
              <a:gd name="connsiteY3" fmla="*/ 216511 h 241242"/>
              <a:gd name="connsiteX4" fmla="*/ 5831 w 961858"/>
              <a:gd name="connsiteY4" fmla="*/ 212401 h 241242"/>
              <a:gd name="connsiteX5" fmla="*/ -2584 w 961858"/>
              <a:gd name="connsiteY5" fmla="*/ 241363 h 241242"/>
              <a:gd name="connsiteX6" fmla="*/ 770126 w 961858"/>
              <a:gd name="connsiteY6" fmla="*/ 241363 h 241242"/>
              <a:gd name="connsiteX7" fmla="*/ 959275 w 961858"/>
              <a:gd name="connsiteY7" fmla="*/ 120 h 241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61858" h="241242">
                <a:moveTo>
                  <a:pt x="959275" y="120"/>
                </a:moveTo>
                <a:lnTo>
                  <a:pt x="737778" y="120"/>
                </a:lnTo>
                <a:cubicBezTo>
                  <a:pt x="663692" y="68825"/>
                  <a:pt x="576996" y="122563"/>
                  <a:pt x="479692" y="155271"/>
                </a:cubicBezTo>
                <a:cubicBezTo>
                  <a:pt x="358337" y="196065"/>
                  <a:pt x="230735" y="216511"/>
                  <a:pt x="104017" y="216511"/>
                </a:cubicBezTo>
                <a:cubicBezTo>
                  <a:pt x="71193" y="216511"/>
                  <a:pt x="38393" y="215149"/>
                  <a:pt x="5831" y="212401"/>
                </a:cubicBezTo>
                <a:lnTo>
                  <a:pt x="-2584" y="241363"/>
                </a:lnTo>
                <a:lnTo>
                  <a:pt x="770126" y="241363"/>
                </a:lnTo>
                <a:lnTo>
                  <a:pt x="959275" y="120"/>
                </a:lnTo>
              </a:path>
            </a:pathLst>
          </a:custGeom>
          <a:solidFill>
            <a:srgbClr val="DEDED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163" name="Vrije vorm 2162">
            <a:extLst>
              <a:ext uri="{FF2B5EF4-FFF2-40B4-BE49-F238E27FC236}">
                <a16:creationId xmlns:a16="http://schemas.microsoft.com/office/drawing/2014/main" id="{FA2F652C-7281-E0D1-0B75-A11A8F54D6A0}"/>
              </a:ext>
            </a:extLst>
          </p:cNvPr>
          <p:cNvSpPr/>
          <p:nvPr/>
        </p:nvSpPr>
        <p:spPr>
          <a:xfrm flipV="1">
            <a:off x="7333499" y="6173221"/>
            <a:ext cx="2469499" cy="552907"/>
          </a:xfrm>
          <a:custGeom>
            <a:avLst/>
            <a:gdLst>
              <a:gd name="connsiteX0" fmla="*/ 896881 w 899476"/>
              <a:gd name="connsiteY0" fmla="*/ 227 h 207658"/>
              <a:gd name="connsiteX1" fmla="*/ 577080 w 899476"/>
              <a:gd name="connsiteY1" fmla="*/ 227 h 207658"/>
              <a:gd name="connsiteX2" fmla="*/ 59215 w 899476"/>
              <a:gd name="connsiteY2" fmla="*/ 126304 h 207658"/>
              <a:gd name="connsiteX3" fmla="*/ -2595 w 899476"/>
              <a:gd name="connsiteY3" fmla="*/ 124794 h 207658"/>
              <a:gd name="connsiteX4" fmla="*/ -2595 w 899476"/>
              <a:gd name="connsiteY4" fmla="*/ 207886 h 207658"/>
              <a:gd name="connsiteX5" fmla="*/ 896881 w 899476"/>
              <a:gd name="connsiteY5" fmla="*/ 207886 h 207658"/>
              <a:gd name="connsiteX6" fmla="*/ 896881 w 899476"/>
              <a:gd name="connsiteY6" fmla="*/ 169736 h 207658"/>
              <a:gd name="connsiteX7" fmla="*/ 896881 w 899476"/>
              <a:gd name="connsiteY7" fmla="*/ 227 h 207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476" h="207658">
                <a:moveTo>
                  <a:pt x="896881" y="227"/>
                </a:moveTo>
                <a:lnTo>
                  <a:pt x="577080" y="227"/>
                </a:lnTo>
                <a:cubicBezTo>
                  <a:pt x="408598" y="109717"/>
                  <a:pt x="181309" y="126304"/>
                  <a:pt x="59215" y="126304"/>
                </a:cubicBezTo>
                <a:cubicBezTo>
                  <a:pt x="33400" y="126304"/>
                  <a:pt x="12279" y="125558"/>
                  <a:pt x="-2595" y="124794"/>
                </a:cubicBezTo>
                <a:lnTo>
                  <a:pt x="-2595" y="207886"/>
                </a:lnTo>
                <a:lnTo>
                  <a:pt x="896881" y="207886"/>
                </a:lnTo>
                <a:lnTo>
                  <a:pt x="896881" y="169736"/>
                </a:lnTo>
                <a:lnTo>
                  <a:pt x="896881" y="227"/>
                </a:lnTo>
              </a:path>
            </a:pathLst>
          </a:custGeom>
          <a:solidFill>
            <a:srgbClr val="AEAEAC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7" name="Vrije vorm 6">
            <a:extLst>
              <a:ext uri="{FF2B5EF4-FFF2-40B4-BE49-F238E27FC236}">
                <a16:creationId xmlns:a16="http://schemas.microsoft.com/office/drawing/2014/main" id="{3CB9107D-4FAE-A206-9C6F-1C6CA5194D63}"/>
              </a:ext>
            </a:extLst>
          </p:cNvPr>
          <p:cNvSpPr/>
          <p:nvPr/>
        </p:nvSpPr>
        <p:spPr>
          <a:xfrm flipV="1">
            <a:off x="7333499" y="6178876"/>
            <a:ext cx="2469499" cy="104999"/>
          </a:xfrm>
          <a:custGeom>
            <a:avLst/>
            <a:gdLst>
              <a:gd name="connsiteX0" fmla="*/ -2595 w 899476"/>
              <a:gd name="connsiteY0" fmla="*/ 39622 h 39435"/>
              <a:gd name="connsiteX1" fmla="*/ -2595 w 899476"/>
              <a:gd name="connsiteY1" fmla="*/ 187 h 39435"/>
              <a:gd name="connsiteX2" fmla="*/ 896881 w 899476"/>
              <a:gd name="connsiteY2" fmla="*/ 187 h 39435"/>
              <a:gd name="connsiteX3" fmla="*/ 896881 w 899476"/>
              <a:gd name="connsiteY3" fmla="*/ 39622 h 39435"/>
              <a:gd name="connsiteX4" fmla="*/ -2595 w 899476"/>
              <a:gd name="connsiteY4" fmla="*/ 39622 h 39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476" h="39435">
                <a:moveTo>
                  <a:pt x="-2595" y="39622"/>
                </a:moveTo>
                <a:lnTo>
                  <a:pt x="-2595" y="187"/>
                </a:lnTo>
                <a:lnTo>
                  <a:pt x="896881" y="187"/>
                </a:lnTo>
                <a:lnTo>
                  <a:pt x="896881" y="39622"/>
                </a:lnTo>
                <a:lnTo>
                  <a:pt x="-2595" y="39622"/>
                </a:lnTo>
              </a:path>
            </a:pathLst>
          </a:custGeom>
          <a:solidFill>
            <a:srgbClr val="FFFFFF"/>
          </a:solidFill>
          <a:ln w="2382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2240" name="Tekstvak 2239">
            <a:extLst>
              <a:ext uri="{FF2B5EF4-FFF2-40B4-BE49-F238E27FC236}">
                <a16:creationId xmlns:a16="http://schemas.microsoft.com/office/drawing/2014/main" id="{5CF14E03-C347-4EBF-9AEA-C7A390703200}"/>
              </a:ext>
            </a:extLst>
          </p:cNvPr>
          <p:cNvSpPr txBox="1"/>
          <p:nvPr/>
        </p:nvSpPr>
        <p:spPr>
          <a:xfrm>
            <a:off x="2888376" y="1123662"/>
            <a:ext cx="28164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stions?</a:t>
            </a:r>
            <a:endParaRPr lang="en-US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1" name="Tekstvak 2240">
            <a:extLst>
              <a:ext uri="{FF2B5EF4-FFF2-40B4-BE49-F238E27FC236}">
                <a16:creationId xmlns:a16="http://schemas.microsoft.com/office/drawing/2014/main" id="{6BADC3E9-51FB-4D17-9241-79CA1FE5630E}"/>
              </a:ext>
            </a:extLst>
          </p:cNvPr>
          <p:cNvSpPr txBox="1"/>
          <p:nvPr/>
        </p:nvSpPr>
        <p:spPr>
          <a:xfrm>
            <a:off x="4451420" y="1701022"/>
            <a:ext cx="31833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0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7243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28000">
              <a:srgbClr val="4CAFCC"/>
            </a:gs>
            <a:gs pos="65000">
              <a:srgbClr val="2296BB"/>
            </a:gs>
            <a:gs pos="86000">
              <a:srgbClr val="118AB5"/>
            </a:gs>
            <a:gs pos="100000">
              <a:srgbClr val="0D6B8D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63E4F03-6BCC-49FB-84A6-E310562A0F51}"/>
              </a:ext>
            </a:extLst>
          </p:cNvPr>
          <p:cNvGrpSpPr/>
          <p:nvPr/>
        </p:nvGrpSpPr>
        <p:grpSpPr>
          <a:xfrm>
            <a:off x="2121747" y="1212605"/>
            <a:ext cx="6471163" cy="4606658"/>
            <a:chOff x="1745907" y="710417"/>
            <a:chExt cx="5980107" cy="5029200"/>
          </a:xfrm>
          <a:gradFill flip="none" rotWithShape="1">
            <a:gsLst>
              <a:gs pos="97345">
                <a:schemeClr val="tx1">
                  <a:lumMod val="65000"/>
                  <a:lumOff val="35000"/>
                </a:schemeClr>
              </a:gs>
              <a:gs pos="23000">
                <a:srgbClr val="D8E1E0"/>
              </a:gs>
              <a:gs pos="65000">
                <a:srgbClr val="D6DCDB"/>
              </a:gs>
              <a:gs pos="86000">
                <a:srgbClr val="BECAC8"/>
              </a:gs>
            </a:gsLst>
            <a:lin ang="0" scaled="1"/>
            <a:tileRect/>
          </a:gradFill>
          <a:scene3d>
            <a:camera prst="obliqueTopLeft"/>
            <a:lightRig rig="twoPt" dir="t"/>
          </a:scene3d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FF08429A-CB74-4624-9E74-9E6B2E5ADA1F}"/>
                </a:ext>
              </a:extLst>
            </p:cNvPr>
            <p:cNvGrpSpPr/>
            <p:nvPr/>
          </p:nvGrpSpPr>
          <p:grpSpPr>
            <a:xfrm>
              <a:off x="1745907" y="710417"/>
              <a:ext cx="5247525" cy="5029200"/>
              <a:chOff x="1745907" y="710417"/>
              <a:chExt cx="5247525" cy="5029200"/>
            </a:xfrm>
            <a:grpFill/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01F0E1BC-F283-4768-88BC-AA15695928A9}"/>
                  </a:ext>
                </a:extLst>
              </p:cNvPr>
              <p:cNvSpPr/>
              <p:nvPr/>
            </p:nvSpPr>
            <p:spPr>
              <a:xfrm>
                <a:off x="1745907" y="710417"/>
                <a:ext cx="2363681" cy="5029200"/>
              </a:xfrm>
              <a:prstGeom prst="rect">
                <a:avLst/>
              </a:prstGeom>
              <a:grpFill/>
              <a:ln>
                <a:noFill/>
              </a:ln>
              <a:sp3d extrusionH="1847850"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670CF739-3FB3-49D3-A9F8-E8C04B9E56D7}"/>
                  </a:ext>
                </a:extLst>
              </p:cNvPr>
              <p:cNvSpPr/>
              <p:nvPr/>
            </p:nvSpPr>
            <p:spPr>
              <a:xfrm>
                <a:off x="4078908" y="1167617"/>
                <a:ext cx="745588" cy="4572000"/>
              </a:xfrm>
              <a:prstGeom prst="rect">
                <a:avLst/>
              </a:prstGeom>
              <a:grpFill/>
              <a:ln>
                <a:noFill/>
              </a:ln>
              <a:sp3d extrusionH="1847850"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72BBC4A1-9B9B-4ED4-A865-E77233F3C08A}"/>
                  </a:ext>
                </a:extLst>
              </p:cNvPr>
              <p:cNvSpPr/>
              <p:nvPr/>
            </p:nvSpPr>
            <p:spPr>
              <a:xfrm>
                <a:off x="4794528" y="1624817"/>
                <a:ext cx="745588" cy="4114800"/>
              </a:xfrm>
              <a:prstGeom prst="rect">
                <a:avLst/>
              </a:prstGeom>
              <a:grpFill/>
              <a:ln>
                <a:noFill/>
              </a:ln>
              <a:sp3d extrusionH="1847850"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1C63D7D8-42F3-49E6-B08B-FDC268507713}"/>
                  </a:ext>
                </a:extLst>
              </p:cNvPr>
              <p:cNvSpPr/>
              <p:nvPr/>
            </p:nvSpPr>
            <p:spPr>
              <a:xfrm>
                <a:off x="5529667" y="2082017"/>
                <a:ext cx="745588" cy="3657600"/>
              </a:xfrm>
              <a:prstGeom prst="rect">
                <a:avLst/>
              </a:prstGeom>
              <a:grpFill/>
              <a:ln>
                <a:noFill/>
              </a:ln>
              <a:sp3d extrusionH="1847850"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C578222-064A-4C6B-88BC-654133C11477}"/>
                  </a:ext>
                </a:extLst>
              </p:cNvPr>
              <p:cNvSpPr/>
              <p:nvPr/>
            </p:nvSpPr>
            <p:spPr>
              <a:xfrm>
                <a:off x="6247844" y="2539217"/>
                <a:ext cx="745588" cy="3200400"/>
              </a:xfrm>
              <a:prstGeom prst="rect">
                <a:avLst/>
              </a:prstGeom>
              <a:grpFill/>
              <a:ln>
                <a:noFill/>
              </a:ln>
              <a:sp3d extrusionH="1847850"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F6D6E89-58F2-4DB2-8BF1-F10FE845022A}"/>
                </a:ext>
              </a:extLst>
            </p:cNvPr>
            <p:cNvSpPr/>
            <p:nvPr/>
          </p:nvSpPr>
          <p:spPr>
            <a:xfrm>
              <a:off x="6980426" y="3179791"/>
              <a:ext cx="745588" cy="314828"/>
            </a:xfrm>
            <a:custGeom>
              <a:avLst/>
              <a:gdLst>
                <a:gd name="connsiteX0" fmla="*/ 20979 w 745588"/>
                <a:gd name="connsiteY0" fmla="*/ 0 h 398994"/>
                <a:gd name="connsiteX1" fmla="*/ 745588 w 745588"/>
                <a:gd name="connsiteY1" fmla="*/ 199497 h 398994"/>
                <a:gd name="connsiteX2" fmla="*/ 20979 w 745588"/>
                <a:gd name="connsiteY2" fmla="*/ 398994 h 398994"/>
                <a:gd name="connsiteX3" fmla="*/ 0 w 745588"/>
                <a:gd name="connsiteY3" fmla="*/ 398412 h 398994"/>
                <a:gd name="connsiteX4" fmla="*/ 0 w 745588"/>
                <a:gd name="connsiteY4" fmla="*/ 582 h 39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5588" h="398994">
                  <a:moveTo>
                    <a:pt x="20979" y="0"/>
                  </a:moveTo>
                  <a:cubicBezTo>
                    <a:pt x="421170" y="0"/>
                    <a:pt x="745588" y="89318"/>
                    <a:pt x="745588" y="199497"/>
                  </a:cubicBezTo>
                  <a:cubicBezTo>
                    <a:pt x="745588" y="309676"/>
                    <a:pt x="421170" y="398994"/>
                    <a:pt x="20979" y="398994"/>
                  </a:cubicBezTo>
                  <a:lnTo>
                    <a:pt x="0" y="398412"/>
                  </a:lnTo>
                  <a:lnTo>
                    <a:pt x="0" y="582"/>
                  </a:lnTo>
                  <a:close/>
                </a:path>
              </a:pathLst>
            </a:custGeom>
            <a:grpFill/>
            <a:ln>
              <a:noFill/>
            </a:ln>
            <a:sp3d extrusionH="1847850"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9" name="Right Triangle 78">
            <a:extLst>
              <a:ext uri="{FF2B5EF4-FFF2-40B4-BE49-F238E27FC236}">
                <a16:creationId xmlns:a16="http://schemas.microsoft.com/office/drawing/2014/main" id="{312982F2-D8C2-4AB2-B693-698D8F4C4C8F}"/>
              </a:ext>
            </a:extLst>
          </p:cNvPr>
          <p:cNvSpPr/>
          <p:nvPr/>
        </p:nvSpPr>
        <p:spPr>
          <a:xfrm>
            <a:off x="3222699" y="5708782"/>
            <a:ext cx="3601210" cy="991958"/>
          </a:xfrm>
          <a:custGeom>
            <a:avLst/>
            <a:gdLst>
              <a:gd name="connsiteX0" fmla="*/ 0 w 3241446"/>
              <a:gd name="connsiteY0" fmla="*/ 1171840 h 1171840"/>
              <a:gd name="connsiteX1" fmla="*/ 0 w 3241446"/>
              <a:gd name="connsiteY1" fmla="*/ 0 h 1171840"/>
              <a:gd name="connsiteX2" fmla="*/ 3241446 w 3241446"/>
              <a:gd name="connsiteY2" fmla="*/ 1171840 h 1171840"/>
              <a:gd name="connsiteX3" fmla="*/ 0 w 3241446"/>
              <a:gd name="connsiteY3" fmla="*/ 1171840 h 1171840"/>
              <a:gd name="connsiteX0" fmla="*/ 359764 w 3601210"/>
              <a:gd name="connsiteY0" fmla="*/ 991958 h 991958"/>
              <a:gd name="connsiteX1" fmla="*/ 0 w 3601210"/>
              <a:gd name="connsiteY1" fmla="*/ 0 h 991958"/>
              <a:gd name="connsiteX2" fmla="*/ 3601210 w 3601210"/>
              <a:gd name="connsiteY2" fmla="*/ 991958 h 991958"/>
              <a:gd name="connsiteX3" fmla="*/ 359764 w 3601210"/>
              <a:gd name="connsiteY3" fmla="*/ 991958 h 991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1210" h="991958">
                <a:moveTo>
                  <a:pt x="359764" y="991958"/>
                </a:moveTo>
                <a:lnTo>
                  <a:pt x="0" y="0"/>
                </a:lnTo>
                <a:lnTo>
                  <a:pt x="3601210" y="991958"/>
                </a:lnTo>
                <a:lnTo>
                  <a:pt x="359764" y="991958"/>
                </a:lnTo>
                <a:close/>
              </a:path>
            </a:pathLst>
          </a:custGeom>
          <a:solidFill>
            <a:schemeClr val="tx1">
              <a:alpha val="30000"/>
            </a:schemeClr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CA14AE6-8E4E-400D-A96C-E69B28C79008}"/>
              </a:ext>
            </a:extLst>
          </p:cNvPr>
          <p:cNvGrpSpPr/>
          <p:nvPr/>
        </p:nvGrpSpPr>
        <p:grpSpPr>
          <a:xfrm>
            <a:off x="3730025" y="3593065"/>
            <a:ext cx="4875560" cy="2972278"/>
            <a:chOff x="4460410" y="3620294"/>
            <a:chExt cx="4875560" cy="2972278"/>
          </a:xfrm>
          <a:solidFill>
            <a:schemeClr val="bg1">
              <a:lumMod val="65000"/>
            </a:schemeClr>
          </a:solidFill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0752A49-3613-4018-8B05-1580E76E4625}"/>
                </a:ext>
              </a:extLst>
            </p:cNvPr>
            <p:cNvSpPr/>
            <p:nvPr/>
          </p:nvSpPr>
          <p:spPr>
            <a:xfrm>
              <a:off x="4460410" y="5748223"/>
              <a:ext cx="806812" cy="837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D2678D07-09CF-4462-8DF2-939F21FEE28C}"/>
                </a:ext>
              </a:extLst>
            </p:cNvPr>
            <p:cNvSpPr/>
            <p:nvPr/>
          </p:nvSpPr>
          <p:spPr>
            <a:xfrm>
              <a:off x="5230881" y="5409971"/>
              <a:ext cx="806812" cy="117260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AE69762-D0B6-43B2-A914-83CBF3BD4AC3}"/>
                </a:ext>
              </a:extLst>
            </p:cNvPr>
            <p:cNvSpPr/>
            <p:nvPr/>
          </p:nvSpPr>
          <p:spPr>
            <a:xfrm>
              <a:off x="6037693" y="4910649"/>
              <a:ext cx="806812" cy="16751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CE5977E8-962A-4C58-9C01-503284231059}"/>
                </a:ext>
              </a:extLst>
            </p:cNvPr>
            <p:cNvSpPr/>
            <p:nvPr/>
          </p:nvSpPr>
          <p:spPr>
            <a:xfrm>
              <a:off x="6844505" y="4488640"/>
              <a:ext cx="806812" cy="20939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32FBD509-26BC-4862-ABB1-0C74102AFB58}"/>
                </a:ext>
              </a:extLst>
            </p:cNvPr>
            <p:cNvSpPr/>
            <p:nvPr/>
          </p:nvSpPr>
          <p:spPr>
            <a:xfrm>
              <a:off x="7640968" y="4069088"/>
              <a:ext cx="806812" cy="251272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7FE4938-9DBB-4E96-B727-31F4E56E5EC9}"/>
                </a:ext>
              </a:extLst>
            </p:cNvPr>
            <p:cNvSpPr/>
            <p:nvPr/>
          </p:nvSpPr>
          <p:spPr>
            <a:xfrm>
              <a:off x="8399403" y="3620294"/>
              <a:ext cx="936567" cy="2972278"/>
            </a:xfrm>
            <a:custGeom>
              <a:avLst/>
              <a:gdLst>
                <a:gd name="connsiteX0" fmla="*/ 865497 w 865497"/>
                <a:gd name="connsiteY0" fmla="*/ 0 h 2690802"/>
                <a:gd name="connsiteX1" fmla="*/ 865497 w 865497"/>
                <a:gd name="connsiteY1" fmla="*/ 2690802 h 2690802"/>
                <a:gd name="connsiteX2" fmla="*/ 0 w 865497"/>
                <a:gd name="connsiteY2" fmla="*/ 2690802 h 2690802"/>
                <a:gd name="connsiteX3" fmla="*/ 0 w 865497"/>
                <a:gd name="connsiteY3" fmla="*/ 80341 h 2690802"/>
                <a:gd name="connsiteX4" fmla="*/ 96998 w 865497"/>
                <a:gd name="connsiteY4" fmla="*/ 88034 h 2690802"/>
                <a:gd name="connsiteX5" fmla="*/ 243032 w 865497"/>
                <a:gd name="connsiteY5" fmla="*/ 91795 h 2690802"/>
                <a:gd name="connsiteX6" fmla="*/ 843890 w 865497"/>
                <a:gd name="connsiteY6" fmla="*/ 10171 h 2690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5497" h="2690802">
                  <a:moveTo>
                    <a:pt x="865497" y="0"/>
                  </a:moveTo>
                  <a:lnTo>
                    <a:pt x="865497" y="2690802"/>
                  </a:lnTo>
                  <a:lnTo>
                    <a:pt x="0" y="2690802"/>
                  </a:lnTo>
                  <a:lnTo>
                    <a:pt x="0" y="80341"/>
                  </a:lnTo>
                  <a:lnTo>
                    <a:pt x="96998" y="88034"/>
                  </a:lnTo>
                  <a:cubicBezTo>
                    <a:pt x="144168" y="90500"/>
                    <a:pt x="193008" y="91795"/>
                    <a:pt x="243032" y="91795"/>
                  </a:cubicBezTo>
                  <a:cubicBezTo>
                    <a:pt x="493152" y="91795"/>
                    <a:pt x="713672" y="59417"/>
                    <a:pt x="843890" y="10171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BFF18B5-1854-4868-96C2-7E5A764700E1}"/>
              </a:ext>
            </a:extLst>
          </p:cNvPr>
          <p:cNvGrpSpPr/>
          <p:nvPr/>
        </p:nvGrpSpPr>
        <p:grpSpPr>
          <a:xfrm>
            <a:off x="3740888" y="3620294"/>
            <a:ext cx="4875560" cy="2972278"/>
            <a:chOff x="4460410" y="3620294"/>
            <a:chExt cx="4875560" cy="2972278"/>
          </a:xfrm>
          <a:gradFill flip="none" rotWithShape="1">
            <a:gsLst>
              <a:gs pos="63000">
                <a:schemeClr val="bg1"/>
              </a:gs>
              <a:gs pos="83000">
                <a:schemeClr val="bg1">
                  <a:lumMod val="95000"/>
                </a:schemeClr>
              </a:gs>
              <a:gs pos="97000">
                <a:schemeClr val="bg1">
                  <a:lumMod val="85000"/>
                </a:schemeClr>
              </a:gs>
            </a:gsLst>
            <a:lin ang="0" scaled="1"/>
            <a:tileRect/>
          </a:gradFill>
          <a:scene3d>
            <a:camera prst="obliqueTopLeft"/>
            <a:lightRig rig="twoPt" dir="t"/>
          </a:scene3d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3CE59C0-CF6D-4BBB-8EB2-3E8E21484DB5}"/>
                </a:ext>
              </a:extLst>
            </p:cNvPr>
            <p:cNvSpPr/>
            <p:nvPr/>
          </p:nvSpPr>
          <p:spPr>
            <a:xfrm>
              <a:off x="4460410" y="5748223"/>
              <a:ext cx="806812" cy="837575"/>
            </a:xfrm>
            <a:prstGeom prst="rect">
              <a:avLst/>
            </a:prstGeom>
            <a:grpFill/>
            <a:ln>
              <a:noFill/>
            </a:ln>
            <a:sp3d extrusionH="1244600"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EF3AA17-CC46-4FA7-BAAC-55C2FF8C3BE5}"/>
                </a:ext>
              </a:extLst>
            </p:cNvPr>
            <p:cNvSpPr/>
            <p:nvPr/>
          </p:nvSpPr>
          <p:spPr>
            <a:xfrm>
              <a:off x="5230881" y="5409971"/>
              <a:ext cx="806812" cy="1172604"/>
            </a:xfrm>
            <a:prstGeom prst="rect">
              <a:avLst/>
            </a:prstGeom>
            <a:grpFill/>
            <a:ln>
              <a:noFill/>
            </a:ln>
            <a:sp3d extrusionH="1244600"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C6017E1-F25E-4954-8349-522BF0A4A1FE}"/>
                </a:ext>
              </a:extLst>
            </p:cNvPr>
            <p:cNvSpPr/>
            <p:nvPr/>
          </p:nvSpPr>
          <p:spPr>
            <a:xfrm>
              <a:off x="6037693" y="4910649"/>
              <a:ext cx="806812" cy="1675148"/>
            </a:xfrm>
            <a:prstGeom prst="rect">
              <a:avLst/>
            </a:prstGeom>
            <a:grpFill/>
            <a:ln>
              <a:noFill/>
            </a:ln>
            <a:sp3d extrusionH="1244600"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8541B4B-E79F-4AFD-A9EF-5A2CFE1AE003}"/>
                </a:ext>
              </a:extLst>
            </p:cNvPr>
            <p:cNvSpPr/>
            <p:nvPr/>
          </p:nvSpPr>
          <p:spPr>
            <a:xfrm>
              <a:off x="6844505" y="4488640"/>
              <a:ext cx="806812" cy="2093935"/>
            </a:xfrm>
            <a:prstGeom prst="rect">
              <a:avLst/>
            </a:prstGeom>
            <a:grpFill/>
            <a:ln>
              <a:noFill/>
            </a:ln>
            <a:sp3d extrusionH="1244600"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4030178-6140-4785-87B6-D34BB7D15441}"/>
                </a:ext>
              </a:extLst>
            </p:cNvPr>
            <p:cNvSpPr/>
            <p:nvPr/>
          </p:nvSpPr>
          <p:spPr>
            <a:xfrm>
              <a:off x="7640968" y="4069088"/>
              <a:ext cx="806812" cy="2512723"/>
            </a:xfrm>
            <a:prstGeom prst="rect">
              <a:avLst/>
            </a:prstGeom>
            <a:grpFill/>
            <a:ln>
              <a:noFill/>
            </a:ln>
            <a:sp3d extrusionH="1244600"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7F91A4B-EC70-422E-992B-DF81F715C2F4}"/>
                </a:ext>
              </a:extLst>
            </p:cNvPr>
            <p:cNvSpPr/>
            <p:nvPr/>
          </p:nvSpPr>
          <p:spPr>
            <a:xfrm>
              <a:off x="8399403" y="3620294"/>
              <a:ext cx="936567" cy="2972278"/>
            </a:xfrm>
            <a:custGeom>
              <a:avLst/>
              <a:gdLst>
                <a:gd name="connsiteX0" fmla="*/ 865497 w 865497"/>
                <a:gd name="connsiteY0" fmla="*/ 0 h 2690802"/>
                <a:gd name="connsiteX1" fmla="*/ 865497 w 865497"/>
                <a:gd name="connsiteY1" fmla="*/ 2690802 h 2690802"/>
                <a:gd name="connsiteX2" fmla="*/ 0 w 865497"/>
                <a:gd name="connsiteY2" fmla="*/ 2690802 h 2690802"/>
                <a:gd name="connsiteX3" fmla="*/ 0 w 865497"/>
                <a:gd name="connsiteY3" fmla="*/ 80341 h 2690802"/>
                <a:gd name="connsiteX4" fmla="*/ 96998 w 865497"/>
                <a:gd name="connsiteY4" fmla="*/ 88034 h 2690802"/>
                <a:gd name="connsiteX5" fmla="*/ 243032 w 865497"/>
                <a:gd name="connsiteY5" fmla="*/ 91795 h 2690802"/>
                <a:gd name="connsiteX6" fmla="*/ 843890 w 865497"/>
                <a:gd name="connsiteY6" fmla="*/ 10171 h 2690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5497" h="2690802">
                  <a:moveTo>
                    <a:pt x="865497" y="0"/>
                  </a:moveTo>
                  <a:lnTo>
                    <a:pt x="865497" y="2690802"/>
                  </a:lnTo>
                  <a:lnTo>
                    <a:pt x="0" y="2690802"/>
                  </a:lnTo>
                  <a:lnTo>
                    <a:pt x="0" y="80341"/>
                  </a:lnTo>
                  <a:lnTo>
                    <a:pt x="96998" y="88034"/>
                  </a:lnTo>
                  <a:cubicBezTo>
                    <a:pt x="144168" y="90500"/>
                    <a:pt x="193008" y="91795"/>
                    <a:pt x="243032" y="91795"/>
                  </a:cubicBezTo>
                  <a:cubicBezTo>
                    <a:pt x="493152" y="91795"/>
                    <a:pt x="713672" y="59417"/>
                    <a:pt x="843890" y="10171"/>
                  </a:cubicBezTo>
                  <a:close/>
                </a:path>
              </a:pathLst>
            </a:custGeom>
            <a:grpFill/>
            <a:ln>
              <a:noFill/>
            </a:ln>
            <a:sp3d extrusionH="1244600"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2" name="Graphic 31" descr="Trophy">
            <a:extLst>
              <a:ext uri="{FF2B5EF4-FFF2-40B4-BE49-F238E27FC236}">
                <a16:creationId xmlns:a16="http://schemas.microsoft.com/office/drawing/2014/main" id="{F12A10D8-8639-417D-8F27-A9FBAEA19A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40474" y="73324"/>
            <a:ext cx="1079292" cy="1079292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34" name="Graphic 33" descr="Target Audience">
            <a:extLst>
              <a:ext uri="{FF2B5EF4-FFF2-40B4-BE49-F238E27FC236}">
                <a16:creationId xmlns:a16="http://schemas.microsoft.com/office/drawing/2014/main" id="{11437732-CE29-4286-96B6-672A080CC3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54069" y="1787236"/>
            <a:ext cx="548640" cy="548640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36" name="Graphic 35" descr="Onderzoek met effen opvulling">
            <a:extLst>
              <a:ext uri="{FF2B5EF4-FFF2-40B4-BE49-F238E27FC236}">
                <a16:creationId xmlns:a16="http://schemas.microsoft.com/office/drawing/2014/main" id="{701E676F-57F3-4A7B-A5FA-E343C751553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5461618" y="1350543"/>
            <a:ext cx="548640" cy="548640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38" name="Graphic 37" descr="Directiekamer met effen opvulling">
            <a:extLst>
              <a:ext uri="{FF2B5EF4-FFF2-40B4-BE49-F238E27FC236}">
                <a16:creationId xmlns:a16="http://schemas.microsoft.com/office/drawing/2014/main" id="{6BA97130-4CE2-4A64-B930-EAF7F6AE127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694245" y="950515"/>
            <a:ext cx="548640" cy="548640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40" name="Graphic 39" descr="Lightbulb">
            <a:extLst>
              <a:ext uri="{FF2B5EF4-FFF2-40B4-BE49-F238E27FC236}">
                <a16:creationId xmlns:a16="http://schemas.microsoft.com/office/drawing/2014/main" id="{8948E5B3-5249-4B2D-8C10-7139E738CCB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31506" y="2170762"/>
            <a:ext cx="548640" cy="548640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D95AD040-229C-4C01-B603-EB941BD38EC2}"/>
              </a:ext>
            </a:extLst>
          </p:cNvPr>
          <p:cNvSpPr txBox="1"/>
          <p:nvPr/>
        </p:nvSpPr>
        <p:spPr>
          <a:xfrm>
            <a:off x="2674792" y="789489"/>
            <a:ext cx="21104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ublication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84992FD-D6B2-4443-850D-243AA0156939}"/>
              </a:ext>
            </a:extLst>
          </p:cNvPr>
          <p:cNvSpPr txBox="1"/>
          <p:nvPr/>
        </p:nvSpPr>
        <p:spPr>
          <a:xfrm>
            <a:off x="9545292" y="4694756"/>
            <a:ext cx="17838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dea and research question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AD11A16-A808-4A51-ADA9-D5C33F4E8D06}"/>
              </a:ext>
            </a:extLst>
          </p:cNvPr>
          <p:cNvSpPr txBox="1"/>
          <p:nvPr/>
        </p:nvSpPr>
        <p:spPr>
          <a:xfrm>
            <a:off x="9545292" y="3717993"/>
            <a:ext cx="17838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thodology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B5DE5CC-7A5A-4B9C-A091-A1331ACE38CC}"/>
              </a:ext>
            </a:extLst>
          </p:cNvPr>
          <p:cNvSpPr txBox="1"/>
          <p:nvPr/>
        </p:nvSpPr>
        <p:spPr>
          <a:xfrm>
            <a:off x="9545292" y="2629209"/>
            <a:ext cx="17838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sult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002686E-66C6-49F5-9D8C-1ED346FF47F3}"/>
              </a:ext>
            </a:extLst>
          </p:cNvPr>
          <p:cNvSpPr txBox="1"/>
          <p:nvPr/>
        </p:nvSpPr>
        <p:spPr>
          <a:xfrm>
            <a:off x="9545292" y="1534769"/>
            <a:ext cx="17838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1200" dirty="0">
                <a:solidFill>
                  <a:prstClr val="white"/>
                </a:solidFill>
                <a:latin typeface="Century Gothic" panose="020B0502020202020204" pitchFamily="34" charset="0"/>
                <a:ea typeface="+mn-ea"/>
                <a:cs typeface="+mn-cs"/>
              </a:rPr>
              <a:t>Discussio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2C6072F8-2F06-40CE-A055-8106042E0835}"/>
              </a:ext>
            </a:extLst>
          </p:cNvPr>
          <p:cNvCxnSpPr>
            <a:cxnSpLocks/>
            <a:stCxn id="40" idx="3"/>
          </p:cNvCxnSpPr>
          <p:nvPr/>
        </p:nvCxnSpPr>
        <p:spPr>
          <a:xfrm>
            <a:off x="7580146" y="2445082"/>
            <a:ext cx="1979977" cy="2540040"/>
          </a:xfrm>
          <a:prstGeom prst="bentConnector3">
            <a:avLst>
              <a:gd name="adj1" fmla="val 59842"/>
            </a:avLst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A6445B7B-33AB-40F4-8102-FD94EAEEB454}"/>
              </a:ext>
            </a:extLst>
          </p:cNvPr>
          <p:cNvCxnSpPr>
            <a:cxnSpLocks/>
            <a:stCxn id="34" idx="3"/>
          </p:cNvCxnSpPr>
          <p:nvPr/>
        </p:nvCxnSpPr>
        <p:spPr>
          <a:xfrm>
            <a:off x="6802709" y="2061556"/>
            <a:ext cx="2727751" cy="1829994"/>
          </a:xfrm>
          <a:prstGeom prst="bentConnector3">
            <a:avLst>
              <a:gd name="adj1" fmla="val 80774"/>
            </a:avLst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5BE15DC5-427A-4BAF-94D8-2695FEF00BF2}"/>
              </a:ext>
            </a:extLst>
          </p:cNvPr>
          <p:cNvCxnSpPr>
            <a:cxnSpLocks/>
            <a:stCxn id="36" idx="3"/>
          </p:cNvCxnSpPr>
          <p:nvPr/>
        </p:nvCxnSpPr>
        <p:spPr>
          <a:xfrm>
            <a:off x="6010258" y="1624863"/>
            <a:ext cx="3490539" cy="1173115"/>
          </a:xfrm>
          <a:prstGeom prst="bentConnector3">
            <a:avLst>
              <a:gd name="adj1" fmla="val 91227"/>
            </a:avLst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C3CA834B-5151-4C3C-B180-ADEEA7EA56E2}"/>
              </a:ext>
            </a:extLst>
          </p:cNvPr>
          <p:cNvCxnSpPr>
            <a:cxnSpLocks/>
            <a:stCxn id="38" idx="3"/>
          </p:cNvCxnSpPr>
          <p:nvPr/>
        </p:nvCxnSpPr>
        <p:spPr>
          <a:xfrm>
            <a:off x="5242885" y="1224835"/>
            <a:ext cx="4228249" cy="479571"/>
          </a:xfrm>
          <a:prstGeom prst="bentConnector3">
            <a:avLst>
              <a:gd name="adj1" fmla="val 95733"/>
            </a:avLst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1C933F60-445B-4184-9CA8-D7B2EA8301A6}"/>
              </a:ext>
            </a:extLst>
          </p:cNvPr>
          <p:cNvSpPr txBox="1"/>
          <p:nvPr/>
        </p:nvSpPr>
        <p:spPr>
          <a:xfrm>
            <a:off x="1873053" y="2160567"/>
            <a:ext cx="442637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ntrepreneurial matchmaking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7731EC8-CD19-4768-9177-5D9661BE7B9A}"/>
              </a:ext>
            </a:extLst>
          </p:cNvPr>
          <p:cNvSpPr txBox="1"/>
          <p:nvPr/>
        </p:nvSpPr>
        <p:spPr>
          <a:xfrm>
            <a:off x="2688057" y="6150399"/>
            <a:ext cx="48920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</a:t>
            </a:r>
            <a:r>
              <a:rPr kumimoji="0" lang="en-US" sz="2400" b="1" i="0" u="none" strike="noStrike" kern="1200" cap="none" spc="0" normalizeH="0" baseline="3000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n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year PhD</a:t>
            </a:r>
          </a:p>
        </p:txBody>
      </p:sp>
      <p:sp>
        <p:nvSpPr>
          <p:cNvPr id="3" name="Ovaal 2">
            <a:extLst>
              <a:ext uri="{FF2B5EF4-FFF2-40B4-BE49-F238E27FC236}">
                <a16:creationId xmlns:a16="http://schemas.microsoft.com/office/drawing/2014/main" id="{4805827A-3119-47B3-B095-90236A0B3AE8}"/>
              </a:ext>
            </a:extLst>
          </p:cNvPr>
          <p:cNvSpPr/>
          <p:nvPr/>
        </p:nvSpPr>
        <p:spPr>
          <a:xfrm>
            <a:off x="9374883" y="4386571"/>
            <a:ext cx="1979977" cy="1048155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52" name="Groep 51">
            <a:extLst>
              <a:ext uri="{FF2B5EF4-FFF2-40B4-BE49-F238E27FC236}">
                <a16:creationId xmlns:a16="http://schemas.microsoft.com/office/drawing/2014/main" id="{8195367F-3D69-4918-9CB0-B8F4C03435BF}"/>
              </a:ext>
            </a:extLst>
          </p:cNvPr>
          <p:cNvGrpSpPr/>
          <p:nvPr/>
        </p:nvGrpSpPr>
        <p:grpSpPr>
          <a:xfrm>
            <a:off x="3525434" y="3348173"/>
            <a:ext cx="1044651" cy="2281121"/>
            <a:chOff x="1399932" y="1747503"/>
            <a:chExt cx="1620000" cy="3321415"/>
          </a:xfrm>
        </p:grpSpPr>
        <p:grpSp>
          <p:nvGrpSpPr>
            <p:cNvPr id="54" name="Groep 53">
              <a:extLst>
                <a:ext uri="{FF2B5EF4-FFF2-40B4-BE49-F238E27FC236}">
                  <a16:creationId xmlns:a16="http://schemas.microsoft.com/office/drawing/2014/main" id="{FC442337-384E-4EE4-BEF3-E1CC2822C733}"/>
                </a:ext>
              </a:extLst>
            </p:cNvPr>
            <p:cNvGrpSpPr/>
            <p:nvPr/>
          </p:nvGrpSpPr>
          <p:grpSpPr>
            <a:xfrm>
              <a:off x="1399932" y="1830744"/>
              <a:ext cx="1620000" cy="3238174"/>
              <a:chOff x="1760486" y="809544"/>
              <a:chExt cx="1649760" cy="4063129"/>
            </a:xfrm>
          </p:grpSpPr>
          <p:sp>
            <p:nvSpPr>
              <p:cNvPr id="67" name="Vrije vorm 2">
                <a:extLst>
                  <a:ext uri="{FF2B5EF4-FFF2-40B4-BE49-F238E27FC236}">
                    <a16:creationId xmlns:a16="http://schemas.microsoft.com/office/drawing/2014/main" id="{CAB4E9B0-D24A-4F27-B660-4934B51AEC32}"/>
                  </a:ext>
                </a:extLst>
              </p:cNvPr>
              <p:cNvSpPr/>
              <p:nvPr/>
            </p:nvSpPr>
            <p:spPr>
              <a:xfrm flipV="1">
                <a:off x="2927718" y="2350256"/>
                <a:ext cx="315088" cy="585408"/>
              </a:xfrm>
              <a:custGeom>
                <a:avLst/>
                <a:gdLst>
                  <a:gd name="connsiteX0" fmla="*/ -1465 w 315088"/>
                  <a:gd name="connsiteY0" fmla="*/ 475848 h 585408"/>
                  <a:gd name="connsiteX1" fmla="*/ 252474 w 315088"/>
                  <a:gd name="connsiteY1" fmla="*/ -775 h 585408"/>
                  <a:gd name="connsiteX2" fmla="*/ 303264 w 315088"/>
                  <a:gd name="connsiteY2" fmla="*/ 106399 h 585408"/>
                  <a:gd name="connsiteX3" fmla="*/ 136790 w 315088"/>
                  <a:gd name="connsiteY3" fmla="*/ 583022 h 585408"/>
                  <a:gd name="connsiteX4" fmla="*/ -1465 w 315088"/>
                  <a:gd name="connsiteY4" fmla="*/ 475848 h 585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5088" h="585408">
                    <a:moveTo>
                      <a:pt x="-1465" y="475848"/>
                    </a:moveTo>
                    <a:cubicBezTo>
                      <a:pt x="-1465" y="475848"/>
                      <a:pt x="215799" y="-34615"/>
                      <a:pt x="252474" y="-775"/>
                    </a:cubicBezTo>
                    <a:cubicBezTo>
                      <a:pt x="289160" y="33075"/>
                      <a:pt x="334302" y="18978"/>
                      <a:pt x="303264" y="106399"/>
                    </a:cubicBezTo>
                    <a:cubicBezTo>
                      <a:pt x="272226" y="193831"/>
                      <a:pt x="136790" y="583022"/>
                      <a:pt x="136790" y="583022"/>
                    </a:cubicBezTo>
                    <a:lnTo>
                      <a:pt x="-1465" y="475848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8" name="Vrije vorm 3">
                <a:extLst>
                  <a:ext uri="{FF2B5EF4-FFF2-40B4-BE49-F238E27FC236}">
                    <a16:creationId xmlns:a16="http://schemas.microsoft.com/office/drawing/2014/main" id="{99AE698F-583A-4470-B9EF-85430B3BED34}"/>
                  </a:ext>
                </a:extLst>
              </p:cNvPr>
              <p:cNvSpPr/>
              <p:nvPr/>
            </p:nvSpPr>
            <p:spPr>
              <a:xfrm flipV="1">
                <a:off x="1793418" y="2327996"/>
                <a:ext cx="435941" cy="436134"/>
              </a:xfrm>
              <a:custGeom>
                <a:avLst/>
                <a:gdLst>
                  <a:gd name="connsiteX0" fmla="*/ -567 w 435941"/>
                  <a:gd name="connsiteY0" fmla="*/ 363435 h 436134"/>
                  <a:gd name="connsiteX1" fmla="*/ 433257 w 435941"/>
                  <a:gd name="connsiteY1" fmla="*/ -2492 h 436134"/>
                  <a:gd name="connsiteX2" fmla="*/ 435375 w 435941"/>
                  <a:gd name="connsiteY2" fmla="*/ 99037 h 436134"/>
                  <a:gd name="connsiteX3" fmla="*/ 206822 w 435941"/>
                  <a:gd name="connsiteY3" fmla="*/ 359209 h 436134"/>
                  <a:gd name="connsiteX4" fmla="*/ -567 w 435941"/>
                  <a:gd name="connsiteY4" fmla="*/ 363435 h 43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5941" h="436134">
                    <a:moveTo>
                      <a:pt x="-567" y="363435"/>
                    </a:moveTo>
                    <a:cubicBezTo>
                      <a:pt x="-567" y="363435"/>
                      <a:pt x="217404" y="56735"/>
                      <a:pt x="433257" y="-2492"/>
                    </a:cubicBezTo>
                    <a:lnTo>
                      <a:pt x="435375" y="99037"/>
                    </a:lnTo>
                    <a:cubicBezTo>
                      <a:pt x="435375" y="99037"/>
                      <a:pt x="316865" y="194217"/>
                      <a:pt x="206822" y="359209"/>
                    </a:cubicBezTo>
                    <a:cubicBezTo>
                      <a:pt x="96778" y="524181"/>
                      <a:pt x="-567" y="363435"/>
                      <a:pt x="-567" y="363435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9" name="Vrije vorm 4">
                <a:extLst>
                  <a:ext uri="{FF2B5EF4-FFF2-40B4-BE49-F238E27FC236}">
                    <a16:creationId xmlns:a16="http://schemas.microsoft.com/office/drawing/2014/main" id="{1ED0898E-6F96-45DD-A058-F94E96C97C6C}"/>
                  </a:ext>
                </a:extLst>
              </p:cNvPr>
              <p:cNvSpPr/>
              <p:nvPr/>
            </p:nvSpPr>
            <p:spPr>
              <a:xfrm flipV="1">
                <a:off x="2123683" y="4519894"/>
                <a:ext cx="127451" cy="249822"/>
              </a:xfrm>
              <a:custGeom>
                <a:avLst/>
                <a:gdLst>
                  <a:gd name="connsiteX0" fmla="*/ 126737 w 127451"/>
                  <a:gd name="connsiteY0" fmla="*/ 229480 h 249822"/>
                  <a:gd name="connsiteX1" fmla="*/ 88498 w 127451"/>
                  <a:gd name="connsiteY1" fmla="*/ -196 h 249822"/>
                  <a:gd name="connsiteX2" fmla="*/ -714 w 127451"/>
                  <a:gd name="connsiteY2" fmla="*/ -196 h 249822"/>
                  <a:gd name="connsiteX3" fmla="*/ 29120 w 127451"/>
                  <a:gd name="connsiteY3" fmla="*/ 249627 h 249822"/>
                  <a:gd name="connsiteX4" fmla="*/ 126737 w 127451"/>
                  <a:gd name="connsiteY4" fmla="*/ 229480 h 249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51" h="249822">
                    <a:moveTo>
                      <a:pt x="126737" y="229480"/>
                    </a:moveTo>
                    <a:lnTo>
                      <a:pt x="88498" y="-196"/>
                    </a:lnTo>
                    <a:lnTo>
                      <a:pt x="-714" y="-196"/>
                    </a:lnTo>
                    <a:lnTo>
                      <a:pt x="29120" y="249627"/>
                    </a:lnTo>
                    <a:lnTo>
                      <a:pt x="126737" y="22948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1" name="Vrije vorm 5">
                <a:extLst>
                  <a:ext uri="{FF2B5EF4-FFF2-40B4-BE49-F238E27FC236}">
                    <a16:creationId xmlns:a16="http://schemas.microsoft.com/office/drawing/2014/main" id="{0C426737-722C-48FC-B9E8-37546D535019}"/>
                  </a:ext>
                </a:extLst>
              </p:cNvPr>
              <p:cNvSpPr/>
              <p:nvPr/>
            </p:nvSpPr>
            <p:spPr>
              <a:xfrm flipV="1">
                <a:off x="1826858" y="4660864"/>
                <a:ext cx="424276" cy="211809"/>
              </a:xfrm>
              <a:custGeom>
                <a:avLst/>
                <a:gdLst>
                  <a:gd name="connsiteX0" fmla="*/ 269198 w 424276"/>
                  <a:gd name="connsiteY0" fmla="*/ 211747 h 211809"/>
                  <a:gd name="connsiteX1" fmla="*/ 141079 w 424276"/>
                  <a:gd name="connsiteY1" fmla="*/ 122397 h 211809"/>
                  <a:gd name="connsiteX2" fmla="*/ -269 w 424276"/>
                  <a:gd name="connsiteY2" fmla="*/ 23166 h 211809"/>
                  <a:gd name="connsiteX3" fmla="*/ 301223 w 424276"/>
                  <a:gd name="connsiteY3" fmla="*/ 29466 h 211809"/>
                  <a:gd name="connsiteX4" fmla="*/ 301223 w 424276"/>
                  <a:gd name="connsiteY4" fmla="*/ 9806 h 211809"/>
                  <a:gd name="connsiteX5" fmla="*/ 423687 w 424276"/>
                  <a:gd name="connsiteY5" fmla="*/ 15172 h 211809"/>
                  <a:gd name="connsiteX6" fmla="*/ 423687 w 424276"/>
                  <a:gd name="connsiteY6" fmla="*/ 177784 h 211809"/>
                  <a:gd name="connsiteX7" fmla="*/ 321949 w 424276"/>
                  <a:gd name="connsiteY7" fmla="*/ 170646 h 211809"/>
                  <a:gd name="connsiteX8" fmla="*/ 329486 w 424276"/>
                  <a:gd name="connsiteY8" fmla="*/ 186730 h 211809"/>
                  <a:gd name="connsiteX9" fmla="*/ 269198 w 424276"/>
                  <a:gd name="connsiteY9" fmla="*/ 211747 h 211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24276" h="211809">
                    <a:moveTo>
                      <a:pt x="269198" y="211747"/>
                    </a:moveTo>
                    <a:cubicBezTo>
                      <a:pt x="269198" y="211747"/>
                      <a:pt x="218329" y="145621"/>
                      <a:pt x="141079" y="122397"/>
                    </a:cubicBezTo>
                    <a:cubicBezTo>
                      <a:pt x="63837" y="99157"/>
                      <a:pt x="-5920" y="69624"/>
                      <a:pt x="-269" y="23166"/>
                    </a:cubicBezTo>
                    <a:cubicBezTo>
                      <a:pt x="-269" y="23166"/>
                      <a:pt x="114705" y="-33074"/>
                      <a:pt x="301223" y="29466"/>
                    </a:cubicBezTo>
                    <a:lnTo>
                      <a:pt x="301223" y="9806"/>
                    </a:lnTo>
                    <a:lnTo>
                      <a:pt x="423687" y="15172"/>
                    </a:lnTo>
                    <a:lnTo>
                      <a:pt x="423687" y="177784"/>
                    </a:lnTo>
                    <a:lnTo>
                      <a:pt x="321949" y="170646"/>
                    </a:lnTo>
                    <a:lnTo>
                      <a:pt x="329486" y="186730"/>
                    </a:lnTo>
                    <a:lnTo>
                      <a:pt x="269198" y="211747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2" name="Vrije vorm 6">
                <a:extLst>
                  <a:ext uri="{FF2B5EF4-FFF2-40B4-BE49-F238E27FC236}">
                    <a16:creationId xmlns:a16="http://schemas.microsoft.com/office/drawing/2014/main" id="{7F998689-BB5A-47B2-9DA2-F682D2945126}"/>
                  </a:ext>
                </a:extLst>
              </p:cNvPr>
              <p:cNvSpPr/>
              <p:nvPr/>
            </p:nvSpPr>
            <p:spPr>
              <a:xfrm flipV="1">
                <a:off x="1826964" y="4824160"/>
                <a:ext cx="424170" cy="48513"/>
              </a:xfrm>
              <a:custGeom>
                <a:avLst/>
                <a:gdLst>
                  <a:gd name="connsiteX0" fmla="*/ 219952 w 424170"/>
                  <a:gd name="connsiteY0" fmla="*/ 27298 h 48513"/>
                  <a:gd name="connsiteX1" fmla="*/ 585 w 424170"/>
                  <a:gd name="connsiteY1" fmla="*/ 35358 h 48513"/>
                  <a:gd name="connsiteX2" fmla="*/ -375 w 424170"/>
                  <a:gd name="connsiteY2" fmla="*/ 23255 h 48513"/>
                  <a:gd name="connsiteX3" fmla="*/ 301117 w 424170"/>
                  <a:gd name="connsiteY3" fmla="*/ 29555 h 48513"/>
                  <a:gd name="connsiteX4" fmla="*/ 301117 w 424170"/>
                  <a:gd name="connsiteY4" fmla="*/ 9896 h 48513"/>
                  <a:gd name="connsiteX5" fmla="*/ 423581 w 424170"/>
                  <a:gd name="connsiteY5" fmla="*/ 15261 h 48513"/>
                  <a:gd name="connsiteX6" fmla="*/ 423581 w 424170"/>
                  <a:gd name="connsiteY6" fmla="*/ 47702 h 48513"/>
                  <a:gd name="connsiteX7" fmla="*/ 219952 w 424170"/>
                  <a:gd name="connsiteY7" fmla="*/ 27298 h 4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4170" h="48513">
                    <a:moveTo>
                      <a:pt x="219952" y="27298"/>
                    </a:moveTo>
                    <a:cubicBezTo>
                      <a:pt x="52794" y="-15655"/>
                      <a:pt x="10352" y="32032"/>
                      <a:pt x="585" y="35358"/>
                    </a:cubicBezTo>
                    <a:cubicBezTo>
                      <a:pt x="-488" y="31327"/>
                      <a:pt x="-873" y="27286"/>
                      <a:pt x="-375" y="23255"/>
                    </a:cubicBezTo>
                    <a:cubicBezTo>
                      <a:pt x="-375" y="23255"/>
                      <a:pt x="114600" y="-32984"/>
                      <a:pt x="301117" y="29555"/>
                    </a:cubicBezTo>
                    <a:lnTo>
                      <a:pt x="301117" y="9896"/>
                    </a:lnTo>
                    <a:lnTo>
                      <a:pt x="423581" y="15261"/>
                    </a:lnTo>
                    <a:lnTo>
                      <a:pt x="423581" y="47702"/>
                    </a:lnTo>
                    <a:cubicBezTo>
                      <a:pt x="379865" y="45060"/>
                      <a:pt x="343205" y="58983"/>
                      <a:pt x="219952" y="2729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3" name="Vrije vorm 7">
                <a:extLst>
                  <a:ext uri="{FF2B5EF4-FFF2-40B4-BE49-F238E27FC236}">
                    <a16:creationId xmlns:a16="http://schemas.microsoft.com/office/drawing/2014/main" id="{D089010D-A206-4CB8-8ABE-B0879735E41C}"/>
                  </a:ext>
                </a:extLst>
              </p:cNvPr>
              <p:cNvSpPr/>
              <p:nvPr/>
            </p:nvSpPr>
            <p:spPr>
              <a:xfrm flipV="1">
                <a:off x="2052156" y="4694841"/>
                <a:ext cx="66822" cy="60746"/>
              </a:xfrm>
              <a:custGeom>
                <a:avLst/>
                <a:gdLst>
                  <a:gd name="connsiteX0" fmla="*/ 60819 w 66822"/>
                  <a:gd name="connsiteY0" fmla="*/ -108 h 60746"/>
                  <a:gd name="connsiteX1" fmla="*/ 56353 w 66822"/>
                  <a:gd name="connsiteY1" fmla="*/ 2271 h 60746"/>
                  <a:gd name="connsiteX2" fmla="*/ 2926 w 66822"/>
                  <a:gd name="connsiteY2" fmla="*/ 50209 h 60746"/>
                  <a:gd name="connsiteX3" fmla="*/ -308 w 66822"/>
                  <a:gd name="connsiteY3" fmla="*/ 57099 h 60746"/>
                  <a:gd name="connsiteX4" fmla="*/ 6574 w 66822"/>
                  <a:gd name="connsiteY4" fmla="*/ 60328 h 60746"/>
                  <a:gd name="connsiteX5" fmla="*/ 65279 w 66822"/>
                  <a:gd name="connsiteY5" fmla="*/ 8251 h 60746"/>
                  <a:gd name="connsiteX6" fmla="*/ 63810 w 66822"/>
                  <a:gd name="connsiteY6" fmla="*/ 803 h 60746"/>
                  <a:gd name="connsiteX7" fmla="*/ 60819 w 66822"/>
                  <a:gd name="connsiteY7" fmla="*/ -108 h 6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2" h="60746">
                    <a:moveTo>
                      <a:pt x="60819" y="-108"/>
                    </a:moveTo>
                    <a:cubicBezTo>
                      <a:pt x="59086" y="-108"/>
                      <a:pt x="57394" y="718"/>
                      <a:pt x="56353" y="2271"/>
                    </a:cubicBezTo>
                    <a:cubicBezTo>
                      <a:pt x="31246" y="39686"/>
                      <a:pt x="3210" y="50116"/>
                      <a:pt x="2926" y="50209"/>
                    </a:cubicBezTo>
                    <a:cubicBezTo>
                      <a:pt x="129" y="51224"/>
                      <a:pt x="-1316" y="54300"/>
                      <a:pt x="-308" y="57099"/>
                    </a:cubicBezTo>
                    <a:cubicBezTo>
                      <a:pt x="704" y="59884"/>
                      <a:pt x="3784" y="61312"/>
                      <a:pt x="6574" y="60328"/>
                    </a:cubicBezTo>
                    <a:cubicBezTo>
                      <a:pt x="7853" y="59863"/>
                      <a:pt x="38230" y="48562"/>
                      <a:pt x="65279" y="8251"/>
                    </a:cubicBezTo>
                    <a:cubicBezTo>
                      <a:pt x="66935" y="5783"/>
                      <a:pt x="66279" y="2449"/>
                      <a:pt x="63810" y="803"/>
                    </a:cubicBezTo>
                    <a:cubicBezTo>
                      <a:pt x="62891" y="171"/>
                      <a:pt x="61851" y="-108"/>
                      <a:pt x="60819" y="-1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4" name="Vrije vorm 8">
                <a:extLst>
                  <a:ext uri="{FF2B5EF4-FFF2-40B4-BE49-F238E27FC236}">
                    <a16:creationId xmlns:a16="http://schemas.microsoft.com/office/drawing/2014/main" id="{BE7936D1-EEE5-4F7B-9BBA-4B80AF51A30E}"/>
                  </a:ext>
                </a:extLst>
              </p:cNvPr>
              <p:cNvSpPr/>
              <p:nvPr/>
            </p:nvSpPr>
            <p:spPr>
              <a:xfrm flipV="1">
                <a:off x="2024123" y="4707419"/>
                <a:ext cx="66821" cy="60755"/>
              </a:xfrm>
              <a:custGeom>
                <a:avLst/>
                <a:gdLst>
                  <a:gd name="connsiteX0" fmla="*/ 60846 w 66821"/>
                  <a:gd name="connsiteY0" fmla="*/ -94 h 60755"/>
                  <a:gd name="connsiteX1" fmla="*/ 56376 w 66821"/>
                  <a:gd name="connsiteY1" fmla="*/ 2289 h 60755"/>
                  <a:gd name="connsiteX2" fmla="*/ 2950 w 66821"/>
                  <a:gd name="connsiteY2" fmla="*/ 50235 h 60755"/>
                  <a:gd name="connsiteX3" fmla="*/ -285 w 66821"/>
                  <a:gd name="connsiteY3" fmla="*/ 57114 h 60755"/>
                  <a:gd name="connsiteX4" fmla="*/ 6597 w 66821"/>
                  <a:gd name="connsiteY4" fmla="*/ 60347 h 60755"/>
                  <a:gd name="connsiteX5" fmla="*/ 65303 w 66821"/>
                  <a:gd name="connsiteY5" fmla="*/ 8266 h 60755"/>
                  <a:gd name="connsiteX6" fmla="*/ 63834 w 66821"/>
                  <a:gd name="connsiteY6" fmla="*/ 808 h 60755"/>
                  <a:gd name="connsiteX7" fmla="*/ 60846 w 66821"/>
                  <a:gd name="connsiteY7" fmla="*/ -94 h 60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1" h="60755">
                    <a:moveTo>
                      <a:pt x="60846" y="-94"/>
                    </a:moveTo>
                    <a:cubicBezTo>
                      <a:pt x="59117" y="-94"/>
                      <a:pt x="57417" y="736"/>
                      <a:pt x="56376" y="2289"/>
                    </a:cubicBezTo>
                    <a:cubicBezTo>
                      <a:pt x="31271" y="39692"/>
                      <a:pt x="3229" y="50135"/>
                      <a:pt x="2950" y="50235"/>
                    </a:cubicBezTo>
                    <a:cubicBezTo>
                      <a:pt x="156" y="51243"/>
                      <a:pt x="-1293" y="54319"/>
                      <a:pt x="-285" y="57114"/>
                    </a:cubicBezTo>
                    <a:cubicBezTo>
                      <a:pt x="723" y="59902"/>
                      <a:pt x="3812" y="61342"/>
                      <a:pt x="6597" y="60347"/>
                    </a:cubicBezTo>
                    <a:cubicBezTo>
                      <a:pt x="7876" y="59882"/>
                      <a:pt x="38257" y="48581"/>
                      <a:pt x="65303" y="8266"/>
                    </a:cubicBezTo>
                    <a:cubicBezTo>
                      <a:pt x="66958" y="5810"/>
                      <a:pt x="66302" y="2467"/>
                      <a:pt x="63834" y="808"/>
                    </a:cubicBezTo>
                    <a:cubicBezTo>
                      <a:pt x="62915" y="198"/>
                      <a:pt x="61874" y="-94"/>
                      <a:pt x="60846" y="-94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5" name="Vrije vorm 9">
                <a:extLst>
                  <a:ext uri="{FF2B5EF4-FFF2-40B4-BE49-F238E27FC236}">
                    <a16:creationId xmlns:a16="http://schemas.microsoft.com/office/drawing/2014/main" id="{FDE79538-72EC-4C3A-9A43-2AEBB2A33CEE}"/>
                  </a:ext>
                </a:extLst>
              </p:cNvPr>
              <p:cNvSpPr/>
              <p:nvPr/>
            </p:nvSpPr>
            <p:spPr>
              <a:xfrm flipV="1">
                <a:off x="1996103" y="4719841"/>
                <a:ext cx="66805" cy="60751"/>
              </a:xfrm>
              <a:custGeom>
                <a:avLst/>
                <a:gdLst>
                  <a:gd name="connsiteX0" fmla="*/ 60853 w 66805"/>
                  <a:gd name="connsiteY0" fmla="*/ -80 h 60751"/>
                  <a:gd name="connsiteX1" fmla="*/ 56384 w 66805"/>
                  <a:gd name="connsiteY1" fmla="*/ 2291 h 60751"/>
                  <a:gd name="connsiteX2" fmla="*/ 2944 w 66805"/>
                  <a:gd name="connsiteY2" fmla="*/ 50249 h 60751"/>
                  <a:gd name="connsiteX3" fmla="*/ -258 w 66805"/>
                  <a:gd name="connsiteY3" fmla="*/ 57128 h 60751"/>
                  <a:gd name="connsiteX4" fmla="*/ 6608 w 66805"/>
                  <a:gd name="connsiteY4" fmla="*/ 60356 h 60751"/>
                  <a:gd name="connsiteX5" fmla="*/ 65314 w 66805"/>
                  <a:gd name="connsiteY5" fmla="*/ 8287 h 60751"/>
                  <a:gd name="connsiteX6" fmla="*/ 63844 w 66805"/>
                  <a:gd name="connsiteY6" fmla="*/ 830 h 60751"/>
                  <a:gd name="connsiteX7" fmla="*/ 60853 w 66805"/>
                  <a:gd name="connsiteY7" fmla="*/ -80 h 60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05" h="60751">
                    <a:moveTo>
                      <a:pt x="60853" y="-80"/>
                    </a:moveTo>
                    <a:cubicBezTo>
                      <a:pt x="59120" y="-80"/>
                      <a:pt x="57420" y="749"/>
                      <a:pt x="56384" y="2291"/>
                    </a:cubicBezTo>
                    <a:cubicBezTo>
                      <a:pt x="31443" y="39466"/>
                      <a:pt x="3232" y="50143"/>
                      <a:pt x="2944" y="50249"/>
                    </a:cubicBezTo>
                    <a:cubicBezTo>
                      <a:pt x="167" y="51264"/>
                      <a:pt x="-1270" y="54352"/>
                      <a:pt x="-258" y="57128"/>
                    </a:cubicBezTo>
                    <a:cubicBezTo>
                      <a:pt x="759" y="59911"/>
                      <a:pt x="3838" y="61352"/>
                      <a:pt x="6608" y="60356"/>
                    </a:cubicBezTo>
                    <a:cubicBezTo>
                      <a:pt x="7887" y="59891"/>
                      <a:pt x="38268" y="48590"/>
                      <a:pt x="65314" y="8287"/>
                    </a:cubicBezTo>
                    <a:cubicBezTo>
                      <a:pt x="66966" y="5811"/>
                      <a:pt x="66306" y="2477"/>
                      <a:pt x="63844" y="830"/>
                    </a:cubicBezTo>
                    <a:cubicBezTo>
                      <a:pt x="62925" y="211"/>
                      <a:pt x="61881" y="-80"/>
                      <a:pt x="60853" y="-80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6" name="Vrije vorm 10">
                <a:extLst>
                  <a:ext uri="{FF2B5EF4-FFF2-40B4-BE49-F238E27FC236}">
                    <a16:creationId xmlns:a16="http://schemas.microsoft.com/office/drawing/2014/main" id="{811110C4-F5FE-4ABC-A778-18DD12F2C376}"/>
                  </a:ext>
                </a:extLst>
              </p:cNvPr>
              <p:cNvSpPr/>
              <p:nvPr/>
            </p:nvSpPr>
            <p:spPr>
              <a:xfrm flipV="1">
                <a:off x="2667810" y="4519894"/>
                <a:ext cx="127435" cy="249822"/>
              </a:xfrm>
              <a:custGeom>
                <a:avLst/>
                <a:gdLst>
                  <a:gd name="connsiteX0" fmla="*/ -1169 w 127435"/>
                  <a:gd name="connsiteY0" fmla="*/ 229480 h 249822"/>
                  <a:gd name="connsiteX1" fmla="*/ 37050 w 127435"/>
                  <a:gd name="connsiteY1" fmla="*/ -196 h 249822"/>
                  <a:gd name="connsiteX2" fmla="*/ 126267 w 127435"/>
                  <a:gd name="connsiteY2" fmla="*/ -196 h 249822"/>
                  <a:gd name="connsiteX3" fmla="*/ 96431 w 127435"/>
                  <a:gd name="connsiteY3" fmla="*/ 249627 h 249822"/>
                  <a:gd name="connsiteX4" fmla="*/ -1169 w 127435"/>
                  <a:gd name="connsiteY4" fmla="*/ 229480 h 249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35" h="249822">
                    <a:moveTo>
                      <a:pt x="-1169" y="229480"/>
                    </a:moveTo>
                    <a:lnTo>
                      <a:pt x="37050" y="-196"/>
                    </a:lnTo>
                    <a:lnTo>
                      <a:pt x="126267" y="-196"/>
                    </a:lnTo>
                    <a:lnTo>
                      <a:pt x="96431" y="249627"/>
                    </a:lnTo>
                    <a:lnTo>
                      <a:pt x="-1169" y="22948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7" name="Vrije vorm 11">
                <a:extLst>
                  <a:ext uri="{FF2B5EF4-FFF2-40B4-BE49-F238E27FC236}">
                    <a16:creationId xmlns:a16="http://schemas.microsoft.com/office/drawing/2014/main" id="{AD463085-FBAB-49E8-A675-34083DDCB149}"/>
                  </a:ext>
                </a:extLst>
              </p:cNvPr>
              <p:cNvSpPr/>
              <p:nvPr/>
            </p:nvSpPr>
            <p:spPr>
              <a:xfrm flipV="1">
                <a:off x="2667810" y="4660864"/>
                <a:ext cx="432703" cy="211809"/>
              </a:xfrm>
              <a:custGeom>
                <a:avLst/>
                <a:gdLst>
                  <a:gd name="connsiteX0" fmla="*/ 153187 w 432703"/>
                  <a:gd name="connsiteY0" fmla="*/ 211747 h 211809"/>
                  <a:gd name="connsiteX1" fmla="*/ 281297 w 432703"/>
                  <a:gd name="connsiteY1" fmla="*/ 122397 h 211809"/>
                  <a:gd name="connsiteX2" fmla="*/ 431117 w 432703"/>
                  <a:gd name="connsiteY2" fmla="*/ 23166 h 211809"/>
                  <a:gd name="connsiteX3" fmla="*/ 121154 w 432703"/>
                  <a:gd name="connsiteY3" fmla="*/ 29466 h 211809"/>
                  <a:gd name="connsiteX4" fmla="*/ 121154 w 432703"/>
                  <a:gd name="connsiteY4" fmla="*/ 9806 h 211809"/>
                  <a:gd name="connsiteX5" fmla="*/ -1297 w 432703"/>
                  <a:gd name="connsiteY5" fmla="*/ 15172 h 211809"/>
                  <a:gd name="connsiteX6" fmla="*/ -1297 w 432703"/>
                  <a:gd name="connsiteY6" fmla="*/ 177784 h 211809"/>
                  <a:gd name="connsiteX7" fmla="*/ 100428 w 432703"/>
                  <a:gd name="connsiteY7" fmla="*/ 170646 h 211809"/>
                  <a:gd name="connsiteX8" fmla="*/ 92894 w 432703"/>
                  <a:gd name="connsiteY8" fmla="*/ 186730 h 211809"/>
                  <a:gd name="connsiteX9" fmla="*/ 153187 w 432703"/>
                  <a:gd name="connsiteY9" fmla="*/ 211747 h 211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2703" h="211809">
                    <a:moveTo>
                      <a:pt x="153187" y="211747"/>
                    </a:moveTo>
                    <a:cubicBezTo>
                      <a:pt x="153187" y="211747"/>
                      <a:pt x="204049" y="145621"/>
                      <a:pt x="281297" y="122397"/>
                    </a:cubicBezTo>
                    <a:cubicBezTo>
                      <a:pt x="358544" y="99157"/>
                      <a:pt x="436775" y="69624"/>
                      <a:pt x="431117" y="23166"/>
                    </a:cubicBezTo>
                    <a:cubicBezTo>
                      <a:pt x="431117" y="23166"/>
                      <a:pt x="307671" y="-33074"/>
                      <a:pt x="121154" y="29466"/>
                    </a:cubicBezTo>
                    <a:lnTo>
                      <a:pt x="121154" y="9806"/>
                    </a:lnTo>
                    <a:lnTo>
                      <a:pt x="-1297" y="15172"/>
                    </a:lnTo>
                    <a:lnTo>
                      <a:pt x="-1297" y="177784"/>
                    </a:lnTo>
                    <a:lnTo>
                      <a:pt x="100428" y="170646"/>
                    </a:lnTo>
                    <a:lnTo>
                      <a:pt x="92894" y="186730"/>
                    </a:lnTo>
                    <a:lnTo>
                      <a:pt x="153187" y="211747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78" name="Vrije vorm 12">
                <a:extLst>
                  <a:ext uri="{FF2B5EF4-FFF2-40B4-BE49-F238E27FC236}">
                    <a16:creationId xmlns:a16="http://schemas.microsoft.com/office/drawing/2014/main" id="{1A99AABF-F39E-448A-BC63-E33964419B56}"/>
                  </a:ext>
                </a:extLst>
              </p:cNvPr>
              <p:cNvSpPr/>
              <p:nvPr/>
            </p:nvSpPr>
            <p:spPr>
              <a:xfrm flipV="1">
                <a:off x="2667800" y="4816546"/>
                <a:ext cx="432632" cy="56127"/>
              </a:xfrm>
              <a:custGeom>
                <a:avLst/>
                <a:gdLst>
                  <a:gd name="connsiteX0" fmla="*/ 227729 w 432632"/>
                  <a:gd name="connsiteY0" fmla="*/ 18842 h 56127"/>
                  <a:gd name="connsiteX1" fmla="*/ 430164 w 432632"/>
                  <a:gd name="connsiteY1" fmla="*/ 35354 h 56127"/>
                  <a:gd name="connsiteX2" fmla="*/ 431127 w 432632"/>
                  <a:gd name="connsiteY2" fmla="*/ 23251 h 56127"/>
                  <a:gd name="connsiteX3" fmla="*/ 121165 w 432632"/>
                  <a:gd name="connsiteY3" fmla="*/ 29551 h 56127"/>
                  <a:gd name="connsiteX4" fmla="*/ 121165 w 432632"/>
                  <a:gd name="connsiteY4" fmla="*/ 9892 h 56127"/>
                  <a:gd name="connsiteX5" fmla="*/ -1297 w 432632"/>
                  <a:gd name="connsiteY5" fmla="*/ 15257 h 56127"/>
                  <a:gd name="connsiteX6" fmla="*/ -1297 w 432632"/>
                  <a:gd name="connsiteY6" fmla="*/ 56150 h 56127"/>
                  <a:gd name="connsiteX7" fmla="*/ 227729 w 432632"/>
                  <a:gd name="connsiteY7" fmla="*/ 18842 h 56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2632" h="56127">
                    <a:moveTo>
                      <a:pt x="227729" y="18842"/>
                    </a:moveTo>
                    <a:cubicBezTo>
                      <a:pt x="345072" y="395"/>
                      <a:pt x="420391" y="32028"/>
                      <a:pt x="430164" y="35354"/>
                    </a:cubicBezTo>
                    <a:cubicBezTo>
                      <a:pt x="431231" y="31323"/>
                      <a:pt x="431614" y="27282"/>
                      <a:pt x="431127" y="23251"/>
                    </a:cubicBezTo>
                    <a:cubicBezTo>
                      <a:pt x="431127" y="23251"/>
                      <a:pt x="307681" y="-32988"/>
                      <a:pt x="121165" y="29551"/>
                    </a:cubicBezTo>
                    <a:lnTo>
                      <a:pt x="121165" y="9892"/>
                    </a:lnTo>
                    <a:lnTo>
                      <a:pt x="-1297" y="15257"/>
                    </a:lnTo>
                    <a:lnTo>
                      <a:pt x="-1297" y="56150"/>
                    </a:lnTo>
                    <a:cubicBezTo>
                      <a:pt x="42415" y="53508"/>
                      <a:pt x="115071" y="36551"/>
                      <a:pt x="227729" y="18842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1" name="Vrije vorm 13">
                <a:extLst>
                  <a:ext uri="{FF2B5EF4-FFF2-40B4-BE49-F238E27FC236}">
                    <a16:creationId xmlns:a16="http://schemas.microsoft.com/office/drawing/2014/main" id="{E95E17DF-76A8-47E1-8C10-A7CB610BDB7A}"/>
                  </a:ext>
                </a:extLst>
              </p:cNvPr>
              <p:cNvSpPr/>
              <p:nvPr/>
            </p:nvSpPr>
            <p:spPr>
              <a:xfrm flipV="1">
                <a:off x="2799960" y="4694841"/>
                <a:ext cx="66820" cy="60746"/>
              </a:xfrm>
              <a:custGeom>
                <a:avLst/>
                <a:gdLst>
                  <a:gd name="connsiteX0" fmla="*/ 4115 w 66820"/>
                  <a:gd name="connsiteY0" fmla="*/ -108 h 60746"/>
                  <a:gd name="connsiteX1" fmla="*/ 8582 w 66820"/>
                  <a:gd name="connsiteY1" fmla="*/ 2271 h 60746"/>
                  <a:gd name="connsiteX2" fmla="*/ 62004 w 66820"/>
                  <a:gd name="connsiteY2" fmla="*/ 50209 h 60746"/>
                  <a:gd name="connsiteX3" fmla="*/ 65248 w 66820"/>
                  <a:gd name="connsiteY3" fmla="*/ 57099 h 60746"/>
                  <a:gd name="connsiteX4" fmla="*/ 58366 w 66820"/>
                  <a:gd name="connsiteY4" fmla="*/ 60328 h 60746"/>
                  <a:gd name="connsiteX5" fmla="*/ -341 w 66820"/>
                  <a:gd name="connsiteY5" fmla="*/ 8251 h 60746"/>
                  <a:gd name="connsiteX6" fmla="*/ 1131 w 66820"/>
                  <a:gd name="connsiteY6" fmla="*/ 803 h 60746"/>
                  <a:gd name="connsiteX7" fmla="*/ 4115 w 66820"/>
                  <a:gd name="connsiteY7" fmla="*/ -108 h 6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0" h="60746">
                    <a:moveTo>
                      <a:pt x="4115" y="-108"/>
                    </a:moveTo>
                    <a:cubicBezTo>
                      <a:pt x="5856" y="-108"/>
                      <a:pt x="7546" y="718"/>
                      <a:pt x="8582" y="2271"/>
                    </a:cubicBezTo>
                    <a:cubicBezTo>
                      <a:pt x="33692" y="39686"/>
                      <a:pt x="61734" y="50116"/>
                      <a:pt x="62004" y="50209"/>
                    </a:cubicBezTo>
                    <a:cubicBezTo>
                      <a:pt x="64802" y="51224"/>
                      <a:pt x="66253" y="54300"/>
                      <a:pt x="65248" y="57099"/>
                    </a:cubicBezTo>
                    <a:cubicBezTo>
                      <a:pt x="64232" y="59884"/>
                      <a:pt x="61144" y="61312"/>
                      <a:pt x="58366" y="60328"/>
                    </a:cubicBezTo>
                    <a:cubicBezTo>
                      <a:pt x="57081" y="59863"/>
                      <a:pt x="26707" y="48562"/>
                      <a:pt x="-341" y="8251"/>
                    </a:cubicBezTo>
                    <a:cubicBezTo>
                      <a:pt x="-1999" y="5783"/>
                      <a:pt x="-1336" y="2449"/>
                      <a:pt x="1131" y="803"/>
                    </a:cubicBezTo>
                    <a:cubicBezTo>
                      <a:pt x="2043" y="171"/>
                      <a:pt x="3089" y="-108"/>
                      <a:pt x="4115" y="-1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2" name="Vrije vorm 14">
                <a:extLst>
                  <a:ext uri="{FF2B5EF4-FFF2-40B4-BE49-F238E27FC236}">
                    <a16:creationId xmlns:a16="http://schemas.microsoft.com/office/drawing/2014/main" id="{A1258D9A-CFCD-49C3-9F42-316C8EAC0854}"/>
                  </a:ext>
                </a:extLst>
              </p:cNvPr>
              <p:cNvSpPr/>
              <p:nvPr/>
            </p:nvSpPr>
            <p:spPr>
              <a:xfrm flipV="1">
                <a:off x="2827990" y="4707419"/>
                <a:ext cx="66823" cy="60755"/>
              </a:xfrm>
              <a:custGeom>
                <a:avLst/>
                <a:gdLst>
                  <a:gd name="connsiteX0" fmla="*/ 4094 w 66823"/>
                  <a:gd name="connsiteY0" fmla="*/ -94 h 60755"/>
                  <a:gd name="connsiteX1" fmla="*/ 8561 w 66823"/>
                  <a:gd name="connsiteY1" fmla="*/ 2289 h 60755"/>
                  <a:gd name="connsiteX2" fmla="*/ 61993 w 66823"/>
                  <a:gd name="connsiteY2" fmla="*/ 50235 h 60755"/>
                  <a:gd name="connsiteX3" fmla="*/ 65227 w 66823"/>
                  <a:gd name="connsiteY3" fmla="*/ 57114 h 60755"/>
                  <a:gd name="connsiteX4" fmla="*/ 58346 w 66823"/>
                  <a:gd name="connsiteY4" fmla="*/ 60347 h 60755"/>
                  <a:gd name="connsiteX5" fmla="*/ -372 w 66823"/>
                  <a:gd name="connsiteY5" fmla="*/ 8266 h 60755"/>
                  <a:gd name="connsiteX6" fmla="*/ 1110 w 66823"/>
                  <a:gd name="connsiteY6" fmla="*/ 808 h 60755"/>
                  <a:gd name="connsiteX7" fmla="*/ 4094 w 66823"/>
                  <a:gd name="connsiteY7" fmla="*/ -94 h 60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3" h="60755">
                    <a:moveTo>
                      <a:pt x="4094" y="-94"/>
                    </a:moveTo>
                    <a:cubicBezTo>
                      <a:pt x="5825" y="-94"/>
                      <a:pt x="7525" y="736"/>
                      <a:pt x="8561" y="2289"/>
                    </a:cubicBezTo>
                    <a:cubicBezTo>
                      <a:pt x="33671" y="39692"/>
                      <a:pt x="61714" y="50135"/>
                      <a:pt x="61993" y="50235"/>
                    </a:cubicBezTo>
                    <a:cubicBezTo>
                      <a:pt x="64781" y="51243"/>
                      <a:pt x="66232" y="54319"/>
                      <a:pt x="65227" y="57114"/>
                    </a:cubicBezTo>
                    <a:cubicBezTo>
                      <a:pt x="64211" y="59902"/>
                      <a:pt x="61133" y="61342"/>
                      <a:pt x="58346" y="60347"/>
                    </a:cubicBezTo>
                    <a:cubicBezTo>
                      <a:pt x="57061" y="59882"/>
                      <a:pt x="26686" y="48581"/>
                      <a:pt x="-372" y="8266"/>
                    </a:cubicBezTo>
                    <a:cubicBezTo>
                      <a:pt x="-2020" y="5810"/>
                      <a:pt x="-1357" y="2467"/>
                      <a:pt x="1110" y="808"/>
                    </a:cubicBezTo>
                    <a:cubicBezTo>
                      <a:pt x="2022" y="198"/>
                      <a:pt x="3068" y="-94"/>
                      <a:pt x="4094" y="-94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3" name="Vrije vorm 15">
                <a:extLst>
                  <a:ext uri="{FF2B5EF4-FFF2-40B4-BE49-F238E27FC236}">
                    <a16:creationId xmlns:a16="http://schemas.microsoft.com/office/drawing/2014/main" id="{59B8A2FB-C429-4C0E-9B4B-A29336178B13}"/>
                  </a:ext>
                </a:extLst>
              </p:cNvPr>
              <p:cNvSpPr/>
              <p:nvPr/>
            </p:nvSpPr>
            <p:spPr>
              <a:xfrm flipV="1">
                <a:off x="2856024" y="4719841"/>
                <a:ext cx="66812" cy="60751"/>
              </a:xfrm>
              <a:custGeom>
                <a:avLst/>
                <a:gdLst>
                  <a:gd name="connsiteX0" fmla="*/ 4068 w 66812"/>
                  <a:gd name="connsiteY0" fmla="*/ -80 h 60751"/>
                  <a:gd name="connsiteX1" fmla="*/ 8545 w 66812"/>
                  <a:gd name="connsiteY1" fmla="*/ 2291 h 60751"/>
                  <a:gd name="connsiteX2" fmla="*/ 61978 w 66812"/>
                  <a:gd name="connsiteY2" fmla="*/ 50249 h 60751"/>
                  <a:gd name="connsiteX3" fmla="*/ 65190 w 66812"/>
                  <a:gd name="connsiteY3" fmla="*/ 57128 h 60751"/>
                  <a:gd name="connsiteX4" fmla="*/ 58320 w 66812"/>
                  <a:gd name="connsiteY4" fmla="*/ 60356 h 60751"/>
                  <a:gd name="connsiteX5" fmla="*/ -388 w 66812"/>
                  <a:gd name="connsiteY5" fmla="*/ 8287 h 60751"/>
                  <a:gd name="connsiteX6" fmla="*/ 1084 w 66812"/>
                  <a:gd name="connsiteY6" fmla="*/ 830 h 60751"/>
                  <a:gd name="connsiteX7" fmla="*/ 4068 w 66812"/>
                  <a:gd name="connsiteY7" fmla="*/ -80 h 60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12" h="60751">
                    <a:moveTo>
                      <a:pt x="4068" y="-80"/>
                    </a:moveTo>
                    <a:cubicBezTo>
                      <a:pt x="5809" y="-80"/>
                      <a:pt x="7509" y="749"/>
                      <a:pt x="8545" y="2291"/>
                    </a:cubicBezTo>
                    <a:cubicBezTo>
                      <a:pt x="33489" y="39466"/>
                      <a:pt x="61698" y="50143"/>
                      <a:pt x="61978" y="50249"/>
                    </a:cubicBezTo>
                    <a:cubicBezTo>
                      <a:pt x="64766" y="51264"/>
                      <a:pt x="66196" y="54352"/>
                      <a:pt x="65190" y="57128"/>
                    </a:cubicBezTo>
                    <a:cubicBezTo>
                      <a:pt x="64164" y="59911"/>
                      <a:pt x="61087" y="61352"/>
                      <a:pt x="58320" y="60356"/>
                    </a:cubicBezTo>
                    <a:cubicBezTo>
                      <a:pt x="57035" y="59891"/>
                      <a:pt x="26660" y="48590"/>
                      <a:pt x="-388" y="8287"/>
                    </a:cubicBezTo>
                    <a:cubicBezTo>
                      <a:pt x="-2046" y="5811"/>
                      <a:pt x="-1383" y="2477"/>
                      <a:pt x="1084" y="830"/>
                    </a:cubicBezTo>
                    <a:cubicBezTo>
                      <a:pt x="1996" y="211"/>
                      <a:pt x="3042" y="-80"/>
                      <a:pt x="4068" y="-80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4" name="Vrije vorm 16">
                <a:extLst>
                  <a:ext uri="{FF2B5EF4-FFF2-40B4-BE49-F238E27FC236}">
                    <a16:creationId xmlns:a16="http://schemas.microsoft.com/office/drawing/2014/main" id="{D030EC4F-9126-446F-B368-F0B59A64E271}"/>
                  </a:ext>
                </a:extLst>
              </p:cNvPr>
              <p:cNvSpPr/>
              <p:nvPr/>
            </p:nvSpPr>
            <p:spPr>
              <a:xfrm flipV="1">
                <a:off x="2086870" y="2668940"/>
                <a:ext cx="756201" cy="2017911"/>
              </a:xfrm>
              <a:custGeom>
                <a:avLst/>
                <a:gdLst>
                  <a:gd name="connsiteX0" fmla="*/ 185064 w 756201"/>
                  <a:gd name="connsiteY0" fmla="*/ 1980643 h 2017911"/>
                  <a:gd name="connsiteX1" fmla="*/ 92164 w 756201"/>
                  <a:gd name="connsiteY1" fmla="*/ 871643 h 2017911"/>
                  <a:gd name="connsiteX2" fmla="*/ -946 w 756201"/>
                  <a:gd name="connsiteY2" fmla="*/ 59412 h 2017911"/>
                  <a:gd name="connsiteX3" fmla="*/ 213498 w 756201"/>
                  <a:gd name="connsiteY3" fmla="*/ 25583 h 2017911"/>
                  <a:gd name="connsiteX4" fmla="*/ 340470 w 756201"/>
                  <a:gd name="connsiteY4" fmla="*/ 820879 h 2017911"/>
                  <a:gd name="connsiteX5" fmla="*/ 442049 w 756201"/>
                  <a:gd name="connsiteY5" fmla="*/ 1576702 h 2017911"/>
                  <a:gd name="connsiteX6" fmla="*/ 498477 w 756201"/>
                  <a:gd name="connsiteY6" fmla="*/ 1576702 h 2017911"/>
                  <a:gd name="connsiteX7" fmla="*/ 546448 w 756201"/>
                  <a:gd name="connsiteY7" fmla="*/ 25583 h 2017911"/>
                  <a:gd name="connsiteX8" fmla="*/ 755256 w 756201"/>
                  <a:gd name="connsiteY8" fmla="*/ 19938 h 2017911"/>
                  <a:gd name="connsiteX9" fmla="*/ 738322 w 756201"/>
                  <a:gd name="connsiteY9" fmla="*/ 2016658 h 2017911"/>
                  <a:gd name="connsiteX10" fmla="*/ 185064 w 756201"/>
                  <a:gd name="connsiteY10" fmla="*/ 1980643 h 2017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56201" h="2017911">
                    <a:moveTo>
                      <a:pt x="185064" y="1980643"/>
                    </a:moveTo>
                    <a:lnTo>
                      <a:pt x="92164" y="871643"/>
                    </a:lnTo>
                    <a:lnTo>
                      <a:pt x="-946" y="59412"/>
                    </a:lnTo>
                    <a:cubicBezTo>
                      <a:pt x="-946" y="59412"/>
                      <a:pt x="44194" y="-2622"/>
                      <a:pt x="213498" y="25583"/>
                    </a:cubicBezTo>
                    <a:lnTo>
                      <a:pt x="340470" y="820879"/>
                    </a:lnTo>
                    <a:lnTo>
                      <a:pt x="442049" y="1576702"/>
                    </a:lnTo>
                    <a:lnTo>
                      <a:pt x="498477" y="1576702"/>
                    </a:lnTo>
                    <a:lnTo>
                      <a:pt x="546448" y="25583"/>
                    </a:lnTo>
                    <a:cubicBezTo>
                      <a:pt x="546448" y="25583"/>
                      <a:pt x="619809" y="-30839"/>
                      <a:pt x="755256" y="19938"/>
                    </a:cubicBezTo>
                    <a:lnTo>
                      <a:pt x="738322" y="2016658"/>
                    </a:lnTo>
                    <a:lnTo>
                      <a:pt x="185064" y="1980643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5" name="Vrije vorm 17">
                <a:extLst>
                  <a:ext uri="{FF2B5EF4-FFF2-40B4-BE49-F238E27FC236}">
                    <a16:creationId xmlns:a16="http://schemas.microsoft.com/office/drawing/2014/main" id="{A1FBBC15-C345-46DD-8D7E-E3C91D9FF22C}"/>
                  </a:ext>
                </a:extLst>
              </p:cNvPr>
              <p:cNvSpPr/>
              <p:nvPr/>
            </p:nvSpPr>
            <p:spPr>
              <a:xfrm flipV="1">
                <a:off x="2388719" y="1514055"/>
                <a:ext cx="197584" cy="409254"/>
              </a:xfrm>
              <a:custGeom>
                <a:avLst/>
                <a:gdLst>
                  <a:gd name="connsiteX0" fmla="*/ 196619 w 197584"/>
                  <a:gd name="connsiteY0" fmla="*/ 311600 h 409254"/>
                  <a:gd name="connsiteX1" fmla="*/ 189013 w 197584"/>
                  <a:gd name="connsiteY1" fmla="*/ -3397 h 409254"/>
                  <a:gd name="connsiteX2" fmla="*/ -965 w 197584"/>
                  <a:gd name="connsiteY2" fmla="*/ 81487 h 409254"/>
                  <a:gd name="connsiteX3" fmla="*/ 5014 w 197584"/>
                  <a:gd name="connsiteY3" fmla="*/ 405857 h 409254"/>
                  <a:gd name="connsiteX4" fmla="*/ 196619 w 197584"/>
                  <a:gd name="connsiteY4" fmla="*/ 311600 h 409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7584" h="409254">
                    <a:moveTo>
                      <a:pt x="196619" y="311600"/>
                    </a:moveTo>
                    <a:lnTo>
                      <a:pt x="189013" y="-3397"/>
                    </a:lnTo>
                    <a:lnTo>
                      <a:pt x="-965" y="81487"/>
                    </a:lnTo>
                    <a:lnTo>
                      <a:pt x="5014" y="405857"/>
                    </a:lnTo>
                    <a:lnTo>
                      <a:pt x="196619" y="311600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6" name="Vrije vorm 18">
                <a:extLst>
                  <a:ext uri="{FF2B5EF4-FFF2-40B4-BE49-F238E27FC236}">
                    <a16:creationId xmlns:a16="http://schemas.microsoft.com/office/drawing/2014/main" id="{C9AD86E6-7358-43A0-9109-10010533D383}"/>
                  </a:ext>
                </a:extLst>
              </p:cNvPr>
              <p:cNvSpPr/>
              <p:nvPr/>
            </p:nvSpPr>
            <p:spPr>
              <a:xfrm flipV="1">
                <a:off x="2016242" y="1723460"/>
                <a:ext cx="878925" cy="1022375"/>
              </a:xfrm>
              <a:custGeom>
                <a:avLst/>
                <a:gdLst>
                  <a:gd name="connsiteX0" fmla="*/ 875044 w 878925"/>
                  <a:gd name="connsiteY0" fmla="*/ 901190 h 1022375"/>
                  <a:gd name="connsiteX1" fmla="*/ 820244 w 878925"/>
                  <a:gd name="connsiteY1" fmla="*/ 51492 h 1022375"/>
                  <a:gd name="connsiteX2" fmla="*/ 458134 w 878925"/>
                  <a:gd name="connsiteY2" fmla="*/ -1934 h 1022375"/>
                  <a:gd name="connsiteX3" fmla="*/ 255700 w 878925"/>
                  <a:gd name="connsiteY3" fmla="*/ 38048 h 1022375"/>
                  <a:gd name="connsiteX4" fmla="*/ -938 w 878925"/>
                  <a:gd name="connsiteY4" fmla="*/ 989823 h 1022375"/>
                  <a:gd name="connsiteX5" fmla="*/ 383177 w 878925"/>
                  <a:gd name="connsiteY5" fmla="*/ 1019540 h 1022375"/>
                  <a:gd name="connsiteX6" fmla="*/ 494229 w 878925"/>
                  <a:gd name="connsiteY6" fmla="*/ 916685 h 1022375"/>
                  <a:gd name="connsiteX7" fmla="*/ 583942 w 878925"/>
                  <a:gd name="connsiteY7" fmla="*/ 1012424 h 1022375"/>
                  <a:gd name="connsiteX8" fmla="*/ 877987 w 878925"/>
                  <a:gd name="connsiteY8" fmla="*/ 978067 h 1022375"/>
                  <a:gd name="connsiteX9" fmla="*/ 875044 w 878925"/>
                  <a:gd name="connsiteY9" fmla="*/ 901190 h 1022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78925" h="1022375">
                    <a:moveTo>
                      <a:pt x="875044" y="901190"/>
                    </a:moveTo>
                    <a:cubicBezTo>
                      <a:pt x="875044" y="901190"/>
                      <a:pt x="856722" y="337570"/>
                      <a:pt x="820244" y="51492"/>
                    </a:cubicBezTo>
                    <a:cubicBezTo>
                      <a:pt x="820244" y="51492"/>
                      <a:pt x="680589" y="-10998"/>
                      <a:pt x="458134" y="-1934"/>
                    </a:cubicBezTo>
                    <a:cubicBezTo>
                      <a:pt x="300982" y="4467"/>
                      <a:pt x="255700" y="38048"/>
                      <a:pt x="255700" y="38048"/>
                    </a:cubicBezTo>
                    <a:lnTo>
                      <a:pt x="-938" y="989823"/>
                    </a:lnTo>
                    <a:cubicBezTo>
                      <a:pt x="-938" y="989823"/>
                      <a:pt x="143689" y="1019820"/>
                      <a:pt x="383177" y="1019540"/>
                    </a:cubicBezTo>
                    <a:lnTo>
                      <a:pt x="494229" y="916685"/>
                    </a:lnTo>
                    <a:cubicBezTo>
                      <a:pt x="494229" y="916685"/>
                      <a:pt x="524385" y="996535"/>
                      <a:pt x="583942" y="1012424"/>
                    </a:cubicBezTo>
                    <a:cubicBezTo>
                      <a:pt x="674216" y="1006209"/>
                      <a:pt x="772770" y="995396"/>
                      <a:pt x="877987" y="978067"/>
                    </a:cubicBezTo>
                    <a:lnTo>
                      <a:pt x="875044" y="901190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7" name="Vrije vorm 19">
                <a:extLst>
                  <a:ext uri="{FF2B5EF4-FFF2-40B4-BE49-F238E27FC236}">
                    <a16:creationId xmlns:a16="http://schemas.microsoft.com/office/drawing/2014/main" id="{3562E671-CD18-4863-9B2D-90AF7A4725E8}"/>
                  </a:ext>
                </a:extLst>
              </p:cNvPr>
              <p:cNvSpPr/>
              <p:nvPr/>
            </p:nvSpPr>
            <p:spPr>
              <a:xfrm flipV="1">
                <a:off x="1793803" y="1753180"/>
                <a:ext cx="417056" cy="649249"/>
              </a:xfrm>
              <a:custGeom>
                <a:avLst/>
                <a:gdLst>
                  <a:gd name="connsiteX0" fmla="*/ 206445 w 417056"/>
                  <a:gd name="connsiteY0" fmla="*/ -3004 h 649249"/>
                  <a:gd name="connsiteX1" fmla="*/ 416497 w 417056"/>
                  <a:gd name="connsiteY1" fmla="*/ 581922 h 649249"/>
                  <a:gd name="connsiteX2" fmla="*/ 221880 w 417056"/>
                  <a:gd name="connsiteY2" fmla="*/ 646245 h 649249"/>
                  <a:gd name="connsiteX3" fmla="*/ -559 w 417056"/>
                  <a:gd name="connsiteY3" fmla="*/ 14935 h 649249"/>
                  <a:gd name="connsiteX4" fmla="*/ 206445 w 417056"/>
                  <a:gd name="connsiteY4" fmla="*/ -3004 h 649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7056" h="649249">
                    <a:moveTo>
                      <a:pt x="206445" y="-3004"/>
                    </a:moveTo>
                    <a:lnTo>
                      <a:pt x="416497" y="581922"/>
                    </a:lnTo>
                    <a:lnTo>
                      <a:pt x="221880" y="646245"/>
                    </a:lnTo>
                    <a:lnTo>
                      <a:pt x="-559" y="14935"/>
                    </a:lnTo>
                    <a:lnTo>
                      <a:pt x="206445" y="-3004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8" name="Vrije vorm 20">
                <a:extLst>
                  <a:ext uri="{FF2B5EF4-FFF2-40B4-BE49-F238E27FC236}">
                    <a16:creationId xmlns:a16="http://schemas.microsoft.com/office/drawing/2014/main" id="{73D21BF0-29B8-4545-8470-710909635204}"/>
                  </a:ext>
                </a:extLst>
              </p:cNvPr>
              <p:cNvSpPr/>
              <p:nvPr/>
            </p:nvSpPr>
            <p:spPr>
              <a:xfrm flipV="1">
                <a:off x="2754633" y="2720901"/>
                <a:ext cx="85841" cy="80839"/>
              </a:xfrm>
              <a:custGeom>
                <a:avLst/>
                <a:gdLst>
                  <a:gd name="connsiteX0" fmla="*/ -1224 w 85841"/>
                  <a:gd name="connsiteY0" fmla="*/ 53645 h 80839"/>
                  <a:gd name="connsiteX1" fmla="*/ 70282 w 85841"/>
                  <a:gd name="connsiteY1" fmla="*/ 77655 h 80839"/>
                  <a:gd name="connsiteX2" fmla="*/ 84033 w 85841"/>
                  <a:gd name="connsiteY2" fmla="*/ 54391 h 80839"/>
                  <a:gd name="connsiteX3" fmla="*/ 70292 w 85841"/>
                  <a:gd name="connsiteY3" fmla="*/ 21442 h 80839"/>
                  <a:gd name="connsiteX4" fmla="*/ 9367 w 85841"/>
                  <a:gd name="connsiteY4" fmla="*/ -2257 h 80839"/>
                  <a:gd name="connsiteX5" fmla="*/ -1224 w 85841"/>
                  <a:gd name="connsiteY5" fmla="*/ 53645 h 80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841" h="80839">
                    <a:moveTo>
                      <a:pt x="-1224" y="53645"/>
                    </a:moveTo>
                    <a:cubicBezTo>
                      <a:pt x="46581" y="63921"/>
                      <a:pt x="69753" y="77490"/>
                      <a:pt x="70282" y="77655"/>
                    </a:cubicBezTo>
                    <a:cubicBezTo>
                      <a:pt x="84272" y="82296"/>
                      <a:pt x="82458" y="68737"/>
                      <a:pt x="84033" y="54391"/>
                    </a:cubicBezTo>
                    <a:cubicBezTo>
                      <a:pt x="86116" y="35457"/>
                      <a:pt x="82873" y="25327"/>
                      <a:pt x="70292" y="21442"/>
                    </a:cubicBezTo>
                    <a:cubicBezTo>
                      <a:pt x="67991" y="20738"/>
                      <a:pt x="56954" y="9179"/>
                      <a:pt x="9367" y="-2257"/>
                    </a:cubicBezTo>
                    <a:cubicBezTo>
                      <a:pt x="5812" y="16377"/>
                      <a:pt x="2268" y="35011"/>
                      <a:pt x="-1224" y="53645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89" name="Vrije vorm 21">
                <a:extLst>
                  <a:ext uri="{FF2B5EF4-FFF2-40B4-BE49-F238E27FC236}">
                    <a16:creationId xmlns:a16="http://schemas.microsoft.com/office/drawing/2014/main" id="{16DC10DE-4A7F-4191-9D57-821C4D6B1845}"/>
                  </a:ext>
                </a:extLst>
              </p:cNvPr>
              <p:cNvSpPr/>
              <p:nvPr/>
            </p:nvSpPr>
            <p:spPr>
              <a:xfrm flipV="1">
                <a:off x="2405041" y="2753316"/>
                <a:ext cx="314822" cy="71602"/>
              </a:xfrm>
              <a:custGeom>
                <a:avLst/>
                <a:gdLst>
                  <a:gd name="connsiteX0" fmla="*/ 5988 w 314822"/>
                  <a:gd name="connsiteY0" fmla="*/ 61618 h 71602"/>
                  <a:gd name="connsiteX1" fmla="*/ 180359 w 314822"/>
                  <a:gd name="connsiteY1" fmla="*/ 57019 h 71602"/>
                  <a:gd name="connsiteX2" fmla="*/ 309132 w 314822"/>
                  <a:gd name="connsiteY2" fmla="*/ 69376 h 71602"/>
                  <a:gd name="connsiteX3" fmla="*/ 313795 w 314822"/>
                  <a:gd name="connsiteY3" fmla="*/ 11495 h 71602"/>
                  <a:gd name="connsiteX4" fmla="*/ 181540 w 314822"/>
                  <a:gd name="connsiteY4" fmla="*/ -1804 h 71602"/>
                  <a:gd name="connsiteX5" fmla="*/ 121341 w 314822"/>
                  <a:gd name="connsiteY5" fmla="*/ -1991 h 71602"/>
                  <a:gd name="connsiteX6" fmla="*/ -1028 w 314822"/>
                  <a:gd name="connsiteY6" fmla="*/ 5602 h 71602"/>
                  <a:gd name="connsiteX7" fmla="*/ 5988 w 314822"/>
                  <a:gd name="connsiteY7" fmla="*/ 61618 h 71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4822" h="71602">
                    <a:moveTo>
                      <a:pt x="5988" y="61618"/>
                    </a:moveTo>
                    <a:cubicBezTo>
                      <a:pt x="59151" y="56563"/>
                      <a:pt x="117330" y="55527"/>
                      <a:pt x="180359" y="57019"/>
                    </a:cubicBezTo>
                    <a:cubicBezTo>
                      <a:pt x="228952" y="58168"/>
                      <a:pt x="272539" y="63213"/>
                      <a:pt x="309132" y="69376"/>
                    </a:cubicBezTo>
                    <a:cubicBezTo>
                      <a:pt x="307961" y="49965"/>
                      <a:pt x="310531" y="30699"/>
                      <a:pt x="313795" y="11495"/>
                    </a:cubicBezTo>
                    <a:cubicBezTo>
                      <a:pt x="276519" y="4783"/>
                      <a:pt x="231988" y="-624"/>
                      <a:pt x="181540" y="-1804"/>
                    </a:cubicBezTo>
                    <a:cubicBezTo>
                      <a:pt x="161011" y="-2302"/>
                      <a:pt x="140937" y="-2353"/>
                      <a:pt x="121341" y="-1991"/>
                    </a:cubicBezTo>
                    <a:cubicBezTo>
                      <a:pt x="77432" y="-1183"/>
                      <a:pt x="36964" y="1220"/>
                      <a:pt x="-1028" y="5602"/>
                    </a:cubicBezTo>
                    <a:cubicBezTo>
                      <a:pt x="3138" y="23987"/>
                      <a:pt x="5625" y="42631"/>
                      <a:pt x="5988" y="6161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0" name="Vrije vorm 22">
                <a:extLst>
                  <a:ext uri="{FF2B5EF4-FFF2-40B4-BE49-F238E27FC236}">
                    <a16:creationId xmlns:a16="http://schemas.microsoft.com/office/drawing/2014/main" id="{849C815C-7FEE-462C-8CB4-08517FF64ED1}"/>
                  </a:ext>
                </a:extLst>
              </p:cNvPr>
              <p:cNvSpPr/>
              <p:nvPr/>
            </p:nvSpPr>
            <p:spPr>
              <a:xfrm flipV="1">
                <a:off x="2254503" y="2733145"/>
                <a:ext cx="122702" cy="79294"/>
              </a:xfrm>
              <a:custGeom>
                <a:avLst/>
                <a:gdLst>
                  <a:gd name="connsiteX0" fmla="*/ 862 w 122702"/>
                  <a:gd name="connsiteY0" fmla="*/ 53938 h 79294"/>
                  <a:gd name="connsiteX1" fmla="*/ 19249 w 122702"/>
                  <a:gd name="connsiteY1" fmla="*/ 76042 h 79294"/>
                  <a:gd name="connsiteX2" fmla="*/ 121881 w 122702"/>
                  <a:gd name="connsiteY2" fmla="*/ 53006 h 79294"/>
                  <a:gd name="connsiteX3" fmla="*/ 115145 w 122702"/>
                  <a:gd name="connsiteY3" fmla="*/ -2244 h 79294"/>
                  <a:gd name="connsiteX4" fmla="*/ 7431 w 122702"/>
                  <a:gd name="connsiteY4" fmla="*/ 24759 h 79294"/>
                  <a:gd name="connsiteX5" fmla="*/ 862 w 122702"/>
                  <a:gd name="connsiteY5" fmla="*/ 53938 h 79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2702" h="79294">
                    <a:moveTo>
                      <a:pt x="862" y="53938"/>
                    </a:moveTo>
                    <a:cubicBezTo>
                      <a:pt x="3554" y="68149"/>
                      <a:pt x="5263" y="80765"/>
                      <a:pt x="19249" y="76042"/>
                    </a:cubicBezTo>
                    <a:cubicBezTo>
                      <a:pt x="50565" y="65528"/>
                      <a:pt x="84836" y="58071"/>
                      <a:pt x="121881" y="53006"/>
                    </a:cubicBezTo>
                    <a:cubicBezTo>
                      <a:pt x="120638" y="34475"/>
                      <a:pt x="117912" y="16110"/>
                      <a:pt x="115145" y="-2244"/>
                    </a:cubicBezTo>
                    <a:cubicBezTo>
                      <a:pt x="76683" y="3857"/>
                      <a:pt x="40878" y="12454"/>
                      <a:pt x="7431" y="24759"/>
                    </a:cubicBezTo>
                    <a:cubicBezTo>
                      <a:pt x="-2304" y="28333"/>
                      <a:pt x="-1855" y="39561"/>
                      <a:pt x="862" y="5393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1" name="Vrije vorm 23">
                <a:extLst>
                  <a:ext uri="{FF2B5EF4-FFF2-40B4-BE49-F238E27FC236}">
                    <a16:creationId xmlns:a16="http://schemas.microsoft.com/office/drawing/2014/main" id="{84431AD7-2C07-49FD-B8B5-27C70CEC98B0}"/>
                  </a:ext>
                </a:extLst>
              </p:cNvPr>
              <p:cNvSpPr/>
              <p:nvPr/>
            </p:nvSpPr>
            <p:spPr>
              <a:xfrm flipV="1">
                <a:off x="2497989" y="2756465"/>
                <a:ext cx="124938" cy="76214"/>
              </a:xfrm>
              <a:custGeom>
                <a:avLst/>
                <a:gdLst>
                  <a:gd name="connsiteX0" fmla="*/ 21079 w 124938"/>
                  <a:gd name="connsiteY0" fmla="*/ 60529 h 76214"/>
                  <a:gd name="connsiteX1" fmla="*/ 102730 w 124938"/>
                  <a:gd name="connsiteY1" fmla="*/ 61067 h 76214"/>
                  <a:gd name="connsiteX2" fmla="*/ 101880 w 124938"/>
                  <a:gd name="connsiteY2" fmla="*/ 14839 h 76214"/>
                  <a:gd name="connsiteX3" fmla="*/ 20156 w 124938"/>
                  <a:gd name="connsiteY3" fmla="*/ 10707 h 76214"/>
                  <a:gd name="connsiteX4" fmla="*/ 373 w 124938"/>
                  <a:gd name="connsiteY4" fmla="*/ 73165 h 76214"/>
                  <a:gd name="connsiteX5" fmla="*/ -1026 w 124938"/>
                  <a:gd name="connsiteY5" fmla="*/ -2220 h 76214"/>
                  <a:gd name="connsiteX6" fmla="*/ 122617 w 124938"/>
                  <a:gd name="connsiteY6" fmla="*/ 4036 h 76214"/>
                  <a:gd name="connsiteX7" fmla="*/ 123912 w 124938"/>
                  <a:gd name="connsiteY7" fmla="*/ 73994 h 76214"/>
                  <a:gd name="connsiteX8" fmla="*/ 373 w 124938"/>
                  <a:gd name="connsiteY8" fmla="*/ 73165 h 76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4938" h="76214">
                    <a:moveTo>
                      <a:pt x="21079" y="60529"/>
                    </a:moveTo>
                    <a:lnTo>
                      <a:pt x="102730" y="61067"/>
                    </a:lnTo>
                    <a:lnTo>
                      <a:pt x="101880" y="14839"/>
                    </a:lnTo>
                    <a:lnTo>
                      <a:pt x="20156" y="10707"/>
                    </a:lnTo>
                    <a:close/>
                    <a:moveTo>
                      <a:pt x="373" y="73165"/>
                    </a:moveTo>
                    <a:lnTo>
                      <a:pt x="-1026" y="-2220"/>
                    </a:lnTo>
                    <a:lnTo>
                      <a:pt x="122617" y="4036"/>
                    </a:lnTo>
                    <a:lnTo>
                      <a:pt x="123912" y="73994"/>
                    </a:lnTo>
                    <a:lnTo>
                      <a:pt x="373" y="73165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2" name="Vrije vorm 24">
                <a:extLst>
                  <a:ext uri="{FF2B5EF4-FFF2-40B4-BE49-F238E27FC236}">
                    <a16:creationId xmlns:a16="http://schemas.microsoft.com/office/drawing/2014/main" id="{D91D88F7-1A55-46FD-B5F2-DE7D18D6B4C4}"/>
                  </a:ext>
                </a:extLst>
              </p:cNvPr>
              <p:cNvSpPr/>
              <p:nvPr/>
            </p:nvSpPr>
            <p:spPr>
              <a:xfrm flipV="1">
                <a:off x="2418700" y="1726218"/>
                <a:ext cx="92708" cy="100099"/>
              </a:xfrm>
              <a:custGeom>
                <a:avLst/>
                <a:gdLst>
                  <a:gd name="connsiteX0" fmla="*/ 91763 w 92708"/>
                  <a:gd name="connsiteY0" fmla="*/ -3334 h 100099"/>
                  <a:gd name="connsiteX1" fmla="*/ 62943 w 92708"/>
                  <a:gd name="connsiteY1" fmla="*/ 96765 h 100099"/>
                  <a:gd name="connsiteX2" fmla="*/ -946 w 92708"/>
                  <a:gd name="connsiteY2" fmla="*/ 67514 h 100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708" h="100099">
                    <a:moveTo>
                      <a:pt x="91763" y="-3334"/>
                    </a:moveTo>
                    <a:lnTo>
                      <a:pt x="62943" y="96765"/>
                    </a:lnTo>
                    <a:lnTo>
                      <a:pt x="-946" y="67514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3" name="Vrije vorm 25">
                <a:extLst>
                  <a:ext uri="{FF2B5EF4-FFF2-40B4-BE49-F238E27FC236}">
                    <a16:creationId xmlns:a16="http://schemas.microsoft.com/office/drawing/2014/main" id="{FC326B03-2EAB-411D-9D3F-D0BB53FC2402}"/>
                  </a:ext>
                </a:extLst>
              </p:cNvPr>
              <p:cNvSpPr/>
              <p:nvPr/>
            </p:nvSpPr>
            <p:spPr>
              <a:xfrm flipV="1">
                <a:off x="2511409" y="1734918"/>
                <a:ext cx="52302" cy="91398"/>
              </a:xfrm>
              <a:custGeom>
                <a:avLst/>
                <a:gdLst>
                  <a:gd name="connsiteX0" fmla="*/ 7211 w 52302"/>
                  <a:gd name="connsiteY0" fmla="*/ 88069 h 91398"/>
                  <a:gd name="connsiteX1" fmla="*/ -1007 w 52302"/>
                  <a:gd name="connsiteY1" fmla="*/ -3330 h 91398"/>
                  <a:gd name="connsiteX2" fmla="*/ 51296 w 52302"/>
                  <a:gd name="connsiteY2" fmla="*/ 61377 h 91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302" h="91398">
                    <a:moveTo>
                      <a:pt x="7211" y="88069"/>
                    </a:moveTo>
                    <a:lnTo>
                      <a:pt x="-1007" y="-3330"/>
                    </a:lnTo>
                    <a:lnTo>
                      <a:pt x="51296" y="61377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4" name="Vrije vorm 27">
                <a:extLst>
                  <a:ext uri="{FF2B5EF4-FFF2-40B4-BE49-F238E27FC236}">
                    <a16:creationId xmlns:a16="http://schemas.microsoft.com/office/drawing/2014/main" id="{763A1B67-CD4F-4F0F-8F60-99493D2D789E}"/>
                  </a:ext>
                </a:extLst>
              </p:cNvPr>
              <p:cNvSpPr/>
              <p:nvPr/>
            </p:nvSpPr>
            <p:spPr>
              <a:xfrm flipV="1">
                <a:off x="2519627" y="1665924"/>
                <a:ext cx="144172" cy="168472"/>
              </a:xfrm>
              <a:custGeom>
                <a:avLst/>
                <a:gdLst>
                  <a:gd name="connsiteX0" fmla="*/ 143120 w 144172"/>
                  <a:gd name="connsiteY0" fmla="*/ 102154 h 168472"/>
                  <a:gd name="connsiteX1" fmla="*/ 64878 w 144172"/>
                  <a:gd name="connsiteY1" fmla="*/ -3363 h 168472"/>
                  <a:gd name="connsiteX2" fmla="*/ -1052 w 144172"/>
                  <a:gd name="connsiteY2" fmla="*/ 96115 h 168472"/>
                  <a:gd name="connsiteX3" fmla="*/ 102621 w 144172"/>
                  <a:gd name="connsiteY3" fmla="*/ 165110 h 168472"/>
                  <a:gd name="connsiteX4" fmla="*/ 143120 w 144172"/>
                  <a:gd name="connsiteY4" fmla="*/ 102154 h 168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172" h="168472">
                    <a:moveTo>
                      <a:pt x="143120" y="102154"/>
                    </a:moveTo>
                    <a:lnTo>
                      <a:pt x="64878" y="-3363"/>
                    </a:lnTo>
                    <a:lnTo>
                      <a:pt x="-1052" y="96115"/>
                    </a:lnTo>
                    <a:lnTo>
                      <a:pt x="102621" y="165110"/>
                    </a:lnTo>
                    <a:lnTo>
                      <a:pt x="143120" y="102154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5" name="Vrije vorm 28">
                <a:extLst>
                  <a:ext uri="{FF2B5EF4-FFF2-40B4-BE49-F238E27FC236}">
                    <a16:creationId xmlns:a16="http://schemas.microsoft.com/office/drawing/2014/main" id="{41296370-D42D-4FBC-9951-EAAF57E55E19}"/>
                  </a:ext>
                </a:extLst>
              </p:cNvPr>
              <p:cNvSpPr/>
              <p:nvPr/>
            </p:nvSpPr>
            <p:spPr>
              <a:xfrm flipV="1">
                <a:off x="2328137" y="1652013"/>
                <a:ext cx="154451" cy="176572"/>
              </a:xfrm>
              <a:custGeom>
                <a:avLst/>
                <a:gdLst>
                  <a:gd name="connsiteX0" fmla="*/ -896 w 154451"/>
                  <a:gd name="connsiteY0" fmla="*/ 110357 h 176572"/>
                  <a:gd name="connsiteX1" fmla="*/ 98496 w 154451"/>
                  <a:gd name="connsiteY1" fmla="*/ -3374 h 176572"/>
                  <a:gd name="connsiteX2" fmla="*/ 153555 w 154451"/>
                  <a:gd name="connsiteY2" fmla="*/ 98994 h 176572"/>
                  <a:gd name="connsiteX3" fmla="*/ 38994 w 154451"/>
                  <a:gd name="connsiteY3" fmla="*/ 173199 h 176572"/>
                  <a:gd name="connsiteX4" fmla="*/ -896 w 154451"/>
                  <a:gd name="connsiteY4" fmla="*/ 110357 h 176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451" h="176572">
                    <a:moveTo>
                      <a:pt x="-896" y="110357"/>
                    </a:moveTo>
                    <a:lnTo>
                      <a:pt x="98496" y="-3374"/>
                    </a:lnTo>
                    <a:lnTo>
                      <a:pt x="153555" y="98994"/>
                    </a:lnTo>
                    <a:lnTo>
                      <a:pt x="38994" y="173199"/>
                    </a:lnTo>
                    <a:lnTo>
                      <a:pt x="-896" y="110357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6" name="Vrije vorm 29">
                <a:extLst>
                  <a:ext uri="{FF2B5EF4-FFF2-40B4-BE49-F238E27FC236}">
                    <a16:creationId xmlns:a16="http://schemas.microsoft.com/office/drawing/2014/main" id="{4B8C7804-9EB1-46D4-87EA-B921B6159017}"/>
                  </a:ext>
                </a:extLst>
              </p:cNvPr>
              <p:cNvSpPr/>
              <p:nvPr/>
            </p:nvSpPr>
            <p:spPr>
              <a:xfrm flipV="1">
                <a:off x="1760486" y="2293877"/>
                <a:ext cx="278413" cy="142401"/>
              </a:xfrm>
              <a:custGeom>
                <a:avLst/>
                <a:gdLst>
                  <a:gd name="connsiteX0" fmla="*/ 277940 w 278413"/>
                  <a:gd name="connsiteY0" fmla="*/ 98839 h 142401"/>
                  <a:gd name="connsiteX1" fmla="*/ 38105 w 278413"/>
                  <a:gd name="connsiteY1" fmla="*/ 139712 h 142401"/>
                  <a:gd name="connsiteX2" fmla="*/ -474 w 278413"/>
                  <a:gd name="connsiteY2" fmla="*/ 41870 h 142401"/>
                  <a:gd name="connsiteX3" fmla="*/ 261011 w 278413"/>
                  <a:gd name="connsiteY3" fmla="*/ -2690 h 142401"/>
                  <a:gd name="connsiteX4" fmla="*/ 277940 w 278413"/>
                  <a:gd name="connsiteY4" fmla="*/ 98839 h 142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413" h="142401">
                    <a:moveTo>
                      <a:pt x="277940" y="98839"/>
                    </a:moveTo>
                    <a:lnTo>
                      <a:pt x="38105" y="139712"/>
                    </a:lnTo>
                    <a:lnTo>
                      <a:pt x="-474" y="41870"/>
                    </a:lnTo>
                    <a:lnTo>
                      <a:pt x="261011" y="-2690"/>
                    </a:lnTo>
                    <a:lnTo>
                      <a:pt x="277940" y="988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7" name="Vrije vorm 30">
                <a:extLst>
                  <a:ext uri="{FF2B5EF4-FFF2-40B4-BE49-F238E27FC236}">
                    <a16:creationId xmlns:a16="http://schemas.microsoft.com/office/drawing/2014/main" id="{5848E4CB-877A-444A-917B-D9B1655CF1F8}"/>
                  </a:ext>
                </a:extLst>
              </p:cNvPr>
              <p:cNvSpPr/>
              <p:nvPr/>
            </p:nvSpPr>
            <p:spPr>
              <a:xfrm flipV="1">
                <a:off x="2159552" y="809544"/>
                <a:ext cx="598842" cy="835969"/>
              </a:xfrm>
              <a:custGeom>
                <a:avLst/>
                <a:gdLst>
                  <a:gd name="connsiteX0" fmla="*/ 267575 w 598842"/>
                  <a:gd name="connsiteY0" fmla="*/ 817833 h 835969"/>
                  <a:gd name="connsiteX1" fmla="*/ 91920 w 598842"/>
                  <a:gd name="connsiteY1" fmla="*/ 652757 h 835969"/>
                  <a:gd name="connsiteX2" fmla="*/ 101094 w 598842"/>
                  <a:gd name="connsiteY2" fmla="*/ 443132 h 835969"/>
                  <a:gd name="connsiteX3" fmla="*/ 27159 w 598842"/>
                  <a:gd name="connsiteY3" fmla="*/ 463289 h 835969"/>
                  <a:gd name="connsiteX4" fmla="*/ 104513 w 598842"/>
                  <a:gd name="connsiteY4" fmla="*/ 260303 h 835969"/>
                  <a:gd name="connsiteX5" fmla="*/ 120759 w 598842"/>
                  <a:gd name="connsiteY5" fmla="*/ 149639 h 835969"/>
                  <a:gd name="connsiteX6" fmla="*/ 364574 w 598842"/>
                  <a:gd name="connsiteY6" fmla="*/ -2334 h 835969"/>
                  <a:gd name="connsiteX7" fmla="*/ 595279 w 598842"/>
                  <a:gd name="connsiteY7" fmla="*/ 173223 h 835969"/>
                  <a:gd name="connsiteX8" fmla="*/ 597901 w 598842"/>
                  <a:gd name="connsiteY8" fmla="*/ 686815 h 835969"/>
                  <a:gd name="connsiteX9" fmla="*/ 267575 w 598842"/>
                  <a:gd name="connsiteY9" fmla="*/ 817833 h 83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8842" h="835969">
                    <a:moveTo>
                      <a:pt x="267575" y="817833"/>
                    </a:moveTo>
                    <a:cubicBezTo>
                      <a:pt x="87087" y="776701"/>
                      <a:pt x="91920" y="652757"/>
                      <a:pt x="91920" y="652757"/>
                    </a:cubicBezTo>
                    <a:cubicBezTo>
                      <a:pt x="91920" y="652757"/>
                      <a:pt x="97531" y="557091"/>
                      <a:pt x="101094" y="443132"/>
                    </a:cubicBezTo>
                    <a:cubicBezTo>
                      <a:pt x="84399" y="466096"/>
                      <a:pt x="56143" y="475688"/>
                      <a:pt x="27159" y="463289"/>
                    </a:cubicBezTo>
                    <a:cubicBezTo>
                      <a:pt x="-34284" y="437011"/>
                      <a:pt x="11107" y="243575"/>
                      <a:pt x="104513" y="260303"/>
                    </a:cubicBezTo>
                    <a:cubicBezTo>
                      <a:pt x="108537" y="206286"/>
                      <a:pt x="113821" y="164202"/>
                      <a:pt x="120759" y="149639"/>
                    </a:cubicBezTo>
                    <a:cubicBezTo>
                      <a:pt x="146974" y="94617"/>
                      <a:pt x="262321" y="10769"/>
                      <a:pt x="364574" y="-2334"/>
                    </a:cubicBezTo>
                    <a:cubicBezTo>
                      <a:pt x="466817" y="-15437"/>
                      <a:pt x="595279" y="52688"/>
                      <a:pt x="595279" y="173223"/>
                    </a:cubicBezTo>
                    <a:cubicBezTo>
                      <a:pt x="595279" y="293770"/>
                      <a:pt x="597901" y="686815"/>
                      <a:pt x="597901" y="686815"/>
                    </a:cubicBezTo>
                    <a:cubicBezTo>
                      <a:pt x="597901" y="686815"/>
                      <a:pt x="566438" y="885968"/>
                      <a:pt x="267575" y="817833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8" name="Vrije vorm 31">
                <a:extLst>
                  <a:ext uri="{FF2B5EF4-FFF2-40B4-BE49-F238E27FC236}">
                    <a16:creationId xmlns:a16="http://schemas.microsoft.com/office/drawing/2014/main" id="{5CE61639-07C1-4C79-8897-748897C8C42A}"/>
                  </a:ext>
                </a:extLst>
              </p:cNvPr>
              <p:cNvSpPr/>
              <p:nvPr/>
            </p:nvSpPr>
            <p:spPr>
              <a:xfrm flipV="1">
                <a:off x="2594542" y="1172251"/>
                <a:ext cx="94470" cy="227969"/>
              </a:xfrm>
              <a:custGeom>
                <a:avLst/>
                <a:gdLst>
                  <a:gd name="connsiteX0" fmla="*/ -1094 w 94470"/>
                  <a:gd name="connsiteY0" fmla="*/ 224099 h 227969"/>
                  <a:gd name="connsiteX1" fmla="*/ 18492 w 94470"/>
                  <a:gd name="connsiteY1" fmla="*/ 174712 h 227969"/>
                  <a:gd name="connsiteX2" fmla="*/ 28213 w 94470"/>
                  <a:gd name="connsiteY2" fmla="*/ 150205 h 227969"/>
                  <a:gd name="connsiteX3" fmla="*/ 38317 w 94470"/>
                  <a:gd name="connsiteY3" fmla="*/ 125998 h 227969"/>
                  <a:gd name="connsiteX4" fmla="*/ 48908 w 94470"/>
                  <a:gd name="connsiteY4" fmla="*/ 102112 h 227969"/>
                  <a:gd name="connsiteX5" fmla="*/ 60525 w 94470"/>
                  <a:gd name="connsiteY5" fmla="*/ 78942 h 227969"/>
                  <a:gd name="connsiteX6" fmla="*/ 66826 w 94470"/>
                  <a:gd name="connsiteY6" fmla="*/ 67693 h 227969"/>
                  <a:gd name="connsiteX7" fmla="*/ 73562 w 94470"/>
                  <a:gd name="connsiteY7" fmla="*/ 56807 h 227969"/>
                  <a:gd name="connsiteX8" fmla="*/ 80910 w 94470"/>
                  <a:gd name="connsiteY8" fmla="*/ 46428 h 227969"/>
                  <a:gd name="connsiteX9" fmla="*/ 89107 w 94470"/>
                  <a:gd name="connsiteY9" fmla="*/ 36909 h 227969"/>
                  <a:gd name="connsiteX10" fmla="*/ 93377 w 94470"/>
                  <a:gd name="connsiteY10" fmla="*/ 31947 h 227969"/>
                  <a:gd name="connsiteX11" fmla="*/ 89055 w 94470"/>
                  <a:gd name="connsiteY11" fmla="*/ 28664 h 227969"/>
                  <a:gd name="connsiteX12" fmla="*/ 43468 w 94470"/>
                  <a:gd name="connsiteY12" fmla="*/ -3871 h 227969"/>
                  <a:gd name="connsiteX13" fmla="*/ 81780 w 94470"/>
                  <a:gd name="connsiteY13" fmla="*/ 36961 h 227969"/>
                  <a:gd name="connsiteX14" fmla="*/ 81728 w 94470"/>
                  <a:gd name="connsiteY14" fmla="*/ 28716 h 227969"/>
                  <a:gd name="connsiteX15" fmla="*/ 71469 w 94470"/>
                  <a:gd name="connsiteY15" fmla="*/ 38245 h 227969"/>
                  <a:gd name="connsiteX16" fmla="*/ 62484 w 94470"/>
                  <a:gd name="connsiteY16" fmla="*/ 48779 h 227969"/>
                  <a:gd name="connsiteX17" fmla="*/ 54504 w 94470"/>
                  <a:gd name="connsiteY17" fmla="*/ 59935 h 227969"/>
                  <a:gd name="connsiteX18" fmla="*/ 47292 w 94470"/>
                  <a:gd name="connsiteY18" fmla="*/ 71505 h 227969"/>
                  <a:gd name="connsiteX19" fmla="*/ 34680 w 94470"/>
                  <a:gd name="connsiteY19" fmla="*/ 95494 h 227969"/>
                  <a:gd name="connsiteX20" fmla="*/ 24306 w 94470"/>
                  <a:gd name="connsiteY20" fmla="*/ 120343 h 227969"/>
                  <a:gd name="connsiteX21" fmla="*/ 8305 w 94470"/>
                  <a:gd name="connsiteY21" fmla="*/ 171459 h 227969"/>
                  <a:gd name="connsiteX22" fmla="*/ -1094 w 94470"/>
                  <a:gd name="connsiteY22" fmla="*/ 224099 h 227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4470" h="227969">
                    <a:moveTo>
                      <a:pt x="-1094" y="224099"/>
                    </a:moveTo>
                    <a:cubicBezTo>
                      <a:pt x="5652" y="207567"/>
                      <a:pt x="11963" y="191067"/>
                      <a:pt x="18492" y="174712"/>
                    </a:cubicBezTo>
                    <a:cubicBezTo>
                      <a:pt x="21601" y="166477"/>
                      <a:pt x="24969" y="158356"/>
                      <a:pt x="28213" y="150205"/>
                    </a:cubicBezTo>
                    <a:cubicBezTo>
                      <a:pt x="31509" y="142094"/>
                      <a:pt x="34783" y="133963"/>
                      <a:pt x="38317" y="125998"/>
                    </a:cubicBezTo>
                    <a:cubicBezTo>
                      <a:pt x="41571" y="117888"/>
                      <a:pt x="45291" y="110026"/>
                      <a:pt x="48908" y="102112"/>
                    </a:cubicBezTo>
                    <a:cubicBezTo>
                      <a:pt x="52732" y="94354"/>
                      <a:pt x="56235" y="86379"/>
                      <a:pt x="60525" y="78942"/>
                    </a:cubicBezTo>
                    <a:cubicBezTo>
                      <a:pt x="62629" y="75171"/>
                      <a:pt x="64546" y="71297"/>
                      <a:pt x="66826" y="67693"/>
                    </a:cubicBezTo>
                    <a:cubicBezTo>
                      <a:pt x="69085" y="64088"/>
                      <a:pt x="71096" y="60225"/>
                      <a:pt x="73562" y="56807"/>
                    </a:cubicBezTo>
                    <a:lnTo>
                      <a:pt x="80910" y="46428"/>
                    </a:lnTo>
                    <a:lnTo>
                      <a:pt x="89107" y="36909"/>
                    </a:lnTo>
                    <a:lnTo>
                      <a:pt x="93377" y="31947"/>
                    </a:lnTo>
                    <a:lnTo>
                      <a:pt x="89055" y="28664"/>
                    </a:lnTo>
                    <a:cubicBezTo>
                      <a:pt x="74236" y="17384"/>
                      <a:pt x="59271" y="6280"/>
                      <a:pt x="43468" y="-3871"/>
                    </a:cubicBezTo>
                    <a:cubicBezTo>
                      <a:pt x="55634" y="10424"/>
                      <a:pt x="68640" y="23775"/>
                      <a:pt x="81780" y="36961"/>
                    </a:cubicBezTo>
                    <a:lnTo>
                      <a:pt x="81728" y="28716"/>
                    </a:lnTo>
                    <a:lnTo>
                      <a:pt x="71469" y="38245"/>
                    </a:lnTo>
                    <a:cubicBezTo>
                      <a:pt x="68339" y="41643"/>
                      <a:pt x="65427" y="45206"/>
                      <a:pt x="62484" y="48779"/>
                    </a:cubicBezTo>
                    <a:cubicBezTo>
                      <a:pt x="59541" y="52342"/>
                      <a:pt x="57188" y="56216"/>
                      <a:pt x="54504" y="59935"/>
                    </a:cubicBezTo>
                    <a:cubicBezTo>
                      <a:pt x="51768" y="63633"/>
                      <a:pt x="49520" y="67548"/>
                      <a:pt x="47292" y="71505"/>
                    </a:cubicBezTo>
                    <a:cubicBezTo>
                      <a:pt x="42607" y="79315"/>
                      <a:pt x="38701" y="87415"/>
                      <a:pt x="34680" y="95494"/>
                    </a:cubicBezTo>
                    <a:cubicBezTo>
                      <a:pt x="31115" y="103749"/>
                      <a:pt x="27467" y="111963"/>
                      <a:pt x="24306" y="120343"/>
                    </a:cubicBezTo>
                    <a:cubicBezTo>
                      <a:pt x="17974" y="137102"/>
                      <a:pt x="12627" y="154161"/>
                      <a:pt x="8305" y="171459"/>
                    </a:cubicBezTo>
                    <a:cubicBezTo>
                      <a:pt x="4160" y="188809"/>
                      <a:pt x="585" y="206283"/>
                      <a:pt x="-1094" y="224099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99" name="Vrije vorm 32">
                <a:extLst>
                  <a:ext uri="{FF2B5EF4-FFF2-40B4-BE49-F238E27FC236}">
                    <a16:creationId xmlns:a16="http://schemas.microsoft.com/office/drawing/2014/main" id="{1850D504-42C1-4B2F-9D7A-2C199BFFC67B}"/>
                  </a:ext>
                </a:extLst>
              </p:cNvPr>
              <p:cNvSpPr/>
              <p:nvPr/>
            </p:nvSpPr>
            <p:spPr>
              <a:xfrm flipV="1">
                <a:off x="2432794" y="1141716"/>
                <a:ext cx="52292" cy="95138"/>
              </a:xfrm>
              <a:custGeom>
                <a:avLst/>
                <a:gdLst>
                  <a:gd name="connsiteX0" fmla="*/ 51351 w 52292"/>
                  <a:gd name="connsiteY0" fmla="*/ 43598 h 95138"/>
                  <a:gd name="connsiteX1" fmla="*/ 25205 w 52292"/>
                  <a:gd name="connsiteY1" fmla="*/ -3977 h 95138"/>
                  <a:gd name="connsiteX2" fmla="*/ -941 w 52292"/>
                  <a:gd name="connsiteY2" fmla="*/ 43598 h 95138"/>
                  <a:gd name="connsiteX3" fmla="*/ 25205 w 52292"/>
                  <a:gd name="connsiteY3" fmla="*/ 91162 h 95138"/>
                  <a:gd name="connsiteX4" fmla="*/ 51351 w 52292"/>
                  <a:gd name="connsiteY4" fmla="*/ 43598 h 95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292" h="95138">
                    <a:moveTo>
                      <a:pt x="51351" y="43598"/>
                    </a:moveTo>
                    <a:cubicBezTo>
                      <a:pt x="51351" y="17319"/>
                      <a:pt x="39641" y="-3977"/>
                      <a:pt x="25205" y="-3977"/>
                    </a:cubicBezTo>
                    <a:cubicBezTo>
                      <a:pt x="10769" y="-3977"/>
                      <a:pt x="-941" y="17319"/>
                      <a:pt x="-941" y="43598"/>
                    </a:cubicBezTo>
                    <a:cubicBezTo>
                      <a:pt x="-941" y="69876"/>
                      <a:pt x="10769" y="91162"/>
                      <a:pt x="25205" y="91162"/>
                    </a:cubicBezTo>
                    <a:cubicBezTo>
                      <a:pt x="39641" y="91162"/>
                      <a:pt x="51351" y="69876"/>
                      <a:pt x="51351" y="43598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0" name="Vrije vorm 33">
                <a:extLst>
                  <a:ext uri="{FF2B5EF4-FFF2-40B4-BE49-F238E27FC236}">
                    <a16:creationId xmlns:a16="http://schemas.microsoft.com/office/drawing/2014/main" id="{BC036067-D1A4-4DF0-B3CE-EAF2CD5B1F47}"/>
                  </a:ext>
                </a:extLst>
              </p:cNvPr>
              <p:cNvSpPr/>
              <p:nvPr/>
            </p:nvSpPr>
            <p:spPr>
              <a:xfrm flipV="1">
                <a:off x="2653011" y="1152188"/>
                <a:ext cx="52292" cy="95148"/>
              </a:xfrm>
              <a:custGeom>
                <a:avLst/>
                <a:gdLst>
                  <a:gd name="connsiteX0" fmla="*/ 51167 w 52292"/>
                  <a:gd name="connsiteY0" fmla="*/ 43609 h 95148"/>
                  <a:gd name="connsiteX1" fmla="*/ 25021 w 52292"/>
                  <a:gd name="connsiteY1" fmla="*/ -3965 h 95148"/>
                  <a:gd name="connsiteX2" fmla="*/ -1125 w 52292"/>
                  <a:gd name="connsiteY2" fmla="*/ 43609 h 95148"/>
                  <a:gd name="connsiteX3" fmla="*/ 25021 w 52292"/>
                  <a:gd name="connsiteY3" fmla="*/ 91183 h 95148"/>
                  <a:gd name="connsiteX4" fmla="*/ 51167 w 52292"/>
                  <a:gd name="connsiteY4" fmla="*/ 43609 h 95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292" h="95148">
                    <a:moveTo>
                      <a:pt x="51167" y="43609"/>
                    </a:moveTo>
                    <a:cubicBezTo>
                      <a:pt x="51167" y="17331"/>
                      <a:pt x="39467" y="-3965"/>
                      <a:pt x="25021" y="-3965"/>
                    </a:cubicBezTo>
                    <a:cubicBezTo>
                      <a:pt x="10585" y="-3965"/>
                      <a:pt x="-1125" y="17331"/>
                      <a:pt x="-1125" y="43609"/>
                    </a:cubicBezTo>
                    <a:cubicBezTo>
                      <a:pt x="-1125" y="69877"/>
                      <a:pt x="10585" y="91183"/>
                      <a:pt x="25021" y="91183"/>
                    </a:cubicBezTo>
                    <a:cubicBezTo>
                      <a:pt x="39467" y="91183"/>
                      <a:pt x="51167" y="69877"/>
                      <a:pt x="51167" y="43609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1" name="Vrije vorm 34">
                <a:extLst>
                  <a:ext uri="{FF2B5EF4-FFF2-40B4-BE49-F238E27FC236}">
                    <a16:creationId xmlns:a16="http://schemas.microsoft.com/office/drawing/2014/main" id="{4B521DC5-FAC0-40D9-837C-A52B80F34267}"/>
                  </a:ext>
                </a:extLst>
              </p:cNvPr>
              <p:cNvSpPr/>
              <p:nvPr/>
            </p:nvSpPr>
            <p:spPr>
              <a:xfrm flipV="1">
                <a:off x="2386118" y="1044630"/>
                <a:ext cx="141571" cy="56875"/>
              </a:xfrm>
              <a:custGeom>
                <a:avLst/>
                <a:gdLst>
                  <a:gd name="connsiteX0" fmla="*/ 140632 w 141571"/>
                  <a:gd name="connsiteY0" fmla="*/ 16861 h 56875"/>
                  <a:gd name="connsiteX1" fmla="*/ 133129 w 141571"/>
                  <a:gd name="connsiteY1" fmla="*/ 17327 h 56875"/>
                  <a:gd name="connsiteX2" fmla="*/ 114651 w 141571"/>
                  <a:gd name="connsiteY2" fmla="*/ 18922 h 56875"/>
                  <a:gd name="connsiteX3" fmla="*/ 90402 w 141571"/>
                  <a:gd name="connsiteY3" fmla="*/ 20942 h 56875"/>
                  <a:gd name="connsiteX4" fmla="*/ 83956 w 141571"/>
                  <a:gd name="connsiteY4" fmla="*/ 21398 h 56875"/>
                  <a:gd name="connsiteX5" fmla="*/ 77499 w 141571"/>
                  <a:gd name="connsiteY5" fmla="*/ 21511 h 56875"/>
                  <a:gd name="connsiteX6" fmla="*/ 64722 w 141571"/>
                  <a:gd name="connsiteY6" fmla="*/ 21388 h 56875"/>
                  <a:gd name="connsiteX7" fmla="*/ 52545 w 141571"/>
                  <a:gd name="connsiteY7" fmla="*/ 20031 h 56875"/>
                  <a:gd name="connsiteX8" fmla="*/ 41114 w 141571"/>
                  <a:gd name="connsiteY8" fmla="*/ 17472 h 56875"/>
                  <a:gd name="connsiteX9" fmla="*/ 35570 w 141571"/>
                  <a:gd name="connsiteY9" fmla="*/ 15970 h 56875"/>
                  <a:gd name="connsiteX10" fmla="*/ 30471 w 141571"/>
                  <a:gd name="connsiteY10" fmla="*/ 13764 h 56875"/>
                  <a:gd name="connsiteX11" fmla="*/ 20751 w 141571"/>
                  <a:gd name="connsiteY11" fmla="*/ 9175 h 56875"/>
                  <a:gd name="connsiteX12" fmla="*/ 12097 w 141571"/>
                  <a:gd name="connsiteY12" fmla="*/ 4442 h 56875"/>
                  <a:gd name="connsiteX13" fmla="*/ 5537 w 141571"/>
                  <a:gd name="connsiteY13" fmla="*/ -116 h 56875"/>
                  <a:gd name="connsiteX14" fmla="*/ -939 w 141571"/>
                  <a:gd name="connsiteY14" fmla="*/ -4104 h 56875"/>
                  <a:gd name="connsiteX15" fmla="*/ 325 w 141571"/>
                  <a:gd name="connsiteY15" fmla="*/ 3354 h 56875"/>
                  <a:gd name="connsiteX16" fmla="*/ 2657 w 141571"/>
                  <a:gd name="connsiteY16" fmla="*/ 11910 h 56875"/>
                  <a:gd name="connsiteX17" fmla="*/ 7994 w 141571"/>
                  <a:gd name="connsiteY17" fmla="*/ 22195 h 56875"/>
                  <a:gd name="connsiteX18" fmla="*/ 11755 w 141571"/>
                  <a:gd name="connsiteY18" fmla="*/ 27861 h 56875"/>
                  <a:gd name="connsiteX19" fmla="*/ 16854 w 141571"/>
                  <a:gd name="connsiteY19" fmla="*/ 33133 h 56875"/>
                  <a:gd name="connsiteX20" fmla="*/ 22647 w 141571"/>
                  <a:gd name="connsiteY20" fmla="*/ 38499 h 56875"/>
                  <a:gd name="connsiteX21" fmla="*/ 29653 w 141571"/>
                  <a:gd name="connsiteY21" fmla="*/ 42891 h 56875"/>
                  <a:gd name="connsiteX22" fmla="*/ 45602 w 141571"/>
                  <a:gd name="connsiteY22" fmla="*/ 49727 h 56875"/>
                  <a:gd name="connsiteX23" fmla="*/ 63012 w 141571"/>
                  <a:gd name="connsiteY23" fmla="*/ 52772 h 56875"/>
                  <a:gd name="connsiteX24" fmla="*/ 80173 w 141571"/>
                  <a:gd name="connsiteY24" fmla="*/ 51850 h 56875"/>
                  <a:gd name="connsiteX25" fmla="*/ 95956 w 141571"/>
                  <a:gd name="connsiteY25" fmla="*/ 48183 h 56875"/>
                  <a:gd name="connsiteX26" fmla="*/ 121077 w 141571"/>
                  <a:gd name="connsiteY26" fmla="*/ 35878 h 56875"/>
                  <a:gd name="connsiteX27" fmla="*/ 135927 w 141571"/>
                  <a:gd name="connsiteY27" fmla="*/ 22879 h 56875"/>
                  <a:gd name="connsiteX28" fmla="*/ 140632 w 141571"/>
                  <a:gd name="connsiteY28" fmla="*/ 16861 h 56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41571" h="56875">
                    <a:moveTo>
                      <a:pt x="140632" y="16861"/>
                    </a:moveTo>
                    <a:cubicBezTo>
                      <a:pt x="140632" y="16861"/>
                      <a:pt x="137761" y="16985"/>
                      <a:pt x="133129" y="17327"/>
                    </a:cubicBezTo>
                    <a:cubicBezTo>
                      <a:pt x="128673" y="17710"/>
                      <a:pt x="122299" y="18259"/>
                      <a:pt x="114651" y="18922"/>
                    </a:cubicBezTo>
                    <a:cubicBezTo>
                      <a:pt x="107252" y="19533"/>
                      <a:pt x="98951" y="20486"/>
                      <a:pt x="90402" y="20942"/>
                    </a:cubicBezTo>
                    <a:cubicBezTo>
                      <a:pt x="88287" y="21097"/>
                      <a:pt x="86132" y="21253"/>
                      <a:pt x="83956" y="21398"/>
                    </a:cubicBezTo>
                    <a:cubicBezTo>
                      <a:pt x="81810" y="21377"/>
                      <a:pt x="79655" y="21388"/>
                      <a:pt x="77499" y="21511"/>
                    </a:cubicBezTo>
                    <a:cubicBezTo>
                      <a:pt x="73147" y="21885"/>
                      <a:pt x="68991" y="21253"/>
                      <a:pt x="64722" y="21388"/>
                    </a:cubicBezTo>
                    <a:cubicBezTo>
                      <a:pt x="60670" y="20838"/>
                      <a:pt x="56421" y="20828"/>
                      <a:pt x="52545" y="20031"/>
                    </a:cubicBezTo>
                    <a:cubicBezTo>
                      <a:pt x="48711" y="19109"/>
                      <a:pt x="44627" y="18901"/>
                      <a:pt x="41114" y="17472"/>
                    </a:cubicBezTo>
                    <a:cubicBezTo>
                      <a:pt x="39270" y="16965"/>
                      <a:pt x="37466" y="16364"/>
                      <a:pt x="35570" y="15970"/>
                    </a:cubicBezTo>
                    <a:cubicBezTo>
                      <a:pt x="33798" y="15349"/>
                      <a:pt x="32212" y="14417"/>
                      <a:pt x="30471" y="13764"/>
                    </a:cubicBezTo>
                    <a:cubicBezTo>
                      <a:pt x="26989" y="12459"/>
                      <a:pt x="23569" y="11102"/>
                      <a:pt x="20751" y="9175"/>
                    </a:cubicBezTo>
                    <a:cubicBezTo>
                      <a:pt x="17828" y="7394"/>
                      <a:pt x="14595" y="6099"/>
                      <a:pt x="12097" y="4442"/>
                    </a:cubicBezTo>
                    <a:cubicBezTo>
                      <a:pt x="9786" y="2629"/>
                      <a:pt x="7434" y="1169"/>
                      <a:pt x="5537" y="-116"/>
                    </a:cubicBezTo>
                    <a:cubicBezTo>
                      <a:pt x="1682" y="-2664"/>
                      <a:pt x="-939" y="-4104"/>
                      <a:pt x="-939" y="-4104"/>
                    </a:cubicBezTo>
                    <a:cubicBezTo>
                      <a:pt x="-939" y="-4104"/>
                      <a:pt x="-753" y="-1379"/>
                      <a:pt x="325" y="3354"/>
                    </a:cubicBezTo>
                    <a:cubicBezTo>
                      <a:pt x="884" y="5705"/>
                      <a:pt x="1537" y="8668"/>
                      <a:pt x="2657" y="11910"/>
                    </a:cubicBezTo>
                    <a:cubicBezTo>
                      <a:pt x="3807" y="15141"/>
                      <a:pt x="5807" y="18456"/>
                      <a:pt x="7994" y="22195"/>
                    </a:cubicBezTo>
                    <a:cubicBezTo>
                      <a:pt x="9154" y="24019"/>
                      <a:pt x="10263" y="26049"/>
                      <a:pt x="11755" y="27861"/>
                    </a:cubicBezTo>
                    <a:cubicBezTo>
                      <a:pt x="13393" y="29560"/>
                      <a:pt x="15103" y="31321"/>
                      <a:pt x="16854" y="33133"/>
                    </a:cubicBezTo>
                    <a:cubicBezTo>
                      <a:pt x="18657" y="34925"/>
                      <a:pt x="20564" y="36790"/>
                      <a:pt x="22647" y="38499"/>
                    </a:cubicBezTo>
                    <a:cubicBezTo>
                      <a:pt x="24844" y="40021"/>
                      <a:pt x="27238" y="41399"/>
                      <a:pt x="29653" y="42891"/>
                    </a:cubicBezTo>
                    <a:cubicBezTo>
                      <a:pt x="34420" y="46122"/>
                      <a:pt x="39943" y="47914"/>
                      <a:pt x="45602" y="49727"/>
                    </a:cubicBezTo>
                    <a:cubicBezTo>
                      <a:pt x="51229" y="51664"/>
                      <a:pt x="57157" y="51944"/>
                      <a:pt x="63012" y="52772"/>
                    </a:cubicBezTo>
                    <a:cubicBezTo>
                      <a:pt x="68763" y="52555"/>
                      <a:pt x="74722" y="53031"/>
                      <a:pt x="80173" y="51850"/>
                    </a:cubicBezTo>
                    <a:cubicBezTo>
                      <a:pt x="85728" y="51115"/>
                      <a:pt x="91054" y="49903"/>
                      <a:pt x="95956" y="48183"/>
                    </a:cubicBezTo>
                    <a:cubicBezTo>
                      <a:pt x="105915" y="45087"/>
                      <a:pt x="114351" y="40436"/>
                      <a:pt x="121077" y="35878"/>
                    </a:cubicBezTo>
                    <a:cubicBezTo>
                      <a:pt x="127740" y="31134"/>
                      <a:pt x="132756" y="26535"/>
                      <a:pt x="135927" y="22879"/>
                    </a:cubicBezTo>
                    <a:cubicBezTo>
                      <a:pt x="139181" y="19316"/>
                      <a:pt x="140632" y="16861"/>
                      <a:pt x="140632" y="16861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2" name="Vrije vorm 35">
                <a:extLst>
                  <a:ext uri="{FF2B5EF4-FFF2-40B4-BE49-F238E27FC236}">
                    <a16:creationId xmlns:a16="http://schemas.microsoft.com/office/drawing/2014/main" id="{CDC9E8EF-D4E2-4F93-9BA4-D46236815240}"/>
                  </a:ext>
                </a:extLst>
              </p:cNvPr>
              <p:cNvSpPr/>
              <p:nvPr/>
            </p:nvSpPr>
            <p:spPr>
              <a:xfrm flipV="1">
                <a:off x="2635176" y="1046384"/>
                <a:ext cx="112751" cy="55122"/>
              </a:xfrm>
              <a:custGeom>
                <a:avLst/>
                <a:gdLst>
                  <a:gd name="connsiteX0" fmla="*/ -1136 w 112751"/>
                  <a:gd name="connsiteY0" fmla="*/ 16862 h 55122"/>
                  <a:gd name="connsiteX1" fmla="*/ 2212 w 112751"/>
                  <a:gd name="connsiteY1" fmla="*/ 22434 h 55122"/>
                  <a:gd name="connsiteX2" fmla="*/ 13621 w 112751"/>
                  <a:gd name="connsiteY2" fmla="*/ 34760 h 55122"/>
                  <a:gd name="connsiteX3" fmla="*/ 34451 w 112751"/>
                  <a:gd name="connsiteY3" fmla="*/ 46807 h 55122"/>
                  <a:gd name="connsiteX4" fmla="*/ 63448 w 112751"/>
                  <a:gd name="connsiteY4" fmla="*/ 50764 h 55122"/>
                  <a:gd name="connsiteX5" fmla="*/ 78723 w 112751"/>
                  <a:gd name="connsiteY5" fmla="*/ 46869 h 55122"/>
                  <a:gd name="connsiteX6" fmla="*/ 91874 w 112751"/>
                  <a:gd name="connsiteY6" fmla="*/ 39194 h 55122"/>
                  <a:gd name="connsiteX7" fmla="*/ 101387 w 112751"/>
                  <a:gd name="connsiteY7" fmla="*/ 29219 h 55122"/>
                  <a:gd name="connsiteX8" fmla="*/ 107201 w 112751"/>
                  <a:gd name="connsiteY8" fmla="*/ 18892 h 55122"/>
                  <a:gd name="connsiteX9" fmla="*/ 110268 w 112751"/>
                  <a:gd name="connsiteY9" fmla="*/ 9674 h 55122"/>
                  <a:gd name="connsiteX10" fmla="*/ 111315 w 112751"/>
                  <a:gd name="connsiteY10" fmla="*/ 2299 h 55122"/>
                  <a:gd name="connsiteX11" fmla="*/ 111595 w 112751"/>
                  <a:gd name="connsiteY11" fmla="*/ -4103 h 55122"/>
                  <a:gd name="connsiteX12" fmla="*/ 106372 w 112751"/>
                  <a:gd name="connsiteY12" fmla="*/ -280 h 55122"/>
                  <a:gd name="connsiteX13" fmla="*/ 101097 w 112751"/>
                  <a:gd name="connsiteY13" fmla="*/ 4080 h 55122"/>
                  <a:gd name="connsiteX14" fmla="*/ 94299 w 112751"/>
                  <a:gd name="connsiteY14" fmla="*/ 8990 h 55122"/>
                  <a:gd name="connsiteX15" fmla="*/ 86713 w 112751"/>
                  <a:gd name="connsiteY15" fmla="*/ 14014 h 55122"/>
                  <a:gd name="connsiteX16" fmla="*/ 78464 w 112751"/>
                  <a:gd name="connsiteY16" fmla="*/ 18229 h 55122"/>
                  <a:gd name="connsiteX17" fmla="*/ 74215 w 112751"/>
                  <a:gd name="connsiteY17" fmla="*/ 19979 h 55122"/>
                  <a:gd name="connsiteX18" fmla="*/ 69759 w 112751"/>
                  <a:gd name="connsiteY18" fmla="*/ 21160 h 55122"/>
                  <a:gd name="connsiteX19" fmla="*/ 60546 w 112751"/>
                  <a:gd name="connsiteY19" fmla="*/ 22869 h 55122"/>
                  <a:gd name="connsiteX20" fmla="*/ 50680 w 112751"/>
                  <a:gd name="connsiteY20" fmla="*/ 23336 h 55122"/>
                  <a:gd name="connsiteX21" fmla="*/ 40400 w 112751"/>
                  <a:gd name="connsiteY21" fmla="*/ 22714 h 55122"/>
                  <a:gd name="connsiteX22" fmla="*/ 20575 w 112751"/>
                  <a:gd name="connsiteY22" fmla="*/ 20145 h 55122"/>
                  <a:gd name="connsiteX23" fmla="*/ 5175 w 112751"/>
                  <a:gd name="connsiteY23" fmla="*/ 17742 h 55122"/>
                  <a:gd name="connsiteX24" fmla="*/ -1136 w 112751"/>
                  <a:gd name="connsiteY24" fmla="*/ 16862 h 5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12751" h="55122">
                    <a:moveTo>
                      <a:pt x="-1136" y="16862"/>
                    </a:moveTo>
                    <a:cubicBezTo>
                      <a:pt x="-1136" y="16862"/>
                      <a:pt x="-193" y="19099"/>
                      <a:pt x="2212" y="22434"/>
                    </a:cubicBezTo>
                    <a:cubicBezTo>
                      <a:pt x="4523" y="25842"/>
                      <a:pt x="8336" y="30193"/>
                      <a:pt x="13621" y="34760"/>
                    </a:cubicBezTo>
                    <a:cubicBezTo>
                      <a:pt x="19010" y="39121"/>
                      <a:pt x="25891" y="43761"/>
                      <a:pt x="34451" y="46807"/>
                    </a:cubicBezTo>
                    <a:cubicBezTo>
                      <a:pt x="42825" y="50153"/>
                      <a:pt x="53053" y="51665"/>
                      <a:pt x="63448" y="50764"/>
                    </a:cubicBezTo>
                    <a:cubicBezTo>
                      <a:pt x="68660" y="49935"/>
                      <a:pt x="73904" y="49210"/>
                      <a:pt x="78723" y="46869"/>
                    </a:cubicBezTo>
                    <a:cubicBezTo>
                      <a:pt x="83749" y="45222"/>
                      <a:pt x="87977" y="42198"/>
                      <a:pt x="91874" y="39194"/>
                    </a:cubicBezTo>
                    <a:cubicBezTo>
                      <a:pt x="96060" y="36521"/>
                      <a:pt x="98579" y="32461"/>
                      <a:pt x="101387" y="29219"/>
                    </a:cubicBezTo>
                    <a:cubicBezTo>
                      <a:pt x="104289" y="25987"/>
                      <a:pt x="105646" y="22145"/>
                      <a:pt x="107201" y="18892"/>
                    </a:cubicBezTo>
                    <a:cubicBezTo>
                      <a:pt x="108600" y="15567"/>
                      <a:pt x="109926" y="12615"/>
                      <a:pt x="110268" y="9674"/>
                    </a:cubicBezTo>
                    <a:cubicBezTo>
                      <a:pt x="110859" y="6867"/>
                      <a:pt x="111087" y="4329"/>
                      <a:pt x="111315" y="2299"/>
                    </a:cubicBezTo>
                    <a:cubicBezTo>
                      <a:pt x="111730" y="-1762"/>
                      <a:pt x="111595" y="-4103"/>
                      <a:pt x="111595" y="-4103"/>
                    </a:cubicBezTo>
                    <a:cubicBezTo>
                      <a:pt x="111595" y="-4103"/>
                      <a:pt x="109460" y="-2715"/>
                      <a:pt x="106372" y="-280"/>
                    </a:cubicBezTo>
                    <a:cubicBezTo>
                      <a:pt x="104838" y="952"/>
                      <a:pt x="102942" y="2361"/>
                      <a:pt x="101097" y="4080"/>
                    </a:cubicBezTo>
                    <a:cubicBezTo>
                      <a:pt x="99325" y="5893"/>
                      <a:pt x="96641" y="7239"/>
                      <a:pt x="94299" y="8990"/>
                    </a:cubicBezTo>
                    <a:cubicBezTo>
                      <a:pt x="91822" y="10606"/>
                      <a:pt x="89646" y="12812"/>
                      <a:pt x="86713" y="14014"/>
                    </a:cubicBezTo>
                    <a:cubicBezTo>
                      <a:pt x="83884" y="15308"/>
                      <a:pt x="81531" y="17463"/>
                      <a:pt x="78464" y="18229"/>
                    </a:cubicBezTo>
                    <a:cubicBezTo>
                      <a:pt x="76992" y="18726"/>
                      <a:pt x="75603" y="19358"/>
                      <a:pt x="74215" y="19979"/>
                    </a:cubicBezTo>
                    <a:cubicBezTo>
                      <a:pt x="72826" y="20632"/>
                      <a:pt x="71189" y="20663"/>
                      <a:pt x="69759" y="21160"/>
                    </a:cubicBezTo>
                    <a:cubicBezTo>
                      <a:pt x="66878" y="22175"/>
                      <a:pt x="63686" y="22404"/>
                      <a:pt x="60546" y="22869"/>
                    </a:cubicBezTo>
                    <a:cubicBezTo>
                      <a:pt x="57375" y="23274"/>
                      <a:pt x="54027" y="23253"/>
                      <a:pt x="50680" y="23336"/>
                    </a:cubicBezTo>
                    <a:cubicBezTo>
                      <a:pt x="47271" y="23097"/>
                      <a:pt x="43851" y="23201"/>
                      <a:pt x="40400" y="22714"/>
                    </a:cubicBezTo>
                    <a:cubicBezTo>
                      <a:pt x="33498" y="22217"/>
                      <a:pt x="26700" y="20995"/>
                      <a:pt x="20575" y="20145"/>
                    </a:cubicBezTo>
                    <a:cubicBezTo>
                      <a:pt x="14202" y="19151"/>
                      <a:pt x="8896" y="18323"/>
                      <a:pt x="5175" y="17742"/>
                    </a:cubicBezTo>
                    <a:cubicBezTo>
                      <a:pt x="1154" y="17183"/>
                      <a:pt x="-1136" y="16862"/>
                      <a:pt x="-1136" y="16862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3" name="Vrije vorm 36">
                <a:extLst>
                  <a:ext uri="{FF2B5EF4-FFF2-40B4-BE49-F238E27FC236}">
                    <a16:creationId xmlns:a16="http://schemas.microsoft.com/office/drawing/2014/main" id="{B4ECC0C2-EDE4-49F5-81E8-8F1E14876231}"/>
                  </a:ext>
                </a:extLst>
              </p:cNvPr>
              <p:cNvSpPr/>
              <p:nvPr/>
            </p:nvSpPr>
            <p:spPr>
              <a:xfrm flipV="1">
                <a:off x="2424130" y="1425111"/>
                <a:ext cx="249058" cy="60672"/>
              </a:xfrm>
              <a:custGeom>
                <a:avLst/>
                <a:gdLst>
                  <a:gd name="connsiteX0" fmla="*/ -1016 w 249058"/>
                  <a:gd name="connsiteY0" fmla="*/ 56987 h 60672"/>
                  <a:gd name="connsiteX1" fmla="*/ 248042 w 249058"/>
                  <a:gd name="connsiteY1" fmla="*/ 43884 h 60672"/>
                  <a:gd name="connsiteX2" fmla="*/ -1016 w 249058"/>
                  <a:gd name="connsiteY2" fmla="*/ 56987 h 60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9058" h="60672">
                    <a:moveTo>
                      <a:pt x="-1016" y="56987"/>
                    </a:moveTo>
                    <a:lnTo>
                      <a:pt x="248042" y="43884"/>
                    </a:lnTo>
                    <a:cubicBezTo>
                      <a:pt x="248042" y="43884"/>
                      <a:pt x="187749" y="-71410"/>
                      <a:pt x="-1016" y="56987"/>
                    </a:cubicBezTo>
                  </a:path>
                </a:pathLst>
              </a:custGeom>
              <a:solidFill>
                <a:srgbClr val="FFFFF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4" name="Vrije vorm 38">
                <a:extLst>
                  <a:ext uri="{FF2B5EF4-FFF2-40B4-BE49-F238E27FC236}">
                    <a16:creationId xmlns:a16="http://schemas.microsoft.com/office/drawing/2014/main" id="{236AFC5A-8503-4725-9BC4-14109429418B}"/>
                  </a:ext>
                </a:extLst>
              </p:cNvPr>
              <p:cNvSpPr/>
              <p:nvPr/>
            </p:nvSpPr>
            <p:spPr>
              <a:xfrm flipV="1">
                <a:off x="2181014" y="1208559"/>
                <a:ext cx="76642" cy="142201"/>
              </a:xfrm>
              <a:custGeom>
                <a:avLst/>
                <a:gdLst>
                  <a:gd name="connsiteX0" fmla="*/ 14224 w 76642"/>
                  <a:gd name="connsiteY0" fmla="*/ 135292 h 142201"/>
                  <a:gd name="connsiteX1" fmla="*/ 75902 w 76642"/>
                  <a:gd name="connsiteY1" fmla="*/ 44929 h 142201"/>
                  <a:gd name="connsiteX2" fmla="*/ 59858 w 76642"/>
                  <a:gd name="connsiteY2" fmla="*/ -3226 h 142201"/>
                  <a:gd name="connsiteX3" fmla="*/ 14224 w 76642"/>
                  <a:gd name="connsiteY3" fmla="*/ 135292 h 142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642" h="142201">
                    <a:moveTo>
                      <a:pt x="14224" y="135292"/>
                    </a:moveTo>
                    <a:cubicBezTo>
                      <a:pt x="46249" y="151512"/>
                      <a:pt x="74590" y="99950"/>
                      <a:pt x="75902" y="44929"/>
                    </a:cubicBezTo>
                    <a:cubicBezTo>
                      <a:pt x="49686" y="48854"/>
                      <a:pt x="45253" y="18350"/>
                      <a:pt x="59858" y="-3226"/>
                    </a:cubicBezTo>
                    <a:cubicBezTo>
                      <a:pt x="7832" y="-14257"/>
                      <a:pt x="-19760" y="118097"/>
                      <a:pt x="14224" y="13529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5" name="Vrije vorm 39">
                <a:extLst>
                  <a:ext uri="{FF2B5EF4-FFF2-40B4-BE49-F238E27FC236}">
                    <a16:creationId xmlns:a16="http://schemas.microsoft.com/office/drawing/2014/main" id="{47114692-8DC8-402A-908C-4670B287BFEF}"/>
                  </a:ext>
                </a:extLst>
              </p:cNvPr>
              <p:cNvSpPr/>
              <p:nvPr/>
            </p:nvSpPr>
            <p:spPr>
              <a:xfrm flipV="1">
                <a:off x="2182806" y="2497769"/>
                <a:ext cx="154403" cy="269745"/>
              </a:xfrm>
              <a:custGeom>
                <a:avLst/>
                <a:gdLst>
                  <a:gd name="connsiteX0" fmla="*/ -775 w 154403"/>
                  <a:gd name="connsiteY0" fmla="*/ 17911 h 269745"/>
                  <a:gd name="connsiteX1" fmla="*/ 79641 w 154403"/>
                  <a:gd name="connsiteY1" fmla="*/ 130016 h 269745"/>
                  <a:gd name="connsiteX2" fmla="*/ 92336 w 154403"/>
                  <a:gd name="connsiteY2" fmla="*/ 174431 h 269745"/>
                  <a:gd name="connsiteX3" fmla="*/ 79641 w 154403"/>
                  <a:gd name="connsiteY3" fmla="*/ 204044 h 269745"/>
                  <a:gd name="connsiteX4" fmla="*/ 22502 w 154403"/>
                  <a:gd name="connsiteY4" fmla="*/ 201931 h 269745"/>
                  <a:gd name="connsiteX5" fmla="*/ 3455 w 154403"/>
                  <a:gd name="connsiteY5" fmla="*/ 79251 h 269745"/>
                  <a:gd name="connsiteX6" fmla="*/ -775 w 154403"/>
                  <a:gd name="connsiteY6" fmla="*/ 17911 h 269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403" h="269745">
                    <a:moveTo>
                      <a:pt x="-775" y="17911"/>
                    </a:moveTo>
                    <a:cubicBezTo>
                      <a:pt x="-775" y="17911"/>
                      <a:pt x="121963" y="-73043"/>
                      <a:pt x="79641" y="130016"/>
                    </a:cubicBezTo>
                    <a:cubicBezTo>
                      <a:pt x="79641" y="130016"/>
                      <a:pt x="229896" y="172318"/>
                      <a:pt x="92336" y="174431"/>
                    </a:cubicBezTo>
                    <a:cubicBezTo>
                      <a:pt x="92336" y="174431"/>
                      <a:pt x="238352" y="244233"/>
                      <a:pt x="79641" y="204044"/>
                    </a:cubicBezTo>
                    <a:cubicBezTo>
                      <a:pt x="79641" y="204044"/>
                      <a:pt x="189687" y="347875"/>
                      <a:pt x="22502" y="201931"/>
                    </a:cubicBezTo>
                    <a:cubicBezTo>
                      <a:pt x="22502" y="201931"/>
                      <a:pt x="-10652" y="168786"/>
                      <a:pt x="3455" y="79251"/>
                    </a:cubicBezTo>
                    <a:lnTo>
                      <a:pt x="-775" y="17911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6" name="Vrije vorm 40">
                <a:extLst>
                  <a:ext uri="{FF2B5EF4-FFF2-40B4-BE49-F238E27FC236}">
                    <a16:creationId xmlns:a16="http://schemas.microsoft.com/office/drawing/2014/main" id="{07E56953-9269-4936-9AB5-3E9A7833844D}"/>
                  </a:ext>
                </a:extLst>
              </p:cNvPr>
              <p:cNvSpPr/>
              <p:nvPr/>
            </p:nvSpPr>
            <p:spPr>
              <a:xfrm flipV="1">
                <a:off x="2843072" y="1764936"/>
                <a:ext cx="245482" cy="692494"/>
              </a:xfrm>
              <a:custGeom>
                <a:avLst/>
                <a:gdLst>
                  <a:gd name="connsiteX0" fmla="*/ 50730 w 245482"/>
                  <a:gd name="connsiteY0" fmla="*/ 689526 h 692494"/>
                  <a:gd name="connsiteX1" fmla="*/ 244118 w 245482"/>
                  <a:gd name="connsiteY1" fmla="*/ 56259 h 692494"/>
                  <a:gd name="connsiteX2" fmla="*/ 83281 w 245482"/>
                  <a:gd name="connsiteY2" fmla="*/ -2968 h 692494"/>
                  <a:gd name="connsiteX3" fmla="*/ -1365 w 245482"/>
                  <a:gd name="connsiteY3" fmla="*/ 208553 h 692494"/>
                  <a:gd name="connsiteX4" fmla="*/ 50730 w 245482"/>
                  <a:gd name="connsiteY4" fmla="*/ 689526 h 692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482" h="692494">
                    <a:moveTo>
                      <a:pt x="50730" y="689526"/>
                    </a:moveTo>
                    <a:lnTo>
                      <a:pt x="244118" y="56259"/>
                    </a:lnTo>
                    <a:lnTo>
                      <a:pt x="83281" y="-2968"/>
                    </a:lnTo>
                    <a:lnTo>
                      <a:pt x="-1365" y="208553"/>
                    </a:lnTo>
                    <a:lnTo>
                      <a:pt x="50730" y="689526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7" name="Vrije vorm 41">
                <a:extLst>
                  <a:ext uri="{FF2B5EF4-FFF2-40B4-BE49-F238E27FC236}">
                    <a16:creationId xmlns:a16="http://schemas.microsoft.com/office/drawing/2014/main" id="{73418590-1DA7-424D-BD62-BB4BA3242625}"/>
                  </a:ext>
                </a:extLst>
              </p:cNvPr>
              <p:cNvSpPr/>
              <p:nvPr/>
            </p:nvSpPr>
            <p:spPr>
              <a:xfrm flipV="1">
                <a:off x="2897707" y="2335703"/>
                <a:ext cx="225616" cy="167592"/>
              </a:xfrm>
              <a:custGeom>
                <a:avLst/>
                <a:gdLst>
                  <a:gd name="connsiteX0" fmla="*/ 186710 w 225616"/>
                  <a:gd name="connsiteY0" fmla="*/ 164962 h 167592"/>
                  <a:gd name="connsiteX1" fmla="*/ -1402 w 225616"/>
                  <a:gd name="connsiteY1" fmla="*/ 87349 h 167592"/>
                  <a:gd name="connsiteX2" fmla="*/ 38568 w 225616"/>
                  <a:gd name="connsiteY2" fmla="*/ -2631 h 167592"/>
                  <a:gd name="connsiteX3" fmla="*/ 224214 w 225616"/>
                  <a:gd name="connsiteY3" fmla="*/ 79415 h 167592"/>
                  <a:gd name="connsiteX4" fmla="*/ 186710 w 225616"/>
                  <a:gd name="connsiteY4" fmla="*/ 164962 h 16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616" h="167592">
                    <a:moveTo>
                      <a:pt x="186710" y="164962"/>
                    </a:moveTo>
                    <a:lnTo>
                      <a:pt x="-1402" y="87349"/>
                    </a:lnTo>
                    <a:lnTo>
                      <a:pt x="38568" y="-2631"/>
                    </a:lnTo>
                    <a:lnTo>
                      <a:pt x="224214" y="79415"/>
                    </a:lnTo>
                    <a:lnTo>
                      <a:pt x="186710" y="164962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08" name="Vrije vorm 42">
                <a:extLst>
                  <a:ext uri="{FF2B5EF4-FFF2-40B4-BE49-F238E27FC236}">
                    <a16:creationId xmlns:a16="http://schemas.microsoft.com/office/drawing/2014/main" id="{3CE7115E-3002-4734-BB2D-338AAC0E40AD}"/>
                  </a:ext>
                </a:extLst>
              </p:cNvPr>
              <p:cNvSpPr/>
              <p:nvPr/>
            </p:nvSpPr>
            <p:spPr>
              <a:xfrm flipV="1">
                <a:off x="3110019" y="2799313"/>
                <a:ext cx="300227" cy="317983"/>
              </a:xfrm>
              <a:custGeom>
                <a:avLst/>
                <a:gdLst>
                  <a:gd name="connsiteX0" fmla="*/ 2564 w 300227"/>
                  <a:gd name="connsiteY0" fmla="*/ 257593 h 317983"/>
                  <a:gd name="connsiteX1" fmla="*/ 104962 w 300227"/>
                  <a:gd name="connsiteY1" fmla="*/ 315815 h 317983"/>
                  <a:gd name="connsiteX2" fmla="*/ 216833 w 300227"/>
                  <a:gd name="connsiteY2" fmla="*/ 273306 h 317983"/>
                  <a:gd name="connsiteX3" fmla="*/ 298494 w 300227"/>
                  <a:gd name="connsiteY3" fmla="*/ 221329 h 317983"/>
                  <a:gd name="connsiteX4" fmla="*/ 219579 w 300227"/>
                  <a:gd name="connsiteY4" fmla="*/ 216461 h 317983"/>
                  <a:gd name="connsiteX5" fmla="*/ 189878 w 300227"/>
                  <a:gd name="connsiteY5" fmla="*/ 223111 h 317983"/>
                  <a:gd name="connsiteX6" fmla="*/ 257674 w 300227"/>
                  <a:gd name="connsiteY6" fmla="*/ 123394 h 317983"/>
                  <a:gd name="connsiteX7" fmla="*/ 274597 w 300227"/>
                  <a:gd name="connsiteY7" fmla="*/ 62759 h 317983"/>
                  <a:gd name="connsiteX8" fmla="*/ 175338 w 300227"/>
                  <a:gd name="connsiteY8" fmla="*/ 151050 h 317983"/>
                  <a:gd name="connsiteX9" fmla="*/ 240740 w 300227"/>
                  <a:gd name="connsiteY9" fmla="*/ 19048 h 317983"/>
                  <a:gd name="connsiteX10" fmla="*/ 127512 w 300227"/>
                  <a:gd name="connsiteY10" fmla="*/ 128211 h 317983"/>
                  <a:gd name="connsiteX11" fmla="*/ 174468 w 300227"/>
                  <a:gd name="connsiteY11" fmla="*/ 3791 h 317983"/>
                  <a:gd name="connsiteX12" fmla="*/ 74266 w 300227"/>
                  <a:gd name="connsiteY12" fmla="*/ 123394 h 317983"/>
                  <a:gd name="connsiteX13" fmla="*/ 84142 w 300227"/>
                  <a:gd name="connsiteY13" fmla="*/ 31736 h 317983"/>
                  <a:gd name="connsiteX14" fmla="*/ 46047 w 300227"/>
                  <a:gd name="connsiteY14" fmla="*/ 83909 h 317983"/>
                  <a:gd name="connsiteX15" fmla="*/ 22305 w 300227"/>
                  <a:gd name="connsiteY15" fmla="*/ 151941 h 317983"/>
                  <a:gd name="connsiteX16" fmla="*/ 2564 w 300227"/>
                  <a:gd name="connsiteY16" fmla="*/ 257593 h 317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00227" h="317983">
                    <a:moveTo>
                      <a:pt x="2564" y="257593"/>
                    </a:moveTo>
                    <a:cubicBezTo>
                      <a:pt x="2564" y="257593"/>
                      <a:pt x="58038" y="319109"/>
                      <a:pt x="104962" y="315815"/>
                    </a:cubicBezTo>
                    <a:cubicBezTo>
                      <a:pt x="151887" y="312511"/>
                      <a:pt x="187080" y="307891"/>
                      <a:pt x="216833" y="273306"/>
                    </a:cubicBezTo>
                    <a:cubicBezTo>
                      <a:pt x="246575" y="238710"/>
                      <a:pt x="301541" y="233386"/>
                      <a:pt x="298494" y="221329"/>
                    </a:cubicBezTo>
                    <a:cubicBezTo>
                      <a:pt x="295448" y="209262"/>
                      <a:pt x="289364" y="171051"/>
                      <a:pt x="219579" y="216461"/>
                    </a:cubicBezTo>
                    <a:cubicBezTo>
                      <a:pt x="219579" y="216461"/>
                      <a:pt x="193277" y="241776"/>
                      <a:pt x="189878" y="223111"/>
                    </a:cubicBezTo>
                    <a:cubicBezTo>
                      <a:pt x="187132" y="207998"/>
                      <a:pt x="220988" y="174159"/>
                      <a:pt x="257674" y="123394"/>
                    </a:cubicBezTo>
                    <a:cubicBezTo>
                      <a:pt x="307738" y="54110"/>
                      <a:pt x="289510" y="59703"/>
                      <a:pt x="274597" y="62759"/>
                    </a:cubicBezTo>
                    <a:cubicBezTo>
                      <a:pt x="259695" y="65814"/>
                      <a:pt x="198417" y="136083"/>
                      <a:pt x="175338" y="151050"/>
                    </a:cubicBezTo>
                    <a:cubicBezTo>
                      <a:pt x="157338" y="162724"/>
                      <a:pt x="256088" y="32679"/>
                      <a:pt x="240740" y="19048"/>
                    </a:cubicBezTo>
                    <a:cubicBezTo>
                      <a:pt x="215340" y="-3522"/>
                      <a:pt x="128062" y="147321"/>
                      <a:pt x="127512" y="128211"/>
                    </a:cubicBezTo>
                    <a:cubicBezTo>
                      <a:pt x="126963" y="109111"/>
                      <a:pt x="181359" y="16251"/>
                      <a:pt x="174468" y="3791"/>
                    </a:cubicBezTo>
                    <a:cubicBezTo>
                      <a:pt x="153275" y="-34544"/>
                      <a:pt x="83407" y="128874"/>
                      <a:pt x="74266" y="123394"/>
                    </a:cubicBezTo>
                    <a:cubicBezTo>
                      <a:pt x="67209" y="119158"/>
                      <a:pt x="98413" y="43089"/>
                      <a:pt x="84142" y="31736"/>
                    </a:cubicBezTo>
                    <a:cubicBezTo>
                      <a:pt x="69862" y="20384"/>
                      <a:pt x="54887" y="59848"/>
                      <a:pt x="46047" y="83909"/>
                    </a:cubicBezTo>
                    <a:cubicBezTo>
                      <a:pt x="35705" y="112052"/>
                      <a:pt x="33466" y="125611"/>
                      <a:pt x="22305" y="151941"/>
                    </a:cubicBezTo>
                    <a:cubicBezTo>
                      <a:pt x="11134" y="178271"/>
                      <a:pt x="-10774" y="218926"/>
                      <a:pt x="2564" y="257593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grpSp>
          <p:nvGrpSpPr>
            <p:cNvPr id="56" name="Groep 55">
              <a:extLst>
                <a:ext uri="{FF2B5EF4-FFF2-40B4-BE49-F238E27FC236}">
                  <a16:creationId xmlns:a16="http://schemas.microsoft.com/office/drawing/2014/main" id="{01AA5390-A19D-4A6E-8870-1DD101D639A8}"/>
                </a:ext>
              </a:extLst>
            </p:cNvPr>
            <p:cNvGrpSpPr/>
            <p:nvPr/>
          </p:nvGrpSpPr>
          <p:grpSpPr>
            <a:xfrm>
              <a:off x="1937255" y="2063426"/>
              <a:ext cx="449164" cy="153635"/>
              <a:chOff x="1937255" y="2063426"/>
              <a:chExt cx="449164" cy="153635"/>
            </a:xfrm>
          </p:grpSpPr>
          <p:sp>
            <p:nvSpPr>
              <p:cNvPr id="59" name="Vrije vorm 44">
                <a:extLst>
                  <a:ext uri="{FF2B5EF4-FFF2-40B4-BE49-F238E27FC236}">
                    <a16:creationId xmlns:a16="http://schemas.microsoft.com/office/drawing/2014/main" id="{1A700649-6055-4391-873D-627A1B2D96F6}"/>
                  </a:ext>
                </a:extLst>
              </p:cNvPr>
              <p:cNvSpPr/>
              <p:nvPr/>
            </p:nvSpPr>
            <p:spPr>
              <a:xfrm flipV="1">
                <a:off x="2037505" y="2063426"/>
                <a:ext cx="144000" cy="144000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1" name="Vrije vorm 45">
                <a:extLst>
                  <a:ext uri="{FF2B5EF4-FFF2-40B4-BE49-F238E27FC236}">
                    <a16:creationId xmlns:a16="http://schemas.microsoft.com/office/drawing/2014/main" id="{F273BDA7-612B-4554-8486-92DB9D93A52C}"/>
                  </a:ext>
                </a:extLst>
              </p:cNvPr>
              <p:cNvSpPr/>
              <p:nvPr/>
            </p:nvSpPr>
            <p:spPr>
              <a:xfrm flipV="1">
                <a:off x="2242419" y="2073061"/>
                <a:ext cx="144000" cy="144000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4" name="Vrije vorm 46">
                <a:extLst>
                  <a:ext uri="{FF2B5EF4-FFF2-40B4-BE49-F238E27FC236}">
                    <a16:creationId xmlns:a16="http://schemas.microsoft.com/office/drawing/2014/main" id="{040CEA3F-4719-444A-8604-FCA7062A8F44}"/>
                  </a:ext>
                </a:extLst>
              </p:cNvPr>
              <p:cNvSpPr/>
              <p:nvPr/>
            </p:nvSpPr>
            <p:spPr>
              <a:xfrm flipV="1">
                <a:off x="1937255" y="2113770"/>
                <a:ext cx="104773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5" name="Vrije vorm 47">
                <a:extLst>
                  <a:ext uri="{FF2B5EF4-FFF2-40B4-BE49-F238E27FC236}">
                    <a16:creationId xmlns:a16="http://schemas.microsoft.com/office/drawing/2014/main" id="{008C394C-E942-419D-81B9-206091CEAE8E}"/>
                  </a:ext>
                </a:extLst>
              </p:cNvPr>
              <p:cNvSpPr/>
              <p:nvPr/>
            </p:nvSpPr>
            <p:spPr>
              <a:xfrm flipV="1">
                <a:off x="2175060" y="2124470"/>
                <a:ext cx="72000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58" name="Vrije vorm 43">
              <a:extLst>
                <a:ext uri="{FF2B5EF4-FFF2-40B4-BE49-F238E27FC236}">
                  <a16:creationId xmlns:a16="http://schemas.microsoft.com/office/drawing/2014/main" id="{48E21C18-8441-4A84-8F14-44C58EC6245F}"/>
                </a:ext>
              </a:extLst>
            </p:cNvPr>
            <p:cNvSpPr/>
            <p:nvPr/>
          </p:nvSpPr>
          <p:spPr>
            <a:xfrm flipV="1">
              <a:off x="1801711" y="1747503"/>
              <a:ext cx="634548" cy="421057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sp>
        <p:nvSpPr>
          <p:cNvPr id="4" name="Pijl: rechts 3">
            <a:extLst>
              <a:ext uri="{FF2B5EF4-FFF2-40B4-BE49-F238E27FC236}">
                <a16:creationId xmlns:a16="http://schemas.microsoft.com/office/drawing/2014/main" id="{186EF05F-734E-4C42-939D-770198E6E658}"/>
              </a:ext>
            </a:extLst>
          </p:cNvPr>
          <p:cNvSpPr/>
          <p:nvPr/>
        </p:nvSpPr>
        <p:spPr>
          <a:xfrm rot="20227810">
            <a:off x="5144874" y="3855616"/>
            <a:ext cx="1350943" cy="263159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9" name="Groep 108">
            <a:extLst>
              <a:ext uri="{FF2B5EF4-FFF2-40B4-BE49-F238E27FC236}">
                <a16:creationId xmlns:a16="http://schemas.microsoft.com/office/drawing/2014/main" id="{C25CCA60-68CD-44DB-AF97-B31756B8FE7F}"/>
              </a:ext>
            </a:extLst>
          </p:cNvPr>
          <p:cNvGrpSpPr/>
          <p:nvPr/>
        </p:nvGrpSpPr>
        <p:grpSpPr>
          <a:xfrm>
            <a:off x="6968701" y="595871"/>
            <a:ext cx="1044651" cy="2281121"/>
            <a:chOff x="1399932" y="1747503"/>
            <a:chExt cx="1620000" cy="3321415"/>
          </a:xfrm>
        </p:grpSpPr>
        <p:grpSp>
          <p:nvGrpSpPr>
            <p:cNvPr id="110" name="Groep 109">
              <a:extLst>
                <a:ext uri="{FF2B5EF4-FFF2-40B4-BE49-F238E27FC236}">
                  <a16:creationId xmlns:a16="http://schemas.microsoft.com/office/drawing/2014/main" id="{E1091A08-C651-4C65-92B4-F18E846D5284}"/>
                </a:ext>
              </a:extLst>
            </p:cNvPr>
            <p:cNvGrpSpPr/>
            <p:nvPr/>
          </p:nvGrpSpPr>
          <p:grpSpPr>
            <a:xfrm>
              <a:off x="1399932" y="1830744"/>
              <a:ext cx="1620000" cy="3238174"/>
              <a:chOff x="1760486" y="809544"/>
              <a:chExt cx="1649760" cy="4063129"/>
            </a:xfrm>
          </p:grpSpPr>
          <p:sp>
            <p:nvSpPr>
              <p:cNvPr id="117" name="Vrije vorm 2">
                <a:extLst>
                  <a:ext uri="{FF2B5EF4-FFF2-40B4-BE49-F238E27FC236}">
                    <a16:creationId xmlns:a16="http://schemas.microsoft.com/office/drawing/2014/main" id="{67215270-7601-45F3-AE5B-8A7875832C1B}"/>
                  </a:ext>
                </a:extLst>
              </p:cNvPr>
              <p:cNvSpPr/>
              <p:nvPr/>
            </p:nvSpPr>
            <p:spPr>
              <a:xfrm flipV="1">
                <a:off x="2927718" y="2350256"/>
                <a:ext cx="315088" cy="585408"/>
              </a:xfrm>
              <a:custGeom>
                <a:avLst/>
                <a:gdLst>
                  <a:gd name="connsiteX0" fmla="*/ -1465 w 315088"/>
                  <a:gd name="connsiteY0" fmla="*/ 475848 h 585408"/>
                  <a:gd name="connsiteX1" fmla="*/ 252474 w 315088"/>
                  <a:gd name="connsiteY1" fmla="*/ -775 h 585408"/>
                  <a:gd name="connsiteX2" fmla="*/ 303264 w 315088"/>
                  <a:gd name="connsiteY2" fmla="*/ 106399 h 585408"/>
                  <a:gd name="connsiteX3" fmla="*/ 136790 w 315088"/>
                  <a:gd name="connsiteY3" fmla="*/ 583022 h 585408"/>
                  <a:gd name="connsiteX4" fmla="*/ -1465 w 315088"/>
                  <a:gd name="connsiteY4" fmla="*/ 475848 h 585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5088" h="585408">
                    <a:moveTo>
                      <a:pt x="-1465" y="475848"/>
                    </a:moveTo>
                    <a:cubicBezTo>
                      <a:pt x="-1465" y="475848"/>
                      <a:pt x="215799" y="-34615"/>
                      <a:pt x="252474" y="-775"/>
                    </a:cubicBezTo>
                    <a:cubicBezTo>
                      <a:pt x="289160" y="33075"/>
                      <a:pt x="334302" y="18978"/>
                      <a:pt x="303264" y="106399"/>
                    </a:cubicBezTo>
                    <a:cubicBezTo>
                      <a:pt x="272226" y="193831"/>
                      <a:pt x="136790" y="583022"/>
                      <a:pt x="136790" y="583022"/>
                    </a:cubicBezTo>
                    <a:lnTo>
                      <a:pt x="-1465" y="475848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8" name="Vrije vorm 3">
                <a:extLst>
                  <a:ext uri="{FF2B5EF4-FFF2-40B4-BE49-F238E27FC236}">
                    <a16:creationId xmlns:a16="http://schemas.microsoft.com/office/drawing/2014/main" id="{31CA6F20-655D-408E-B1BD-77E57401C083}"/>
                  </a:ext>
                </a:extLst>
              </p:cNvPr>
              <p:cNvSpPr/>
              <p:nvPr/>
            </p:nvSpPr>
            <p:spPr>
              <a:xfrm flipV="1">
                <a:off x="1793418" y="2327996"/>
                <a:ext cx="435941" cy="436134"/>
              </a:xfrm>
              <a:custGeom>
                <a:avLst/>
                <a:gdLst>
                  <a:gd name="connsiteX0" fmla="*/ -567 w 435941"/>
                  <a:gd name="connsiteY0" fmla="*/ 363435 h 436134"/>
                  <a:gd name="connsiteX1" fmla="*/ 433257 w 435941"/>
                  <a:gd name="connsiteY1" fmla="*/ -2492 h 436134"/>
                  <a:gd name="connsiteX2" fmla="*/ 435375 w 435941"/>
                  <a:gd name="connsiteY2" fmla="*/ 99037 h 436134"/>
                  <a:gd name="connsiteX3" fmla="*/ 206822 w 435941"/>
                  <a:gd name="connsiteY3" fmla="*/ 359209 h 436134"/>
                  <a:gd name="connsiteX4" fmla="*/ -567 w 435941"/>
                  <a:gd name="connsiteY4" fmla="*/ 363435 h 43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5941" h="436134">
                    <a:moveTo>
                      <a:pt x="-567" y="363435"/>
                    </a:moveTo>
                    <a:cubicBezTo>
                      <a:pt x="-567" y="363435"/>
                      <a:pt x="217404" y="56735"/>
                      <a:pt x="433257" y="-2492"/>
                    </a:cubicBezTo>
                    <a:lnTo>
                      <a:pt x="435375" y="99037"/>
                    </a:lnTo>
                    <a:cubicBezTo>
                      <a:pt x="435375" y="99037"/>
                      <a:pt x="316865" y="194217"/>
                      <a:pt x="206822" y="359209"/>
                    </a:cubicBezTo>
                    <a:cubicBezTo>
                      <a:pt x="96778" y="524181"/>
                      <a:pt x="-567" y="363435"/>
                      <a:pt x="-567" y="363435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9" name="Vrije vorm 4">
                <a:extLst>
                  <a:ext uri="{FF2B5EF4-FFF2-40B4-BE49-F238E27FC236}">
                    <a16:creationId xmlns:a16="http://schemas.microsoft.com/office/drawing/2014/main" id="{EC049009-4310-4E87-BD90-3795CD50D97B}"/>
                  </a:ext>
                </a:extLst>
              </p:cNvPr>
              <p:cNvSpPr/>
              <p:nvPr/>
            </p:nvSpPr>
            <p:spPr>
              <a:xfrm flipV="1">
                <a:off x="2123683" y="4519894"/>
                <a:ext cx="127451" cy="249822"/>
              </a:xfrm>
              <a:custGeom>
                <a:avLst/>
                <a:gdLst>
                  <a:gd name="connsiteX0" fmla="*/ 126737 w 127451"/>
                  <a:gd name="connsiteY0" fmla="*/ 229480 h 249822"/>
                  <a:gd name="connsiteX1" fmla="*/ 88498 w 127451"/>
                  <a:gd name="connsiteY1" fmla="*/ -196 h 249822"/>
                  <a:gd name="connsiteX2" fmla="*/ -714 w 127451"/>
                  <a:gd name="connsiteY2" fmla="*/ -196 h 249822"/>
                  <a:gd name="connsiteX3" fmla="*/ 29120 w 127451"/>
                  <a:gd name="connsiteY3" fmla="*/ 249627 h 249822"/>
                  <a:gd name="connsiteX4" fmla="*/ 126737 w 127451"/>
                  <a:gd name="connsiteY4" fmla="*/ 229480 h 249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51" h="249822">
                    <a:moveTo>
                      <a:pt x="126737" y="229480"/>
                    </a:moveTo>
                    <a:lnTo>
                      <a:pt x="88498" y="-196"/>
                    </a:lnTo>
                    <a:lnTo>
                      <a:pt x="-714" y="-196"/>
                    </a:lnTo>
                    <a:lnTo>
                      <a:pt x="29120" y="249627"/>
                    </a:lnTo>
                    <a:lnTo>
                      <a:pt x="126737" y="22948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0" name="Vrije vorm 5">
                <a:extLst>
                  <a:ext uri="{FF2B5EF4-FFF2-40B4-BE49-F238E27FC236}">
                    <a16:creationId xmlns:a16="http://schemas.microsoft.com/office/drawing/2014/main" id="{1C6DD0DC-4A37-4BBB-9546-7D763CD18CB7}"/>
                  </a:ext>
                </a:extLst>
              </p:cNvPr>
              <p:cNvSpPr/>
              <p:nvPr/>
            </p:nvSpPr>
            <p:spPr>
              <a:xfrm flipV="1">
                <a:off x="1826858" y="4660864"/>
                <a:ext cx="424276" cy="211809"/>
              </a:xfrm>
              <a:custGeom>
                <a:avLst/>
                <a:gdLst>
                  <a:gd name="connsiteX0" fmla="*/ 269198 w 424276"/>
                  <a:gd name="connsiteY0" fmla="*/ 211747 h 211809"/>
                  <a:gd name="connsiteX1" fmla="*/ 141079 w 424276"/>
                  <a:gd name="connsiteY1" fmla="*/ 122397 h 211809"/>
                  <a:gd name="connsiteX2" fmla="*/ -269 w 424276"/>
                  <a:gd name="connsiteY2" fmla="*/ 23166 h 211809"/>
                  <a:gd name="connsiteX3" fmla="*/ 301223 w 424276"/>
                  <a:gd name="connsiteY3" fmla="*/ 29466 h 211809"/>
                  <a:gd name="connsiteX4" fmla="*/ 301223 w 424276"/>
                  <a:gd name="connsiteY4" fmla="*/ 9806 h 211809"/>
                  <a:gd name="connsiteX5" fmla="*/ 423687 w 424276"/>
                  <a:gd name="connsiteY5" fmla="*/ 15172 h 211809"/>
                  <a:gd name="connsiteX6" fmla="*/ 423687 w 424276"/>
                  <a:gd name="connsiteY6" fmla="*/ 177784 h 211809"/>
                  <a:gd name="connsiteX7" fmla="*/ 321949 w 424276"/>
                  <a:gd name="connsiteY7" fmla="*/ 170646 h 211809"/>
                  <a:gd name="connsiteX8" fmla="*/ 329486 w 424276"/>
                  <a:gd name="connsiteY8" fmla="*/ 186730 h 211809"/>
                  <a:gd name="connsiteX9" fmla="*/ 269198 w 424276"/>
                  <a:gd name="connsiteY9" fmla="*/ 211747 h 211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24276" h="211809">
                    <a:moveTo>
                      <a:pt x="269198" y="211747"/>
                    </a:moveTo>
                    <a:cubicBezTo>
                      <a:pt x="269198" y="211747"/>
                      <a:pt x="218329" y="145621"/>
                      <a:pt x="141079" y="122397"/>
                    </a:cubicBezTo>
                    <a:cubicBezTo>
                      <a:pt x="63837" y="99157"/>
                      <a:pt x="-5920" y="69624"/>
                      <a:pt x="-269" y="23166"/>
                    </a:cubicBezTo>
                    <a:cubicBezTo>
                      <a:pt x="-269" y="23166"/>
                      <a:pt x="114705" y="-33074"/>
                      <a:pt x="301223" y="29466"/>
                    </a:cubicBezTo>
                    <a:lnTo>
                      <a:pt x="301223" y="9806"/>
                    </a:lnTo>
                    <a:lnTo>
                      <a:pt x="423687" y="15172"/>
                    </a:lnTo>
                    <a:lnTo>
                      <a:pt x="423687" y="177784"/>
                    </a:lnTo>
                    <a:lnTo>
                      <a:pt x="321949" y="170646"/>
                    </a:lnTo>
                    <a:lnTo>
                      <a:pt x="329486" y="186730"/>
                    </a:lnTo>
                    <a:lnTo>
                      <a:pt x="269198" y="211747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1" name="Vrije vorm 6">
                <a:extLst>
                  <a:ext uri="{FF2B5EF4-FFF2-40B4-BE49-F238E27FC236}">
                    <a16:creationId xmlns:a16="http://schemas.microsoft.com/office/drawing/2014/main" id="{2555E30C-B399-4E3A-B831-AF050CCE7373}"/>
                  </a:ext>
                </a:extLst>
              </p:cNvPr>
              <p:cNvSpPr/>
              <p:nvPr/>
            </p:nvSpPr>
            <p:spPr>
              <a:xfrm flipV="1">
                <a:off x="1826964" y="4824160"/>
                <a:ext cx="424170" cy="48513"/>
              </a:xfrm>
              <a:custGeom>
                <a:avLst/>
                <a:gdLst>
                  <a:gd name="connsiteX0" fmla="*/ 219952 w 424170"/>
                  <a:gd name="connsiteY0" fmla="*/ 27298 h 48513"/>
                  <a:gd name="connsiteX1" fmla="*/ 585 w 424170"/>
                  <a:gd name="connsiteY1" fmla="*/ 35358 h 48513"/>
                  <a:gd name="connsiteX2" fmla="*/ -375 w 424170"/>
                  <a:gd name="connsiteY2" fmla="*/ 23255 h 48513"/>
                  <a:gd name="connsiteX3" fmla="*/ 301117 w 424170"/>
                  <a:gd name="connsiteY3" fmla="*/ 29555 h 48513"/>
                  <a:gd name="connsiteX4" fmla="*/ 301117 w 424170"/>
                  <a:gd name="connsiteY4" fmla="*/ 9896 h 48513"/>
                  <a:gd name="connsiteX5" fmla="*/ 423581 w 424170"/>
                  <a:gd name="connsiteY5" fmla="*/ 15261 h 48513"/>
                  <a:gd name="connsiteX6" fmla="*/ 423581 w 424170"/>
                  <a:gd name="connsiteY6" fmla="*/ 47702 h 48513"/>
                  <a:gd name="connsiteX7" fmla="*/ 219952 w 424170"/>
                  <a:gd name="connsiteY7" fmla="*/ 27298 h 4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4170" h="48513">
                    <a:moveTo>
                      <a:pt x="219952" y="27298"/>
                    </a:moveTo>
                    <a:cubicBezTo>
                      <a:pt x="52794" y="-15655"/>
                      <a:pt x="10352" y="32032"/>
                      <a:pt x="585" y="35358"/>
                    </a:cubicBezTo>
                    <a:cubicBezTo>
                      <a:pt x="-488" y="31327"/>
                      <a:pt x="-873" y="27286"/>
                      <a:pt x="-375" y="23255"/>
                    </a:cubicBezTo>
                    <a:cubicBezTo>
                      <a:pt x="-375" y="23255"/>
                      <a:pt x="114600" y="-32984"/>
                      <a:pt x="301117" y="29555"/>
                    </a:cubicBezTo>
                    <a:lnTo>
                      <a:pt x="301117" y="9896"/>
                    </a:lnTo>
                    <a:lnTo>
                      <a:pt x="423581" y="15261"/>
                    </a:lnTo>
                    <a:lnTo>
                      <a:pt x="423581" y="47702"/>
                    </a:lnTo>
                    <a:cubicBezTo>
                      <a:pt x="379865" y="45060"/>
                      <a:pt x="343205" y="58983"/>
                      <a:pt x="219952" y="2729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2" name="Vrije vorm 7">
                <a:extLst>
                  <a:ext uri="{FF2B5EF4-FFF2-40B4-BE49-F238E27FC236}">
                    <a16:creationId xmlns:a16="http://schemas.microsoft.com/office/drawing/2014/main" id="{B24BF726-3A8F-4F98-A886-644171670F7A}"/>
                  </a:ext>
                </a:extLst>
              </p:cNvPr>
              <p:cNvSpPr/>
              <p:nvPr/>
            </p:nvSpPr>
            <p:spPr>
              <a:xfrm flipV="1">
                <a:off x="2052156" y="4694841"/>
                <a:ext cx="66822" cy="60746"/>
              </a:xfrm>
              <a:custGeom>
                <a:avLst/>
                <a:gdLst>
                  <a:gd name="connsiteX0" fmla="*/ 60819 w 66822"/>
                  <a:gd name="connsiteY0" fmla="*/ -108 h 60746"/>
                  <a:gd name="connsiteX1" fmla="*/ 56353 w 66822"/>
                  <a:gd name="connsiteY1" fmla="*/ 2271 h 60746"/>
                  <a:gd name="connsiteX2" fmla="*/ 2926 w 66822"/>
                  <a:gd name="connsiteY2" fmla="*/ 50209 h 60746"/>
                  <a:gd name="connsiteX3" fmla="*/ -308 w 66822"/>
                  <a:gd name="connsiteY3" fmla="*/ 57099 h 60746"/>
                  <a:gd name="connsiteX4" fmla="*/ 6574 w 66822"/>
                  <a:gd name="connsiteY4" fmla="*/ 60328 h 60746"/>
                  <a:gd name="connsiteX5" fmla="*/ 65279 w 66822"/>
                  <a:gd name="connsiteY5" fmla="*/ 8251 h 60746"/>
                  <a:gd name="connsiteX6" fmla="*/ 63810 w 66822"/>
                  <a:gd name="connsiteY6" fmla="*/ 803 h 60746"/>
                  <a:gd name="connsiteX7" fmla="*/ 60819 w 66822"/>
                  <a:gd name="connsiteY7" fmla="*/ -108 h 6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2" h="60746">
                    <a:moveTo>
                      <a:pt x="60819" y="-108"/>
                    </a:moveTo>
                    <a:cubicBezTo>
                      <a:pt x="59086" y="-108"/>
                      <a:pt x="57394" y="718"/>
                      <a:pt x="56353" y="2271"/>
                    </a:cubicBezTo>
                    <a:cubicBezTo>
                      <a:pt x="31246" y="39686"/>
                      <a:pt x="3210" y="50116"/>
                      <a:pt x="2926" y="50209"/>
                    </a:cubicBezTo>
                    <a:cubicBezTo>
                      <a:pt x="129" y="51224"/>
                      <a:pt x="-1316" y="54300"/>
                      <a:pt x="-308" y="57099"/>
                    </a:cubicBezTo>
                    <a:cubicBezTo>
                      <a:pt x="704" y="59884"/>
                      <a:pt x="3784" y="61312"/>
                      <a:pt x="6574" y="60328"/>
                    </a:cubicBezTo>
                    <a:cubicBezTo>
                      <a:pt x="7853" y="59863"/>
                      <a:pt x="38230" y="48562"/>
                      <a:pt x="65279" y="8251"/>
                    </a:cubicBezTo>
                    <a:cubicBezTo>
                      <a:pt x="66935" y="5783"/>
                      <a:pt x="66279" y="2449"/>
                      <a:pt x="63810" y="803"/>
                    </a:cubicBezTo>
                    <a:cubicBezTo>
                      <a:pt x="62891" y="171"/>
                      <a:pt x="61851" y="-108"/>
                      <a:pt x="60819" y="-1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3" name="Vrije vorm 8">
                <a:extLst>
                  <a:ext uri="{FF2B5EF4-FFF2-40B4-BE49-F238E27FC236}">
                    <a16:creationId xmlns:a16="http://schemas.microsoft.com/office/drawing/2014/main" id="{1A574418-ABA1-45CF-BA55-E6913E0A9C04}"/>
                  </a:ext>
                </a:extLst>
              </p:cNvPr>
              <p:cNvSpPr/>
              <p:nvPr/>
            </p:nvSpPr>
            <p:spPr>
              <a:xfrm flipV="1">
                <a:off x="2024123" y="4707419"/>
                <a:ext cx="66821" cy="60755"/>
              </a:xfrm>
              <a:custGeom>
                <a:avLst/>
                <a:gdLst>
                  <a:gd name="connsiteX0" fmla="*/ 60846 w 66821"/>
                  <a:gd name="connsiteY0" fmla="*/ -94 h 60755"/>
                  <a:gd name="connsiteX1" fmla="*/ 56376 w 66821"/>
                  <a:gd name="connsiteY1" fmla="*/ 2289 h 60755"/>
                  <a:gd name="connsiteX2" fmla="*/ 2950 w 66821"/>
                  <a:gd name="connsiteY2" fmla="*/ 50235 h 60755"/>
                  <a:gd name="connsiteX3" fmla="*/ -285 w 66821"/>
                  <a:gd name="connsiteY3" fmla="*/ 57114 h 60755"/>
                  <a:gd name="connsiteX4" fmla="*/ 6597 w 66821"/>
                  <a:gd name="connsiteY4" fmla="*/ 60347 h 60755"/>
                  <a:gd name="connsiteX5" fmla="*/ 65303 w 66821"/>
                  <a:gd name="connsiteY5" fmla="*/ 8266 h 60755"/>
                  <a:gd name="connsiteX6" fmla="*/ 63834 w 66821"/>
                  <a:gd name="connsiteY6" fmla="*/ 808 h 60755"/>
                  <a:gd name="connsiteX7" fmla="*/ 60846 w 66821"/>
                  <a:gd name="connsiteY7" fmla="*/ -94 h 60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1" h="60755">
                    <a:moveTo>
                      <a:pt x="60846" y="-94"/>
                    </a:moveTo>
                    <a:cubicBezTo>
                      <a:pt x="59117" y="-94"/>
                      <a:pt x="57417" y="736"/>
                      <a:pt x="56376" y="2289"/>
                    </a:cubicBezTo>
                    <a:cubicBezTo>
                      <a:pt x="31271" y="39692"/>
                      <a:pt x="3229" y="50135"/>
                      <a:pt x="2950" y="50235"/>
                    </a:cubicBezTo>
                    <a:cubicBezTo>
                      <a:pt x="156" y="51243"/>
                      <a:pt x="-1293" y="54319"/>
                      <a:pt x="-285" y="57114"/>
                    </a:cubicBezTo>
                    <a:cubicBezTo>
                      <a:pt x="723" y="59902"/>
                      <a:pt x="3812" y="61342"/>
                      <a:pt x="6597" y="60347"/>
                    </a:cubicBezTo>
                    <a:cubicBezTo>
                      <a:pt x="7876" y="59882"/>
                      <a:pt x="38257" y="48581"/>
                      <a:pt x="65303" y="8266"/>
                    </a:cubicBezTo>
                    <a:cubicBezTo>
                      <a:pt x="66958" y="5810"/>
                      <a:pt x="66302" y="2467"/>
                      <a:pt x="63834" y="808"/>
                    </a:cubicBezTo>
                    <a:cubicBezTo>
                      <a:pt x="62915" y="198"/>
                      <a:pt x="61874" y="-94"/>
                      <a:pt x="60846" y="-94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4" name="Vrije vorm 9">
                <a:extLst>
                  <a:ext uri="{FF2B5EF4-FFF2-40B4-BE49-F238E27FC236}">
                    <a16:creationId xmlns:a16="http://schemas.microsoft.com/office/drawing/2014/main" id="{65BC8646-6C3B-4359-A00E-460AFE4C41A7}"/>
                  </a:ext>
                </a:extLst>
              </p:cNvPr>
              <p:cNvSpPr/>
              <p:nvPr/>
            </p:nvSpPr>
            <p:spPr>
              <a:xfrm flipV="1">
                <a:off x="1996103" y="4719841"/>
                <a:ext cx="66805" cy="60751"/>
              </a:xfrm>
              <a:custGeom>
                <a:avLst/>
                <a:gdLst>
                  <a:gd name="connsiteX0" fmla="*/ 60853 w 66805"/>
                  <a:gd name="connsiteY0" fmla="*/ -80 h 60751"/>
                  <a:gd name="connsiteX1" fmla="*/ 56384 w 66805"/>
                  <a:gd name="connsiteY1" fmla="*/ 2291 h 60751"/>
                  <a:gd name="connsiteX2" fmla="*/ 2944 w 66805"/>
                  <a:gd name="connsiteY2" fmla="*/ 50249 h 60751"/>
                  <a:gd name="connsiteX3" fmla="*/ -258 w 66805"/>
                  <a:gd name="connsiteY3" fmla="*/ 57128 h 60751"/>
                  <a:gd name="connsiteX4" fmla="*/ 6608 w 66805"/>
                  <a:gd name="connsiteY4" fmla="*/ 60356 h 60751"/>
                  <a:gd name="connsiteX5" fmla="*/ 65314 w 66805"/>
                  <a:gd name="connsiteY5" fmla="*/ 8287 h 60751"/>
                  <a:gd name="connsiteX6" fmla="*/ 63844 w 66805"/>
                  <a:gd name="connsiteY6" fmla="*/ 830 h 60751"/>
                  <a:gd name="connsiteX7" fmla="*/ 60853 w 66805"/>
                  <a:gd name="connsiteY7" fmla="*/ -80 h 60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05" h="60751">
                    <a:moveTo>
                      <a:pt x="60853" y="-80"/>
                    </a:moveTo>
                    <a:cubicBezTo>
                      <a:pt x="59120" y="-80"/>
                      <a:pt x="57420" y="749"/>
                      <a:pt x="56384" y="2291"/>
                    </a:cubicBezTo>
                    <a:cubicBezTo>
                      <a:pt x="31443" y="39466"/>
                      <a:pt x="3232" y="50143"/>
                      <a:pt x="2944" y="50249"/>
                    </a:cubicBezTo>
                    <a:cubicBezTo>
                      <a:pt x="167" y="51264"/>
                      <a:pt x="-1270" y="54352"/>
                      <a:pt x="-258" y="57128"/>
                    </a:cubicBezTo>
                    <a:cubicBezTo>
                      <a:pt x="759" y="59911"/>
                      <a:pt x="3838" y="61352"/>
                      <a:pt x="6608" y="60356"/>
                    </a:cubicBezTo>
                    <a:cubicBezTo>
                      <a:pt x="7887" y="59891"/>
                      <a:pt x="38268" y="48590"/>
                      <a:pt x="65314" y="8287"/>
                    </a:cubicBezTo>
                    <a:cubicBezTo>
                      <a:pt x="66966" y="5811"/>
                      <a:pt x="66306" y="2477"/>
                      <a:pt x="63844" y="830"/>
                    </a:cubicBezTo>
                    <a:cubicBezTo>
                      <a:pt x="62925" y="211"/>
                      <a:pt x="61881" y="-80"/>
                      <a:pt x="60853" y="-80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5" name="Vrije vorm 10">
                <a:extLst>
                  <a:ext uri="{FF2B5EF4-FFF2-40B4-BE49-F238E27FC236}">
                    <a16:creationId xmlns:a16="http://schemas.microsoft.com/office/drawing/2014/main" id="{9F9E1FF5-20EE-42D4-8102-5D4754E3FE5A}"/>
                  </a:ext>
                </a:extLst>
              </p:cNvPr>
              <p:cNvSpPr/>
              <p:nvPr/>
            </p:nvSpPr>
            <p:spPr>
              <a:xfrm flipV="1">
                <a:off x="2667810" y="4519894"/>
                <a:ext cx="127435" cy="249822"/>
              </a:xfrm>
              <a:custGeom>
                <a:avLst/>
                <a:gdLst>
                  <a:gd name="connsiteX0" fmla="*/ -1169 w 127435"/>
                  <a:gd name="connsiteY0" fmla="*/ 229480 h 249822"/>
                  <a:gd name="connsiteX1" fmla="*/ 37050 w 127435"/>
                  <a:gd name="connsiteY1" fmla="*/ -196 h 249822"/>
                  <a:gd name="connsiteX2" fmla="*/ 126267 w 127435"/>
                  <a:gd name="connsiteY2" fmla="*/ -196 h 249822"/>
                  <a:gd name="connsiteX3" fmla="*/ 96431 w 127435"/>
                  <a:gd name="connsiteY3" fmla="*/ 249627 h 249822"/>
                  <a:gd name="connsiteX4" fmla="*/ -1169 w 127435"/>
                  <a:gd name="connsiteY4" fmla="*/ 229480 h 249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35" h="249822">
                    <a:moveTo>
                      <a:pt x="-1169" y="229480"/>
                    </a:moveTo>
                    <a:lnTo>
                      <a:pt x="37050" y="-196"/>
                    </a:lnTo>
                    <a:lnTo>
                      <a:pt x="126267" y="-196"/>
                    </a:lnTo>
                    <a:lnTo>
                      <a:pt x="96431" y="249627"/>
                    </a:lnTo>
                    <a:lnTo>
                      <a:pt x="-1169" y="229480"/>
                    </a:lnTo>
                  </a:path>
                </a:pathLst>
              </a:custGeom>
              <a:solidFill>
                <a:srgbClr val="172D36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6" name="Vrije vorm 11">
                <a:extLst>
                  <a:ext uri="{FF2B5EF4-FFF2-40B4-BE49-F238E27FC236}">
                    <a16:creationId xmlns:a16="http://schemas.microsoft.com/office/drawing/2014/main" id="{845A7ED1-A2A3-4FBD-B8AA-17E9E05ACBF8}"/>
                  </a:ext>
                </a:extLst>
              </p:cNvPr>
              <p:cNvSpPr/>
              <p:nvPr/>
            </p:nvSpPr>
            <p:spPr>
              <a:xfrm flipV="1">
                <a:off x="2667810" y="4660864"/>
                <a:ext cx="432703" cy="211809"/>
              </a:xfrm>
              <a:custGeom>
                <a:avLst/>
                <a:gdLst>
                  <a:gd name="connsiteX0" fmla="*/ 153187 w 432703"/>
                  <a:gd name="connsiteY0" fmla="*/ 211747 h 211809"/>
                  <a:gd name="connsiteX1" fmla="*/ 281297 w 432703"/>
                  <a:gd name="connsiteY1" fmla="*/ 122397 h 211809"/>
                  <a:gd name="connsiteX2" fmla="*/ 431117 w 432703"/>
                  <a:gd name="connsiteY2" fmla="*/ 23166 h 211809"/>
                  <a:gd name="connsiteX3" fmla="*/ 121154 w 432703"/>
                  <a:gd name="connsiteY3" fmla="*/ 29466 h 211809"/>
                  <a:gd name="connsiteX4" fmla="*/ 121154 w 432703"/>
                  <a:gd name="connsiteY4" fmla="*/ 9806 h 211809"/>
                  <a:gd name="connsiteX5" fmla="*/ -1297 w 432703"/>
                  <a:gd name="connsiteY5" fmla="*/ 15172 h 211809"/>
                  <a:gd name="connsiteX6" fmla="*/ -1297 w 432703"/>
                  <a:gd name="connsiteY6" fmla="*/ 177784 h 211809"/>
                  <a:gd name="connsiteX7" fmla="*/ 100428 w 432703"/>
                  <a:gd name="connsiteY7" fmla="*/ 170646 h 211809"/>
                  <a:gd name="connsiteX8" fmla="*/ 92894 w 432703"/>
                  <a:gd name="connsiteY8" fmla="*/ 186730 h 211809"/>
                  <a:gd name="connsiteX9" fmla="*/ 153187 w 432703"/>
                  <a:gd name="connsiteY9" fmla="*/ 211747 h 211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2703" h="211809">
                    <a:moveTo>
                      <a:pt x="153187" y="211747"/>
                    </a:moveTo>
                    <a:cubicBezTo>
                      <a:pt x="153187" y="211747"/>
                      <a:pt x="204049" y="145621"/>
                      <a:pt x="281297" y="122397"/>
                    </a:cubicBezTo>
                    <a:cubicBezTo>
                      <a:pt x="358544" y="99157"/>
                      <a:pt x="436775" y="69624"/>
                      <a:pt x="431117" y="23166"/>
                    </a:cubicBezTo>
                    <a:cubicBezTo>
                      <a:pt x="431117" y="23166"/>
                      <a:pt x="307671" y="-33074"/>
                      <a:pt x="121154" y="29466"/>
                    </a:cubicBezTo>
                    <a:lnTo>
                      <a:pt x="121154" y="9806"/>
                    </a:lnTo>
                    <a:lnTo>
                      <a:pt x="-1297" y="15172"/>
                    </a:lnTo>
                    <a:lnTo>
                      <a:pt x="-1297" y="177784"/>
                    </a:lnTo>
                    <a:lnTo>
                      <a:pt x="100428" y="170646"/>
                    </a:lnTo>
                    <a:lnTo>
                      <a:pt x="92894" y="186730"/>
                    </a:lnTo>
                    <a:lnTo>
                      <a:pt x="153187" y="211747"/>
                    </a:lnTo>
                  </a:path>
                </a:pathLst>
              </a:custGeom>
              <a:solidFill>
                <a:srgbClr val="A24027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7" name="Vrije vorm 12">
                <a:extLst>
                  <a:ext uri="{FF2B5EF4-FFF2-40B4-BE49-F238E27FC236}">
                    <a16:creationId xmlns:a16="http://schemas.microsoft.com/office/drawing/2014/main" id="{531B18D6-206A-4227-AF12-9D5CE24C212F}"/>
                  </a:ext>
                </a:extLst>
              </p:cNvPr>
              <p:cNvSpPr/>
              <p:nvPr/>
            </p:nvSpPr>
            <p:spPr>
              <a:xfrm flipV="1">
                <a:off x="2667800" y="4816546"/>
                <a:ext cx="432632" cy="56127"/>
              </a:xfrm>
              <a:custGeom>
                <a:avLst/>
                <a:gdLst>
                  <a:gd name="connsiteX0" fmla="*/ 227729 w 432632"/>
                  <a:gd name="connsiteY0" fmla="*/ 18842 h 56127"/>
                  <a:gd name="connsiteX1" fmla="*/ 430164 w 432632"/>
                  <a:gd name="connsiteY1" fmla="*/ 35354 h 56127"/>
                  <a:gd name="connsiteX2" fmla="*/ 431127 w 432632"/>
                  <a:gd name="connsiteY2" fmla="*/ 23251 h 56127"/>
                  <a:gd name="connsiteX3" fmla="*/ 121165 w 432632"/>
                  <a:gd name="connsiteY3" fmla="*/ 29551 h 56127"/>
                  <a:gd name="connsiteX4" fmla="*/ 121165 w 432632"/>
                  <a:gd name="connsiteY4" fmla="*/ 9892 h 56127"/>
                  <a:gd name="connsiteX5" fmla="*/ -1297 w 432632"/>
                  <a:gd name="connsiteY5" fmla="*/ 15257 h 56127"/>
                  <a:gd name="connsiteX6" fmla="*/ -1297 w 432632"/>
                  <a:gd name="connsiteY6" fmla="*/ 56150 h 56127"/>
                  <a:gd name="connsiteX7" fmla="*/ 227729 w 432632"/>
                  <a:gd name="connsiteY7" fmla="*/ 18842 h 56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2632" h="56127">
                    <a:moveTo>
                      <a:pt x="227729" y="18842"/>
                    </a:moveTo>
                    <a:cubicBezTo>
                      <a:pt x="345072" y="395"/>
                      <a:pt x="420391" y="32028"/>
                      <a:pt x="430164" y="35354"/>
                    </a:cubicBezTo>
                    <a:cubicBezTo>
                      <a:pt x="431231" y="31323"/>
                      <a:pt x="431614" y="27282"/>
                      <a:pt x="431127" y="23251"/>
                    </a:cubicBezTo>
                    <a:cubicBezTo>
                      <a:pt x="431127" y="23251"/>
                      <a:pt x="307681" y="-32988"/>
                      <a:pt x="121165" y="29551"/>
                    </a:cubicBezTo>
                    <a:lnTo>
                      <a:pt x="121165" y="9892"/>
                    </a:lnTo>
                    <a:lnTo>
                      <a:pt x="-1297" y="15257"/>
                    </a:lnTo>
                    <a:lnTo>
                      <a:pt x="-1297" y="56150"/>
                    </a:lnTo>
                    <a:cubicBezTo>
                      <a:pt x="42415" y="53508"/>
                      <a:pt x="115071" y="36551"/>
                      <a:pt x="227729" y="18842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8" name="Vrije vorm 13">
                <a:extLst>
                  <a:ext uri="{FF2B5EF4-FFF2-40B4-BE49-F238E27FC236}">
                    <a16:creationId xmlns:a16="http://schemas.microsoft.com/office/drawing/2014/main" id="{A53AA507-4EF3-46D6-9E99-6AD82798E33B}"/>
                  </a:ext>
                </a:extLst>
              </p:cNvPr>
              <p:cNvSpPr/>
              <p:nvPr/>
            </p:nvSpPr>
            <p:spPr>
              <a:xfrm flipV="1">
                <a:off x="2799960" y="4694841"/>
                <a:ext cx="66820" cy="60746"/>
              </a:xfrm>
              <a:custGeom>
                <a:avLst/>
                <a:gdLst>
                  <a:gd name="connsiteX0" fmla="*/ 4115 w 66820"/>
                  <a:gd name="connsiteY0" fmla="*/ -108 h 60746"/>
                  <a:gd name="connsiteX1" fmla="*/ 8582 w 66820"/>
                  <a:gd name="connsiteY1" fmla="*/ 2271 h 60746"/>
                  <a:gd name="connsiteX2" fmla="*/ 62004 w 66820"/>
                  <a:gd name="connsiteY2" fmla="*/ 50209 h 60746"/>
                  <a:gd name="connsiteX3" fmla="*/ 65248 w 66820"/>
                  <a:gd name="connsiteY3" fmla="*/ 57099 h 60746"/>
                  <a:gd name="connsiteX4" fmla="*/ 58366 w 66820"/>
                  <a:gd name="connsiteY4" fmla="*/ 60328 h 60746"/>
                  <a:gd name="connsiteX5" fmla="*/ -341 w 66820"/>
                  <a:gd name="connsiteY5" fmla="*/ 8251 h 60746"/>
                  <a:gd name="connsiteX6" fmla="*/ 1131 w 66820"/>
                  <a:gd name="connsiteY6" fmla="*/ 803 h 60746"/>
                  <a:gd name="connsiteX7" fmla="*/ 4115 w 66820"/>
                  <a:gd name="connsiteY7" fmla="*/ -108 h 6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0" h="60746">
                    <a:moveTo>
                      <a:pt x="4115" y="-108"/>
                    </a:moveTo>
                    <a:cubicBezTo>
                      <a:pt x="5856" y="-108"/>
                      <a:pt x="7546" y="718"/>
                      <a:pt x="8582" y="2271"/>
                    </a:cubicBezTo>
                    <a:cubicBezTo>
                      <a:pt x="33692" y="39686"/>
                      <a:pt x="61734" y="50116"/>
                      <a:pt x="62004" y="50209"/>
                    </a:cubicBezTo>
                    <a:cubicBezTo>
                      <a:pt x="64802" y="51224"/>
                      <a:pt x="66253" y="54300"/>
                      <a:pt x="65248" y="57099"/>
                    </a:cubicBezTo>
                    <a:cubicBezTo>
                      <a:pt x="64232" y="59884"/>
                      <a:pt x="61144" y="61312"/>
                      <a:pt x="58366" y="60328"/>
                    </a:cubicBezTo>
                    <a:cubicBezTo>
                      <a:pt x="57081" y="59863"/>
                      <a:pt x="26707" y="48562"/>
                      <a:pt x="-341" y="8251"/>
                    </a:cubicBezTo>
                    <a:cubicBezTo>
                      <a:pt x="-1999" y="5783"/>
                      <a:pt x="-1336" y="2449"/>
                      <a:pt x="1131" y="803"/>
                    </a:cubicBezTo>
                    <a:cubicBezTo>
                      <a:pt x="2043" y="171"/>
                      <a:pt x="3089" y="-108"/>
                      <a:pt x="4115" y="-10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29" name="Vrije vorm 14">
                <a:extLst>
                  <a:ext uri="{FF2B5EF4-FFF2-40B4-BE49-F238E27FC236}">
                    <a16:creationId xmlns:a16="http://schemas.microsoft.com/office/drawing/2014/main" id="{C900B561-8620-40DF-AE27-97452C5C9C59}"/>
                  </a:ext>
                </a:extLst>
              </p:cNvPr>
              <p:cNvSpPr/>
              <p:nvPr/>
            </p:nvSpPr>
            <p:spPr>
              <a:xfrm flipV="1">
                <a:off x="2827990" y="4707419"/>
                <a:ext cx="66823" cy="60755"/>
              </a:xfrm>
              <a:custGeom>
                <a:avLst/>
                <a:gdLst>
                  <a:gd name="connsiteX0" fmla="*/ 4094 w 66823"/>
                  <a:gd name="connsiteY0" fmla="*/ -94 h 60755"/>
                  <a:gd name="connsiteX1" fmla="*/ 8561 w 66823"/>
                  <a:gd name="connsiteY1" fmla="*/ 2289 h 60755"/>
                  <a:gd name="connsiteX2" fmla="*/ 61993 w 66823"/>
                  <a:gd name="connsiteY2" fmla="*/ 50235 h 60755"/>
                  <a:gd name="connsiteX3" fmla="*/ 65227 w 66823"/>
                  <a:gd name="connsiteY3" fmla="*/ 57114 h 60755"/>
                  <a:gd name="connsiteX4" fmla="*/ 58346 w 66823"/>
                  <a:gd name="connsiteY4" fmla="*/ 60347 h 60755"/>
                  <a:gd name="connsiteX5" fmla="*/ -372 w 66823"/>
                  <a:gd name="connsiteY5" fmla="*/ 8266 h 60755"/>
                  <a:gd name="connsiteX6" fmla="*/ 1110 w 66823"/>
                  <a:gd name="connsiteY6" fmla="*/ 808 h 60755"/>
                  <a:gd name="connsiteX7" fmla="*/ 4094 w 66823"/>
                  <a:gd name="connsiteY7" fmla="*/ -94 h 60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23" h="60755">
                    <a:moveTo>
                      <a:pt x="4094" y="-94"/>
                    </a:moveTo>
                    <a:cubicBezTo>
                      <a:pt x="5825" y="-94"/>
                      <a:pt x="7525" y="736"/>
                      <a:pt x="8561" y="2289"/>
                    </a:cubicBezTo>
                    <a:cubicBezTo>
                      <a:pt x="33671" y="39692"/>
                      <a:pt x="61714" y="50135"/>
                      <a:pt x="61993" y="50235"/>
                    </a:cubicBezTo>
                    <a:cubicBezTo>
                      <a:pt x="64781" y="51243"/>
                      <a:pt x="66232" y="54319"/>
                      <a:pt x="65227" y="57114"/>
                    </a:cubicBezTo>
                    <a:cubicBezTo>
                      <a:pt x="64211" y="59902"/>
                      <a:pt x="61133" y="61342"/>
                      <a:pt x="58346" y="60347"/>
                    </a:cubicBezTo>
                    <a:cubicBezTo>
                      <a:pt x="57061" y="59882"/>
                      <a:pt x="26686" y="48581"/>
                      <a:pt x="-372" y="8266"/>
                    </a:cubicBezTo>
                    <a:cubicBezTo>
                      <a:pt x="-2020" y="5810"/>
                      <a:pt x="-1357" y="2467"/>
                      <a:pt x="1110" y="808"/>
                    </a:cubicBezTo>
                    <a:cubicBezTo>
                      <a:pt x="2022" y="198"/>
                      <a:pt x="3068" y="-94"/>
                      <a:pt x="4094" y="-94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0" name="Vrije vorm 15">
                <a:extLst>
                  <a:ext uri="{FF2B5EF4-FFF2-40B4-BE49-F238E27FC236}">
                    <a16:creationId xmlns:a16="http://schemas.microsoft.com/office/drawing/2014/main" id="{17E740F3-53E5-43D7-AF14-C7972D23E327}"/>
                  </a:ext>
                </a:extLst>
              </p:cNvPr>
              <p:cNvSpPr/>
              <p:nvPr/>
            </p:nvSpPr>
            <p:spPr>
              <a:xfrm flipV="1">
                <a:off x="2856024" y="4719841"/>
                <a:ext cx="66812" cy="60751"/>
              </a:xfrm>
              <a:custGeom>
                <a:avLst/>
                <a:gdLst>
                  <a:gd name="connsiteX0" fmla="*/ 4068 w 66812"/>
                  <a:gd name="connsiteY0" fmla="*/ -80 h 60751"/>
                  <a:gd name="connsiteX1" fmla="*/ 8545 w 66812"/>
                  <a:gd name="connsiteY1" fmla="*/ 2291 h 60751"/>
                  <a:gd name="connsiteX2" fmla="*/ 61978 w 66812"/>
                  <a:gd name="connsiteY2" fmla="*/ 50249 h 60751"/>
                  <a:gd name="connsiteX3" fmla="*/ 65190 w 66812"/>
                  <a:gd name="connsiteY3" fmla="*/ 57128 h 60751"/>
                  <a:gd name="connsiteX4" fmla="*/ 58320 w 66812"/>
                  <a:gd name="connsiteY4" fmla="*/ 60356 h 60751"/>
                  <a:gd name="connsiteX5" fmla="*/ -388 w 66812"/>
                  <a:gd name="connsiteY5" fmla="*/ 8287 h 60751"/>
                  <a:gd name="connsiteX6" fmla="*/ 1084 w 66812"/>
                  <a:gd name="connsiteY6" fmla="*/ 830 h 60751"/>
                  <a:gd name="connsiteX7" fmla="*/ 4068 w 66812"/>
                  <a:gd name="connsiteY7" fmla="*/ -80 h 60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812" h="60751">
                    <a:moveTo>
                      <a:pt x="4068" y="-80"/>
                    </a:moveTo>
                    <a:cubicBezTo>
                      <a:pt x="5809" y="-80"/>
                      <a:pt x="7509" y="749"/>
                      <a:pt x="8545" y="2291"/>
                    </a:cubicBezTo>
                    <a:cubicBezTo>
                      <a:pt x="33489" y="39466"/>
                      <a:pt x="61698" y="50143"/>
                      <a:pt x="61978" y="50249"/>
                    </a:cubicBezTo>
                    <a:cubicBezTo>
                      <a:pt x="64766" y="51264"/>
                      <a:pt x="66196" y="54352"/>
                      <a:pt x="65190" y="57128"/>
                    </a:cubicBezTo>
                    <a:cubicBezTo>
                      <a:pt x="64164" y="59911"/>
                      <a:pt x="61087" y="61352"/>
                      <a:pt x="58320" y="60356"/>
                    </a:cubicBezTo>
                    <a:cubicBezTo>
                      <a:pt x="57035" y="59891"/>
                      <a:pt x="26660" y="48590"/>
                      <a:pt x="-388" y="8287"/>
                    </a:cubicBezTo>
                    <a:cubicBezTo>
                      <a:pt x="-2046" y="5811"/>
                      <a:pt x="-1383" y="2477"/>
                      <a:pt x="1084" y="830"/>
                    </a:cubicBezTo>
                    <a:cubicBezTo>
                      <a:pt x="1996" y="211"/>
                      <a:pt x="3042" y="-80"/>
                      <a:pt x="4068" y="-80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1" name="Vrije vorm 16">
                <a:extLst>
                  <a:ext uri="{FF2B5EF4-FFF2-40B4-BE49-F238E27FC236}">
                    <a16:creationId xmlns:a16="http://schemas.microsoft.com/office/drawing/2014/main" id="{FAF55074-A15E-4E52-B9AA-60F5664B76CB}"/>
                  </a:ext>
                </a:extLst>
              </p:cNvPr>
              <p:cNvSpPr/>
              <p:nvPr/>
            </p:nvSpPr>
            <p:spPr>
              <a:xfrm flipV="1">
                <a:off x="2086870" y="2668940"/>
                <a:ext cx="756201" cy="2017911"/>
              </a:xfrm>
              <a:custGeom>
                <a:avLst/>
                <a:gdLst>
                  <a:gd name="connsiteX0" fmla="*/ 185064 w 756201"/>
                  <a:gd name="connsiteY0" fmla="*/ 1980643 h 2017911"/>
                  <a:gd name="connsiteX1" fmla="*/ 92164 w 756201"/>
                  <a:gd name="connsiteY1" fmla="*/ 871643 h 2017911"/>
                  <a:gd name="connsiteX2" fmla="*/ -946 w 756201"/>
                  <a:gd name="connsiteY2" fmla="*/ 59412 h 2017911"/>
                  <a:gd name="connsiteX3" fmla="*/ 213498 w 756201"/>
                  <a:gd name="connsiteY3" fmla="*/ 25583 h 2017911"/>
                  <a:gd name="connsiteX4" fmla="*/ 340470 w 756201"/>
                  <a:gd name="connsiteY4" fmla="*/ 820879 h 2017911"/>
                  <a:gd name="connsiteX5" fmla="*/ 442049 w 756201"/>
                  <a:gd name="connsiteY5" fmla="*/ 1576702 h 2017911"/>
                  <a:gd name="connsiteX6" fmla="*/ 498477 w 756201"/>
                  <a:gd name="connsiteY6" fmla="*/ 1576702 h 2017911"/>
                  <a:gd name="connsiteX7" fmla="*/ 546448 w 756201"/>
                  <a:gd name="connsiteY7" fmla="*/ 25583 h 2017911"/>
                  <a:gd name="connsiteX8" fmla="*/ 755256 w 756201"/>
                  <a:gd name="connsiteY8" fmla="*/ 19938 h 2017911"/>
                  <a:gd name="connsiteX9" fmla="*/ 738322 w 756201"/>
                  <a:gd name="connsiteY9" fmla="*/ 2016658 h 2017911"/>
                  <a:gd name="connsiteX10" fmla="*/ 185064 w 756201"/>
                  <a:gd name="connsiteY10" fmla="*/ 1980643 h 2017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56201" h="2017911">
                    <a:moveTo>
                      <a:pt x="185064" y="1980643"/>
                    </a:moveTo>
                    <a:lnTo>
                      <a:pt x="92164" y="871643"/>
                    </a:lnTo>
                    <a:lnTo>
                      <a:pt x="-946" y="59412"/>
                    </a:lnTo>
                    <a:cubicBezTo>
                      <a:pt x="-946" y="59412"/>
                      <a:pt x="44194" y="-2622"/>
                      <a:pt x="213498" y="25583"/>
                    </a:cubicBezTo>
                    <a:lnTo>
                      <a:pt x="340470" y="820879"/>
                    </a:lnTo>
                    <a:lnTo>
                      <a:pt x="442049" y="1576702"/>
                    </a:lnTo>
                    <a:lnTo>
                      <a:pt x="498477" y="1576702"/>
                    </a:lnTo>
                    <a:lnTo>
                      <a:pt x="546448" y="25583"/>
                    </a:lnTo>
                    <a:cubicBezTo>
                      <a:pt x="546448" y="25583"/>
                      <a:pt x="619809" y="-30839"/>
                      <a:pt x="755256" y="19938"/>
                    </a:cubicBezTo>
                    <a:lnTo>
                      <a:pt x="738322" y="2016658"/>
                    </a:lnTo>
                    <a:lnTo>
                      <a:pt x="185064" y="1980643"/>
                    </a:lnTo>
                  </a:path>
                </a:pathLst>
              </a:custGeom>
              <a:solidFill>
                <a:schemeClr val="tx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2" name="Vrije vorm 17">
                <a:extLst>
                  <a:ext uri="{FF2B5EF4-FFF2-40B4-BE49-F238E27FC236}">
                    <a16:creationId xmlns:a16="http://schemas.microsoft.com/office/drawing/2014/main" id="{C8DDA43C-88BD-4282-ACB7-90963066BC3A}"/>
                  </a:ext>
                </a:extLst>
              </p:cNvPr>
              <p:cNvSpPr/>
              <p:nvPr/>
            </p:nvSpPr>
            <p:spPr>
              <a:xfrm flipV="1">
                <a:off x="2388719" y="1514055"/>
                <a:ext cx="197584" cy="409254"/>
              </a:xfrm>
              <a:custGeom>
                <a:avLst/>
                <a:gdLst>
                  <a:gd name="connsiteX0" fmla="*/ 196619 w 197584"/>
                  <a:gd name="connsiteY0" fmla="*/ 311600 h 409254"/>
                  <a:gd name="connsiteX1" fmla="*/ 189013 w 197584"/>
                  <a:gd name="connsiteY1" fmla="*/ -3397 h 409254"/>
                  <a:gd name="connsiteX2" fmla="*/ -965 w 197584"/>
                  <a:gd name="connsiteY2" fmla="*/ 81487 h 409254"/>
                  <a:gd name="connsiteX3" fmla="*/ 5014 w 197584"/>
                  <a:gd name="connsiteY3" fmla="*/ 405857 h 409254"/>
                  <a:gd name="connsiteX4" fmla="*/ 196619 w 197584"/>
                  <a:gd name="connsiteY4" fmla="*/ 311600 h 409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7584" h="409254">
                    <a:moveTo>
                      <a:pt x="196619" y="311600"/>
                    </a:moveTo>
                    <a:lnTo>
                      <a:pt x="189013" y="-3397"/>
                    </a:lnTo>
                    <a:lnTo>
                      <a:pt x="-965" y="81487"/>
                    </a:lnTo>
                    <a:lnTo>
                      <a:pt x="5014" y="405857"/>
                    </a:lnTo>
                    <a:lnTo>
                      <a:pt x="196619" y="311600"/>
                    </a:ln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3" name="Vrije vorm 18">
                <a:extLst>
                  <a:ext uri="{FF2B5EF4-FFF2-40B4-BE49-F238E27FC236}">
                    <a16:creationId xmlns:a16="http://schemas.microsoft.com/office/drawing/2014/main" id="{BD074301-499C-437A-9BED-7DC00466E54E}"/>
                  </a:ext>
                </a:extLst>
              </p:cNvPr>
              <p:cNvSpPr/>
              <p:nvPr/>
            </p:nvSpPr>
            <p:spPr>
              <a:xfrm flipV="1">
                <a:off x="2016242" y="1723460"/>
                <a:ext cx="878925" cy="1022375"/>
              </a:xfrm>
              <a:custGeom>
                <a:avLst/>
                <a:gdLst>
                  <a:gd name="connsiteX0" fmla="*/ 875044 w 878925"/>
                  <a:gd name="connsiteY0" fmla="*/ 901190 h 1022375"/>
                  <a:gd name="connsiteX1" fmla="*/ 820244 w 878925"/>
                  <a:gd name="connsiteY1" fmla="*/ 51492 h 1022375"/>
                  <a:gd name="connsiteX2" fmla="*/ 458134 w 878925"/>
                  <a:gd name="connsiteY2" fmla="*/ -1934 h 1022375"/>
                  <a:gd name="connsiteX3" fmla="*/ 255700 w 878925"/>
                  <a:gd name="connsiteY3" fmla="*/ 38048 h 1022375"/>
                  <a:gd name="connsiteX4" fmla="*/ -938 w 878925"/>
                  <a:gd name="connsiteY4" fmla="*/ 989823 h 1022375"/>
                  <a:gd name="connsiteX5" fmla="*/ 383177 w 878925"/>
                  <a:gd name="connsiteY5" fmla="*/ 1019540 h 1022375"/>
                  <a:gd name="connsiteX6" fmla="*/ 494229 w 878925"/>
                  <a:gd name="connsiteY6" fmla="*/ 916685 h 1022375"/>
                  <a:gd name="connsiteX7" fmla="*/ 583942 w 878925"/>
                  <a:gd name="connsiteY7" fmla="*/ 1012424 h 1022375"/>
                  <a:gd name="connsiteX8" fmla="*/ 877987 w 878925"/>
                  <a:gd name="connsiteY8" fmla="*/ 978067 h 1022375"/>
                  <a:gd name="connsiteX9" fmla="*/ 875044 w 878925"/>
                  <a:gd name="connsiteY9" fmla="*/ 901190 h 1022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78925" h="1022375">
                    <a:moveTo>
                      <a:pt x="875044" y="901190"/>
                    </a:moveTo>
                    <a:cubicBezTo>
                      <a:pt x="875044" y="901190"/>
                      <a:pt x="856722" y="337570"/>
                      <a:pt x="820244" y="51492"/>
                    </a:cubicBezTo>
                    <a:cubicBezTo>
                      <a:pt x="820244" y="51492"/>
                      <a:pt x="680589" y="-10998"/>
                      <a:pt x="458134" y="-1934"/>
                    </a:cubicBezTo>
                    <a:cubicBezTo>
                      <a:pt x="300982" y="4467"/>
                      <a:pt x="255700" y="38048"/>
                      <a:pt x="255700" y="38048"/>
                    </a:cubicBezTo>
                    <a:lnTo>
                      <a:pt x="-938" y="989823"/>
                    </a:lnTo>
                    <a:cubicBezTo>
                      <a:pt x="-938" y="989823"/>
                      <a:pt x="143689" y="1019820"/>
                      <a:pt x="383177" y="1019540"/>
                    </a:cubicBezTo>
                    <a:lnTo>
                      <a:pt x="494229" y="916685"/>
                    </a:lnTo>
                    <a:cubicBezTo>
                      <a:pt x="494229" y="916685"/>
                      <a:pt x="524385" y="996535"/>
                      <a:pt x="583942" y="1012424"/>
                    </a:cubicBezTo>
                    <a:cubicBezTo>
                      <a:pt x="674216" y="1006209"/>
                      <a:pt x="772770" y="995396"/>
                      <a:pt x="877987" y="978067"/>
                    </a:cubicBezTo>
                    <a:lnTo>
                      <a:pt x="875044" y="901190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4" name="Vrije vorm 19">
                <a:extLst>
                  <a:ext uri="{FF2B5EF4-FFF2-40B4-BE49-F238E27FC236}">
                    <a16:creationId xmlns:a16="http://schemas.microsoft.com/office/drawing/2014/main" id="{60B34C10-8277-414C-926A-6E7CD589ADE0}"/>
                  </a:ext>
                </a:extLst>
              </p:cNvPr>
              <p:cNvSpPr/>
              <p:nvPr/>
            </p:nvSpPr>
            <p:spPr>
              <a:xfrm flipV="1">
                <a:off x="1793803" y="1753180"/>
                <a:ext cx="417056" cy="649249"/>
              </a:xfrm>
              <a:custGeom>
                <a:avLst/>
                <a:gdLst>
                  <a:gd name="connsiteX0" fmla="*/ 206445 w 417056"/>
                  <a:gd name="connsiteY0" fmla="*/ -3004 h 649249"/>
                  <a:gd name="connsiteX1" fmla="*/ 416497 w 417056"/>
                  <a:gd name="connsiteY1" fmla="*/ 581922 h 649249"/>
                  <a:gd name="connsiteX2" fmla="*/ 221880 w 417056"/>
                  <a:gd name="connsiteY2" fmla="*/ 646245 h 649249"/>
                  <a:gd name="connsiteX3" fmla="*/ -559 w 417056"/>
                  <a:gd name="connsiteY3" fmla="*/ 14935 h 649249"/>
                  <a:gd name="connsiteX4" fmla="*/ 206445 w 417056"/>
                  <a:gd name="connsiteY4" fmla="*/ -3004 h 649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7056" h="649249">
                    <a:moveTo>
                      <a:pt x="206445" y="-3004"/>
                    </a:moveTo>
                    <a:lnTo>
                      <a:pt x="416497" y="581922"/>
                    </a:lnTo>
                    <a:lnTo>
                      <a:pt x="221880" y="646245"/>
                    </a:lnTo>
                    <a:lnTo>
                      <a:pt x="-559" y="14935"/>
                    </a:lnTo>
                    <a:lnTo>
                      <a:pt x="206445" y="-3004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5" name="Vrije vorm 20">
                <a:extLst>
                  <a:ext uri="{FF2B5EF4-FFF2-40B4-BE49-F238E27FC236}">
                    <a16:creationId xmlns:a16="http://schemas.microsoft.com/office/drawing/2014/main" id="{9BCFC29F-FB10-48E2-8476-AEF417F34189}"/>
                  </a:ext>
                </a:extLst>
              </p:cNvPr>
              <p:cNvSpPr/>
              <p:nvPr/>
            </p:nvSpPr>
            <p:spPr>
              <a:xfrm flipV="1">
                <a:off x="2754633" y="2720901"/>
                <a:ext cx="85841" cy="80839"/>
              </a:xfrm>
              <a:custGeom>
                <a:avLst/>
                <a:gdLst>
                  <a:gd name="connsiteX0" fmla="*/ -1224 w 85841"/>
                  <a:gd name="connsiteY0" fmla="*/ 53645 h 80839"/>
                  <a:gd name="connsiteX1" fmla="*/ 70282 w 85841"/>
                  <a:gd name="connsiteY1" fmla="*/ 77655 h 80839"/>
                  <a:gd name="connsiteX2" fmla="*/ 84033 w 85841"/>
                  <a:gd name="connsiteY2" fmla="*/ 54391 h 80839"/>
                  <a:gd name="connsiteX3" fmla="*/ 70292 w 85841"/>
                  <a:gd name="connsiteY3" fmla="*/ 21442 h 80839"/>
                  <a:gd name="connsiteX4" fmla="*/ 9367 w 85841"/>
                  <a:gd name="connsiteY4" fmla="*/ -2257 h 80839"/>
                  <a:gd name="connsiteX5" fmla="*/ -1224 w 85841"/>
                  <a:gd name="connsiteY5" fmla="*/ 53645 h 80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841" h="80839">
                    <a:moveTo>
                      <a:pt x="-1224" y="53645"/>
                    </a:moveTo>
                    <a:cubicBezTo>
                      <a:pt x="46581" y="63921"/>
                      <a:pt x="69753" y="77490"/>
                      <a:pt x="70282" y="77655"/>
                    </a:cubicBezTo>
                    <a:cubicBezTo>
                      <a:pt x="84272" y="82296"/>
                      <a:pt x="82458" y="68737"/>
                      <a:pt x="84033" y="54391"/>
                    </a:cubicBezTo>
                    <a:cubicBezTo>
                      <a:pt x="86116" y="35457"/>
                      <a:pt x="82873" y="25327"/>
                      <a:pt x="70292" y="21442"/>
                    </a:cubicBezTo>
                    <a:cubicBezTo>
                      <a:pt x="67991" y="20738"/>
                      <a:pt x="56954" y="9179"/>
                      <a:pt x="9367" y="-2257"/>
                    </a:cubicBezTo>
                    <a:cubicBezTo>
                      <a:pt x="5812" y="16377"/>
                      <a:pt x="2268" y="35011"/>
                      <a:pt x="-1224" y="53645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6" name="Vrije vorm 21">
                <a:extLst>
                  <a:ext uri="{FF2B5EF4-FFF2-40B4-BE49-F238E27FC236}">
                    <a16:creationId xmlns:a16="http://schemas.microsoft.com/office/drawing/2014/main" id="{374628DA-7C50-43E9-8383-BCDF00D27243}"/>
                  </a:ext>
                </a:extLst>
              </p:cNvPr>
              <p:cNvSpPr/>
              <p:nvPr/>
            </p:nvSpPr>
            <p:spPr>
              <a:xfrm flipV="1">
                <a:off x="2405041" y="2753316"/>
                <a:ext cx="314822" cy="71602"/>
              </a:xfrm>
              <a:custGeom>
                <a:avLst/>
                <a:gdLst>
                  <a:gd name="connsiteX0" fmla="*/ 5988 w 314822"/>
                  <a:gd name="connsiteY0" fmla="*/ 61618 h 71602"/>
                  <a:gd name="connsiteX1" fmla="*/ 180359 w 314822"/>
                  <a:gd name="connsiteY1" fmla="*/ 57019 h 71602"/>
                  <a:gd name="connsiteX2" fmla="*/ 309132 w 314822"/>
                  <a:gd name="connsiteY2" fmla="*/ 69376 h 71602"/>
                  <a:gd name="connsiteX3" fmla="*/ 313795 w 314822"/>
                  <a:gd name="connsiteY3" fmla="*/ 11495 h 71602"/>
                  <a:gd name="connsiteX4" fmla="*/ 181540 w 314822"/>
                  <a:gd name="connsiteY4" fmla="*/ -1804 h 71602"/>
                  <a:gd name="connsiteX5" fmla="*/ 121341 w 314822"/>
                  <a:gd name="connsiteY5" fmla="*/ -1991 h 71602"/>
                  <a:gd name="connsiteX6" fmla="*/ -1028 w 314822"/>
                  <a:gd name="connsiteY6" fmla="*/ 5602 h 71602"/>
                  <a:gd name="connsiteX7" fmla="*/ 5988 w 314822"/>
                  <a:gd name="connsiteY7" fmla="*/ 61618 h 71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4822" h="71602">
                    <a:moveTo>
                      <a:pt x="5988" y="61618"/>
                    </a:moveTo>
                    <a:cubicBezTo>
                      <a:pt x="59151" y="56563"/>
                      <a:pt x="117330" y="55527"/>
                      <a:pt x="180359" y="57019"/>
                    </a:cubicBezTo>
                    <a:cubicBezTo>
                      <a:pt x="228952" y="58168"/>
                      <a:pt x="272539" y="63213"/>
                      <a:pt x="309132" y="69376"/>
                    </a:cubicBezTo>
                    <a:cubicBezTo>
                      <a:pt x="307961" y="49965"/>
                      <a:pt x="310531" y="30699"/>
                      <a:pt x="313795" y="11495"/>
                    </a:cubicBezTo>
                    <a:cubicBezTo>
                      <a:pt x="276519" y="4783"/>
                      <a:pt x="231988" y="-624"/>
                      <a:pt x="181540" y="-1804"/>
                    </a:cubicBezTo>
                    <a:cubicBezTo>
                      <a:pt x="161011" y="-2302"/>
                      <a:pt x="140937" y="-2353"/>
                      <a:pt x="121341" y="-1991"/>
                    </a:cubicBezTo>
                    <a:cubicBezTo>
                      <a:pt x="77432" y="-1183"/>
                      <a:pt x="36964" y="1220"/>
                      <a:pt x="-1028" y="5602"/>
                    </a:cubicBezTo>
                    <a:cubicBezTo>
                      <a:pt x="3138" y="23987"/>
                      <a:pt x="5625" y="42631"/>
                      <a:pt x="5988" y="6161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7" name="Vrije vorm 22">
                <a:extLst>
                  <a:ext uri="{FF2B5EF4-FFF2-40B4-BE49-F238E27FC236}">
                    <a16:creationId xmlns:a16="http://schemas.microsoft.com/office/drawing/2014/main" id="{9C90BB05-13A4-4F0B-B0FA-A2B5902237F6}"/>
                  </a:ext>
                </a:extLst>
              </p:cNvPr>
              <p:cNvSpPr/>
              <p:nvPr/>
            </p:nvSpPr>
            <p:spPr>
              <a:xfrm flipV="1">
                <a:off x="2254503" y="2733145"/>
                <a:ext cx="122702" cy="79294"/>
              </a:xfrm>
              <a:custGeom>
                <a:avLst/>
                <a:gdLst>
                  <a:gd name="connsiteX0" fmla="*/ 862 w 122702"/>
                  <a:gd name="connsiteY0" fmla="*/ 53938 h 79294"/>
                  <a:gd name="connsiteX1" fmla="*/ 19249 w 122702"/>
                  <a:gd name="connsiteY1" fmla="*/ 76042 h 79294"/>
                  <a:gd name="connsiteX2" fmla="*/ 121881 w 122702"/>
                  <a:gd name="connsiteY2" fmla="*/ 53006 h 79294"/>
                  <a:gd name="connsiteX3" fmla="*/ 115145 w 122702"/>
                  <a:gd name="connsiteY3" fmla="*/ -2244 h 79294"/>
                  <a:gd name="connsiteX4" fmla="*/ 7431 w 122702"/>
                  <a:gd name="connsiteY4" fmla="*/ 24759 h 79294"/>
                  <a:gd name="connsiteX5" fmla="*/ 862 w 122702"/>
                  <a:gd name="connsiteY5" fmla="*/ 53938 h 79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2702" h="79294">
                    <a:moveTo>
                      <a:pt x="862" y="53938"/>
                    </a:moveTo>
                    <a:cubicBezTo>
                      <a:pt x="3554" y="68149"/>
                      <a:pt x="5263" y="80765"/>
                      <a:pt x="19249" y="76042"/>
                    </a:cubicBezTo>
                    <a:cubicBezTo>
                      <a:pt x="50565" y="65528"/>
                      <a:pt x="84836" y="58071"/>
                      <a:pt x="121881" y="53006"/>
                    </a:cubicBezTo>
                    <a:cubicBezTo>
                      <a:pt x="120638" y="34475"/>
                      <a:pt x="117912" y="16110"/>
                      <a:pt x="115145" y="-2244"/>
                    </a:cubicBezTo>
                    <a:cubicBezTo>
                      <a:pt x="76683" y="3857"/>
                      <a:pt x="40878" y="12454"/>
                      <a:pt x="7431" y="24759"/>
                    </a:cubicBezTo>
                    <a:cubicBezTo>
                      <a:pt x="-2304" y="28333"/>
                      <a:pt x="-1855" y="39561"/>
                      <a:pt x="862" y="53938"/>
                    </a:cubicBezTo>
                  </a:path>
                </a:pathLst>
              </a:custGeom>
              <a:solidFill>
                <a:srgbClr val="161414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8" name="Vrije vorm 23">
                <a:extLst>
                  <a:ext uri="{FF2B5EF4-FFF2-40B4-BE49-F238E27FC236}">
                    <a16:creationId xmlns:a16="http://schemas.microsoft.com/office/drawing/2014/main" id="{9D963A3A-8DB6-423B-B9EA-EFA392EF6B9B}"/>
                  </a:ext>
                </a:extLst>
              </p:cNvPr>
              <p:cNvSpPr/>
              <p:nvPr/>
            </p:nvSpPr>
            <p:spPr>
              <a:xfrm flipV="1">
                <a:off x="2497989" y="2756465"/>
                <a:ext cx="124938" cy="76214"/>
              </a:xfrm>
              <a:custGeom>
                <a:avLst/>
                <a:gdLst>
                  <a:gd name="connsiteX0" fmla="*/ 21079 w 124938"/>
                  <a:gd name="connsiteY0" fmla="*/ 60529 h 76214"/>
                  <a:gd name="connsiteX1" fmla="*/ 102730 w 124938"/>
                  <a:gd name="connsiteY1" fmla="*/ 61067 h 76214"/>
                  <a:gd name="connsiteX2" fmla="*/ 101880 w 124938"/>
                  <a:gd name="connsiteY2" fmla="*/ 14839 h 76214"/>
                  <a:gd name="connsiteX3" fmla="*/ 20156 w 124938"/>
                  <a:gd name="connsiteY3" fmla="*/ 10707 h 76214"/>
                  <a:gd name="connsiteX4" fmla="*/ 373 w 124938"/>
                  <a:gd name="connsiteY4" fmla="*/ 73165 h 76214"/>
                  <a:gd name="connsiteX5" fmla="*/ -1026 w 124938"/>
                  <a:gd name="connsiteY5" fmla="*/ -2220 h 76214"/>
                  <a:gd name="connsiteX6" fmla="*/ 122617 w 124938"/>
                  <a:gd name="connsiteY6" fmla="*/ 4036 h 76214"/>
                  <a:gd name="connsiteX7" fmla="*/ 123912 w 124938"/>
                  <a:gd name="connsiteY7" fmla="*/ 73994 h 76214"/>
                  <a:gd name="connsiteX8" fmla="*/ 373 w 124938"/>
                  <a:gd name="connsiteY8" fmla="*/ 73165 h 76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4938" h="76214">
                    <a:moveTo>
                      <a:pt x="21079" y="60529"/>
                    </a:moveTo>
                    <a:lnTo>
                      <a:pt x="102730" y="61067"/>
                    </a:lnTo>
                    <a:lnTo>
                      <a:pt x="101880" y="14839"/>
                    </a:lnTo>
                    <a:lnTo>
                      <a:pt x="20156" y="10707"/>
                    </a:lnTo>
                    <a:close/>
                    <a:moveTo>
                      <a:pt x="373" y="73165"/>
                    </a:moveTo>
                    <a:lnTo>
                      <a:pt x="-1026" y="-2220"/>
                    </a:lnTo>
                    <a:lnTo>
                      <a:pt x="122617" y="4036"/>
                    </a:lnTo>
                    <a:lnTo>
                      <a:pt x="123912" y="73994"/>
                    </a:lnTo>
                    <a:lnTo>
                      <a:pt x="373" y="73165"/>
                    </a:lnTo>
                  </a:path>
                </a:pathLst>
              </a:custGeom>
              <a:solidFill>
                <a:srgbClr val="9FA2A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39" name="Vrije vorm 24">
                <a:extLst>
                  <a:ext uri="{FF2B5EF4-FFF2-40B4-BE49-F238E27FC236}">
                    <a16:creationId xmlns:a16="http://schemas.microsoft.com/office/drawing/2014/main" id="{62FA1DF0-8100-4F33-9A0A-53FEF37D2DFD}"/>
                  </a:ext>
                </a:extLst>
              </p:cNvPr>
              <p:cNvSpPr/>
              <p:nvPr/>
            </p:nvSpPr>
            <p:spPr>
              <a:xfrm flipV="1">
                <a:off x="2418700" y="1726218"/>
                <a:ext cx="92708" cy="100099"/>
              </a:xfrm>
              <a:custGeom>
                <a:avLst/>
                <a:gdLst>
                  <a:gd name="connsiteX0" fmla="*/ 91763 w 92708"/>
                  <a:gd name="connsiteY0" fmla="*/ -3334 h 100099"/>
                  <a:gd name="connsiteX1" fmla="*/ 62943 w 92708"/>
                  <a:gd name="connsiteY1" fmla="*/ 96765 h 100099"/>
                  <a:gd name="connsiteX2" fmla="*/ -946 w 92708"/>
                  <a:gd name="connsiteY2" fmla="*/ 67514 h 100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708" h="100099">
                    <a:moveTo>
                      <a:pt x="91763" y="-3334"/>
                    </a:moveTo>
                    <a:lnTo>
                      <a:pt x="62943" y="96765"/>
                    </a:lnTo>
                    <a:lnTo>
                      <a:pt x="-946" y="67514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0" name="Vrije vorm 25">
                <a:extLst>
                  <a:ext uri="{FF2B5EF4-FFF2-40B4-BE49-F238E27FC236}">
                    <a16:creationId xmlns:a16="http://schemas.microsoft.com/office/drawing/2014/main" id="{F7F76C4D-FF93-4767-90F3-B1A647BADC1E}"/>
                  </a:ext>
                </a:extLst>
              </p:cNvPr>
              <p:cNvSpPr/>
              <p:nvPr/>
            </p:nvSpPr>
            <p:spPr>
              <a:xfrm flipV="1">
                <a:off x="2511409" y="1734918"/>
                <a:ext cx="52302" cy="91398"/>
              </a:xfrm>
              <a:custGeom>
                <a:avLst/>
                <a:gdLst>
                  <a:gd name="connsiteX0" fmla="*/ 7211 w 52302"/>
                  <a:gd name="connsiteY0" fmla="*/ 88069 h 91398"/>
                  <a:gd name="connsiteX1" fmla="*/ -1007 w 52302"/>
                  <a:gd name="connsiteY1" fmla="*/ -3330 h 91398"/>
                  <a:gd name="connsiteX2" fmla="*/ 51296 w 52302"/>
                  <a:gd name="connsiteY2" fmla="*/ 61377 h 91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302" h="91398">
                    <a:moveTo>
                      <a:pt x="7211" y="88069"/>
                    </a:moveTo>
                    <a:lnTo>
                      <a:pt x="-1007" y="-3330"/>
                    </a:lnTo>
                    <a:lnTo>
                      <a:pt x="51296" y="61377"/>
                    </a:lnTo>
                    <a:close/>
                  </a:path>
                </a:pathLst>
              </a:custGeom>
              <a:solidFill>
                <a:srgbClr val="D0BEBB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1" name="Vrije vorm 27">
                <a:extLst>
                  <a:ext uri="{FF2B5EF4-FFF2-40B4-BE49-F238E27FC236}">
                    <a16:creationId xmlns:a16="http://schemas.microsoft.com/office/drawing/2014/main" id="{06628DD0-3069-4B53-A395-AC347DBEA00C}"/>
                  </a:ext>
                </a:extLst>
              </p:cNvPr>
              <p:cNvSpPr/>
              <p:nvPr/>
            </p:nvSpPr>
            <p:spPr>
              <a:xfrm flipV="1">
                <a:off x="2519627" y="1665924"/>
                <a:ext cx="144172" cy="168472"/>
              </a:xfrm>
              <a:custGeom>
                <a:avLst/>
                <a:gdLst>
                  <a:gd name="connsiteX0" fmla="*/ 143120 w 144172"/>
                  <a:gd name="connsiteY0" fmla="*/ 102154 h 168472"/>
                  <a:gd name="connsiteX1" fmla="*/ 64878 w 144172"/>
                  <a:gd name="connsiteY1" fmla="*/ -3363 h 168472"/>
                  <a:gd name="connsiteX2" fmla="*/ -1052 w 144172"/>
                  <a:gd name="connsiteY2" fmla="*/ 96115 h 168472"/>
                  <a:gd name="connsiteX3" fmla="*/ 102621 w 144172"/>
                  <a:gd name="connsiteY3" fmla="*/ 165110 h 168472"/>
                  <a:gd name="connsiteX4" fmla="*/ 143120 w 144172"/>
                  <a:gd name="connsiteY4" fmla="*/ 102154 h 168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172" h="168472">
                    <a:moveTo>
                      <a:pt x="143120" y="102154"/>
                    </a:moveTo>
                    <a:lnTo>
                      <a:pt x="64878" y="-3363"/>
                    </a:lnTo>
                    <a:lnTo>
                      <a:pt x="-1052" y="96115"/>
                    </a:lnTo>
                    <a:lnTo>
                      <a:pt x="102621" y="165110"/>
                    </a:lnTo>
                    <a:lnTo>
                      <a:pt x="143120" y="102154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2" name="Vrije vorm 28">
                <a:extLst>
                  <a:ext uri="{FF2B5EF4-FFF2-40B4-BE49-F238E27FC236}">
                    <a16:creationId xmlns:a16="http://schemas.microsoft.com/office/drawing/2014/main" id="{A15DB351-846F-40B2-B435-50B2035FF694}"/>
                  </a:ext>
                </a:extLst>
              </p:cNvPr>
              <p:cNvSpPr/>
              <p:nvPr/>
            </p:nvSpPr>
            <p:spPr>
              <a:xfrm flipV="1">
                <a:off x="2328137" y="1652013"/>
                <a:ext cx="154451" cy="176572"/>
              </a:xfrm>
              <a:custGeom>
                <a:avLst/>
                <a:gdLst>
                  <a:gd name="connsiteX0" fmla="*/ -896 w 154451"/>
                  <a:gd name="connsiteY0" fmla="*/ 110357 h 176572"/>
                  <a:gd name="connsiteX1" fmla="*/ 98496 w 154451"/>
                  <a:gd name="connsiteY1" fmla="*/ -3374 h 176572"/>
                  <a:gd name="connsiteX2" fmla="*/ 153555 w 154451"/>
                  <a:gd name="connsiteY2" fmla="*/ 98994 h 176572"/>
                  <a:gd name="connsiteX3" fmla="*/ 38994 w 154451"/>
                  <a:gd name="connsiteY3" fmla="*/ 173199 h 176572"/>
                  <a:gd name="connsiteX4" fmla="*/ -896 w 154451"/>
                  <a:gd name="connsiteY4" fmla="*/ 110357 h 176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451" h="176572">
                    <a:moveTo>
                      <a:pt x="-896" y="110357"/>
                    </a:moveTo>
                    <a:lnTo>
                      <a:pt x="98496" y="-3374"/>
                    </a:lnTo>
                    <a:lnTo>
                      <a:pt x="153555" y="98994"/>
                    </a:lnTo>
                    <a:lnTo>
                      <a:pt x="38994" y="173199"/>
                    </a:lnTo>
                    <a:lnTo>
                      <a:pt x="-896" y="110357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3" name="Vrije vorm 29">
                <a:extLst>
                  <a:ext uri="{FF2B5EF4-FFF2-40B4-BE49-F238E27FC236}">
                    <a16:creationId xmlns:a16="http://schemas.microsoft.com/office/drawing/2014/main" id="{D2286379-428D-421F-A76A-6C797901820B}"/>
                  </a:ext>
                </a:extLst>
              </p:cNvPr>
              <p:cNvSpPr/>
              <p:nvPr/>
            </p:nvSpPr>
            <p:spPr>
              <a:xfrm flipV="1">
                <a:off x="1760486" y="2293877"/>
                <a:ext cx="278413" cy="142401"/>
              </a:xfrm>
              <a:custGeom>
                <a:avLst/>
                <a:gdLst>
                  <a:gd name="connsiteX0" fmla="*/ 277940 w 278413"/>
                  <a:gd name="connsiteY0" fmla="*/ 98839 h 142401"/>
                  <a:gd name="connsiteX1" fmla="*/ 38105 w 278413"/>
                  <a:gd name="connsiteY1" fmla="*/ 139712 h 142401"/>
                  <a:gd name="connsiteX2" fmla="*/ -474 w 278413"/>
                  <a:gd name="connsiteY2" fmla="*/ 41870 h 142401"/>
                  <a:gd name="connsiteX3" fmla="*/ 261011 w 278413"/>
                  <a:gd name="connsiteY3" fmla="*/ -2690 h 142401"/>
                  <a:gd name="connsiteX4" fmla="*/ 277940 w 278413"/>
                  <a:gd name="connsiteY4" fmla="*/ 98839 h 142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413" h="142401">
                    <a:moveTo>
                      <a:pt x="277940" y="98839"/>
                    </a:moveTo>
                    <a:lnTo>
                      <a:pt x="38105" y="139712"/>
                    </a:lnTo>
                    <a:lnTo>
                      <a:pt x="-474" y="41870"/>
                    </a:lnTo>
                    <a:lnTo>
                      <a:pt x="261011" y="-2690"/>
                    </a:lnTo>
                    <a:lnTo>
                      <a:pt x="277940" y="98839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4" name="Vrije vorm 30">
                <a:extLst>
                  <a:ext uri="{FF2B5EF4-FFF2-40B4-BE49-F238E27FC236}">
                    <a16:creationId xmlns:a16="http://schemas.microsoft.com/office/drawing/2014/main" id="{8E6B96B3-18CC-46E9-8335-2C5A7C66BA33}"/>
                  </a:ext>
                </a:extLst>
              </p:cNvPr>
              <p:cNvSpPr/>
              <p:nvPr/>
            </p:nvSpPr>
            <p:spPr>
              <a:xfrm flipV="1">
                <a:off x="2159552" y="809544"/>
                <a:ext cx="598842" cy="835969"/>
              </a:xfrm>
              <a:custGeom>
                <a:avLst/>
                <a:gdLst>
                  <a:gd name="connsiteX0" fmla="*/ 267575 w 598842"/>
                  <a:gd name="connsiteY0" fmla="*/ 817833 h 835969"/>
                  <a:gd name="connsiteX1" fmla="*/ 91920 w 598842"/>
                  <a:gd name="connsiteY1" fmla="*/ 652757 h 835969"/>
                  <a:gd name="connsiteX2" fmla="*/ 101094 w 598842"/>
                  <a:gd name="connsiteY2" fmla="*/ 443132 h 835969"/>
                  <a:gd name="connsiteX3" fmla="*/ 27159 w 598842"/>
                  <a:gd name="connsiteY3" fmla="*/ 463289 h 835969"/>
                  <a:gd name="connsiteX4" fmla="*/ 104513 w 598842"/>
                  <a:gd name="connsiteY4" fmla="*/ 260303 h 835969"/>
                  <a:gd name="connsiteX5" fmla="*/ 120759 w 598842"/>
                  <a:gd name="connsiteY5" fmla="*/ 149639 h 835969"/>
                  <a:gd name="connsiteX6" fmla="*/ 364574 w 598842"/>
                  <a:gd name="connsiteY6" fmla="*/ -2334 h 835969"/>
                  <a:gd name="connsiteX7" fmla="*/ 595279 w 598842"/>
                  <a:gd name="connsiteY7" fmla="*/ 173223 h 835969"/>
                  <a:gd name="connsiteX8" fmla="*/ 597901 w 598842"/>
                  <a:gd name="connsiteY8" fmla="*/ 686815 h 835969"/>
                  <a:gd name="connsiteX9" fmla="*/ 267575 w 598842"/>
                  <a:gd name="connsiteY9" fmla="*/ 817833 h 83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8842" h="835969">
                    <a:moveTo>
                      <a:pt x="267575" y="817833"/>
                    </a:moveTo>
                    <a:cubicBezTo>
                      <a:pt x="87087" y="776701"/>
                      <a:pt x="91920" y="652757"/>
                      <a:pt x="91920" y="652757"/>
                    </a:cubicBezTo>
                    <a:cubicBezTo>
                      <a:pt x="91920" y="652757"/>
                      <a:pt x="97531" y="557091"/>
                      <a:pt x="101094" y="443132"/>
                    </a:cubicBezTo>
                    <a:cubicBezTo>
                      <a:pt x="84399" y="466096"/>
                      <a:pt x="56143" y="475688"/>
                      <a:pt x="27159" y="463289"/>
                    </a:cubicBezTo>
                    <a:cubicBezTo>
                      <a:pt x="-34284" y="437011"/>
                      <a:pt x="11107" y="243575"/>
                      <a:pt x="104513" y="260303"/>
                    </a:cubicBezTo>
                    <a:cubicBezTo>
                      <a:pt x="108537" y="206286"/>
                      <a:pt x="113821" y="164202"/>
                      <a:pt x="120759" y="149639"/>
                    </a:cubicBezTo>
                    <a:cubicBezTo>
                      <a:pt x="146974" y="94617"/>
                      <a:pt x="262321" y="10769"/>
                      <a:pt x="364574" y="-2334"/>
                    </a:cubicBezTo>
                    <a:cubicBezTo>
                      <a:pt x="466817" y="-15437"/>
                      <a:pt x="595279" y="52688"/>
                      <a:pt x="595279" y="173223"/>
                    </a:cubicBezTo>
                    <a:cubicBezTo>
                      <a:pt x="595279" y="293770"/>
                      <a:pt x="597901" y="686815"/>
                      <a:pt x="597901" y="686815"/>
                    </a:cubicBezTo>
                    <a:cubicBezTo>
                      <a:pt x="597901" y="686815"/>
                      <a:pt x="566438" y="885968"/>
                      <a:pt x="267575" y="817833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5" name="Vrije vorm 31">
                <a:extLst>
                  <a:ext uri="{FF2B5EF4-FFF2-40B4-BE49-F238E27FC236}">
                    <a16:creationId xmlns:a16="http://schemas.microsoft.com/office/drawing/2014/main" id="{BC7A4B98-8D6D-45C2-975A-2C124C2A931A}"/>
                  </a:ext>
                </a:extLst>
              </p:cNvPr>
              <p:cNvSpPr/>
              <p:nvPr/>
            </p:nvSpPr>
            <p:spPr>
              <a:xfrm flipV="1">
                <a:off x="2594542" y="1172251"/>
                <a:ext cx="94470" cy="227969"/>
              </a:xfrm>
              <a:custGeom>
                <a:avLst/>
                <a:gdLst>
                  <a:gd name="connsiteX0" fmla="*/ -1094 w 94470"/>
                  <a:gd name="connsiteY0" fmla="*/ 224099 h 227969"/>
                  <a:gd name="connsiteX1" fmla="*/ 18492 w 94470"/>
                  <a:gd name="connsiteY1" fmla="*/ 174712 h 227969"/>
                  <a:gd name="connsiteX2" fmla="*/ 28213 w 94470"/>
                  <a:gd name="connsiteY2" fmla="*/ 150205 h 227969"/>
                  <a:gd name="connsiteX3" fmla="*/ 38317 w 94470"/>
                  <a:gd name="connsiteY3" fmla="*/ 125998 h 227969"/>
                  <a:gd name="connsiteX4" fmla="*/ 48908 w 94470"/>
                  <a:gd name="connsiteY4" fmla="*/ 102112 h 227969"/>
                  <a:gd name="connsiteX5" fmla="*/ 60525 w 94470"/>
                  <a:gd name="connsiteY5" fmla="*/ 78942 h 227969"/>
                  <a:gd name="connsiteX6" fmla="*/ 66826 w 94470"/>
                  <a:gd name="connsiteY6" fmla="*/ 67693 h 227969"/>
                  <a:gd name="connsiteX7" fmla="*/ 73562 w 94470"/>
                  <a:gd name="connsiteY7" fmla="*/ 56807 h 227969"/>
                  <a:gd name="connsiteX8" fmla="*/ 80910 w 94470"/>
                  <a:gd name="connsiteY8" fmla="*/ 46428 h 227969"/>
                  <a:gd name="connsiteX9" fmla="*/ 89107 w 94470"/>
                  <a:gd name="connsiteY9" fmla="*/ 36909 h 227969"/>
                  <a:gd name="connsiteX10" fmla="*/ 93377 w 94470"/>
                  <a:gd name="connsiteY10" fmla="*/ 31947 h 227969"/>
                  <a:gd name="connsiteX11" fmla="*/ 89055 w 94470"/>
                  <a:gd name="connsiteY11" fmla="*/ 28664 h 227969"/>
                  <a:gd name="connsiteX12" fmla="*/ 43468 w 94470"/>
                  <a:gd name="connsiteY12" fmla="*/ -3871 h 227969"/>
                  <a:gd name="connsiteX13" fmla="*/ 81780 w 94470"/>
                  <a:gd name="connsiteY13" fmla="*/ 36961 h 227969"/>
                  <a:gd name="connsiteX14" fmla="*/ 81728 w 94470"/>
                  <a:gd name="connsiteY14" fmla="*/ 28716 h 227969"/>
                  <a:gd name="connsiteX15" fmla="*/ 71469 w 94470"/>
                  <a:gd name="connsiteY15" fmla="*/ 38245 h 227969"/>
                  <a:gd name="connsiteX16" fmla="*/ 62484 w 94470"/>
                  <a:gd name="connsiteY16" fmla="*/ 48779 h 227969"/>
                  <a:gd name="connsiteX17" fmla="*/ 54504 w 94470"/>
                  <a:gd name="connsiteY17" fmla="*/ 59935 h 227969"/>
                  <a:gd name="connsiteX18" fmla="*/ 47292 w 94470"/>
                  <a:gd name="connsiteY18" fmla="*/ 71505 h 227969"/>
                  <a:gd name="connsiteX19" fmla="*/ 34680 w 94470"/>
                  <a:gd name="connsiteY19" fmla="*/ 95494 h 227969"/>
                  <a:gd name="connsiteX20" fmla="*/ 24306 w 94470"/>
                  <a:gd name="connsiteY20" fmla="*/ 120343 h 227969"/>
                  <a:gd name="connsiteX21" fmla="*/ 8305 w 94470"/>
                  <a:gd name="connsiteY21" fmla="*/ 171459 h 227969"/>
                  <a:gd name="connsiteX22" fmla="*/ -1094 w 94470"/>
                  <a:gd name="connsiteY22" fmla="*/ 224099 h 227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4470" h="227969">
                    <a:moveTo>
                      <a:pt x="-1094" y="224099"/>
                    </a:moveTo>
                    <a:cubicBezTo>
                      <a:pt x="5652" y="207567"/>
                      <a:pt x="11963" y="191067"/>
                      <a:pt x="18492" y="174712"/>
                    </a:cubicBezTo>
                    <a:cubicBezTo>
                      <a:pt x="21601" y="166477"/>
                      <a:pt x="24969" y="158356"/>
                      <a:pt x="28213" y="150205"/>
                    </a:cubicBezTo>
                    <a:cubicBezTo>
                      <a:pt x="31509" y="142094"/>
                      <a:pt x="34783" y="133963"/>
                      <a:pt x="38317" y="125998"/>
                    </a:cubicBezTo>
                    <a:cubicBezTo>
                      <a:pt x="41571" y="117888"/>
                      <a:pt x="45291" y="110026"/>
                      <a:pt x="48908" y="102112"/>
                    </a:cubicBezTo>
                    <a:cubicBezTo>
                      <a:pt x="52732" y="94354"/>
                      <a:pt x="56235" y="86379"/>
                      <a:pt x="60525" y="78942"/>
                    </a:cubicBezTo>
                    <a:cubicBezTo>
                      <a:pt x="62629" y="75171"/>
                      <a:pt x="64546" y="71297"/>
                      <a:pt x="66826" y="67693"/>
                    </a:cubicBezTo>
                    <a:cubicBezTo>
                      <a:pt x="69085" y="64088"/>
                      <a:pt x="71096" y="60225"/>
                      <a:pt x="73562" y="56807"/>
                    </a:cubicBezTo>
                    <a:lnTo>
                      <a:pt x="80910" y="46428"/>
                    </a:lnTo>
                    <a:lnTo>
                      <a:pt x="89107" y="36909"/>
                    </a:lnTo>
                    <a:lnTo>
                      <a:pt x="93377" y="31947"/>
                    </a:lnTo>
                    <a:lnTo>
                      <a:pt x="89055" y="28664"/>
                    </a:lnTo>
                    <a:cubicBezTo>
                      <a:pt x="74236" y="17384"/>
                      <a:pt x="59271" y="6280"/>
                      <a:pt x="43468" y="-3871"/>
                    </a:cubicBezTo>
                    <a:cubicBezTo>
                      <a:pt x="55634" y="10424"/>
                      <a:pt x="68640" y="23775"/>
                      <a:pt x="81780" y="36961"/>
                    </a:cubicBezTo>
                    <a:lnTo>
                      <a:pt x="81728" y="28716"/>
                    </a:lnTo>
                    <a:lnTo>
                      <a:pt x="71469" y="38245"/>
                    </a:lnTo>
                    <a:cubicBezTo>
                      <a:pt x="68339" y="41643"/>
                      <a:pt x="65427" y="45206"/>
                      <a:pt x="62484" y="48779"/>
                    </a:cubicBezTo>
                    <a:cubicBezTo>
                      <a:pt x="59541" y="52342"/>
                      <a:pt x="57188" y="56216"/>
                      <a:pt x="54504" y="59935"/>
                    </a:cubicBezTo>
                    <a:cubicBezTo>
                      <a:pt x="51768" y="63633"/>
                      <a:pt x="49520" y="67548"/>
                      <a:pt x="47292" y="71505"/>
                    </a:cubicBezTo>
                    <a:cubicBezTo>
                      <a:pt x="42607" y="79315"/>
                      <a:pt x="38701" y="87415"/>
                      <a:pt x="34680" y="95494"/>
                    </a:cubicBezTo>
                    <a:cubicBezTo>
                      <a:pt x="31115" y="103749"/>
                      <a:pt x="27467" y="111963"/>
                      <a:pt x="24306" y="120343"/>
                    </a:cubicBezTo>
                    <a:cubicBezTo>
                      <a:pt x="17974" y="137102"/>
                      <a:pt x="12627" y="154161"/>
                      <a:pt x="8305" y="171459"/>
                    </a:cubicBezTo>
                    <a:cubicBezTo>
                      <a:pt x="4160" y="188809"/>
                      <a:pt x="585" y="206283"/>
                      <a:pt x="-1094" y="224099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6" name="Vrije vorm 32">
                <a:extLst>
                  <a:ext uri="{FF2B5EF4-FFF2-40B4-BE49-F238E27FC236}">
                    <a16:creationId xmlns:a16="http://schemas.microsoft.com/office/drawing/2014/main" id="{41EFEE28-9AA3-46C9-90D6-017DD8399AD3}"/>
                  </a:ext>
                </a:extLst>
              </p:cNvPr>
              <p:cNvSpPr/>
              <p:nvPr/>
            </p:nvSpPr>
            <p:spPr>
              <a:xfrm flipV="1">
                <a:off x="2432794" y="1141716"/>
                <a:ext cx="52292" cy="95138"/>
              </a:xfrm>
              <a:custGeom>
                <a:avLst/>
                <a:gdLst>
                  <a:gd name="connsiteX0" fmla="*/ 51351 w 52292"/>
                  <a:gd name="connsiteY0" fmla="*/ 43598 h 95138"/>
                  <a:gd name="connsiteX1" fmla="*/ 25205 w 52292"/>
                  <a:gd name="connsiteY1" fmla="*/ -3977 h 95138"/>
                  <a:gd name="connsiteX2" fmla="*/ -941 w 52292"/>
                  <a:gd name="connsiteY2" fmla="*/ 43598 h 95138"/>
                  <a:gd name="connsiteX3" fmla="*/ 25205 w 52292"/>
                  <a:gd name="connsiteY3" fmla="*/ 91162 h 95138"/>
                  <a:gd name="connsiteX4" fmla="*/ 51351 w 52292"/>
                  <a:gd name="connsiteY4" fmla="*/ 43598 h 95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292" h="95138">
                    <a:moveTo>
                      <a:pt x="51351" y="43598"/>
                    </a:moveTo>
                    <a:cubicBezTo>
                      <a:pt x="51351" y="17319"/>
                      <a:pt x="39641" y="-3977"/>
                      <a:pt x="25205" y="-3977"/>
                    </a:cubicBezTo>
                    <a:cubicBezTo>
                      <a:pt x="10769" y="-3977"/>
                      <a:pt x="-941" y="17319"/>
                      <a:pt x="-941" y="43598"/>
                    </a:cubicBezTo>
                    <a:cubicBezTo>
                      <a:pt x="-941" y="69876"/>
                      <a:pt x="10769" y="91162"/>
                      <a:pt x="25205" y="91162"/>
                    </a:cubicBezTo>
                    <a:cubicBezTo>
                      <a:pt x="39641" y="91162"/>
                      <a:pt x="51351" y="69876"/>
                      <a:pt x="51351" y="43598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7" name="Vrije vorm 33">
                <a:extLst>
                  <a:ext uri="{FF2B5EF4-FFF2-40B4-BE49-F238E27FC236}">
                    <a16:creationId xmlns:a16="http://schemas.microsoft.com/office/drawing/2014/main" id="{44FE5DD5-8E0F-4ADC-A700-85DC96F3DDA6}"/>
                  </a:ext>
                </a:extLst>
              </p:cNvPr>
              <p:cNvSpPr/>
              <p:nvPr/>
            </p:nvSpPr>
            <p:spPr>
              <a:xfrm flipV="1">
                <a:off x="2653011" y="1152188"/>
                <a:ext cx="52292" cy="95148"/>
              </a:xfrm>
              <a:custGeom>
                <a:avLst/>
                <a:gdLst>
                  <a:gd name="connsiteX0" fmla="*/ 51167 w 52292"/>
                  <a:gd name="connsiteY0" fmla="*/ 43609 h 95148"/>
                  <a:gd name="connsiteX1" fmla="*/ 25021 w 52292"/>
                  <a:gd name="connsiteY1" fmla="*/ -3965 h 95148"/>
                  <a:gd name="connsiteX2" fmla="*/ -1125 w 52292"/>
                  <a:gd name="connsiteY2" fmla="*/ 43609 h 95148"/>
                  <a:gd name="connsiteX3" fmla="*/ 25021 w 52292"/>
                  <a:gd name="connsiteY3" fmla="*/ 91183 h 95148"/>
                  <a:gd name="connsiteX4" fmla="*/ 51167 w 52292"/>
                  <a:gd name="connsiteY4" fmla="*/ 43609 h 95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292" h="95148">
                    <a:moveTo>
                      <a:pt x="51167" y="43609"/>
                    </a:moveTo>
                    <a:cubicBezTo>
                      <a:pt x="51167" y="17331"/>
                      <a:pt x="39467" y="-3965"/>
                      <a:pt x="25021" y="-3965"/>
                    </a:cubicBezTo>
                    <a:cubicBezTo>
                      <a:pt x="10585" y="-3965"/>
                      <a:pt x="-1125" y="17331"/>
                      <a:pt x="-1125" y="43609"/>
                    </a:cubicBezTo>
                    <a:cubicBezTo>
                      <a:pt x="-1125" y="69877"/>
                      <a:pt x="10585" y="91183"/>
                      <a:pt x="25021" y="91183"/>
                    </a:cubicBezTo>
                    <a:cubicBezTo>
                      <a:pt x="39467" y="91183"/>
                      <a:pt x="51167" y="69877"/>
                      <a:pt x="51167" y="43609"/>
                    </a:cubicBezTo>
                  </a:path>
                </a:pathLst>
              </a:custGeom>
              <a:solidFill>
                <a:srgbClr val="1A1B21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8" name="Vrije vorm 34">
                <a:extLst>
                  <a:ext uri="{FF2B5EF4-FFF2-40B4-BE49-F238E27FC236}">
                    <a16:creationId xmlns:a16="http://schemas.microsoft.com/office/drawing/2014/main" id="{8F776DE0-16E7-40AB-A85E-ACC2C794AFA2}"/>
                  </a:ext>
                </a:extLst>
              </p:cNvPr>
              <p:cNvSpPr/>
              <p:nvPr/>
            </p:nvSpPr>
            <p:spPr>
              <a:xfrm flipV="1">
                <a:off x="2386118" y="1044630"/>
                <a:ext cx="141571" cy="56875"/>
              </a:xfrm>
              <a:custGeom>
                <a:avLst/>
                <a:gdLst>
                  <a:gd name="connsiteX0" fmla="*/ 140632 w 141571"/>
                  <a:gd name="connsiteY0" fmla="*/ 16861 h 56875"/>
                  <a:gd name="connsiteX1" fmla="*/ 133129 w 141571"/>
                  <a:gd name="connsiteY1" fmla="*/ 17327 h 56875"/>
                  <a:gd name="connsiteX2" fmla="*/ 114651 w 141571"/>
                  <a:gd name="connsiteY2" fmla="*/ 18922 h 56875"/>
                  <a:gd name="connsiteX3" fmla="*/ 90402 w 141571"/>
                  <a:gd name="connsiteY3" fmla="*/ 20942 h 56875"/>
                  <a:gd name="connsiteX4" fmla="*/ 83956 w 141571"/>
                  <a:gd name="connsiteY4" fmla="*/ 21398 h 56875"/>
                  <a:gd name="connsiteX5" fmla="*/ 77499 w 141571"/>
                  <a:gd name="connsiteY5" fmla="*/ 21511 h 56875"/>
                  <a:gd name="connsiteX6" fmla="*/ 64722 w 141571"/>
                  <a:gd name="connsiteY6" fmla="*/ 21388 h 56875"/>
                  <a:gd name="connsiteX7" fmla="*/ 52545 w 141571"/>
                  <a:gd name="connsiteY7" fmla="*/ 20031 h 56875"/>
                  <a:gd name="connsiteX8" fmla="*/ 41114 w 141571"/>
                  <a:gd name="connsiteY8" fmla="*/ 17472 h 56875"/>
                  <a:gd name="connsiteX9" fmla="*/ 35570 w 141571"/>
                  <a:gd name="connsiteY9" fmla="*/ 15970 h 56875"/>
                  <a:gd name="connsiteX10" fmla="*/ 30471 w 141571"/>
                  <a:gd name="connsiteY10" fmla="*/ 13764 h 56875"/>
                  <a:gd name="connsiteX11" fmla="*/ 20751 w 141571"/>
                  <a:gd name="connsiteY11" fmla="*/ 9175 h 56875"/>
                  <a:gd name="connsiteX12" fmla="*/ 12097 w 141571"/>
                  <a:gd name="connsiteY12" fmla="*/ 4442 h 56875"/>
                  <a:gd name="connsiteX13" fmla="*/ 5537 w 141571"/>
                  <a:gd name="connsiteY13" fmla="*/ -116 h 56875"/>
                  <a:gd name="connsiteX14" fmla="*/ -939 w 141571"/>
                  <a:gd name="connsiteY14" fmla="*/ -4104 h 56875"/>
                  <a:gd name="connsiteX15" fmla="*/ 325 w 141571"/>
                  <a:gd name="connsiteY15" fmla="*/ 3354 h 56875"/>
                  <a:gd name="connsiteX16" fmla="*/ 2657 w 141571"/>
                  <a:gd name="connsiteY16" fmla="*/ 11910 h 56875"/>
                  <a:gd name="connsiteX17" fmla="*/ 7994 w 141571"/>
                  <a:gd name="connsiteY17" fmla="*/ 22195 h 56875"/>
                  <a:gd name="connsiteX18" fmla="*/ 11755 w 141571"/>
                  <a:gd name="connsiteY18" fmla="*/ 27861 h 56875"/>
                  <a:gd name="connsiteX19" fmla="*/ 16854 w 141571"/>
                  <a:gd name="connsiteY19" fmla="*/ 33133 h 56875"/>
                  <a:gd name="connsiteX20" fmla="*/ 22647 w 141571"/>
                  <a:gd name="connsiteY20" fmla="*/ 38499 h 56875"/>
                  <a:gd name="connsiteX21" fmla="*/ 29653 w 141571"/>
                  <a:gd name="connsiteY21" fmla="*/ 42891 h 56875"/>
                  <a:gd name="connsiteX22" fmla="*/ 45602 w 141571"/>
                  <a:gd name="connsiteY22" fmla="*/ 49727 h 56875"/>
                  <a:gd name="connsiteX23" fmla="*/ 63012 w 141571"/>
                  <a:gd name="connsiteY23" fmla="*/ 52772 h 56875"/>
                  <a:gd name="connsiteX24" fmla="*/ 80173 w 141571"/>
                  <a:gd name="connsiteY24" fmla="*/ 51850 h 56875"/>
                  <a:gd name="connsiteX25" fmla="*/ 95956 w 141571"/>
                  <a:gd name="connsiteY25" fmla="*/ 48183 h 56875"/>
                  <a:gd name="connsiteX26" fmla="*/ 121077 w 141571"/>
                  <a:gd name="connsiteY26" fmla="*/ 35878 h 56875"/>
                  <a:gd name="connsiteX27" fmla="*/ 135927 w 141571"/>
                  <a:gd name="connsiteY27" fmla="*/ 22879 h 56875"/>
                  <a:gd name="connsiteX28" fmla="*/ 140632 w 141571"/>
                  <a:gd name="connsiteY28" fmla="*/ 16861 h 56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41571" h="56875">
                    <a:moveTo>
                      <a:pt x="140632" y="16861"/>
                    </a:moveTo>
                    <a:cubicBezTo>
                      <a:pt x="140632" y="16861"/>
                      <a:pt x="137761" y="16985"/>
                      <a:pt x="133129" y="17327"/>
                    </a:cubicBezTo>
                    <a:cubicBezTo>
                      <a:pt x="128673" y="17710"/>
                      <a:pt x="122299" y="18259"/>
                      <a:pt x="114651" y="18922"/>
                    </a:cubicBezTo>
                    <a:cubicBezTo>
                      <a:pt x="107252" y="19533"/>
                      <a:pt x="98951" y="20486"/>
                      <a:pt x="90402" y="20942"/>
                    </a:cubicBezTo>
                    <a:cubicBezTo>
                      <a:pt x="88287" y="21097"/>
                      <a:pt x="86132" y="21253"/>
                      <a:pt x="83956" y="21398"/>
                    </a:cubicBezTo>
                    <a:cubicBezTo>
                      <a:pt x="81810" y="21377"/>
                      <a:pt x="79655" y="21388"/>
                      <a:pt x="77499" y="21511"/>
                    </a:cubicBezTo>
                    <a:cubicBezTo>
                      <a:pt x="73147" y="21885"/>
                      <a:pt x="68991" y="21253"/>
                      <a:pt x="64722" y="21388"/>
                    </a:cubicBezTo>
                    <a:cubicBezTo>
                      <a:pt x="60670" y="20838"/>
                      <a:pt x="56421" y="20828"/>
                      <a:pt x="52545" y="20031"/>
                    </a:cubicBezTo>
                    <a:cubicBezTo>
                      <a:pt x="48711" y="19109"/>
                      <a:pt x="44627" y="18901"/>
                      <a:pt x="41114" y="17472"/>
                    </a:cubicBezTo>
                    <a:cubicBezTo>
                      <a:pt x="39270" y="16965"/>
                      <a:pt x="37466" y="16364"/>
                      <a:pt x="35570" y="15970"/>
                    </a:cubicBezTo>
                    <a:cubicBezTo>
                      <a:pt x="33798" y="15349"/>
                      <a:pt x="32212" y="14417"/>
                      <a:pt x="30471" y="13764"/>
                    </a:cubicBezTo>
                    <a:cubicBezTo>
                      <a:pt x="26989" y="12459"/>
                      <a:pt x="23569" y="11102"/>
                      <a:pt x="20751" y="9175"/>
                    </a:cubicBezTo>
                    <a:cubicBezTo>
                      <a:pt x="17828" y="7394"/>
                      <a:pt x="14595" y="6099"/>
                      <a:pt x="12097" y="4442"/>
                    </a:cubicBezTo>
                    <a:cubicBezTo>
                      <a:pt x="9786" y="2629"/>
                      <a:pt x="7434" y="1169"/>
                      <a:pt x="5537" y="-116"/>
                    </a:cubicBezTo>
                    <a:cubicBezTo>
                      <a:pt x="1682" y="-2664"/>
                      <a:pt x="-939" y="-4104"/>
                      <a:pt x="-939" y="-4104"/>
                    </a:cubicBezTo>
                    <a:cubicBezTo>
                      <a:pt x="-939" y="-4104"/>
                      <a:pt x="-753" y="-1379"/>
                      <a:pt x="325" y="3354"/>
                    </a:cubicBezTo>
                    <a:cubicBezTo>
                      <a:pt x="884" y="5705"/>
                      <a:pt x="1537" y="8668"/>
                      <a:pt x="2657" y="11910"/>
                    </a:cubicBezTo>
                    <a:cubicBezTo>
                      <a:pt x="3807" y="15141"/>
                      <a:pt x="5807" y="18456"/>
                      <a:pt x="7994" y="22195"/>
                    </a:cubicBezTo>
                    <a:cubicBezTo>
                      <a:pt x="9154" y="24019"/>
                      <a:pt x="10263" y="26049"/>
                      <a:pt x="11755" y="27861"/>
                    </a:cubicBezTo>
                    <a:cubicBezTo>
                      <a:pt x="13393" y="29560"/>
                      <a:pt x="15103" y="31321"/>
                      <a:pt x="16854" y="33133"/>
                    </a:cubicBezTo>
                    <a:cubicBezTo>
                      <a:pt x="18657" y="34925"/>
                      <a:pt x="20564" y="36790"/>
                      <a:pt x="22647" y="38499"/>
                    </a:cubicBezTo>
                    <a:cubicBezTo>
                      <a:pt x="24844" y="40021"/>
                      <a:pt x="27238" y="41399"/>
                      <a:pt x="29653" y="42891"/>
                    </a:cubicBezTo>
                    <a:cubicBezTo>
                      <a:pt x="34420" y="46122"/>
                      <a:pt x="39943" y="47914"/>
                      <a:pt x="45602" y="49727"/>
                    </a:cubicBezTo>
                    <a:cubicBezTo>
                      <a:pt x="51229" y="51664"/>
                      <a:pt x="57157" y="51944"/>
                      <a:pt x="63012" y="52772"/>
                    </a:cubicBezTo>
                    <a:cubicBezTo>
                      <a:pt x="68763" y="52555"/>
                      <a:pt x="74722" y="53031"/>
                      <a:pt x="80173" y="51850"/>
                    </a:cubicBezTo>
                    <a:cubicBezTo>
                      <a:pt x="85728" y="51115"/>
                      <a:pt x="91054" y="49903"/>
                      <a:pt x="95956" y="48183"/>
                    </a:cubicBezTo>
                    <a:cubicBezTo>
                      <a:pt x="105915" y="45087"/>
                      <a:pt x="114351" y="40436"/>
                      <a:pt x="121077" y="35878"/>
                    </a:cubicBezTo>
                    <a:cubicBezTo>
                      <a:pt x="127740" y="31134"/>
                      <a:pt x="132756" y="26535"/>
                      <a:pt x="135927" y="22879"/>
                    </a:cubicBezTo>
                    <a:cubicBezTo>
                      <a:pt x="139181" y="19316"/>
                      <a:pt x="140632" y="16861"/>
                      <a:pt x="140632" y="16861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49" name="Vrije vorm 35">
                <a:extLst>
                  <a:ext uri="{FF2B5EF4-FFF2-40B4-BE49-F238E27FC236}">
                    <a16:creationId xmlns:a16="http://schemas.microsoft.com/office/drawing/2014/main" id="{16B0CA3D-4312-44D4-8F81-D0D7B3B0FB9F}"/>
                  </a:ext>
                </a:extLst>
              </p:cNvPr>
              <p:cNvSpPr/>
              <p:nvPr/>
            </p:nvSpPr>
            <p:spPr>
              <a:xfrm flipV="1">
                <a:off x="2635176" y="1046384"/>
                <a:ext cx="112751" cy="55122"/>
              </a:xfrm>
              <a:custGeom>
                <a:avLst/>
                <a:gdLst>
                  <a:gd name="connsiteX0" fmla="*/ -1136 w 112751"/>
                  <a:gd name="connsiteY0" fmla="*/ 16862 h 55122"/>
                  <a:gd name="connsiteX1" fmla="*/ 2212 w 112751"/>
                  <a:gd name="connsiteY1" fmla="*/ 22434 h 55122"/>
                  <a:gd name="connsiteX2" fmla="*/ 13621 w 112751"/>
                  <a:gd name="connsiteY2" fmla="*/ 34760 h 55122"/>
                  <a:gd name="connsiteX3" fmla="*/ 34451 w 112751"/>
                  <a:gd name="connsiteY3" fmla="*/ 46807 h 55122"/>
                  <a:gd name="connsiteX4" fmla="*/ 63448 w 112751"/>
                  <a:gd name="connsiteY4" fmla="*/ 50764 h 55122"/>
                  <a:gd name="connsiteX5" fmla="*/ 78723 w 112751"/>
                  <a:gd name="connsiteY5" fmla="*/ 46869 h 55122"/>
                  <a:gd name="connsiteX6" fmla="*/ 91874 w 112751"/>
                  <a:gd name="connsiteY6" fmla="*/ 39194 h 55122"/>
                  <a:gd name="connsiteX7" fmla="*/ 101387 w 112751"/>
                  <a:gd name="connsiteY7" fmla="*/ 29219 h 55122"/>
                  <a:gd name="connsiteX8" fmla="*/ 107201 w 112751"/>
                  <a:gd name="connsiteY8" fmla="*/ 18892 h 55122"/>
                  <a:gd name="connsiteX9" fmla="*/ 110268 w 112751"/>
                  <a:gd name="connsiteY9" fmla="*/ 9674 h 55122"/>
                  <a:gd name="connsiteX10" fmla="*/ 111315 w 112751"/>
                  <a:gd name="connsiteY10" fmla="*/ 2299 h 55122"/>
                  <a:gd name="connsiteX11" fmla="*/ 111595 w 112751"/>
                  <a:gd name="connsiteY11" fmla="*/ -4103 h 55122"/>
                  <a:gd name="connsiteX12" fmla="*/ 106372 w 112751"/>
                  <a:gd name="connsiteY12" fmla="*/ -280 h 55122"/>
                  <a:gd name="connsiteX13" fmla="*/ 101097 w 112751"/>
                  <a:gd name="connsiteY13" fmla="*/ 4080 h 55122"/>
                  <a:gd name="connsiteX14" fmla="*/ 94299 w 112751"/>
                  <a:gd name="connsiteY14" fmla="*/ 8990 h 55122"/>
                  <a:gd name="connsiteX15" fmla="*/ 86713 w 112751"/>
                  <a:gd name="connsiteY15" fmla="*/ 14014 h 55122"/>
                  <a:gd name="connsiteX16" fmla="*/ 78464 w 112751"/>
                  <a:gd name="connsiteY16" fmla="*/ 18229 h 55122"/>
                  <a:gd name="connsiteX17" fmla="*/ 74215 w 112751"/>
                  <a:gd name="connsiteY17" fmla="*/ 19979 h 55122"/>
                  <a:gd name="connsiteX18" fmla="*/ 69759 w 112751"/>
                  <a:gd name="connsiteY18" fmla="*/ 21160 h 55122"/>
                  <a:gd name="connsiteX19" fmla="*/ 60546 w 112751"/>
                  <a:gd name="connsiteY19" fmla="*/ 22869 h 55122"/>
                  <a:gd name="connsiteX20" fmla="*/ 50680 w 112751"/>
                  <a:gd name="connsiteY20" fmla="*/ 23336 h 55122"/>
                  <a:gd name="connsiteX21" fmla="*/ 40400 w 112751"/>
                  <a:gd name="connsiteY21" fmla="*/ 22714 h 55122"/>
                  <a:gd name="connsiteX22" fmla="*/ 20575 w 112751"/>
                  <a:gd name="connsiteY22" fmla="*/ 20145 h 55122"/>
                  <a:gd name="connsiteX23" fmla="*/ 5175 w 112751"/>
                  <a:gd name="connsiteY23" fmla="*/ 17742 h 55122"/>
                  <a:gd name="connsiteX24" fmla="*/ -1136 w 112751"/>
                  <a:gd name="connsiteY24" fmla="*/ 16862 h 5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12751" h="55122">
                    <a:moveTo>
                      <a:pt x="-1136" y="16862"/>
                    </a:moveTo>
                    <a:cubicBezTo>
                      <a:pt x="-1136" y="16862"/>
                      <a:pt x="-193" y="19099"/>
                      <a:pt x="2212" y="22434"/>
                    </a:cubicBezTo>
                    <a:cubicBezTo>
                      <a:pt x="4523" y="25842"/>
                      <a:pt x="8336" y="30193"/>
                      <a:pt x="13621" y="34760"/>
                    </a:cubicBezTo>
                    <a:cubicBezTo>
                      <a:pt x="19010" y="39121"/>
                      <a:pt x="25891" y="43761"/>
                      <a:pt x="34451" y="46807"/>
                    </a:cubicBezTo>
                    <a:cubicBezTo>
                      <a:pt x="42825" y="50153"/>
                      <a:pt x="53053" y="51665"/>
                      <a:pt x="63448" y="50764"/>
                    </a:cubicBezTo>
                    <a:cubicBezTo>
                      <a:pt x="68660" y="49935"/>
                      <a:pt x="73904" y="49210"/>
                      <a:pt x="78723" y="46869"/>
                    </a:cubicBezTo>
                    <a:cubicBezTo>
                      <a:pt x="83749" y="45222"/>
                      <a:pt x="87977" y="42198"/>
                      <a:pt x="91874" y="39194"/>
                    </a:cubicBezTo>
                    <a:cubicBezTo>
                      <a:pt x="96060" y="36521"/>
                      <a:pt x="98579" y="32461"/>
                      <a:pt x="101387" y="29219"/>
                    </a:cubicBezTo>
                    <a:cubicBezTo>
                      <a:pt x="104289" y="25987"/>
                      <a:pt x="105646" y="22145"/>
                      <a:pt x="107201" y="18892"/>
                    </a:cubicBezTo>
                    <a:cubicBezTo>
                      <a:pt x="108600" y="15567"/>
                      <a:pt x="109926" y="12615"/>
                      <a:pt x="110268" y="9674"/>
                    </a:cubicBezTo>
                    <a:cubicBezTo>
                      <a:pt x="110859" y="6867"/>
                      <a:pt x="111087" y="4329"/>
                      <a:pt x="111315" y="2299"/>
                    </a:cubicBezTo>
                    <a:cubicBezTo>
                      <a:pt x="111730" y="-1762"/>
                      <a:pt x="111595" y="-4103"/>
                      <a:pt x="111595" y="-4103"/>
                    </a:cubicBezTo>
                    <a:cubicBezTo>
                      <a:pt x="111595" y="-4103"/>
                      <a:pt x="109460" y="-2715"/>
                      <a:pt x="106372" y="-280"/>
                    </a:cubicBezTo>
                    <a:cubicBezTo>
                      <a:pt x="104838" y="952"/>
                      <a:pt x="102942" y="2361"/>
                      <a:pt x="101097" y="4080"/>
                    </a:cubicBezTo>
                    <a:cubicBezTo>
                      <a:pt x="99325" y="5893"/>
                      <a:pt x="96641" y="7239"/>
                      <a:pt x="94299" y="8990"/>
                    </a:cubicBezTo>
                    <a:cubicBezTo>
                      <a:pt x="91822" y="10606"/>
                      <a:pt x="89646" y="12812"/>
                      <a:pt x="86713" y="14014"/>
                    </a:cubicBezTo>
                    <a:cubicBezTo>
                      <a:pt x="83884" y="15308"/>
                      <a:pt x="81531" y="17463"/>
                      <a:pt x="78464" y="18229"/>
                    </a:cubicBezTo>
                    <a:cubicBezTo>
                      <a:pt x="76992" y="18726"/>
                      <a:pt x="75603" y="19358"/>
                      <a:pt x="74215" y="19979"/>
                    </a:cubicBezTo>
                    <a:cubicBezTo>
                      <a:pt x="72826" y="20632"/>
                      <a:pt x="71189" y="20663"/>
                      <a:pt x="69759" y="21160"/>
                    </a:cubicBezTo>
                    <a:cubicBezTo>
                      <a:pt x="66878" y="22175"/>
                      <a:pt x="63686" y="22404"/>
                      <a:pt x="60546" y="22869"/>
                    </a:cubicBezTo>
                    <a:cubicBezTo>
                      <a:pt x="57375" y="23274"/>
                      <a:pt x="54027" y="23253"/>
                      <a:pt x="50680" y="23336"/>
                    </a:cubicBezTo>
                    <a:cubicBezTo>
                      <a:pt x="47271" y="23097"/>
                      <a:pt x="43851" y="23201"/>
                      <a:pt x="40400" y="22714"/>
                    </a:cubicBezTo>
                    <a:cubicBezTo>
                      <a:pt x="33498" y="22217"/>
                      <a:pt x="26700" y="20995"/>
                      <a:pt x="20575" y="20145"/>
                    </a:cubicBezTo>
                    <a:cubicBezTo>
                      <a:pt x="14202" y="19151"/>
                      <a:pt x="8896" y="18323"/>
                      <a:pt x="5175" y="17742"/>
                    </a:cubicBezTo>
                    <a:cubicBezTo>
                      <a:pt x="1154" y="17183"/>
                      <a:pt x="-1136" y="16862"/>
                      <a:pt x="-1136" y="16862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0" name="Vrije vorm 36">
                <a:extLst>
                  <a:ext uri="{FF2B5EF4-FFF2-40B4-BE49-F238E27FC236}">
                    <a16:creationId xmlns:a16="http://schemas.microsoft.com/office/drawing/2014/main" id="{87CCFB0E-4D91-4769-8EE7-379DD527047B}"/>
                  </a:ext>
                </a:extLst>
              </p:cNvPr>
              <p:cNvSpPr/>
              <p:nvPr/>
            </p:nvSpPr>
            <p:spPr>
              <a:xfrm flipV="1">
                <a:off x="2424130" y="1425111"/>
                <a:ext cx="249058" cy="60672"/>
              </a:xfrm>
              <a:custGeom>
                <a:avLst/>
                <a:gdLst>
                  <a:gd name="connsiteX0" fmla="*/ -1016 w 249058"/>
                  <a:gd name="connsiteY0" fmla="*/ 56987 h 60672"/>
                  <a:gd name="connsiteX1" fmla="*/ 248042 w 249058"/>
                  <a:gd name="connsiteY1" fmla="*/ 43884 h 60672"/>
                  <a:gd name="connsiteX2" fmla="*/ -1016 w 249058"/>
                  <a:gd name="connsiteY2" fmla="*/ 56987 h 60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9058" h="60672">
                    <a:moveTo>
                      <a:pt x="-1016" y="56987"/>
                    </a:moveTo>
                    <a:lnTo>
                      <a:pt x="248042" y="43884"/>
                    </a:lnTo>
                    <a:cubicBezTo>
                      <a:pt x="248042" y="43884"/>
                      <a:pt x="187749" y="-71410"/>
                      <a:pt x="-1016" y="56987"/>
                    </a:cubicBezTo>
                  </a:path>
                </a:pathLst>
              </a:custGeom>
              <a:solidFill>
                <a:srgbClr val="FFFFF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1" name="Vrije vorm 38">
                <a:extLst>
                  <a:ext uri="{FF2B5EF4-FFF2-40B4-BE49-F238E27FC236}">
                    <a16:creationId xmlns:a16="http://schemas.microsoft.com/office/drawing/2014/main" id="{76720961-20FE-4723-ACBA-34D651C2929D}"/>
                  </a:ext>
                </a:extLst>
              </p:cNvPr>
              <p:cNvSpPr/>
              <p:nvPr/>
            </p:nvSpPr>
            <p:spPr>
              <a:xfrm flipV="1">
                <a:off x="2181014" y="1208559"/>
                <a:ext cx="76642" cy="142201"/>
              </a:xfrm>
              <a:custGeom>
                <a:avLst/>
                <a:gdLst>
                  <a:gd name="connsiteX0" fmla="*/ 14224 w 76642"/>
                  <a:gd name="connsiteY0" fmla="*/ 135292 h 142201"/>
                  <a:gd name="connsiteX1" fmla="*/ 75902 w 76642"/>
                  <a:gd name="connsiteY1" fmla="*/ 44929 h 142201"/>
                  <a:gd name="connsiteX2" fmla="*/ 59858 w 76642"/>
                  <a:gd name="connsiteY2" fmla="*/ -3226 h 142201"/>
                  <a:gd name="connsiteX3" fmla="*/ 14224 w 76642"/>
                  <a:gd name="connsiteY3" fmla="*/ 135292 h 142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642" h="142201">
                    <a:moveTo>
                      <a:pt x="14224" y="135292"/>
                    </a:moveTo>
                    <a:cubicBezTo>
                      <a:pt x="46249" y="151512"/>
                      <a:pt x="74590" y="99950"/>
                      <a:pt x="75902" y="44929"/>
                    </a:cubicBezTo>
                    <a:cubicBezTo>
                      <a:pt x="49686" y="48854"/>
                      <a:pt x="45253" y="18350"/>
                      <a:pt x="59858" y="-3226"/>
                    </a:cubicBezTo>
                    <a:cubicBezTo>
                      <a:pt x="7832" y="-14257"/>
                      <a:pt x="-19760" y="118097"/>
                      <a:pt x="14224" y="135292"/>
                    </a:cubicBezTo>
                  </a:path>
                </a:pathLst>
              </a:custGeom>
              <a:solidFill>
                <a:srgbClr val="CF8D7C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2" name="Vrije vorm 39">
                <a:extLst>
                  <a:ext uri="{FF2B5EF4-FFF2-40B4-BE49-F238E27FC236}">
                    <a16:creationId xmlns:a16="http://schemas.microsoft.com/office/drawing/2014/main" id="{5D2C61A8-AB0C-4AA6-AA95-0CDF431F9B1E}"/>
                  </a:ext>
                </a:extLst>
              </p:cNvPr>
              <p:cNvSpPr/>
              <p:nvPr/>
            </p:nvSpPr>
            <p:spPr>
              <a:xfrm flipV="1">
                <a:off x="2182806" y="2497769"/>
                <a:ext cx="154403" cy="269745"/>
              </a:xfrm>
              <a:custGeom>
                <a:avLst/>
                <a:gdLst>
                  <a:gd name="connsiteX0" fmla="*/ -775 w 154403"/>
                  <a:gd name="connsiteY0" fmla="*/ 17911 h 269745"/>
                  <a:gd name="connsiteX1" fmla="*/ 79641 w 154403"/>
                  <a:gd name="connsiteY1" fmla="*/ 130016 h 269745"/>
                  <a:gd name="connsiteX2" fmla="*/ 92336 w 154403"/>
                  <a:gd name="connsiteY2" fmla="*/ 174431 h 269745"/>
                  <a:gd name="connsiteX3" fmla="*/ 79641 w 154403"/>
                  <a:gd name="connsiteY3" fmla="*/ 204044 h 269745"/>
                  <a:gd name="connsiteX4" fmla="*/ 22502 w 154403"/>
                  <a:gd name="connsiteY4" fmla="*/ 201931 h 269745"/>
                  <a:gd name="connsiteX5" fmla="*/ 3455 w 154403"/>
                  <a:gd name="connsiteY5" fmla="*/ 79251 h 269745"/>
                  <a:gd name="connsiteX6" fmla="*/ -775 w 154403"/>
                  <a:gd name="connsiteY6" fmla="*/ 17911 h 269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403" h="269745">
                    <a:moveTo>
                      <a:pt x="-775" y="17911"/>
                    </a:moveTo>
                    <a:cubicBezTo>
                      <a:pt x="-775" y="17911"/>
                      <a:pt x="121963" y="-73043"/>
                      <a:pt x="79641" y="130016"/>
                    </a:cubicBezTo>
                    <a:cubicBezTo>
                      <a:pt x="79641" y="130016"/>
                      <a:pt x="229896" y="172318"/>
                      <a:pt x="92336" y="174431"/>
                    </a:cubicBezTo>
                    <a:cubicBezTo>
                      <a:pt x="92336" y="174431"/>
                      <a:pt x="238352" y="244233"/>
                      <a:pt x="79641" y="204044"/>
                    </a:cubicBezTo>
                    <a:cubicBezTo>
                      <a:pt x="79641" y="204044"/>
                      <a:pt x="189687" y="347875"/>
                      <a:pt x="22502" y="201931"/>
                    </a:cubicBezTo>
                    <a:cubicBezTo>
                      <a:pt x="22502" y="201931"/>
                      <a:pt x="-10652" y="168786"/>
                      <a:pt x="3455" y="79251"/>
                    </a:cubicBezTo>
                    <a:lnTo>
                      <a:pt x="-775" y="17911"/>
                    </a:ln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3" name="Vrije vorm 40">
                <a:extLst>
                  <a:ext uri="{FF2B5EF4-FFF2-40B4-BE49-F238E27FC236}">
                    <a16:creationId xmlns:a16="http://schemas.microsoft.com/office/drawing/2014/main" id="{6D0C162A-EB17-44BB-A395-5BC6EE434ED6}"/>
                  </a:ext>
                </a:extLst>
              </p:cNvPr>
              <p:cNvSpPr/>
              <p:nvPr/>
            </p:nvSpPr>
            <p:spPr>
              <a:xfrm flipV="1">
                <a:off x="2843072" y="1764936"/>
                <a:ext cx="245482" cy="692494"/>
              </a:xfrm>
              <a:custGeom>
                <a:avLst/>
                <a:gdLst>
                  <a:gd name="connsiteX0" fmla="*/ 50730 w 245482"/>
                  <a:gd name="connsiteY0" fmla="*/ 689526 h 692494"/>
                  <a:gd name="connsiteX1" fmla="*/ 244118 w 245482"/>
                  <a:gd name="connsiteY1" fmla="*/ 56259 h 692494"/>
                  <a:gd name="connsiteX2" fmla="*/ 83281 w 245482"/>
                  <a:gd name="connsiteY2" fmla="*/ -2968 h 692494"/>
                  <a:gd name="connsiteX3" fmla="*/ -1365 w 245482"/>
                  <a:gd name="connsiteY3" fmla="*/ 208553 h 692494"/>
                  <a:gd name="connsiteX4" fmla="*/ 50730 w 245482"/>
                  <a:gd name="connsiteY4" fmla="*/ 689526 h 692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482" h="692494">
                    <a:moveTo>
                      <a:pt x="50730" y="689526"/>
                    </a:moveTo>
                    <a:lnTo>
                      <a:pt x="244118" y="56259"/>
                    </a:lnTo>
                    <a:lnTo>
                      <a:pt x="83281" y="-2968"/>
                    </a:lnTo>
                    <a:lnTo>
                      <a:pt x="-1365" y="208553"/>
                    </a:lnTo>
                    <a:lnTo>
                      <a:pt x="50730" y="689526"/>
                    </a:lnTo>
                  </a:path>
                </a:pathLst>
              </a:custGeom>
              <a:solidFill>
                <a:srgbClr val="E1F5F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4" name="Vrije vorm 41">
                <a:extLst>
                  <a:ext uri="{FF2B5EF4-FFF2-40B4-BE49-F238E27FC236}">
                    <a16:creationId xmlns:a16="http://schemas.microsoft.com/office/drawing/2014/main" id="{EFC5AB8E-D7A5-4835-8995-26E50576140C}"/>
                  </a:ext>
                </a:extLst>
              </p:cNvPr>
              <p:cNvSpPr/>
              <p:nvPr/>
            </p:nvSpPr>
            <p:spPr>
              <a:xfrm flipV="1">
                <a:off x="2897707" y="2335703"/>
                <a:ext cx="225616" cy="167592"/>
              </a:xfrm>
              <a:custGeom>
                <a:avLst/>
                <a:gdLst>
                  <a:gd name="connsiteX0" fmla="*/ 186710 w 225616"/>
                  <a:gd name="connsiteY0" fmla="*/ 164962 h 167592"/>
                  <a:gd name="connsiteX1" fmla="*/ -1402 w 225616"/>
                  <a:gd name="connsiteY1" fmla="*/ 87349 h 167592"/>
                  <a:gd name="connsiteX2" fmla="*/ 38568 w 225616"/>
                  <a:gd name="connsiteY2" fmla="*/ -2631 h 167592"/>
                  <a:gd name="connsiteX3" fmla="*/ 224214 w 225616"/>
                  <a:gd name="connsiteY3" fmla="*/ 79415 h 167592"/>
                  <a:gd name="connsiteX4" fmla="*/ 186710 w 225616"/>
                  <a:gd name="connsiteY4" fmla="*/ 164962 h 16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616" h="167592">
                    <a:moveTo>
                      <a:pt x="186710" y="164962"/>
                    </a:moveTo>
                    <a:lnTo>
                      <a:pt x="-1402" y="87349"/>
                    </a:lnTo>
                    <a:lnTo>
                      <a:pt x="38568" y="-2631"/>
                    </a:lnTo>
                    <a:lnTo>
                      <a:pt x="224214" y="79415"/>
                    </a:lnTo>
                    <a:lnTo>
                      <a:pt x="186710" y="164962"/>
                    </a:lnTo>
                  </a:path>
                </a:pathLst>
              </a:custGeom>
              <a:solidFill>
                <a:srgbClr val="D0EBEA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55" name="Vrije vorm 42">
                <a:extLst>
                  <a:ext uri="{FF2B5EF4-FFF2-40B4-BE49-F238E27FC236}">
                    <a16:creationId xmlns:a16="http://schemas.microsoft.com/office/drawing/2014/main" id="{08A31B68-D7B8-4D8E-A689-754DD7A1F750}"/>
                  </a:ext>
                </a:extLst>
              </p:cNvPr>
              <p:cNvSpPr/>
              <p:nvPr/>
            </p:nvSpPr>
            <p:spPr>
              <a:xfrm flipV="1">
                <a:off x="3110019" y="2799313"/>
                <a:ext cx="300227" cy="317983"/>
              </a:xfrm>
              <a:custGeom>
                <a:avLst/>
                <a:gdLst>
                  <a:gd name="connsiteX0" fmla="*/ 2564 w 300227"/>
                  <a:gd name="connsiteY0" fmla="*/ 257593 h 317983"/>
                  <a:gd name="connsiteX1" fmla="*/ 104962 w 300227"/>
                  <a:gd name="connsiteY1" fmla="*/ 315815 h 317983"/>
                  <a:gd name="connsiteX2" fmla="*/ 216833 w 300227"/>
                  <a:gd name="connsiteY2" fmla="*/ 273306 h 317983"/>
                  <a:gd name="connsiteX3" fmla="*/ 298494 w 300227"/>
                  <a:gd name="connsiteY3" fmla="*/ 221329 h 317983"/>
                  <a:gd name="connsiteX4" fmla="*/ 219579 w 300227"/>
                  <a:gd name="connsiteY4" fmla="*/ 216461 h 317983"/>
                  <a:gd name="connsiteX5" fmla="*/ 189878 w 300227"/>
                  <a:gd name="connsiteY5" fmla="*/ 223111 h 317983"/>
                  <a:gd name="connsiteX6" fmla="*/ 257674 w 300227"/>
                  <a:gd name="connsiteY6" fmla="*/ 123394 h 317983"/>
                  <a:gd name="connsiteX7" fmla="*/ 274597 w 300227"/>
                  <a:gd name="connsiteY7" fmla="*/ 62759 h 317983"/>
                  <a:gd name="connsiteX8" fmla="*/ 175338 w 300227"/>
                  <a:gd name="connsiteY8" fmla="*/ 151050 h 317983"/>
                  <a:gd name="connsiteX9" fmla="*/ 240740 w 300227"/>
                  <a:gd name="connsiteY9" fmla="*/ 19048 h 317983"/>
                  <a:gd name="connsiteX10" fmla="*/ 127512 w 300227"/>
                  <a:gd name="connsiteY10" fmla="*/ 128211 h 317983"/>
                  <a:gd name="connsiteX11" fmla="*/ 174468 w 300227"/>
                  <a:gd name="connsiteY11" fmla="*/ 3791 h 317983"/>
                  <a:gd name="connsiteX12" fmla="*/ 74266 w 300227"/>
                  <a:gd name="connsiteY12" fmla="*/ 123394 h 317983"/>
                  <a:gd name="connsiteX13" fmla="*/ 84142 w 300227"/>
                  <a:gd name="connsiteY13" fmla="*/ 31736 h 317983"/>
                  <a:gd name="connsiteX14" fmla="*/ 46047 w 300227"/>
                  <a:gd name="connsiteY14" fmla="*/ 83909 h 317983"/>
                  <a:gd name="connsiteX15" fmla="*/ 22305 w 300227"/>
                  <a:gd name="connsiteY15" fmla="*/ 151941 h 317983"/>
                  <a:gd name="connsiteX16" fmla="*/ 2564 w 300227"/>
                  <a:gd name="connsiteY16" fmla="*/ 257593 h 317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00227" h="317983">
                    <a:moveTo>
                      <a:pt x="2564" y="257593"/>
                    </a:moveTo>
                    <a:cubicBezTo>
                      <a:pt x="2564" y="257593"/>
                      <a:pt x="58038" y="319109"/>
                      <a:pt x="104962" y="315815"/>
                    </a:cubicBezTo>
                    <a:cubicBezTo>
                      <a:pt x="151887" y="312511"/>
                      <a:pt x="187080" y="307891"/>
                      <a:pt x="216833" y="273306"/>
                    </a:cubicBezTo>
                    <a:cubicBezTo>
                      <a:pt x="246575" y="238710"/>
                      <a:pt x="301541" y="233386"/>
                      <a:pt x="298494" y="221329"/>
                    </a:cubicBezTo>
                    <a:cubicBezTo>
                      <a:pt x="295448" y="209262"/>
                      <a:pt x="289364" y="171051"/>
                      <a:pt x="219579" y="216461"/>
                    </a:cubicBezTo>
                    <a:cubicBezTo>
                      <a:pt x="219579" y="216461"/>
                      <a:pt x="193277" y="241776"/>
                      <a:pt x="189878" y="223111"/>
                    </a:cubicBezTo>
                    <a:cubicBezTo>
                      <a:pt x="187132" y="207998"/>
                      <a:pt x="220988" y="174159"/>
                      <a:pt x="257674" y="123394"/>
                    </a:cubicBezTo>
                    <a:cubicBezTo>
                      <a:pt x="307738" y="54110"/>
                      <a:pt x="289510" y="59703"/>
                      <a:pt x="274597" y="62759"/>
                    </a:cubicBezTo>
                    <a:cubicBezTo>
                      <a:pt x="259695" y="65814"/>
                      <a:pt x="198417" y="136083"/>
                      <a:pt x="175338" y="151050"/>
                    </a:cubicBezTo>
                    <a:cubicBezTo>
                      <a:pt x="157338" y="162724"/>
                      <a:pt x="256088" y="32679"/>
                      <a:pt x="240740" y="19048"/>
                    </a:cubicBezTo>
                    <a:cubicBezTo>
                      <a:pt x="215340" y="-3522"/>
                      <a:pt x="128062" y="147321"/>
                      <a:pt x="127512" y="128211"/>
                    </a:cubicBezTo>
                    <a:cubicBezTo>
                      <a:pt x="126963" y="109111"/>
                      <a:pt x="181359" y="16251"/>
                      <a:pt x="174468" y="3791"/>
                    </a:cubicBezTo>
                    <a:cubicBezTo>
                      <a:pt x="153275" y="-34544"/>
                      <a:pt x="83407" y="128874"/>
                      <a:pt x="74266" y="123394"/>
                    </a:cubicBezTo>
                    <a:cubicBezTo>
                      <a:pt x="67209" y="119158"/>
                      <a:pt x="98413" y="43089"/>
                      <a:pt x="84142" y="31736"/>
                    </a:cubicBezTo>
                    <a:cubicBezTo>
                      <a:pt x="69862" y="20384"/>
                      <a:pt x="54887" y="59848"/>
                      <a:pt x="46047" y="83909"/>
                    </a:cubicBezTo>
                    <a:cubicBezTo>
                      <a:pt x="35705" y="112052"/>
                      <a:pt x="33466" y="125611"/>
                      <a:pt x="22305" y="151941"/>
                    </a:cubicBezTo>
                    <a:cubicBezTo>
                      <a:pt x="11134" y="178271"/>
                      <a:pt x="-10774" y="218926"/>
                      <a:pt x="2564" y="257593"/>
                    </a:cubicBezTo>
                  </a:path>
                </a:pathLst>
              </a:custGeom>
              <a:solidFill>
                <a:srgbClr val="F9AA8F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grpSp>
          <p:nvGrpSpPr>
            <p:cNvPr id="111" name="Groep 110">
              <a:extLst>
                <a:ext uri="{FF2B5EF4-FFF2-40B4-BE49-F238E27FC236}">
                  <a16:creationId xmlns:a16="http://schemas.microsoft.com/office/drawing/2014/main" id="{62845F8A-9D6B-460A-A876-0AE0A4930287}"/>
                </a:ext>
              </a:extLst>
            </p:cNvPr>
            <p:cNvGrpSpPr/>
            <p:nvPr/>
          </p:nvGrpSpPr>
          <p:grpSpPr>
            <a:xfrm>
              <a:off x="1937255" y="2063426"/>
              <a:ext cx="449164" cy="153635"/>
              <a:chOff x="1937255" y="2063426"/>
              <a:chExt cx="449164" cy="153635"/>
            </a:xfrm>
          </p:grpSpPr>
          <p:sp>
            <p:nvSpPr>
              <p:cNvPr id="113" name="Vrije vorm 44">
                <a:extLst>
                  <a:ext uri="{FF2B5EF4-FFF2-40B4-BE49-F238E27FC236}">
                    <a16:creationId xmlns:a16="http://schemas.microsoft.com/office/drawing/2014/main" id="{0446025C-7D09-40BC-87A4-C7344A97DB48}"/>
                  </a:ext>
                </a:extLst>
              </p:cNvPr>
              <p:cNvSpPr/>
              <p:nvPr/>
            </p:nvSpPr>
            <p:spPr>
              <a:xfrm flipV="1">
                <a:off x="2037505" y="2063426"/>
                <a:ext cx="144000" cy="144000"/>
              </a:xfrm>
              <a:custGeom>
                <a:avLst/>
                <a:gdLst>
                  <a:gd name="connsiteX0" fmla="*/ 56246 w 117549"/>
                  <a:gd name="connsiteY0" fmla="*/ 103954 h 117480"/>
                  <a:gd name="connsiteX1" fmla="*/ 7156 w 117549"/>
                  <a:gd name="connsiteY1" fmla="*/ 54888 h 117480"/>
                  <a:gd name="connsiteX2" fmla="*/ 56246 w 117549"/>
                  <a:gd name="connsiteY2" fmla="*/ 5822 h 117480"/>
                  <a:gd name="connsiteX3" fmla="*/ 105347 w 117549"/>
                  <a:gd name="connsiteY3" fmla="*/ 54888 h 117480"/>
                  <a:gd name="connsiteX4" fmla="*/ 56246 w 117549"/>
                  <a:gd name="connsiteY4" fmla="*/ 103954 h 117480"/>
                  <a:gd name="connsiteX5" fmla="*/ 56246 w 117549"/>
                  <a:gd name="connsiteY5" fmla="*/ -3852 h 117480"/>
                  <a:gd name="connsiteX6" fmla="*/ -2534 w 117549"/>
                  <a:gd name="connsiteY6" fmla="*/ 54888 h 117480"/>
                  <a:gd name="connsiteX7" fmla="*/ 56246 w 117549"/>
                  <a:gd name="connsiteY7" fmla="*/ 113628 h 117480"/>
                  <a:gd name="connsiteX8" fmla="*/ 115015 w 117549"/>
                  <a:gd name="connsiteY8" fmla="*/ 54888 h 117480"/>
                  <a:gd name="connsiteX9" fmla="*/ 56246 w 11754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49" h="117480">
                    <a:moveTo>
                      <a:pt x="56246" y="103954"/>
                    </a:moveTo>
                    <a:cubicBezTo>
                      <a:pt x="29177" y="103954"/>
                      <a:pt x="7156" y="81943"/>
                      <a:pt x="7156" y="54888"/>
                    </a:cubicBezTo>
                    <a:cubicBezTo>
                      <a:pt x="7156" y="27833"/>
                      <a:pt x="29177" y="5822"/>
                      <a:pt x="56246" y="5822"/>
                    </a:cubicBezTo>
                    <a:cubicBezTo>
                      <a:pt x="83315" y="5822"/>
                      <a:pt x="105347" y="27833"/>
                      <a:pt x="105347" y="54888"/>
                    </a:cubicBezTo>
                    <a:cubicBezTo>
                      <a:pt x="105347" y="81943"/>
                      <a:pt x="83315" y="103954"/>
                      <a:pt x="56246" y="103954"/>
                    </a:cubicBezTo>
                    <a:close/>
                    <a:moveTo>
                      <a:pt x="56246" y="-3852"/>
                    </a:moveTo>
                    <a:cubicBezTo>
                      <a:pt x="23830" y="-3852"/>
                      <a:pt x="-2534" y="22499"/>
                      <a:pt x="-2534" y="54888"/>
                    </a:cubicBezTo>
                    <a:cubicBezTo>
                      <a:pt x="-2534" y="87288"/>
                      <a:pt x="23830" y="113628"/>
                      <a:pt x="56246" y="113628"/>
                    </a:cubicBezTo>
                    <a:cubicBezTo>
                      <a:pt x="88651" y="113628"/>
                      <a:pt x="115015" y="87288"/>
                      <a:pt x="115015" y="54888"/>
                    </a:cubicBezTo>
                    <a:cubicBezTo>
                      <a:pt x="115015" y="22499"/>
                      <a:pt x="88651" y="-3852"/>
                      <a:pt x="56246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4" name="Vrije vorm 45">
                <a:extLst>
                  <a:ext uri="{FF2B5EF4-FFF2-40B4-BE49-F238E27FC236}">
                    <a16:creationId xmlns:a16="http://schemas.microsoft.com/office/drawing/2014/main" id="{AB06D20A-8D62-429D-9934-5C7423A4A857}"/>
                  </a:ext>
                </a:extLst>
              </p:cNvPr>
              <p:cNvSpPr/>
              <p:nvPr/>
            </p:nvSpPr>
            <p:spPr>
              <a:xfrm flipV="1">
                <a:off x="2242419" y="2073061"/>
                <a:ext cx="144000" cy="144000"/>
              </a:xfrm>
              <a:custGeom>
                <a:avLst/>
                <a:gdLst>
                  <a:gd name="connsiteX0" fmla="*/ 56107 w 117539"/>
                  <a:gd name="connsiteY0" fmla="*/ 103954 h 117480"/>
                  <a:gd name="connsiteX1" fmla="*/ 7017 w 117539"/>
                  <a:gd name="connsiteY1" fmla="*/ 54888 h 117480"/>
                  <a:gd name="connsiteX2" fmla="*/ 56107 w 117539"/>
                  <a:gd name="connsiteY2" fmla="*/ 5822 h 117480"/>
                  <a:gd name="connsiteX3" fmla="*/ 105198 w 117539"/>
                  <a:gd name="connsiteY3" fmla="*/ 54888 h 117480"/>
                  <a:gd name="connsiteX4" fmla="*/ 56107 w 117539"/>
                  <a:gd name="connsiteY4" fmla="*/ 103954 h 117480"/>
                  <a:gd name="connsiteX5" fmla="*/ 56107 w 117539"/>
                  <a:gd name="connsiteY5" fmla="*/ -3852 h 117480"/>
                  <a:gd name="connsiteX6" fmla="*/ -2662 w 117539"/>
                  <a:gd name="connsiteY6" fmla="*/ 54888 h 117480"/>
                  <a:gd name="connsiteX7" fmla="*/ 56107 w 117539"/>
                  <a:gd name="connsiteY7" fmla="*/ 113628 h 117480"/>
                  <a:gd name="connsiteX8" fmla="*/ 114877 w 117539"/>
                  <a:gd name="connsiteY8" fmla="*/ 54888 h 117480"/>
                  <a:gd name="connsiteX9" fmla="*/ 56107 w 117539"/>
                  <a:gd name="connsiteY9" fmla="*/ -3852 h 11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39" h="117480">
                    <a:moveTo>
                      <a:pt x="56107" y="103954"/>
                    </a:moveTo>
                    <a:cubicBezTo>
                      <a:pt x="29039" y="103954"/>
                      <a:pt x="7017" y="81943"/>
                      <a:pt x="7017" y="54888"/>
                    </a:cubicBezTo>
                    <a:cubicBezTo>
                      <a:pt x="7017" y="27833"/>
                      <a:pt x="29039" y="5822"/>
                      <a:pt x="56107" y="5822"/>
                    </a:cubicBezTo>
                    <a:cubicBezTo>
                      <a:pt x="83176" y="5822"/>
                      <a:pt x="105198" y="27833"/>
                      <a:pt x="105198" y="54888"/>
                    </a:cubicBezTo>
                    <a:cubicBezTo>
                      <a:pt x="105198" y="81943"/>
                      <a:pt x="83176" y="103954"/>
                      <a:pt x="56107" y="103954"/>
                    </a:cubicBezTo>
                    <a:close/>
                    <a:moveTo>
                      <a:pt x="56107" y="-3852"/>
                    </a:moveTo>
                    <a:cubicBezTo>
                      <a:pt x="23702" y="-3852"/>
                      <a:pt x="-2662" y="22499"/>
                      <a:pt x="-2662" y="54888"/>
                    </a:cubicBezTo>
                    <a:cubicBezTo>
                      <a:pt x="-2662" y="87288"/>
                      <a:pt x="23702" y="113628"/>
                      <a:pt x="56107" y="113628"/>
                    </a:cubicBezTo>
                    <a:cubicBezTo>
                      <a:pt x="88513" y="113628"/>
                      <a:pt x="114877" y="87288"/>
                      <a:pt x="114877" y="54888"/>
                    </a:cubicBezTo>
                    <a:cubicBezTo>
                      <a:pt x="114877" y="22499"/>
                      <a:pt x="88513" y="-3852"/>
                      <a:pt x="56107" y="-3852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5" name="Vrije vorm 46">
                <a:extLst>
                  <a:ext uri="{FF2B5EF4-FFF2-40B4-BE49-F238E27FC236}">
                    <a16:creationId xmlns:a16="http://schemas.microsoft.com/office/drawing/2014/main" id="{87CC1384-54EC-4518-A6F3-E0351459F8DA}"/>
                  </a:ext>
                </a:extLst>
              </p:cNvPr>
              <p:cNvSpPr/>
              <p:nvPr/>
            </p:nvSpPr>
            <p:spPr>
              <a:xfrm flipV="1">
                <a:off x="1937255" y="2113770"/>
                <a:ext cx="104773" cy="16442"/>
              </a:xfrm>
              <a:custGeom>
                <a:avLst/>
                <a:gdLst>
                  <a:gd name="connsiteX0" fmla="*/ 108369 w 111559"/>
                  <a:gd name="connsiteY0" fmla="*/ -3873 h 18230"/>
                  <a:gd name="connsiteX1" fmla="*/ -2444 w 111559"/>
                  <a:gd name="connsiteY1" fmla="*/ 4714 h 18230"/>
                  <a:gd name="connsiteX2" fmla="*/ -1698 w 111559"/>
                  <a:gd name="connsiteY2" fmla="*/ 14357 h 18230"/>
                  <a:gd name="connsiteX3" fmla="*/ 109115 w 111559"/>
                  <a:gd name="connsiteY3" fmla="*/ 5770 h 18230"/>
                  <a:gd name="connsiteX4" fmla="*/ 108369 w 111559"/>
                  <a:gd name="connsiteY4" fmla="*/ -3873 h 1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559" h="18230">
                    <a:moveTo>
                      <a:pt x="108369" y="-3873"/>
                    </a:moveTo>
                    <a:lnTo>
                      <a:pt x="-2444" y="4714"/>
                    </a:lnTo>
                    <a:lnTo>
                      <a:pt x="-1698" y="14357"/>
                    </a:lnTo>
                    <a:lnTo>
                      <a:pt x="109115" y="5770"/>
                    </a:lnTo>
                    <a:lnTo>
                      <a:pt x="108369" y="-3873"/>
                    </a:ln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116" name="Vrije vorm 47">
                <a:extLst>
                  <a:ext uri="{FF2B5EF4-FFF2-40B4-BE49-F238E27FC236}">
                    <a16:creationId xmlns:a16="http://schemas.microsoft.com/office/drawing/2014/main" id="{42387C4E-CA9F-4666-AEC7-2348B1AC23DE}"/>
                  </a:ext>
                </a:extLst>
              </p:cNvPr>
              <p:cNvSpPr/>
              <p:nvPr/>
            </p:nvSpPr>
            <p:spPr>
              <a:xfrm flipV="1">
                <a:off x="2175060" y="2124470"/>
                <a:ext cx="72000" cy="14758"/>
              </a:xfrm>
              <a:custGeom>
                <a:avLst/>
                <a:gdLst>
                  <a:gd name="connsiteX0" fmla="*/ 3008 w 52302"/>
                  <a:gd name="connsiteY0" fmla="*/ -3866 h 16363"/>
                  <a:gd name="connsiteX1" fmla="*/ -2598 w 52302"/>
                  <a:gd name="connsiteY1" fmla="*/ 4027 h 16363"/>
                  <a:gd name="connsiteX2" fmla="*/ 49705 w 52302"/>
                  <a:gd name="connsiteY2" fmla="*/ 3923 h 16363"/>
                  <a:gd name="connsiteX3" fmla="*/ 43819 w 52302"/>
                  <a:gd name="connsiteY3" fmla="*/ -3752 h 16363"/>
                  <a:gd name="connsiteX4" fmla="*/ 3008 w 52302"/>
                  <a:gd name="connsiteY4" fmla="*/ -3866 h 1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02" h="16363">
                    <a:moveTo>
                      <a:pt x="3008" y="-3866"/>
                    </a:moveTo>
                    <a:lnTo>
                      <a:pt x="-2598" y="4027"/>
                    </a:lnTo>
                    <a:cubicBezTo>
                      <a:pt x="6760" y="10687"/>
                      <a:pt x="29735" y="19233"/>
                      <a:pt x="49705" y="3923"/>
                    </a:cubicBezTo>
                    <a:lnTo>
                      <a:pt x="43819" y="-3752"/>
                    </a:lnTo>
                    <a:cubicBezTo>
                      <a:pt x="24584" y="10977"/>
                      <a:pt x="3879" y="-3255"/>
                      <a:pt x="3008" y="-3866"/>
                    </a:cubicBezTo>
                  </a:path>
                </a:pathLst>
              </a:custGeom>
              <a:solidFill>
                <a:srgbClr val="292E49"/>
              </a:solidFill>
              <a:ln w="10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sp>
          <p:nvSpPr>
            <p:cNvPr id="112" name="Vrije vorm 43">
              <a:extLst>
                <a:ext uri="{FF2B5EF4-FFF2-40B4-BE49-F238E27FC236}">
                  <a16:creationId xmlns:a16="http://schemas.microsoft.com/office/drawing/2014/main" id="{D543A595-4235-4B75-88C0-2857AC6DC700}"/>
                </a:ext>
              </a:extLst>
            </p:cNvPr>
            <p:cNvSpPr/>
            <p:nvPr/>
          </p:nvSpPr>
          <p:spPr>
            <a:xfrm flipV="1">
              <a:off x="1801711" y="1747503"/>
              <a:ext cx="634548" cy="421057"/>
            </a:xfrm>
            <a:custGeom>
              <a:avLst/>
              <a:gdLst>
                <a:gd name="connsiteX0" fmla="*/ 7576 w 467845"/>
                <a:gd name="connsiteY0" fmla="*/ 18404 h 298152"/>
                <a:gd name="connsiteX1" fmla="*/ 88440 w 467845"/>
                <a:gd name="connsiteY1" fmla="*/ -4021 h 298152"/>
                <a:gd name="connsiteX2" fmla="*/ 117187 w 467845"/>
                <a:gd name="connsiteY2" fmla="*/ -4021 h 298152"/>
                <a:gd name="connsiteX3" fmla="*/ 129509 w 467845"/>
                <a:gd name="connsiteY3" fmla="*/ 87036 h 298152"/>
                <a:gd name="connsiteX4" fmla="*/ 206736 w 467845"/>
                <a:gd name="connsiteY4" fmla="*/ 156010 h 298152"/>
                <a:gd name="connsiteX5" fmla="*/ 418963 w 467845"/>
                <a:gd name="connsiteY5" fmla="*/ 132508 h 298152"/>
                <a:gd name="connsiteX6" fmla="*/ 91165 w 467845"/>
                <a:gd name="connsiteY6" fmla="*/ 270352 h 298152"/>
                <a:gd name="connsiteX7" fmla="*/ 7576 w 467845"/>
                <a:gd name="connsiteY7" fmla="*/ 18404 h 29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845" h="298152">
                  <a:moveTo>
                    <a:pt x="7576" y="18404"/>
                  </a:moveTo>
                  <a:cubicBezTo>
                    <a:pt x="7576" y="18404"/>
                    <a:pt x="51464" y="46971"/>
                    <a:pt x="88440" y="-4021"/>
                  </a:cubicBezTo>
                  <a:lnTo>
                    <a:pt x="117187" y="-4021"/>
                  </a:lnTo>
                  <a:cubicBezTo>
                    <a:pt x="117187" y="-4021"/>
                    <a:pt x="115550" y="55020"/>
                    <a:pt x="129509" y="87036"/>
                  </a:cubicBezTo>
                  <a:cubicBezTo>
                    <a:pt x="143468" y="119063"/>
                    <a:pt x="198517" y="118235"/>
                    <a:pt x="206736" y="156010"/>
                  </a:cubicBezTo>
                  <a:cubicBezTo>
                    <a:pt x="206736" y="156010"/>
                    <a:pt x="341467" y="91180"/>
                    <a:pt x="418963" y="132508"/>
                  </a:cubicBezTo>
                  <a:cubicBezTo>
                    <a:pt x="594173" y="225927"/>
                    <a:pt x="225969" y="345758"/>
                    <a:pt x="91165" y="270352"/>
                  </a:cubicBezTo>
                  <a:cubicBezTo>
                    <a:pt x="-8984" y="214346"/>
                    <a:pt x="-13316" y="118918"/>
                    <a:pt x="7576" y="18404"/>
                  </a:cubicBezTo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0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sp>
        <p:nvSpPr>
          <p:cNvPr id="156" name="Ovaal 155">
            <a:extLst>
              <a:ext uri="{FF2B5EF4-FFF2-40B4-BE49-F238E27FC236}">
                <a16:creationId xmlns:a16="http://schemas.microsoft.com/office/drawing/2014/main" id="{19531CB1-2011-4898-AAFD-1E132F20D382}"/>
              </a:ext>
            </a:extLst>
          </p:cNvPr>
          <p:cNvSpPr/>
          <p:nvPr/>
        </p:nvSpPr>
        <p:spPr>
          <a:xfrm>
            <a:off x="9251581" y="3277161"/>
            <a:ext cx="1979977" cy="1048155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396320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5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6703" r="16703"/>
          <a:stretch/>
        </p:blipFill>
        <p:spPr>
          <a:xfrm>
            <a:off x="4562787" y="2223722"/>
            <a:ext cx="3066424" cy="3069771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611" r="16611"/>
          <a:stretch/>
        </p:blipFill>
        <p:spPr>
          <a:xfrm>
            <a:off x="2142844" y="2223722"/>
            <a:ext cx="2235201" cy="223145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6611" r="16611"/>
          <a:stretch/>
        </p:blipFill>
        <p:spPr>
          <a:xfrm>
            <a:off x="7813953" y="2223722"/>
            <a:ext cx="2235202" cy="2231450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6545" r="16545"/>
          <a:stretch/>
        </p:blipFill>
        <p:spPr>
          <a:xfrm>
            <a:off x="137219" y="2223722"/>
            <a:ext cx="1820883" cy="1814287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6545" r="16545"/>
          <a:stretch/>
        </p:blipFill>
        <p:spPr>
          <a:xfrm>
            <a:off x="10233898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640599" y="1564429"/>
            <a:ext cx="910827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Start-up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131497" y="1564429"/>
            <a:ext cx="1600118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METHODOLOG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058147" y="1564429"/>
            <a:ext cx="2172390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RESEARCH QUES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129788" y="1564429"/>
            <a:ext cx="1835759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Co-</a:t>
            </a:r>
            <a:r>
              <a:rPr lang="de-DE" altLang="de-DE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founder</a:t>
            </a:r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selection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728896" y="1564429"/>
            <a:ext cx="106311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PROBLE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08C9B5-ABA4-4234-AB60-76C647A098EE}"/>
              </a:ext>
            </a:extLst>
          </p:cNvPr>
          <p:cNvSpPr txBox="1"/>
          <p:nvPr/>
        </p:nvSpPr>
        <p:spPr>
          <a:xfrm>
            <a:off x="4766956" y="5441819"/>
            <a:ext cx="2658100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/>
              <a:t>What</a:t>
            </a:r>
            <a:r>
              <a:rPr lang="de-DE" altLang="de-DE" b="1" dirty="0"/>
              <a:t> do </a:t>
            </a:r>
            <a:r>
              <a:rPr lang="de-DE" altLang="de-DE" b="1" dirty="0" err="1"/>
              <a:t>we</a:t>
            </a:r>
            <a:r>
              <a:rPr lang="de-DE" altLang="de-DE" b="1" dirty="0"/>
              <a:t> </a:t>
            </a:r>
            <a:r>
              <a:rPr lang="de-DE" altLang="de-DE" b="1" dirty="0" err="1"/>
              <a:t>see</a:t>
            </a:r>
            <a:r>
              <a:rPr lang="de-DE" altLang="de-DE" b="1" dirty="0"/>
              <a:t> in </a:t>
            </a:r>
            <a:r>
              <a:rPr lang="de-DE" altLang="de-DE" b="1" dirty="0" err="1"/>
              <a:t>start-ups</a:t>
            </a:r>
            <a:r>
              <a:rPr lang="de-DE" altLang="de-DE" b="1" dirty="0"/>
              <a:t>?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DBAE0-B30D-426D-98DC-B5C20F48891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728" t="19258" r="2728" b="17777"/>
          <a:stretch/>
        </p:blipFill>
        <p:spPr>
          <a:xfrm>
            <a:off x="15050034" y="2223723"/>
            <a:ext cx="1820883" cy="1817827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7318" t="29394" r="10667" b="7722"/>
          <a:stretch/>
        </p:blipFill>
        <p:spPr>
          <a:xfrm>
            <a:off x="-4863660" y="2223722"/>
            <a:ext cx="1820883" cy="1817826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6545" r="16545"/>
          <a:stretch/>
        </p:blipFill>
        <p:spPr>
          <a:xfrm>
            <a:off x="12525864" y="2223722"/>
            <a:ext cx="1820883" cy="1814287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6545" r="16545"/>
          <a:stretch/>
        </p:blipFill>
        <p:spPr>
          <a:xfrm>
            <a:off x="-2339491" y="2223722"/>
            <a:ext cx="1820883" cy="1814287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45A944B-750A-43AE-A5D3-4CD4199BCA01}"/>
              </a:ext>
            </a:extLst>
          </p:cNvPr>
          <p:cNvSpPr txBox="1"/>
          <p:nvPr/>
        </p:nvSpPr>
        <p:spPr>
          <a:xfrm>
            <a:off x="-2515240" y="1564429"/>
            <a:ext cx="2172390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RESEARCH QUES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C9FC1B3-9CB2-4DE2-962F-1347A5CE3270}"/>
              </a:ext>
            </a:extLst>
          </p:cNvPr>
          <p:cNvSpPr txBox="1"/>
          <p:nvPr/>
        </p:nvSpPr>
        <p:spPr>
          <a:xfrm>
            <a:off x="-4686208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5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34F97D6-390F-4425-ACBD-91B92D5EBDF8}"/>
              </a:ext>
            </a:extLst>
          </p:cNvPr>
          <p:cNvSpPr txBox="1"/>
          <p:nvPr/>
        </p:nvSpPr>
        <p:spPr>
          <a:xfrm>
            <a:off x="12703316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72811F9-C8E0-4B49-81F8-EF83D0F4C578}"/>
              </a:ext>
            </a:extLst>
          </p:cNvPr>
          <p:cNvSpPr txBox="1"/>
          <p:nvPr/>
        </p:nvSpPr>
        <p:spPr>
          <a:xfrm>
            <a:off x="15227486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13888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6611" r="16611"/>
          <a:stretch/>
        </p:blipFill>
        <p:spPr>
          <a:xfrm>
            <a:off x="4562787" y="2223722"/>
            <a:ext cx="3074930" cy="3069770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6545" r="16545"/>
          <a:stretch/>
        </p:blipFill>
        <p:spPr>
          <a:xfrm>
            <a:off x="2142843" y="2223722"/>
            <a:ext cx="2239563" cy="223145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6545" r="16545"/>
          <a:stretch/>
        </p:blipFill>
        <p:spPr>
          <a:xfrm>
            <a:off x="137218" y="2223722"/>
            <a:ext cx="1820883" cy="1814287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16703" r="16703"/>
          <a:stretch/>
        </p:blipFill>
        <p:spPr>
          <a:xfrm>
            <a:off x="7822460" y="2223723"/>
            <a:ext cx="2229017" cy="223145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16611" r="16611"/>
          <a:stretch/>
        </p:blipFill>
        <p:spPr>
          <a:xfrm>
            <a:off x="10237705" y="2223722"/>
            <a:ext cx="1820883" cy="1817826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6545" r="16545"/>
          <a:stretch/>
        </p:blipFill>
        <p:spPr>
          <a:xfrm>
            <a:off x="12651465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564448" y="1564429"/>
            <a:ext cx="106311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PROBLE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476145" y="1564429"/>
            <a:ext cx="910827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Start-up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344282" y="1564429"/>
            <a:ext cx="1600118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METHODOLOG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-38529" y="1564429"/>
            <a:ext cx="2172390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RESEARCH QUES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342572" y="1564429"/>
            <a:ext cx="1835759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Co-</a:t>
            </a:r>
            <a:r>
              <a:rPr lang="de-DE" altLang="de-DE" dirty="0" err="1">
                <a:solidFill>
                  <a:schemeClr val="bg1">
                    <a:lumMod val="60000"/>
                    <a:lumOff val="40000"/>
                  </a:schemeClr>
                </a:solidFill>
              </a:rPr>
              <a:t>founder</a:t>
            </a:r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 </a:t>
            </a:r>
            <a:r>
              <a:rPr lang="de-DE" altLang="de-DE" dirty="0" err="1">
                <a:solidFill>
                  <a:schemeClr val="bg1">
                    <a:lumMod val="60000"/>
                    <a:lumOff val="40000"/>
                  </a:schemeClr>
                </a:solidFill>
              </a:rPr>
              <a:t>selection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DBAE0-B30D-426D-98DC-B5C20F488911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2728" t="19258" r="2728" b="17777"/>
          <a:stretch/>
        </p:blipFill>
        <p:spPr>
          <a:xfrm>
            <a:off x="17467601" y="2223723"/>
            <a:ext cx="1820883" cy="1817827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16611" r="16611"/>
          <a:stretch/>
        </p:blipFill>
        <p:spPr>
          <a:xfrm>
            <a:off x="-2073217" y="2223722"/>
            <a:ext cx="1820883" cy="1817826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3194" t="10778" r="25169"/>
          <a:stretch/>
        </p:blipFill>
        <p:spPr>
          <a:xfrm>
            <a:off x="14943431" y="2223722"/>
            <a:ext cx="1820883" cy="1814287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8C60FF7-E22A-4382-B3B4-E1CE88AE15D7}"/>
              </a:ext>
            </a:extLst>
          </p:cNvPr>
          <p:cNvSpPr txBox="1"/>
          <p:nvPr/>
        </p:nvSpPr>
        <p:spPr>
          <a:xfrm>
            <a:off x="-1962833" y="1564429"/>
            <a:ext cx="1600118" cy="307777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METHODOLOG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0785FF-7902-43F9-A347-ED88337D590D}"/>
              </a:ext>
            </a:extLst>
          </p:cNvPr>
          <p:cNvSpPr txBox="1"/>
          <p:nvPr/>
        </p:nvSpPr>
        <p:spPr>
          <a:xfrm>
            <a:off x="15195426" y="1564429"/>
            <a:ext cx="1530098" cy="369332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352017-B16F-4C36-816A-E37B5F145342}"/>
              </a:ext>
            </a:extLst>
          </p:cNvPr>
          <p:cNvSpPr txBox="1"/>
          <p:nvPr/>
        </p:nvSpPr>
        <p:spPr>
          <a:xfrm>
            <a:off x="17612992" y="1564429"/>
            <a:ext cx="1530098" cy="369332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2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249957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6545" r="16545"/>
          <a:stretch/>
        </p:blipFill>
        <p:spPr>
          <a:xfrm>
            <a:off x="4558088" y="2223722"/>
            <a:ext cx="3080931" cy="306977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6545" r="16545"/>
          <a:stretch/>
        </p:blipFill>
        <p:spPr>
          <a:xfrm>
            <a:off x="2138481" y="2223722"/>
            <a:ext cx="2239563" cy="2231450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6611" r="16611"/>
          <a:stretch/>
        </p:blipFill>
        <p:spPr>
          <a:xfrm>
            <a:off x="137217" y="2223722"/>
            <a:ext cx="1820883" cy="1817826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16611" r="16611"/>
          <a:stretch/>
        </p:blipFill>
        <p:spPr>
          <a:xfrm>
            <a:off x="7819063" y="2223722"/>
            <a:ext cx="2235201" cy="2231450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16703" r="16703"/>
          <a:stretch/>
        </p:blipFill>
        <p:spPr>
          <a:xfrm>
            <a:off x="10231179" y="2223723"/>
            <a:ext cx="1820883" cy="1822871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6611" r="16611"/>
          <a:stretch/>
        </p:blipFill>
        <p:spPr>
          <a:xfrm>
            <a:off x="12591530" y="2223722"/>
            <a:ext cx="1820883" cy="1817826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6545" r="16545"/>
          <a:stretch/>
        </p:blipFill>
        <p:spPr>
          <a:xfrm>
            <a:off x="15005290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178125" y="1564429"/>
            <a:ext cx="1835759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Co-</a:t>
            </a:r>
            <a:r>
              <a:rPr lang="de-DE" altLang="de-DE" dirty="0" err="1"/>
              <a:t>founder</a:t>
            </a:r>
            <a:r>
              <a:rPr lang="de-DE" altLang="de-DE" dirty="0"/>
              <a:t> </a:t>
            </a:r>
            <a:r>
              <a:rPr lang="de-DE" altLang="de-DE" dirty="0" err="1"/>
              <a:t>selection</a:t>
            </a:r>
            <a:endParaRPr lang="de-DE" alt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400003" y="1564429"/>
            <a:ext cx="106311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PROBLE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543062" y="1564429"/>
            <a:ext cx="120257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START-UP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247604" y="1564429"/>
            <a:ext cx="1600118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METHODOLOG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174253" y="1564429"/>
            <a:ext cx="2172390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RESEARCH QUES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08C9B5-ABA4-4234-AB60-76C647A098EE}"/>
              </a:ext>
            </a:extLst>
          </p:cNvPr>
          <p:cNvSpPr txBox="1"/>
          <p:nvPr/>
        </p:nvSpPr>
        <p:spPr>
          <a:xfrm>
            <a:off x="4274506" y="5441819"/>
            <a:ext cx="3642985" cy="738664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de-DE" altLang="de-DE" dirty="0"/>
              <a:t>Lead </a:t>
            </a:r>
            <a:r>
              <a:rPr lang="de-DE" altLang="de-DE" dirty="0" err="1"/>
              <a:t>entrepreneur</a:t>
            </a:r>
            <a:r>
              <a:rPr lang="de-DE" altLang="de-DE" dirty="0"/>
              <a:t> </a:t>
            </a:r>
            <a:br>
              <a:rPr lang="de-DE" altLang="de-DE" dirty="0"/>
            </a:br>
            <a:r>
              <a:rPr lang="de-DE" altLang="de-DE" dirty="0"/>
              <a:t>and </a:t>
            </a:r>
            <a:br>
              <a:rPr lang="de-DE" altLang="de-DE" dirty="0"/>
            </a:br>
            <a:r>
              <a:rPr lang="de-DE" altLang="de-DE" dirty="0"/>
              <a:t>potential </a:t>
            </a:r>
            <a:r>
              <a:rPr lang="de-DE" altLang="de-DE" dirty="0" err="1"/>
              <a:t>co-founder</a:t>
            </a:r>
            <a:r>
              <a:rPr lang="de-DE" altLang="de-DE" dirty="0"/>
              <a:t>(s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DBAE0-B30D-426D-98DC-B5C20F488911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2728" t="19258" r="2728" b="17777"/>
          <a:stretch/>
        </p:blipFill>
        <p:spPr>
          <a:xfrm>
            <a:off x="19821426" y="2223723"/>
            <a:ext cx="1820883" cy="1817827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3194" t="10778" r="25169"/>
          <a:stretch/>
        </p:blipFill>
        <p:spPr>
          <a:xfrm>
            <a:off x="17297256" y="2223722"/>
            <a:ext cx="1820883" cy="1814287"/>
          </a:xfrm>
          <a:prstGeom prst="ellipse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D216F81-8C1D-44D6-B3B4-365DE8E7C627}"/>
              </a:ext>
            </a:extLst>
          </p:cNvPr>
          <p:cNvSpPr txBox="1"/>
          <p:nvPr/>
        </p:nvSpPr>
        <p:spPr>
          <a:xfrm>
            <a:off x="14643825" y="1564429"/>
            <a:ext cx="2292615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REASEARCH QUES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0785FF-7902-43F9-A347-ED88337D590D}"/>
              </a:ext>
            </a:extLst>
          </p:cNvPr>
          <p:cNvSpPr txBox="1"/>
          <p:nvPr/>
        </p:nvSpPr>
        <p:spPr>
          <a:xfrm>
            <a:off x="17549251" y="1564429"/>
            <a:ext cx="153009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352017-B16F-4C36-816A-E37B5F145342}"/>
              </a:ext>
            </a:extLst>
          </p:cNvPr>
          <p:cNvSpPr txBox="1"/>
          <p:nvPr/>
        </p:nvSpPr>
        <p:spPr>
          <a:xfrm>
            <a:off x="19966817" y="1564429"/>
            <a:ext cx="153009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BDE69D-DFB6-48BB-8ACC-6287EE374207}"/>
              </a:ext>
            </a:extLst>
          </p:cNvPr>
          <p:cNvSpPr txBox="1"/>
          <p:nvPr/>
        </p:nvSpPr>
        <p:spPr>
          <a:xfrm>
            <a:off x="12697727" y="1564429"/>
            <a:ext cx="1600118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METHODOLOGY</a:t>
            </a:r>
          </a:p>
        </p:txBody>
      </p:sp>
      <p:pic>
        <p:nvPicPr>
          <p:cNvPr id="28" name="Picture 1">
            <a:extLst>
              <a:ext uri="{FF2B5EF4-FFF2-40B4-BE49-F238E27FC236}">
                <a16:creationId xmlns:a16="http://schemas.microsoft.com/office/drawing/2014/main" id="{8B020411-12B7-456D-975B-3D23EC4E7E6E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16703" r="16703"/>
          <a:stretch/>
        </p:blipFill>
        <p:spPr>
          <a:xfrm>
            <a:off x="-1846932" y="2223723"/>
            <a:ext cx="1820883" cy="1822871"/>
          </a:xfrm>
          <a:prstGeom prst="ellipse">
            <a:avLst/>
          </a:prstGeom>
        </p:spPr>
      </p:pic>
      <p:sp>
        <p:nvSpPr>
          <p:cNvPr id="29" name="TextBox 8">
            <a:extLst>
              <a:ext uri="{FF2B5EF4-FFF2-40B4-BE49-F238E27FC236}">
                <a16:creationId xmlns:a16="http://schemas.microsoft.com/office/drawing/2014/main" id="{138FAD62-732A-4724-B7EA-80C7D008D377}"/>
              </a:ext>
            </a:extLst>
          </p:cNvPr>
          <p:cNvSpPr txBox="1"/>
          <p:nvPr/>
        </p:nvSpPr>
        <p:spPr>
          <a:xfrm>
            <a:off x="-1535049" y="1564429"/>
            <a:ext cx="120257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START-UP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096327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6545" r="16545"/>
          <a:stretch/>
        </p:blipFill>
        <p:spPr>
          <a:xfrm>
            <a:off x="4558088" y="2223722"/>
            <a:ext cx="3080931" cy="306977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6545" r="16545"/>
          <a:stretch/>
        </p:blipFill>
        <p:spPr>
          <a:xfrm>
            <a:off x="2138481" y="2223722"/>
            <a:ext cx="2239563" cy="2231450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6611" r="16611"/>
          <a:stretch/>
        </p:blipFill>
        <p:spPr>
          <a:xfrm>
            <a:off x="137217" y="2223722"/>
            <a:ext cx="1820883" cy="1817826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16611" r="16611"/>
          <a:stretch/>
        </p:blipFill>
        <p:spPr>
          <a:xfrm>
            <a:off x="7819063" y="2223722"/>
            <a:ext cx="2235201" cy="2231450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16703" r="16703"/>
          <a:stretch/>
        </p:blipFill>
        <p:spPr>
          <a:xfrm>
            <a:off x="10231179" y="2223723"/>
            <a:ext cx="1820883" cy="1822871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6611" r="16611"/>
          <a:stretch/>
        </p:blipFill>
        <p:spPr>
          <a:xfrm>
            <a:off x="12591530" y="2223722"/>
            <a:ext cx="1820883" cy="1817826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38824" b="18695"/>
          <a:stretch/>
        </p:blipFill>
        <p:spPr>
          <a:xfrm>
            <a:off x="15005290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009811" y="1564429"/>
            <a:ext cx="2172390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RESEARCH QUES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013686" y="1564429"/>
            <a:ext cx="1835759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Co-</a:t>
            </a:r>
            <a:r>
              <a:rPr lang="de-DE" altLang="de-DE" dirty="0" err="1">
                <a:solidFill>
                  <a:schemeClr val="bg1">
                    <a:lumMod val="60000"/>
                    <a:lumOff val="40000"/>
                  </a:schemeClr>
                </a:solidFill>
              </a:rPr>
              <a:t>founder</a:t>
            </a:r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 </a:t>
            </a:r>
            <a:r>
              <a:rPr lang="de-DE" altLang="de-DE" dirty="0" err="1">
                <a:solidFill>
                  <a:schemeClr val="bg1">
                    <a:lumMod val="60000"/>
                    <a:lumOff val="40000"/>
                  </a:schemeClr>
                </a:solidFill>
              </a:rPr>
              <a:t>selection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612795" y="1564429"/>
            <a:ext cx="106311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ROBLE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446378" y="1564429"/>
            <a:ext cx="1202573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START-UP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460392" y="1564429"/>
            <a:ext cx="1600118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METHODOLOGY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DBAE0-B30D-426D-98DC-B5C20F488911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2728" t="19258" r="2728" b="17777"/>
          <a:stretch/>
        </p:blipFill>
        <p:spPr>
          <a:xfrm>
            <a:off x="19821426" y="2223723"/>
            <a:ext cx="1820883" cy="1817827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3194" t="10778" r="25169"/>
          <a:stretch/>
        </p:blipFill>
        <p:spPr>
          <a:xfrm>
            <a:off x="17297256" y="2223722"/>
            <a:ext cx="1820883" cy="1814287"/>
          </a:xfrm>
          <a:prstGeom prst="ellipse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D216F81-8C1D-44D6-B3B4-365DE8E7C627}"/>
              </a:ext>
            </a:extLst>
          </p:cNvPr>
          <p:cNvSpPr txBox="1"/>
          <p:nvPr/>
        </p:nvSpPr>
        <p:spPr>
          <a:xfrm>
            <a:off x="15054736" y="1564429"/>
            <a:ext cx="147078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0785FF-7902-43F9-A347-ED88337D590D}"/>
              </a:ext>
            </a:extLst>
          </p:cNvPr>
          <p:cNvSpPr txBox="1"/>
          <p:nvPr/>
        </p:nvSpPr>
        <p:spPr>
          <a:xfrm>
            <a:off x="17549251" y="1564429"/>
            <a:ext cx="153009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352017-B16F-4C36-816A-E37B5F145342}"/>
              </a:ext>
            </a:extLst>
          </p:cNvPr>
          <p:cNvSpPr txBox="1"/>
          <p:nvPr/>
        </p:nvSpPr>
        <p:spPr>
          <a:xfrm>
            <a:off x="19966817" y="1564429"/>
            <a:ext cx="153009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BDE69D-DFB6-48BB-8ACC-6287EE374207}"/>
              </a:ext>
            </a:extLst>
          </p:cNvPr>
          <p:cNvSpPr txBox="1"/>
          <p:nvPr/>
        </p:nvSpPr>
        <p:spPr>
          <a:xfrm>
            <a:off x="12896499" y="1564429"/>
            <a:ext cx="1202573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START-UPS</a:t>
            </a:r>
          </a:p>
        </p:txBody>
      </p:sp>
      <p:pic>
        <p:nvPicPr>
          <p:cNvPr id="25" name="Picture 1">
            <a:extLst>
              <a:ext uri="{FF2B5EF4-FFF2-40B4-BE49-F238E27FC236}">
                <a16:creationId xmlns:a16="http://schemas.microsoft.com/office/drawing/2014/main" id="{391BFAF9-AFDF-4DEA-AB33-EFE9831F9778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16703" r="16703"/>
          <a:stretch/>
        </p:blipFill>
        <p:spPr>
          <a:xfrm>
            <a:off x="-1897757" y="2215138"/>
            <a:ext cx="1820883" cy="1822871"/>
          </a:xfrm>
          <a:prstGeom prst="ellipse">
            <a:avLst/>
          </a:prstGeom>
        </p:spPr>
      </p:pic>
      <p:sp>
        <p:nvSpPr>
          <p:cNvPr id="26" name="TextBox 8">
            <a:extLst>
              <a:ext uri="{FF2B5EF4-FFF2-40B4-BE49-F238E27FC236}">
                <a16:creationId xmlns:a16="http://schemas.microsoft.com/office/drawing/2014/main" id="{D0216D7F-9EAD-4C13-BA90-9F8581964BD1}"/>
              </a:ext>
            </a:extLst>
          </p:cNvPr>
          <p:cNvSpPr txBox="1"/>
          <p:nvPr/>
        </p:nvSpPr>
        <p:spPr>
          <a:xfrm>
            <a:off x="-1516141" y="1555844"/>
            <a:ext cx="106311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ROBLE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70492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6545" r="16545"/>
          <a:stretch/>
        </p:blipFill>
        <p:spPr>
          <a:xfrm>
            <a:off x="4558088" y="2223722"/>
            <a:ext cx="3080931" cy="306977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6545" r="16545"/>
          <a:stretch/>
        </p:blipFill>
        <p:spPr>
          <a:xfrm>
            <a:off x="2138481" y="2223722"/>
            <a:ext cx="2239563" cy="2231450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6611" r="16611"/>
          <a:stretch/>
        </p:blipFill>
        <p:spPr>
          <a:xfrm>
            <a:off x="137217" y="2223722"/>
            <a:ext cx="1820883" cy="1817826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16611" r="16611"/>
          <a:stretch/>
        </p:blipFill>
        <p:spPr>
          <a:xfrm>
            <a:off x="7819063" y="2223722"/>
            <a:ext cx="2235201" cy="2231450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16703" r="16703"/>
          <a:stretch/>
        </p:blipFill>
        <p:spPr>
          <a:xfrm>
            <a:off x="10231179" y="2223723"/>
            <a:ext cx="1820883" cy="1822871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6611" r="16611"/>
          <a:stretch/>
        </p:blipFill>
        <p:spPr>
          <a:xfrm>
            <a:off x="12591530" y="2223722"/>
            <a:ext cx="1820883" cy="1817826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38824" b="18695"/>
          <a:stretch/>
        </p:blipFill>
        <p:spPr>
          <a:xfrm>
            <a:off x="15005290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295949" y="1564429"/>
            <a:ext cx="1600118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METHODOLOG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7845367" y="1564429"/>
            <a:ext cx="2172390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RESEARCH QUES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226475" y="1564429"/>
            <a:ext cx="1835759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Co-</a:t>
            </a:r>
            <a:r>
              <a:rPr lang="de-DE" altLang="de-DE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founder</a:t>
            </a:r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dirty="0" err="1">
                <a:solidFill>
                  <a:schemeClr val="bg2">
                    <a:lumMod val="75000"/>
                    <a:lumOff val="25000"/>
                  </a:schemeClr>
                </a:solidFill>
              </a:rPr>
              <a:t>selection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516112" y="1564429"/>
            <a:ext cx="106311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ROBLE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659168" y="1564429"/>
            <a:ext cx="1202573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START-UP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DBAE0-B30D-426D-98DC-B5C20F488911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2728" t="19258" r="2728" b="17777"/>
          <a:stretch/>
        </p:blipFill>
        <p:spPr>
          <a:xfrm>
            <a:off x="19821426" y="2223723"/>
            <a:ext cx="1820883" cy="1817827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3194" t="10778" r="25169"/>
          <a:stretch/>
        </p:blipFill>
        <p:spPr>
          <a:xfrm>
            <a:off x="17297256" y="2223722"/>
            <a:ext cx="1820883" cy="1814287"/>
          </a:xfrm>
          <a:prstGeom prst="ellipse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D216F81-8C1D-44D6-B3B4-365DE8E7C627}"/>
              </a:ext>
            </a:extLst>
          </p:cNvPr>
          <p:cNvSpPr txBox="1"/>
          <p:nvPr/>
        </p:nvSpPr>
        <p:spPr>
          <a:xfrm>
            <a:off x="15054736" y="1564429"/>
            <a:ext cx="147078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0785FF-7902-43F9-A347-ED88337D590D}"/>
              </a:ext>
            </a:extLst>
          </p:cNvPr>
          <p:cNvSpPr txBox="1"/>
          <p:nvPr/>
        </p:nvSpPr>
        <p:spPr>
          <a:xfrm>
            <a:off x="17549251" y="1564429"/>
            <a:ext cx="153009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352017-B16F-4C36-816A-E37B5F145342}"/>
              </a:ext>
            </a:extLst>
          </p:cNvPr>
          <p:cNvSpPr txBox="1"/>
          <p:nvPr/>
        </p:nvSpPr>
        <p:spPr>
          <a:xfrm>
            <a:off x="19966817" y="1564429"/>
            <a:ext cx="153009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BDE69D-DFB6-48BB-8ACC-6287EE374207}"/>
              </a:ext>
            </a:extLst>
          </p:cNvPr>
          <p:cNvSpPr txBox="1"/>
          <p:nvPr/>
        </p:nvSpPr>
        <p:spPr>
          <a:xfrm>
            <a:off x="12966230" y="1564429"/>
            <a:ext cx="1063112" cy="30777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ROBLE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444994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177B33-B554-4A4B-86C2-5A3E9EC75F4C}"/>
              </a:ext>
            </a:extLst>
          </p:cNvPr>
          <p:cNvSpPr/>
          <p:nvPr/>
        </p:nvSpPr>
        <p:spPr>
          <a:xfrm>
            <a:off x="1719335" y="2435327"/>
            <a:ext cx="2754139" cy="2220995"/>
          </a:xfrm>
          <a:custGeom>
            <a:avLst/>
            <a:gdLst/>
            <a:ahLst/>
            <a:cxnLst/>
            <a:rect l="l" t="t" r="r" b="b"/>
            <a:pathLst>
              <a:path w="2754139" h="2220995">
                <a:moveTo>
                  <a:pt x="706208" y="345686"/>
                </a:moveTo>
                <a:cubicBezTo>
                  <a:pt x="655765" y="345686"/>
                  <a:pt x="610762" y="361759"/>
                  <a:pt x="571198" y="393904"/>
                </a:cubicBezTo>
                <a:cubicBezTo>
                  <a:pt x="531635" y="426049"/>
                  <a:pt x="500973" y="483664"/>
                  <a:pt x="479213" y="566747"/>
                </a:cubicBezTo>
                <a:cubicBezTo>
                  <a:pt x="450530" y="674558"/>
                  <a:pt x="436188" y="856055"/>
                  <a:pt x="436188" y="1111239"/>
                </a:cubicBezTo>
                <a:cubicBezTo>
                  <a:pt x="436188" y="1366424"/>
                  <a:pt x="449046" y="1541739"/>
                  <a:pt x="474762" y="1637186"/>
                </a:cubicBezTo>
                <a:cubicBezTo>
                  <a:pt x="500478" y="1732633"/>
                  <a:pt x="532871" y="1796182"/>
                  <a:pt x="571940" y="1827833"/>
                </a:cubicBezTo>
                <a:cubicBezTo>
                  <a:pt x="611009" y="1859484"/>
                  <a:pt x="655765" y="1875309"/>
                  <a:pt x="706208" y="1875309"/>
                </a:cubicBezTo>
                <a:cubicBezTo>
                  <a:pt x="756652" y="1875309"/>
                  <a:pt x="801655" y="1859236"/>
                  <a:pt x="841219" y="1827091"/>
                </a:cubicBezTo>
                <a:cubicBezTo>
                  <a:pt x="880782" y="1794946"/>
                  <a:pt x="911444" y="1737331"/>
                  <a:pt x="933204" y="1654248"/>
                </a:cubicBezTo>
                <a:cubicBezTo>
                  <a:pt x="961887" y="1547427"/>
                  <a:pt x="976229" y="1366424"/>
                  <a:pt x="976229" y="1111239"/>
                </a:cubicBezTo>
                <a:cubicBezTo>
                  <a:pt x="976229" y="856055"/>
                  <a:pt x="963371" y="680739"/>
                  <a:pt x="937655" y="585292"/>
                </a:cubicBezTo>
                <a:cubicBezTo>
                  <a:pt x="911939" y="489846"/>
                  <a:pt x="879546" y="426049"/>
                  <a:pt x="840477" y="393904"/>
                </a:cubicBezTo>
                <a:cubicBezTo>
                  <a:pt x="801408" y="361759"/>
                  <a:pt x="756652" y="345686"/>
                  <a:pt x="706208" y="345686"/>
                </a:cubicBezTo>
                <a:close/>
                <a:moveTo>
                  <a:pt x="2415871" y="0"/>
                </a:moveTo>
                <a:lnTo>
                  <a:pt x="2754139" y="0"/>
                </a:lnTo>
                <a:lnTo>
                  <a:pt x="2754139" y="2183904"/>
                </a:lnTo>
                <a:lnTo>
                  <a:pt x="2337239" y="2183904"/>
                </a:lnTo>
                <a:lnTo>
                  <a:pt x="2337239" y="612740"/>
                </a:lnTo>
                <a:cubicBezTo>
                  <a:pt x="2184920" y="755168"/>
                  <a:pt x="2005400" y="860506"/>
                  <a:pt x="1798681" y="928753"/>
                </a:cubicBezTo>
                <a:lnTo>
                  <a:pt x="1798681" y="550427"/>
                </a:lnTo>
                <a:cubicBezTo>
                  <a:pt x="1907481" y="514820"/>
                  <a:pt x="2025677" y="447315"/>
                  <a:pt x="2153269" y="347912"/>
                </a:cubicBezTo>
                <a:cubicBezTo>
                  <a:pt x="2280861" y="248508"/>
                  <a:pt x="2368395" y="132538"/>
                  <a:pt x="2415871" y="0"/>
                </a:cubicBezTo>
                <a:close/>
                <a:moveTo>
                  <a:pt x="706208" y="0"/>
                </a:moveTo>
                <a:cubicBezTo>
                  <a:pt x="916884" y="0"/>
                  <a:pt x="1081567" y="75171"/>
                  <a:pt x="1200257" y="225512"/>
                </a:cubicBezTo>
                <a:cubicBezTo>
                  <a:pt x="1341697" y="403548"/>
                  <a:pt x="1412417" y="698790"/>
                  <a:pt x="1412417" y="1111239"/>
                </a:cubicBezTo>
                <a:cubicBezTo>
                  <a:pt x="1412417" y="1522700"/>
                  <a:pt x="1341202" y="1818437"/>
                  <a:pt x="1198774" y="1998450"/>
                </a:cubicBezTo>
                <a:cubicBezTo>
                  <a:pt x="1081072" y="2146813"/>
                  <a:pt x="916884" y="2220995"/>
                  <a:pt x="706208" y="2220995"/>
                </a:cubicBezTo>
                <a:cubicBezTo>
                  <a:pt x="494544" y="2220995"/>
                  <a:pt x="323926" y="2139643"/>
                  <a:pt x="194356" y="1976938"/>
                </a:cubicBezTo>
                <a:cubicBezTo>
                  <a:pt x="64786" y="1814233"/>
                  <a:pt x="0" y="1524183"/>
                  <a:pt x="0" y="1106789"/>
                </a:cubicBezTo>
                <a:cubicBezTo>
                  <a:pt x="0" y="697307"/>
                  <a:pt x="71215" y="402559"/>
                  <a:pt x="213643" y="222545"/>
                </a:cubicBezTo>
                <a:cubicBezTo>
                  <a:pt x="331345" y="74182"/>
                  <a:pt x="495533" y="0"/>
                  <a:pt x="706208" y="0"/>
                </a:cubicBezTo>
                <a:close/>
              </a:path>
            </a:pathLst>
          </a:cu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START-UP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5847372" y="3616178"/>
            <a:ext cx="5126403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400" dirty="0">
                <a:solidFill>
                  <a:schemeClr val="bg2">
                    <a:lumMod val="90000"/>
                  </a:schemeClr>
                </a:solidFill>
              </a:rPr>
              <a:t>WHAT DO WE SEE IN START-UPS?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77662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7" grpId="0" animBg="1"/>
      <p:bldP spid="8" grpId="0"/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CEF Template">
  <a:themeElements>
    <a:clrScheme name="New Uhasselt Color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E63E2E"/>
      </a:accent1>
      <a:accent2>
        <a:srgbClr val="00ACEE"/>
      </a:accent2>
      <a:accent3>
        <a:srgbClr val="A5A5A5"/>
      </a:accent3>
      <a:accent4>
        <a:srgbClr val="BFD537"/>
      </a:accent4>
      <a:accent5>
        <a:srgbClr val="F37E2A"/>
      </a:accent5>
      <a:accent6>
        <a:srgbClr val="9A3591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28</TotalTime>
  <Words>663</Words>
  <Application>Microsoft Office PowerPoint</Application>
  <PresentationFormat>Breedbeeld</PresentationFormat>
  <Paragraphs>167</Paragraphs>
  <Slides>27</Slides>
  <Notes>1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7</vt:i4>
      </vt:variant>
    </vt:vector>
  </HeadingPairs>
  <TitlesOfParts>
    <vt:vector size="37" baseType="lpstr">
      <vt:lpstr>Century Gothic</vt:lpstr>
      <vt:lpstr>Segoe UI</vt:lpstr>
      <vt:lpstr>Arial</vt:lpstr>
      <vt:lpstr>Calibri</vt:lpstr>
      <vt:lpstr>Montserrat Black</vt:lpstr>
      <vt:lpstr>Montserrat</vt:lpstr>
      <vt:lpstr>Calibri Light</vt:lpstr>
      <vt:lpstr>RCEF Template</vt:lpstr>
      <vt:lpstr>Office Theme</vt:lpstr>
      <vt:lpstr>think-cell Slide</vt:lpstr>
      <vt:lpstr>PowerPoint-presentatie</vt:lpstr>
      <vt:lpstr>Entrepreneurial Matchmaking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issievergadering</dc:title>
  <dc:creator>CORTEN Maarten</dc:creator>
  <cp:lastModifiedBy>SHESHBLOOKI Shayan</cp:lastModifiedBy>
  <cp:revision>212</cp:revision>
  <dcterms:created xsi:type="dcterms:W3CDTF">2018-09-13T13:28:59Z</dcterms:created>
  <dcterms:modified xsi:type="dcterms:W3CDTF">2025-05-18T13:36:22Z</dcterms:modified>
</cp:coreProperties>
</file>